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6" r:id="rId3"/>
    <p:sldId id="258" r:id="rId4"/>
    <p:sldId id="267" r:id="rId5"/>
    <p:sldId id="269" r:id="rId6"/>
    <p:sldId id="263" r:id="rId7"/>
    <p:sldId id="270" r:id="rId8"/>
    <p:sldId id="271" r:id="rId9"/>
    <p:sldId id="272" r:id="rId10"/>
    <p:sldId id="264" r:id="rId11"/>
    <p:sldId id="273" r:id="rId12"/>
    <p:sldId id="274" r:id="rId13"/>
    <p:sldId id="275" r:id="rId14"/>
    <p:sldId id="265" r:id="rId15"/>
    <p:sldId id="277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028"/>
    <a:srgbClr val="F39D03"/>
    <a:srgbClr val="0A2E70"/>
    <a:srgbClr val="1C55D1"/>
    <a:srgbClr val="5683E8"/>
    <a:srgbClr val="93C3FD"/>
    <a:srgbClr val="F24338"/>
    <a:srgbClr val="323C66"/>
    <a:srgbClr val="DE7F00"/>
    <a:srgbClr val="FDC2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104" d="100"/>
          <a:sy n="104" d="100"/>
        </p:scale>
        <p:origin x="316" y="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14A457A6-9D69-4636-9AE8-3E8EAB597DFF}"/>
              </a:ext>
            </a:extLst>
          </p:cNvPr>
          <p:cNvCxnSpPr/>
          <p:nvPr userDrawn="1"/>
        </p:nvCxnSpPr>
        <p:spPr>
          <a:xfrm>
            <a:off x="0" y="5225143"/>
            <a:ext cx="121920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矩形 155">
            <a:extLst>
              <a:ext uri="{FF2B5EF4-FFF2-40B4-BE49-F238E27FC236}">
                <a16:creationId xmlns:a16="http://schemas.microsoft.com/office/drawing/2014/main" id="{76791DAF-3FC0-498A-A247-8BFB0A61DEB7}"/>
              </a:ext>
            </a:extLst>
          </p:cNvPr>
          <p:cNvSpPr/>
          <p:nvPr userDrawn="1"/>
        </p:nvSpPr>
        <p:spPr>
          <a:xfrm>
            <a:off x="0" y="2481943"/>
            <a:ext cx="12192000" cy="2618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99150" y="4527389"/>
            <a:ext cx="7292655" cy="397795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799150" y="2815665"/>
            <a:ext cx="7292655" cy="171158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99150" y="5571393"/>
            <a:ext cx="7292655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99150" y="5874014"/>
            <a:ext cx="729265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9884" name="组合 9883">
            <a:extLst>
              <a:ext uri="{FF2B5EF4-FFF2-40B4-BE49-F238E27FC236}">
                <a16:creationId xmlns:a16="http://schemas.microsoft.com/office/drawing/2014/main" id="{E270CF70-7683-4C42-A8F3-7EB83028E8A5}"/>
              </a:ext>
            </a:extLst>
          </p:cNvPr>
          <p:cNvGrpSpPr/>
          <p:nvPr userDrawn="1"/>
        </p:nvGrpSpPr>
        <p:grpSpPr>
          <a:xfrm>
            <a:off x="7066955" y="961410"/>
            <a:ext cx="4468907" cy="5309009"/>
            <a:chOff x="6936326" y="961410"/>
            <a:chExt cx="4468907" cy="5309009"/>
          </a:xfrm>
        </p:grpSpPr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9B220918-A00C-4BF9-9D7A-9D4843C0259A}"/>
                </a:ext>
              </a:extLst>
            </p:cNvPr>
            <p:cNvSpPr/>
            <p:nvPr userDrawn="1"/>
          </p:nvSpPr>
          <p:spPr>
            <a:xfrm flipH="1">
              <a:off x="6936326" y="5330858"/>
              <a:ext cx="4468907" cy="870470"/>
            </a:xfrm>
            <a:custGeom>
              <a:avLst/>
              <a:gdLst>
                <a:gd name="connsiteX0" fmla="*/ 4468908 w 4468907"/>
                <a:gd name="connsiteY0" fmla="*/ 435235 h 870470"/>
                <a:gd name="connsiteX1" fmla="*/ 2234454 w 4468907"/>
                <a:gd name="connsiteY1" fmla="*/ 870471 h 870470"/>
                <a:gd name="connsiteX2" fmla="*/ 0 w 4468907"/>
                <a:gd name="connsiteY2" fmla="*/ 435235 h 870470"/>
                <a:gd name="connsiteX3" fmla="*/ 2234454 w 4468907"/>
                <a:gd name="connsiteY3" fmla="*/ 0 h 870470"/>
                <a:gd name="connsiteX4" fmla="*/ 4468908 w 4468907"/>
                <a:gd name="connsiteY4" fmla="*/ 435235 h 87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8907" h="870470">
                  <a:moveTo>
                    <a:pt x="4468908" y="435235"/>
                  </a:moveTo>
                  <a:cubicBezTo>
                    <a:pt x="4468908" y="675609"/>
                    <a:pt x="3468509" y="870471"/>
                    <a:pt x="2234454" y="870471"/>
                  </a:cubicBezTo>
                  <a:cubicBezTo>
                    <a:pt x="1000399" y="870471"/>
                    <a:pt x="0" y="675609"/>
                    <a:pt x="0" y="435235"/>
                  </a:cubicBezTo>
                  <a:cubicBezTo>
                    <a:pt x="0" y="194861"/>
                    <a:pt x="1000399" y="0"/>
                    <a:pt x="2234454" y="0"/>
                  </a:cubicBezTo>
                  <a:cubicBezTo>
                    <a:pt x="3468509" y="0"/>
                    <a:pt x="4468908" y="194861"/>
                    <a:pt x="4468908" y="43523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67000"/>
              </a:schemeClr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6977DC9B-A9F9-4C7A-9CC5-9CBDDD6BADE1}"/>
                </a:ext>
              </a:extLst>
            </p:cNvPr>
            <p:cNvSpPr/>
            <p:nvPr/>
          </p:nvSpPr>
          <p:spPr>
            <a:xfrm flipH="1">
              <a:off x="8627653" y="1811954"/>
              <a:ext cx="1397214" cy="787286"/>
            </a:xfrm>
            <a:custGeom>
              <a:avLst/>
              <a:gdLst>
                <a:gd name="connsiteX0" fmla="*/ 155446 w 1397214"/>
                <a:gd name="connsiteY0" fmla="*/ 783158 h 787286"/>
                <a:gd name="connsiteX1" fmla="*/ 76696 w 1397214"/>
                <a:gd name="connsiteY1" fmla="*/ 744943 h 787286"/>
                <a:gd name="connsiteX2" fmla="*/ 56224 w 1397214"/>
                <a:gd name="connsiteY2" fmla="*/ 314758 h 787286"/>
                <a:gd name="connsiteX3" fmla="*/ 1192149 w 1397214"/>
                <a:gd name="connsiteY3" fmla="*/ 260029 h 787286"/>
                <a:gd name="connsiteX4" fmla="*/ 1378035 w 1397214"/>
                <a:gd name="connsiteY4" fmla="*/ 603959 h 787286"/>
                <a:gd name="connsiteX5" fmla="*/ 155446 w 1397214"/>
                <a:gd name="connsiteY5" fmla="*/ 783158 h 7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7214" h="787286">
                  <a:moveTo>
                    <a:pt x="155446" y="783158"/>
                  </a:moveTo>
                  <a:cubicBezTo>
                    <a:pt x="125420" y="780701"/>
                    <a:pt x="97305" y="767053"/>
                    <a:pt x="76696" y="744943"/>
                  </a:cubicBezTo>
                  <a:cubicBezTo>
                    <a:pt x="22923" y="687212"/>
                    <a:pt x="-54188" y="553052"/>
                    <a:pt x="56224" y="314758"/>
                  </a:cubicBezTo>
                  <a:cubicBezTo>
                    <a:pt x="261627" y="-129076"/>
                    <a:pt x="1012951" y="-62474"/>
                    <a:pt x="1192149" y="260029"/>
                  </a:cubicBezTo>
                  <a:cubicBezTo>
                    <a:pt x="1319622" y="489452"/>
                    <a:pt x="1446412" y="535037"/>
                    <a:pt x="1378035" y="603959"/>
                  </a:cubicBezTo>
                  <a:cubicBezTo>
                    <a:pt x="1312115" y="670562"/>
                    <a:pt x="529674" y="813320"/>
                    <a:pt x="155446" y="783158"/>
                  </a:cubicBezTo>
                  <a:close/>
                </a:path>
              </a:pathLst>
            </a:custGeom>
            <a:solidFill>
              <a:srgbClr val="F24338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8146280" y="2273838"/>
              <a:ext cx="1972058" cy="3180944"/>
              <a:chOff x="8315753" y="2273838"/>
              <a:chExt cx="1972058" cy="3180944"/>
            </a:xfrm>
            <a:solidFill>
              <a:schemeClr val="accent1"/>
            </a:solidFill>
          </p:grpSpPr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8460884" y="2273838"/>
                <a:ext cx="1627816" cy="3057704"/>
                <a:chOff x="8460884" y="2273838"/>
                <a:chExt cx="1627816" cy="3057704"/>
              </a:xfrm>
              <a:solidFill>
                <a:schemeClr val="accent1"/>
              </a:solidFill>
            </p:grpSpPr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7A4A607-FC83-41E3-9562-55F0BC2676DF}"/>
                    </a:ext>
                  </a:extLst>
                </p:cNvPr>
                <p:cNvSpPr/>
                <p:nvPr/>
              </p:nvSpPr>
              <p:spPr>
                <a:xfrm>
                  <a:off x="8460884" y="2273838"/>
                  <a:ext cx="1627816" cy="3057704"/>
                </a:xfrm>
                <a:custGeom>
                  <a:avLst/>
                  <a:gdLst>
                    <a:gd name="connsiteX0" fmla="*/ 1428053 w 1627816"/>
                    <a:gd name="connsiteY0" fmla="*/ 2987552 h 3057704"/>
                    <a:gd name="connsiteX1" fmla="*/ 1425597 w 1627816"/>
                    <a:gd name="connsiteY1" fmla="*/ 2987825 h 3057704"/>
                    <a:gd name="connsiteX2" fmla="*/ 933176 w 1627816"/>
                    <a:gd name="connsiteY2" fmla="*/ 3045965 h 3057704"/>
                    <a:gd name="connsiteX3" fmla="*/ 904788 w 1627816"/>
                    <a:gd name="connsiteY3" fmla="*/ 3048013 h 3057704"/>
                    <a:gd name="connsiteX4" fmla="*/ 381114 w 1627816"/>
                    <a:gd name="connsiteY4" fmla="*/ 3045283 h 3057704"/>
                    <a:gd name="connsiteX5" fmla="*/ 211332 w 1627816"/>
                    <a:gd name="connsiteY5" fmla="*/ 3021672 h 3057704"/>
                    <a:gd name="connsiteX6" fmla="*/ 21488 w 1627816"/>
                    <a:gd name="connsiteY6" fmla="*/ 2754171 h 3057704"/>
                    <a:gd name="connsiteX7" fmla="*/ 61341 w 1627816"/>
                    <a:gd name="connsiteY7" fmla="*/ 2418566 h 3057704"/>
                    <a:gd name="connsiteX8" fmla="*/ 64753 w 1627816"/>
                    <a:gd name="connsiteY8" fmla="*/ 2372163 h 3057704"/>
                    <a:gd name="connsiteX9" fmla="*/ 76626 w 1627816"/>
                    <a:gd name="connsiteY9" fmla="*/ 2033146 h 3057704"/>
                    <a:gd name="connsiteX10" fmla="*/ 76763 w 1627816"/>
                    <a:gd name="connsiteY10" fmla="*/ 2007215 h 3057704"/>
                    <a:gd name="connsiteX11" fmla="*/ 76899 w 1627816"/>
                    <a:gd name="connsiteY11" fmla="*/ 1995750 h 3057704"/>
                    <a:gd name="connsiteX12" fmla="*/ 76899 w 1627816"/>
                    <a:gd name="connsiteY12" fmla="*/ 1978281 h 3057704"/>
                    <a:gd name="connsiteX13" fmla="*/ 77036 w 1627816"/>
                    <a:gd name="connsiteY13" fmla="*/ 1966680 h 3057704"/>
                    <a:gd name="connsiteX14" fmla="*/ 77036 w 1627816"/>
                    <a:gd name="connsiteY14" fmla="*/ 1943069 h 3057704"/>
                    <a:gd name="connsiteX15" fmla="*/ 77172 w 1627816"/>
                    <a:gd name="connsiteY15" fmla="*/ 1873054 h 3057704"/>
                    <a:gd name="connsiteX16" fmla="*/ 77172 w 1627816"/>
                    <a:gd name="connsiteY16" fmla="*/ 1867049 h 3057704"/>
                    <a:gd name="connsiteX17" fmla="*/ 80721 w 1627816"/>
                    <a:gd name="connsiteY17" fmla="*/ 1656733 h 3057704"/>
                    <a:gd name="connsiteX18" fmla="*/ 81130 w 1627816"/>
                    <a:gd name="connsiteY18" fmla="*/ 1648408 h 3057704"/>
                    <a:gd name="connsiteX19" fmla="*/ 83041 w 1627816"/>
                    <a:gd name="connsiteY19" fmla="*/ 1610466 h 3057704"/>
                    <a:gd name="connsiteX20" fmla="*/ 84679 w 1627816"/>
                    <a:gd name="connsiteY20" fmla="*/ 1574436 h 3057704"/>
                    <a:gd name="connsiteX21" fmla="*/ 87408 w 1627816"/>
                    <a:gd name="connsiteY21" fmla="*/ 1478217 h 3057704"/>
                    <a:gd name="connsiteX22" fmla="*/ 87272 w 1627816"/>
                    <a:gd name="connsiteY22" fmla="*/ 1404108 h 3057704"/>
                    <a:gd name="connsiteX23" fmla="*/ 84406 w 1627816"/>
                    <a:gd name="connsiteY23" fmla="*/ 1331091 h 3057704"/>
                    <a:gd name="connsiteX24" fmla="*/ 82768 w 1627816"/>
                    <a:gd name="connsiteY24" fmla="*/ 1307890 h 3057704"/>
                    <a:gd name="connsiteX25" fmla="*/ 79765 w 1627816"/>
                    <a:gd name="connsiteY25" fmla="*/ 1270631 h 3057704"/>
                    <a:gd name="connsiteX26" fmla="*/ 77718 w 1627816"/>
                    <a:gd name="connsiteY26" fmla="*/ 1247020 h 3057704"/>
                    <a:gd name="connsiteX27" fmla="*/ 76763 w 1627816"/>
                    <a:gd name="connsiteY27" fmla="*/ 1236511 h 3057704"/>
                    <a:gd name="connsiteX28" fmla="*/ 76490 w 1627816"/>
                    <a:gd name="connsiteY28" fmla="*/ 1233918 h 3057704"/>
                    <a:gd name="connsiteX29" fmla="*/ 75125 w 1627816"/>
                    <a:gd name="connsiteY29" fmla="*/ 1219041 h 3057704"/>
                    <a:gd name="connsiteX30" fmla="*/ 73624 w 1627816"/>
                    <a:gd name="connsiteY30" fmla="*/ 1204438 h 3057704"/>
                    <a:gd name="connsiteX31" fmla="*/ 71031 w 1627816"/>
                    <a:gd name="connsiteY31" fmla="*/ 1178370 h 3057704"/>
                    <a:gd name="connsiteX32" fmla="*/ 57519 w 1627816"/>
                    <a:gd name="connsiteY32" fmla="*/ 1050079 h 3057704"/>
                    <a:gd name="connsiteX33" fmla="*/ 52879 w 1627816"/>
                    <a:gd name="connsiteY33" fmla="*/ 1008179 h 3057704"/>
                    <a:gd name="connsiteX34" fmla="*/ 45509 w 1627816"/>
                    <a:gd name="connsiteY34" fmla="*/ 942396 h 3057704"/>
                    <a:gd name="connsiteX35" fmla="*/ 40596 w 1627816"/>
                    <a:gd name="connsiteY35" fmla="*/ 899951 h 3057704"/>
                    <a:gd name="connsiteX36" fmla="*/ 1699 w 1627816"/>
                    <a:gd name="connsiteY36" fmla="*/ 418175 h 3057704"/>
                    <a:gd name="connsiteX37" fmla="*/ 558538 w 1627816"/>
                    <a:gd name="connsiteY37" fmla="*/ 10236 h 3057704"/>
                    <a:gd name="connsiteX38" fmla="*/ 884316 w 1627816"/>
                    <a:gd name="connsiteY38" fmla="*/ 0 h 3057704"/>
                    <a:gd name="connsiteX39" fmla="*/ 1426143 w 1627816"/>
                    <a:gd name="connsiteY39" fmla="*/ 295480 h 3057704"/>
                    <a:gd name="connsiteX40" fmla="*/ 1427371 w 1627816"/>
                    <a:gd name="connsiteY40" fmla="*/ 297117 h 3057704"/>
                    <a:gd name="connsiteX41" fmla="*/ 1465449 w 1627816"/>
                    <a:gd name="connsiteY41" fmla="*/ 404664 h 3057704"/>
                    <a:gd name="connsiteX42" fmla="*/ 1473365 w 1627816"/>
                    <a:gd name="connsiteY42" fmla="*/ 542099 h 3057704"/>
                    <a:gd name="connsiteX43" fmla="*/ 1469134 w 1627816"/>
                    <a:gd name="connsiteY43" fmla="*/ 660701 h 3057704"/>
                    <a:gd name="connsiteX44" fmla="*/ 1459444 w 1627816"/>
                    <a:gd name="connsiteY44" fmla="*/ 802367 h 3057704"/>
                    <a:gd name="connsiteX45" fmla="*/ 1456168 w 1627816"/>
                    <a:gd name="connsiteY45" fmla="*/ 846177 h 3057704"/>
                    <a:gd name="connsiteX46" fmla="*/ 1452756 w 1627816"/>
                    <a:gd name="connsiteY46" fmla="*/ 891762 h 3057704"/>
                    <a:gd name="connsiteX47" fmla="*/ 1450573 w 1627816"/>
                    <a:gd name="connsiteY47" fmla="*/ 921787 h 3057704"/>
                    <a:gd name="connsiteX48" fmla="*/ 1444841 w 1627816"/>
                    <a:gd name="connsiteY48" fmla="*/ 1002584 h 3057704"/>
                    <a:gd name="connsiteX49" fmla="*/ 1443066 w 1627816"/>
                    <a:gd name="connsiteY49" fmla="*/ 1029197 h 3057704"/>
                    <a:gd name="connsiteX50" fmla="*/ 1442111 w 1627816"/>
                    <a:gd name="connsiteY50" fmla="*/ 1046257 h 3057704"/>
                    <a:gd name="connsiteX51" fmla="*/ 1441019 w 1627816"/>
                    <a:gd name="connsiteY51" fmla="*/ 1063590 h 3057704"/>
                    <a:gd name="connsiteX52" fmla="*/ 1441019 w 1627816"/>
                    <a:gd name="connsiteY52" fmla="*/ 1063727 h 3057704"/>
                    <a:gd name="connsiteX53" fmla="*/ 1440064 w 1627816"/>
                    <a:gd name="connsiteY53" fmla="*/ 1079695 h 3057704"/>
                    <a:gd name="connsiteX54" fmla="*/ 1439108 w 1627816"/>
                    <a:gd name="connsiteY54" fmla="*/ 1097164 h 3057704"/>
                    <a:gd name="connsiteX55" fmla="*/ 1437607 w 1627816"/>
                    <a:gd name="connsiteY55" fmla="*/ 1129510 h 3057704"/>
                    <a:gd name="connsiteX56" fmla="*/ 1436515 w 1627816"/>
                    <a:gd name="connsiteY56" fmla="*/ 1156533 h 3057704"/>
                    <a:gd name="connsiteX57" fmla="*/ 1436379 w 1627816"/>
                    <a:gd name="connsiteY57" fmla="*/ 1161447 h 3057704"/>
                    <a:gd name="connsiteX58" fmla="*/ 1435696 w 1627816"/>
                    <a:gd name="connsiteY58" fmla="*/ 1178916 h 3057704"/>
                    <a:gd name="connsiteX59" fmla="*/ 1435560 w 1627816"/>
                    <a:gd name="connsiteY59" fmla="*/ 1181919 h 3057704"/>
                    <a:gd name="connsiteX60" fmla="*/ 1435423 w 1627816"/>
                    <a:gd name="connsiteY60" fmla="*/ 1183420 h 3057704"/>
                    <a:gd name="connsiteX61" fmla="*/ 1434741 w 1627816"/>
                    <a:gd name="connsiteY61" fmla="*/ 1206485 h 3057704"/>
                    <a:gd name="connsiteX62" fmla="*/ 1434059 w 1627816"/>
                    <a:gd name="connsiteY62" fmla="*/ 1234054 h 3057704"/>
                    <a:gd name="connsiteX63" fmla="*/ 1433786 w 1627816"/>
                    <a:gd name="connsiteY63" fmla="*/ 1247020 h 3057704"/>
                    <a:gd name="connsiteX64" fmla="*/ 1433513 w 1627816"/>
                    <a:gd name="connsiteY64" fmla="*/ 1258621 h 3057704"/>
                    <a:gd name="connsiteX65" fmla="*/ 1433513 w 1627816"/>
                    <a:gd name="connsiteY65" fmla="*/ 1264489 h 3057704"/>
                    <a:gd name="connsiteX66" fmla="*/ 1433240 w 1627816"/>
                    <a:gd name="connsiteY66" fmla="*/ 1280594 h 3057704"/>
                    <a:gd name="connsiteX67" fmla="*/ 1433103 w 1627816"/>
                    <a:gd name="connsiteY67" fmla="*/ 1308163 h 3057704"/>
                    <a:gd name="connsiteX68" fmla="*/ 1433103 w 1627816"/>
                    <a:gd name="connsiteY68" fmla="*/ 1323039 h 3057704"/>
                    <a:gd name="connsiteX69" fmla="*/ 1433922 w 1627816"/>
                    <a:gd name="connsiteY69" fmla="*/ 1404382 h 3057704"/>
                    <a:gd name="connsiteX70" fmla="*/ 1434605 w 1627816"/>
                    <a:gd name="connsiteY70" fmla="*/ 1439866 h 3057704"/>
                    <a:gd name="connsiteX71" fmla="*/ 1435560 w 1627816"/>
                    <a:gd name="connsiteY71" fmla="*/ 1478490 h 3057704"/>
                    <a:gd name="connsiteX72" fmla="*/ 1438426 w 1627816"/>
                    <a:gd name="connsiteY72" fmla="*/ 1562153 h 3057704"/>
                    <a:gd name="connsiteX73" fmla="*/ 1438835 w 1627816"/>
                    <a:gd name="connsiteY73" fmla="*/ 1574572 h 3057704"/>
                    <a:gd name="connsiteX74" fmla="*/ 1438972 w 1627816"/>
                    <a:gd name="connsiteY74" fmla="*/ 1579622 h 3057704"/>
                    <a:gd name="connsiteX75" fmla="*/ 1440064 w 1627816"/>
                    <a:gd name="connsiteY75" fmla="*/ 1607601 h 3057704"/>
                    <a:gd name="connsiteX76" fmla="*/ 1441838 w 1627816"/>
                    <a:gd name="connsiteY76" fmla="*/ 1648545 h 3057704"/>
                    <a:gd name="connsiteX77" fmla="*/ 1444704 w 1627816"/>
                    <a:gd name="connsiteY77" fmla="*/ 1695630 h 3057704"/>
                    <a:gd name="connsiteX78" fmla="*/ 1450846 w 1627816"/>
                    <a:gd name="connsiteY78" fmla="*/ 1761414 h 3057704"/>
                    <a:gd name="connsiteX79" fmla="*/ 1452756 w 1627816"/>
                    <a:gd name="connsiteY79" fmla="*/ 1777791 h 3057704"/>
                    <a:gd name="connsiteX80" fmla="*/ 1456032 w 1627816"/>
                    <a:gd name="connsiteY80" fmla="*/ 1804951 h 3057704"/>
                    <a:gd name="connsiteX81" fmla="*/ 1458079 w 1627816"/>
                    <a:gd name="connsiteY81" fmla="*/ 1822284 h 3057704"/>
                    <a:gd name="connsiteX82" fmla="*/ 1459580 w 1627816"/>
                    <a:gd name="connsiteY82" fmla="*/ 1833475 h 3057704"/>
                    <a:gd name="connsiteX83" fmla="*/ 1465449 w 1627816"/>
                    <a:gd name="connsiteY83" fmla="*/ 1876330 h 3057704"/>
                    <a:gd name="connsiteX84" fmla="*/ 1466131 w 1627816"/>
                    <a:gd name="connsiteY84" fmla="*/ 1881243 h 3057704"/>
                    <a:gd name="connsiteX85" fmla="*/ 1469407 w 1627816"/>
                    <a:gd name="connsiteY85" fmla="*/ 1903626 h 3057704"/>
                    <a:gd name="connsiteX86" fmla="*/ 1476094 w 1627816"/>
                    <a:gd name="connsiteY86" fmla="*/ 1947573 h 3057704"/>
                    <a:gd name="connsiteX87" fmla="*/ 1478005 w 1627816"/>
                    <a:gd name="connsiteY87" fmla="*/ 1960265 h 3057704"/>
                    <a:gd name="connsiteX88" fmla="*/ 1490698 w 1627816"/>
                    <a:gd name="connsiteY88" fmla="*/ 2038195 h 3057704"/>
                    <a:gd name="connsiteX89" fmla="*/ 1493155 w 1627816"/>
                    <a:gd name="connsiteY89" fmla="*/ 2052389 h 3057704"/>
                    <a:gd name="connsiteX90" fmla="*/ 1498614 w 1627816"/>
                    <a:gd name="connsiteY90" fmla="*/ 2084053 h 3057704"/>
                    <a:gd name="connsiteX91" fmla="*/ 1518949 w 1627816"/>
                    <a:gd name="connsiteY91" fmla="*/ 2197332 h 3057704"/>
                    <a:gd name="connsiteX92" fmla="*/ 1544744 w 1627816"/>
                    <a:gd name="connsiteY92" fmla="*/ 2332583 h 3057704"/>
                    <a:gd name="connsiteX93" fmla="*/ 1567400 w 1627816"/>
                    <a:gd name="connsiteY93" fmla="*/ 2445453 h 3057704"/>
                    <a:gd name="connsiteX94" fmla="*/ 1622401 w 1627816"/>
                    <a:gd name="connsiteY94" fmla="*/ 2706675 h 3057704"/>
                    <a:gd name="connsiteX95" fmla="*/ 1428053 w 1627816"/>
                    <a:gd name="connsiteY95" fmla="*/ 2987552 h 3057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1627816" h="3057704">
                      <a:moveTo>
                        <a:pt x="1428053" y="2987552"/>
                      </a:moveTo>
                      <a:cubicBezTo>
                        <a:pt x="1427235" y="2987688"/>
                        <a:pt x="1426416" y="2987825"/>
                        <a:pt x="1425597" y="2987825"/>
                      </a:cubicBezTo>
                      <a:cubicBezTo>
                        <a:pt x="1263049" y="3011436"/>
                        <a:pt x="1098317" y="3033273"/>
                        <a:pt x="933176" y="3045965"/>
                      </a:cubicBezTo>
                      <a:cubicBezTo>
                        <a:pt x="923759" y="3046648"/>
                        <a:pt x="914205" y="3047467"/>
                        <a:pt x="904788" y="3048013"/>
                      </a:cubicBezTo>
                      <a:cubicBezTo>
                        <a:pt x="729957" y="3060432"/>
                        <a:pt x="554580" y="3062343"/>
                        <a:pt x="381114" y="3045283"/>
                      </a:cubicBezTo>
                      <a:cubicBezTo>
                        <a:pt x="324202" y="3039687"/>
                        <a:pt x="267426" y="3031908"/>
                        <a:pt x="211332" y="3021672"/>
                      </a:cubicBezTo>
                      <a:cubicBezTo>
                        <a:pt x="85770" y="2998743"/>
                        <a:pt x="1153" y="2880005"/>
                        <a:pt x="21488" y="2754171"/>
                      </a:cubicBezTo>
                      <a:cubicBezTo>
                        <a:pt x="40596" y="2635842"/>
                        <a:pt x="53152" y="2523929"/>
                        <a:pt x="61341" y="2418566"/>
                      </a:cubicBezTo>
                      <a:cubicBezTo>
                        <a:pt x="62569" y="2402871"/>
                        <a:pt x="63797" y="2387448"/>
                        <a:pt x="64753" y="2372163"/>
                      </a:cubicBezTo>
                      <a:cubicBezTo>
                        <a:pt x="73078" y="2249194"/>
                        <a:pt x="75808" y="2136052"/>
                        <a:pt x="76626" y="2033146"/>
                      </a:cubicBezTo>
                      <a:cubicBezTo>
                        <a:pt x="76626" y="2024411"/>
                        <a:pt x="76763" y="2015813"/>
                        <a:pt x="76763" y="2007215"/>
                      </a:cubicBezTo>
                      <a:cubicBezTo>
                        <a:pt x="76763" y="2003393"/>
                        <a:pt x="76899" y="1999435"/>
                        <a:pt x="76899" y="1995750"/>
                      </a:cubicBezTo>
                      <a:cubicBezTo>
                        <a:pt x="76899" y="1989882"/>
                        <a:pt x="76899" y="1984013"/>
                        <a:pt x="76899" y="1978281"/>
                      </a:cubicBezTo>
                      <a:cubicBezTo>
                        <a:pt x="77036" y="1974323"/>
                        <a:pt x="77036" y="1970501"/>
                        <a:pt x="77036" y="1966680"/>
                      </a:cubicBezTo>
                      <a:cubicBezTo>
                        <a:pt x="77036" y="1958627"/>
                        <a:pt x="77036" y="1950848"/>
                        <a:pt x="77036" y="1943069"/>
                      </a:cubicBezTo>
                      <a:cubicBezTo>
                        <a:pt x="77172" y="1919048"/>
                        <a:pt x="77036" y="1895710"/>
                        <a:pt x="77172" y="1873054"/>
                      </a:cubicBezTo>
                      <a:lnTo>
                        <a:pt x="77172" y="1867049"/>
                      </a:lnTo>
                      <a:cubicBezTo>
                        <a:pt x="77172" y="1788573"/>
                        <a:pt x="77582" y="1718286"/>
                        <a:pt x="80721" y="1656733"/>
                      </a:cubicBezTo>
                      <a:cubicBezTo>
                        <a:pt x="80857" y="1653867"/>
                        <a:pt x="80994" y="1651138"/>
                        <a:pt x="81130" y="1648408"/>
                      </a:cubicBezTo>
                      <a:cubicBezTo>
                        <a:pt x="81813" y="1635579"/>
                        <a:pt x="82495" y="1622886"/>
                        <a:pt x="83041" y="1610466"/>
                      </a:cubicBezTo>
                      <a:cubicBezTo>
                        <a:pt x="83587" y="1598320"/>
                        <a:pt x="84133" y="1586309"/>
                        <a:pt x="84679" y="1574436"/>
                      </a:cubicBezTo>
                      <a:cubicBezTo>
                        <a:pt x="86044" y="1541135"/>
                        <a:pt x="86862" y="1508925"/>
                        <a:pt x="87408" y="1478217"/>
                      </a:cubicBezTo>
                      <a:cubicBezTo>
                        <a:pt x="87681" y="1452422"/>
                        <a:pt x="87681" y="1427720"/>
                        <a:pt x="87272" y="1404108"/>
                      </a:cubicBezTo>
                      <a:cubicBezTo>
                        <a:pt x="86726" y="1378041"/>
                        <a:pt x="85907" y="1353611"/>
                        <a:pt x="84406" y="1331091"/>
                      </a:cubicBezTo>
                      <a:cubicBezTo>
                        <a:pt x="83860" y="1323585"/>
                        <a:pt x="83314" y="1315942"/>
                        <a:pt x="82768" y="1307890"/>
                      </a:cubicBezTo>
                      <a:cubicBezTo>
                        <a:pt x="81813" y="1295880"/>
                        <a:pt x="80857" y="1283460"/>
                        <a:pt x="79765" y="1270631"/>
                      </a:cubicBezTo>
                      <a:cubicBezTo>
                        <a:pt x="79083" y="1262851"/>
                        <a:pt x="78401" y="1255072"/>
                        <a:pt x="77718" y="1247020"/>
                      </a:cubicBezTo>
                      <a:cubicBezTo>
                        <a:pt x="77445" y="1243471"/>
                        <a:pt x="77036" y="1240059"/>
                        <a:pt x="76763" y="1236511"/>
                      </a:cubicBezTo>
                      <a:cubicBezTo>
                        <a:pt x="76763" y="1235555"/>
                        <a:pt x="76626" y="1234736"/>
                        <a:pt x="76490" y="1233918"/>
                      </a:cubicBezTo>
                      <a:cubicBezTo>
                        <a:pt x="76080" y="1229004"/>
                        <a:pt x="75534" y="1224091"/>
                        <a:pt x="75125" y="1219041"/>
                      </a:cubicBezTo>
                      <a:cubicBezTo>
                        <a:pt x="74579" y="1214128"/>
                        <a:pt x="74170" y="1209351"/>
                        <a:pt x="73624" y="1204438"/>
                      </a:cubicBezTo>
                      <a:cubicBezTo>
                        <a:pt x="72805" y="1195840"/>
                        <a:pt x="71986" y="1187105"/>
                        <a:pt x="71031" y="1178370"/>
                      </a:cubicBezTo>
                      <a:cubicBezTo>
                        <a:pt x="66936" y="1137290"/>
                        <a:pt x="62296" y="1094162"/>
                        <a:pt x="57519" y="1050079"/>
                      </a:cubicBezTo>
                      <a:cubicBezTo>
                        <a:pt x="56018" y="1036294"/>
                        <a:pt x="54380" y="1022237"/>
                        <a:pt x="52879" y="1008179"/>
                      </a:cubicBezTo>
                      <a:cubicBezTo>
                        <a:pt x="50422" y="986343"/>
                        <a:pt x="47966" y="964369"/>
                        <a:pt x="45509" y="942396"/>
                      </a:cubicBezTo>
                      <a:cubicBezTo>
                        <a:pt x="43871" y="928202"/>
                        <a:pt x="42233" y="914008"/>
                        <a:pt x="40596" y="899951"/>
                      </a:cubicBezTo>
                      <a:cubicBezTo>
                        <a:pt x="16302" y="686905"/>
                        <a:pt x="-6490" y="482867"/>
                        <a:pt x="1699" y="418175"/>
                      </a:cubicBezTo>
                      <a:cubicBezTo>
                        <a:pt x="15756" y="306125"/>
                        <a:pt x="558538" y="10236"/>
                        <a:pt x="558538" y="10236"/>
                      </a:cubicBezTo>
                      <a:lnTo>
                        <a:pt x="884316" y="0"/>
                      </a:lnTo>
                      <a:cubicBezTo>
                        <a:pt x="884316" y="0"/>
                        <a:pt x="1341661" y="184248"/>
                        <a:pt x="1426143" y="295480"/>
                      </a:cubicBezTo>
                      <a:cubicBezTo>
                        <a:pt x="1426552" y="296026"/>
                        <a:pt x="1426962" y="296572"/>
                        <a:pt x="1427371" y="297117"/>
                      </a:cubicBezTo>
                      <a:cubicBezTo>
                        <a:pt x="1446478" y="323322"/>
                        <a:pt x="1458625" y="359762"/>
                        <a:pt x="1465449" y="404664"/>
                      </a:cubicBezTo>
                      <a:cubicBezTo>
                        <a:pt x="1471591" y="444243"/>
                        <a:pt x="1473774" y="490374"/>
                        <a:pt x="1473365" y="542099"/>
                      </a:cubicBezTo>
                      <a:cubicBezTo>
                        <a:pt x="1473092" y="578949"/>
                        <a:pt x="1471591" y="618665"/>
                        <a:pt x="1469134" y="660701"/>
                      </a:cubicBezTo>
                      <a:cubicBezTo>
                        <a:pt x="1466677" y="705330"/>
                        <a:pt x="1463265" y="752688"/>
                        <a:pt x="1459444" y="802367"/>
                      </a:cubicBezTo>
                      <a:cubicBezTo>
                        <a:pt x="1458352" y="816834"/>
                        <a:pt x="1457260" y="831437"/>
                        <a:pt x="1456168" y="846177"/>
                      </a:cubicBezTo>
                      <a:cubicBezTo>
                        <a:pt x="1454940" y="861190"/>
                        <a:pt x="1453848" y="876340"/>
                        <a:pt x="1452756" y="891762"/>
                      </a:cubicBezTo>
                      <a:cubicBezTo>
                        <a:pt x="1452074" y="901725"/>
                        <a:pt x="1451255" y="911688"/>
                        <a:pt x="1450573" y="921787"/>
                      </a:cubicBezTo>
                      <a:cubicBezTo>
                        <a:pt x="1448662" y="948264"/>
                        <a:pt x="1446615" y="975288"/>
                        <a:pt x="1444841" y="1002584"/>
                      </a:cubicBezTo>
                      <a:cubicBezTo>
                        <a:pt x="1444295" y="1011455"/>
                        <a:pt x="1443612" y="1020326"/>
                        <a:pt x="1443066" y="1029197"/>
                      </a:cubicBezTo>
                      <a:cubicBezTo>
                        <a:pt x="1442657" y="1034793"/>
                        <a:pt x="1442384" y="1040525"/>
                        <a:pt x="1442111" y="1046257"/>
                      </a:cubicBezTo>
                      <a:cubicBezTo>
                        <a:pt x="1441701" y="1051990"/>
                        <a:pt x="1441429" y="1057858"/>
                        <a:pt x="1441019" y="1063590"/>
                      </a:cubicBezTo>
                      <a:lnTo>
                        <a:pt x="1441019" y="1063727"/>
                      </a:lnTo>
                      <a:cubicBezTo>
                        <a:pt x="1440746" y="1069050"/>
                        <a:pt x="1440337" y="1074372"/>
                        <a:pt x="1440064" y="1079695"/>
                      </a:cubicBezTo>
                      <a:cubicBezTo>
                        <a:pt x="1439654" y="1085564"/>
                        <a:pt x="1439381" y="1091296"/>
                        <a:pt x="1439108" y="1097164"/>
                      </a:cubicBezTo>
                      <a:cubicBezTo>
                        <a:pt x="1438562" y="1107946"/>
                        <a:pt x="1438017" y="1118592"/>
                        <a:pt x="1437607" y="1129510"/>
                      </a:cubicBezTo>
                      <a:cubicBezTo>
                        <a:pt x="1437198" y="1138518"/>
                        <a:pt x="1436788" y="1147526"/>
                        <a:pt x="1436515" y="1156533"/>
                      </a:cubicBezTo>
                      <a:cubicBezTo>
                        <a:pt x="1436379" y="1158171"/>
                        <a:pt x="1436379" y="1159809"/>
                        <a:pt x="1436379" y="1161447"/>
                      </a:cubicBezTo>
                      <a:cubicBezTo>
                        <a:pt x="1436106" y="1167315"/>
                        <a:pt x="1435833" y="1173047"/>
                        <a:pt x="1435696" y="1178916"/>
                      </a:cubicBezTo>
                      <a:lnTo>
                        <a:pt x="1435560" y="1181919"/>
                      </a:lnTo>
                      <a:lnTo>
                        <a:pt x="1435423" y="1183420"/>
                      </a:lnTo>
                      <a:cubicBezTo>
                        <a:pt x="1435150" y="1191063"/>
                        <a:pt x="1434877" y="1198842"/>
                        <a:pt x="1434741" y="1206485"/>
                      </a:cubicBezTo>
                      <a:cubicBezTo>
                        <a:pt x="1434468" y="1215629"/>
                        <a:pt x="1434195" y="1224910"/>
                        <a:pt x="1434059" y="1234054"/>
                      </a:cubicBezTo>
                      <a:cubicBezTo>
                        <a:pt x="1433922" y="1238285"/>
                        <a:pt x="1433922" y="1242652"/>
                        <a:pt x="1433786" y="1247020"/>
                      </a:cubicBezTo>
                      <a:cubicBezTo>
                        <a:pt x="1433649" y="1250841"/>
                        <a:pt x="1433649" y="1254799"/>
                        <a:pt x="1433513" y="1258621"/>
                      </a:cubicBezTo>
                      <a:cubicBezTo>
                        <a:pt x="1433513" y="1260531"/>
                        <a:pt x="1433513" y="1262442"/>
                        <a:pt x="1433513" y="1264489"/>
                      </a:cubicBezTo>
                      <a:cubicBezTo>
                        <a:pt x="1433376" y="1269812"/>
                        <a:pt x="1433376" y="1275135"/>
                        <a:pt x="1433240" y="1280594"/>
                      </a:cubicBezTo>
                      <a:cubicBezTo>
                        <a:pt x="1433103" y="1289602"/>
                        <a:pt x="1433103" y="1298746"/>
                        <a:pt x="1433103" y="1308163"/>
                      </a:cubicBezTo>
                      <a:lnTo>
                        <a:pt x="1433103" y="1323039"/>
                      </a:lnTo>
                      <a:cubicBezTo>
                        <a:pt x="1433103" y="1348970"/>
                        <a:pt x="1433376" y="1376130"/>
                        <a:pt x="1433922" y="1404382"/>
                      </a:cubicBezTo>
                      <a:cubicBezTo>
                        <a:pt x="1434059" y="1415982"/>
                        <a:pt x="1434332" y="1427856"/>
                        <a:pt x="1434605" y="1439866"/>
                      </a:cubicBezTo>
                      <a:cubicBezTo>
                        <a:pt x="1434877" y="1452559"/>
                        <a:pt x="1435287" y="1465388"/>
                        <a:pt x="1435560" y="1478490"/>
                      </a:cubicBezTo>
                      <a:cubicBezTo>
                        <a:pt x="1436379" y="1505786"/>
                        <a:pt x="1437334" y="1533765"/>
                        <a:pt x="1438426" y="1562153"/>
                      </a:cubicBezTo>
                      <a:cubicBezTo>
                        <a:pt x="1438562" y="1566247"/>
                        <a:pt x="1438699" y="1570478"/>
                        <a:pt x="1438835" y="1574572"/>
                      </a:cubicBezTo>
                      <a:cubicBezTo>
                        <a:pt x="1438972" y="1576346"/>
                        <a:pt x="1438972" y="1577984"/>
                        <a:pt x="1438972" y="1579622"/>
                      </a:cubicBezTo>
                      <a:cubicBezTo>
                        <a:pt x="1439245" y="1588903"/>
                        <a:pt x="1439654" y="1598183"/>
                        <a:pt x="1440064" y="1607601"/>
                      </a:cubicBezTo>
                      <a:cubicBezTo>
                        <a:pt x="1440610" y="1621112"/>
                        <a:pt x="1441292" y="1634897"/>
                        <a:pt x="1441838" y="1648545"/>
                      </a:cubicBezTo>
                      <a:cubicBezTo>
                        <a:pt x="1442520" y="1663284"/>
                        <a:pt x="1443476" y="1678980"/>
                        <a:pt x="1444704" y="1695630"/>
                      </a:cubicBezTo>
                      <a:cubicBezTo>
                        <a:pt x="1446342" y="1716375"/>
                        <a:pt x="1448389" y="1738348"/>
                        <a:pt x="1450846" y="1761414"/>
                      </a:cubicBezTo>
                      <a:cubicBezTo>
                        <a:pt x="1451392" y="1766873"/>
                        <a:pt x="1452074" y="1772332"/>
                        <a:pt x="1452756" y="1777791"/>
                      </a:cubicBezTo>
                      <a:cubicBezTo>
                        <a:pt x="1453712" y="1786662"/>
                        <a:pt x="1454804" y="1795807"/>
                        <a:pt x="1456032" y="1804951"/>
                      </a:cubicBezTo>
                      <a:cubicBezTo>
                        <a:pt x="1456714" y="1810683"/>
                        <a:pt x="1457397" y="1816552"/>
                        <a:pt x="1458079" y="1822284"/>
                      </a:cubicBezTo>
                      <a:cubicBezTo>
                        <a:pt x="1458625" y="1825969"/>
                        <a:pt x="1459034" y="1829654"/>
                        <a:pt x="1459580" y="1833475"/>
                      </a:cubicBezTo>
                      <a:cubicBezTo>
                        <a:pt x="1461355" y="1847396"/>
                        <a:pt x="1463265" y="1861727"/>
                        <a:pt x="1465449" y="1876330"/>
                      </a:cubicBezTo>
                      <a:cubicBezTo>
                        <a:pt x="1465722" y="1877968"/>
                        <a:pt x="1465858" y="1879605"/>
                        <a:pt x="1466131" y="1881243"/>
                      </a:cubicBezTo>
                      <a:cubicBezTo>
                        <a:pt x="1467223" y="1888613"/>
                        <a:pt x="1468315" y="1895983"/>
                        <a:pt x="1469407" y="1903626"/>
                      </a:cubicBezTo>
                      <a:cubicBezTo>
                        <a:pt x="1471454" y="1917956"/>
                        <a:pt x="1473774" y="1932696"/>
                        <a:pt x="1476094" y="1947573"/>
                      </a:cubicBezTo>
                      <a:cubicBezTo>
                        <a:pt x="1476777" y="1951803"/>
                        <a:pt x="1477459" y="1956034"/>
                        <a:pt x="1478005" y="1960265"/>
                      </a:cubicBezTo>
                      <a:cubicBezTo>
                        <a:pt x="1481963" y="1985651"/>
                        <a:pt x="1486194" y="2011582"/>
                        <a:pt x="1490698" y="2038195"/>
                      </a:cubicBezTo>
                      <a:cubicBezTo>
                        <a:pt x="1491517" y="2042836"/>
                        <a:pt x="1492336" y="2047613"/>
                        <a:pt x="1493155" y="2052389"/>
                      </a:cubicBezTo>
                      <a:cubicBezTo>
                        <a:pt x="1494929" y="2062898"/>
                        <a:pt x="1496703" y="2073407"/>
                        <a:pt x="1498614" y="2084053"/>
                      </a:cubicBezTo>
                      <a:cubicBezTo>
                        <a:pt x="1505028" y="2121039"/>
                        <a:pt x="1511852" y="2158844"/>
                        <a:pt x="1518949" y="2197332"/>
                      </a:cubicBezTo>
                      <a:cubicBezTo>
                        <a:pt x="1527275" y="2241824"/>
                        <a:pt x="1535873" y="2286999"/>
                        <a:pt x="1544744" y="2332583"/>
                      </a:cubicBezTo>
                      <a:cubicBezTo>
                        <a:pt x="1552114" y="2370115"/>
                        <a:pt x="1559620" y="2407784"/>
                        <a:pt x="1567400" y="2445453"/>
                      </a:cubicBezTo>
                      <a:cubicBezTo>
                        <a:pt x="1585415" y="2533619"/>
                        <a:pt x="1603976" y="2621649"/>
                        <a:pt x="1622401" y="2706675"/>
                      </a:cubicBezTo>
                      <a:cubicBezTo>
                        <a:pt x="1651199" y="2838515"/>
                        <a:pt x="1562077" y="2967899"/>
                        <a:pt x="1428053" y="298755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23" name="组合 22">
                  <a:extLst>
                    <a:ext uri="{FF2B5EF4-FFF2-40B4-BE49-F238E27FC236}">
                      <a16:creationId xmlns:a16="http://schemas.microsoft.com/office/drawing/2014/main" id="{259356AE-3F16-4A0F-AE90-670FE51B9627}"/>
                    </a:ext>
                  </a:extLst>
                </p:cNvPr>
                <p:cNvGrpSpPr/>
                <p:nvPr/>
              </p:nvGrpSpPr>
              <p:grpSpPr>
                <a:xfrm>
                  <a:off x="8604522" y="2568908"/>
                  <a:ext cx="1423761" cy="2219850"/>
                  <a:chOff x="8604522" y="2568908"/>
                  <a:chExt cx="1423761" cy="2219850"/>
                </a:xfrm>
                <a:solidFill>
                  <a:srgbClr val="93C3FD"/>
                </a:solidFill>
              </p:grpSpPr>
              <p:sp>
                <p:nvSpPr>
                  <p:cNvPr id="24" name="任意多边形: 形状 23">
                    <a:extLst>
                      <a:ext uri="{FF2B5EF4-FFF2-40B4-BE49-F238E27FC236}">
                        <a16:creationId xmlns:a16="http://schemas.microsoft.com/office/drawing/2014/main" id="{9057D1E2-1F74-4D4F-98CE-51CC04AD11BD}"/>
                      </a:ext>
                    </a:extLst>
                  </p:cNvPr>
                  <p:cNvSpPr/>
                  <p:nvPr/>
                </p:nvSpPr>
                <p:spPr>
                  <a:xfrm>
                    <a:off x="8750419" y="2568908"/>
                    <a:ext cx="1175913" cy="174967"/>
                  </a:xfrm>
                  <a:custGeom>
                    <a:avLst/>
                    <a:gdLst>
                      <a:gd name="connsiteX0" fmla="*/ 1175914 w 1175913"/>
                      <a:gd name="connsiteY0" fmla="*/ 109321 h 174967"/>
                      <a:gd name="connsiteX1" fmla="*/ 542509 w 1175913"/>
                      <a:gd name="connsiteY1" fmla="*/ 174968 h 174967"/>
                      <a:gd name="connsiteX2" fmla="*/ 452159 w 1175913"/>
                      <a:gd name="connsiteY2" fmla="*/ 173603 h 174967"/>
                      <a:gd name="connsiteX3" fmla="*/ 0 w 1175913"/>
                      <a:gd name="connsiteY3" fmla="*/ 125016 h 174967"/>
                      <a:gd name="connsiteX4" fmla="*/ 12693 w 1175913"/>
                      <a:gd name="connsiteY4" fmla="*/ 68922 h 174967"/>
                      <a:gd name="connsiteX5" fmla="*/ 25385 w 1175913"/>
                      <a:gd name="connsiteY5" fmla="*/ 12829 h 174967"/>
                      <a:gd name="connsiteX6" fmla="*/ 25385 w 1175913"/>
                      <a:gd name="connsiteY6" fmla="*/ 12829 h 174967"/>
                      <a:gd name="connsiteX7" fmla="*/ 458574 w 1175913"/>
                      <a:gd name="connsiteY7" fmla="*/ 58686 h 174967"/>
                      <a:gd name="connsiteX8" fmla="*/ 1136471 w 1175913"/>
                      <a:gd name="connsiteY8" fmla="*/ 0 h 174967"/>
                      <a:gd name="connsiteX9" fmla="*/ 1137699 w 1175913"/>
                      <a:gd name="connsiteY9" fmla="*/ 1638 h 174967"/>
                      <a:gd name="connsiteX10" fmla="*/ 1175914 w 1175913"/>
                      <a:gd name="connsiteY10" fmla="*/ 109321 h 174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175913" h="174967">
                        <a:moveTo>
                          <a:pt x="1175914" y="109321"/>
                        </a:moveTo>
                        <a:cubicBezTo>
                          <a:pt x="937892" y="160364"/>
                          <a:pt x="717067" y="174968"/>
                          <a:pt x="542509" y="174968"/>
                        </a:cubicBezTo>
                        <a:cubicBezTo>
                          <a:pt x="510846" y="174968"/>
                          <a:pt x="480683" y="174422"/>
                          <a:pt x="452159" y="173603"/>
                        </a:cubicBezTo>
                        <a:cubicBezTo>
                          <a:pt x="182747" y="165687"/>
                          <a:pt x="7370" y="126654"/>
                          <a:pt x="0" y="125016"/>
                        </a:cubicBezTo>
                        <a:lnTo>
                          <a:pt x="12693" y="68922"/>
                        </a:lnTo>
                        <a:lnTo>
                          <a:pt x="25385" y="12829"/>
                        </a:lnTo>
                        <a:lnTo>
                          <a:pt x="25385" y="12829"/>
                        </a:lnTo>
                        <a:cubicBezTo>
                          <a:pt x="28797" y="13648"/>
                          <a:pt x="200762" y="51453"/>
                          <a:pt x="458574" y="58686"/>
                        </a:cubicBezTo>
                        <a:cubicBezTo>
                          <a:pt x="632722" y="63600"/>
                          <a:pt x="873337" y="54865"/>
                          <a:pt x="1136471" y="0"/>
                        </a:cubicBezTo>
                        <a:cubicBezTo>
                          <a:pt x="1136880" y="546"/>
                          <a:pt x="1137290" y="1092"/>
                          <a:pt x="1137699" y="1638"/>
                        </a:cubicBezTo>
                        <a:cubicBezTo>
                          <a:pt x="1156943" y="27842"/>
                          <a:pt x="1168953" y="64282"/>
                          <a:pt x="1175914" y="1093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5" name="任意多边形: 形状 24">
                    <a:extLst>
                      <a:ext uri="{FF2B5EF4-FFF2-40B4-BE49-F238E27FC236}">
                        <a16:creationId xmlns:a16="http://schemas.microsoft.com/office/drawing/2014/main" id="{A221BEBE-5ADC-49DD-8F7A-9C9510090C2F}"/>
                      </a:ext>
                    </a:extLst>
                  </p:cNvPr>
                  <p:cNvSpPr/>
                  <p:nvPr/>
                </p:nvSpPr>
                <p:spPr>
                  <a:xfrm>
                    <a:off x="8732131" y="2815664"/>
                    <a:ext cx="1201981" cy="182610"/>
                  </a:xfrm>
                  <a:custGeom>
                    <a:avLst/>
                    <a:gdLst>
                      <a:gd name="connsiteX0" fmla="*/ 1201981 w 1201981"/>
                      <a:gd name="connsiteY0" fmla="*/ 0 h 182610"/>
                      <a:gd name="connsiteX1" fmla="*/ 1197750 w 1201981"/>
                      <a:gd name="connsiteY1" fmla="*/ 118601 h 182610"/>
                      <a:gd name="connsiteX2" fmla="*/ 573081 w 1201981"/>
                      <a:gd name="connsiteY2" fmla="*/ 182611 h 182610"/>
                      <a:gd name="connsiteX3" fmla="*/ 451477 w 1201981"/>
                      <a:gd name="connsiteY3" fmla="*/ 180290 h 182610"/>
                      <a:gd name="connsiteX4" fmla="*/ 0 w 1201981"/>
                      <a:gd name="connsiteY4" fmla="*/ 127200 h 182610"/>
                      <a:gd name="connsiteX5" fmla="*/ 26477 w 1201981"/>
                      <a:gd name="connsiteY5" fmla="*/ 15286 h 182610"/>
                      <a:gd name="connsiteX6" fmla="*/ 458983 w 1201981"/>
                      <a:gd name="connsiteY6" fmla="*/ 65511 h 182610"/>
                      <a:gd name="connsiteX7" fmla="*/ 1201981 w 1201981"/>
                      <a:gd name="connsiteY7" fmla="*/ 0 h 18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01981" h="182610">
                        <a:moveTo>
                          <a:pt x="1201981" y="0"/>
                        </a:moveTo>
                        <a:cubicBezTo>
                          <a:pt x="1201708" y="36850"/>
                          <a:pt x="1200207" y="76565"/>
                          <a:pt x="1197750" y="118601"/>
                        </a:cubicBezTo>
                        <a:cubicBezTo>
                          <a:pt x="964915" y="168144"/>
                          <a:pt x="747912" y="182611"/>
                          <a:pt x="573081" y="182611"/>
                        </a:cubicBezTo>
                        <a:cubicBezTo>
                          <a:pt x="529816" y="182611"/>
                          <a:pt x="489145" y="181655"/>
                          <a:pt x="451477" y="180290"/>
                        </a:cubicBezTo>
                        <a:cubicBezTo>
                          <a:pt x="182201" y="169781"/>
                          <a:pt x="7370" y="128974"/>
                          <a:pt x="0" y="127200"/>
                        </a:cubicBezTo>
                        <a:lnTo>
                          <a:pt x="26477" y="15286"/>
                        </a:lnTo>
                        <a:cubicBezTo>
                          <a:pt x="28251" y="15695"/>
                          <a:pt x="200080" y="55548"/>
                          <a:pt x="458983" y="65511"/>
                        </a:cubicBezTo>
                        <a:cubicBezTo>
                          <a:pt x="647326" y="72608"/>
                          <a:pt x="913326" y="64692"/>
                          <a:pt x="1201981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6" name="任意多边形: 形状 25">
                    <a:extLst>
                      <a:ext uri="{FF2B5EF4-FFF2-40B4-BE49-F238E27FC236}">
                        <a16:creationId xmlns:a16="http://schemas.microsoft.com/office/drawing/2014/main" id="{21FFB40E-1F35-4FD5-A754-A1241958BABC}"/>
                      </a:ext>
                    </a:extLst>
                  </p:cNvPr>
                  <p:cNvSpPr/>
                  <p:nvPr/>
                </p:nvSpPr>
                <p:spPr>
                  <a:xfrm>
                    <a:off x="8714115" y="3075795"/>
                    <a:ext cx="1206212" cy="177287"/>
                  </a:xfrm>
                  <a:custGeom>
                    <a:avLst/>
                    <a:gdLst>
                      <a:gd name="connsiteX0" fmla="*/ 1206212 w 1206212"/>
                      <a:gd name="connsiteY0" fmla="*/ 0 h 177287"/>
                      <a:gd name="connsiteX1" fmla="*/ 1202937 w 1206212"/>
                      <a:gd name="connsiteY1" fmla="*/ 43810 h 177287"/>
                      <a:gd name="connsiteX2" fmla="*/ 1199525 w 1206212"/>
                      <a:gd name="connsiteY2" fmla="*/ 89395 h 177287"/>
                      <a:gd name="connsiteX3" fmla="*/ 1197341 w 1206212"/>
                      <a:gd name="connsiteY3" fmla="*/ 119420 h 177287"/>
                      <a:gd name="connsiteX4" fmla="*/ 603925 w 1206212"/>
                      <a:gd name="connsiteY4" fmla="*/ 177288 h 177287"/>
                      <a:gd name="connsiteX5" fmla="*/ 450794 w 1206212"/>
                      <a:gd name="connsiteY5" fmla="*/ 173603 h 177287"/>
                      <a:gd name="connsiteX6" fmla="*/ 0 w 1206212"/>
                      <a:gd name="connsiteY6" fmla="*/ 116008 h 177287"/>
                      <a:gd name="connsiteX7" fmla="*/ 27569 w 1206212"/>
                      <a:gd name="connsiteY7" fmla="*/ 4367 h 177287"/>
                      <a:gd name="connsiteX8" fmla="*/ 459529 w 1206212"/>
                      <a:gd name="connsiteY8" fmla="*/ 58823 h 177287"/>
                      <a:gd name="connsiteX9" fmla="*/ 1206212 w 1206212"/>
                      <a:gd name="connsiteY9" fmla="*/ 0 h 17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06212" h="177287">
                        <a:moveTo>
                          <a:pt x="1206212" y="0"/>
                        </a:moveTo>
                        <a:cubicBezTo>
                          <a:pt x="1205120" y="14467"/>
                          <a:pt x="1204028" y="29070"/>
                          <a:pt x="1202937" y="43810"/>
                        </a:cubicBezTo>
                        <a:cubicBezTo>
                          <a:pt x="1201708" y="58823"/>
                          <a:pt x="1200616" y="73972"/>
                          <a:pt x="1199525" y="89395"/>
                        </a:cubicBezTo>
                        <a:cubicBezTo>
                          <a:pt x="1198842" y="99358"/>
                          <a:pt x="1198023" y="109321"/>
                          <a:pt x="1197341" y="119420"/>
                        </a:cubicBezTo>
                        <a:cubicBezTo>
                          <a:pt x="978017" y="163776"/>
                          <a:pt x="772888" y="177288"/>
                          <a:pt x="603925" y="177288"/>
                        </a:cubicBezTo>
                        <a:cubicBezTo>
                          <a:pt x="548787" y="177288"/>
                          <a:pt x="497471" y="175787"/>
                          <a:pt x="450794" y="173603"/>
                        </a:cubicBezTo>
                        <a:cubicBezTo>
                          <a:pt x="181655" y="160364"/>
                          <a:pt x="7233" y="117782"/>
                          <a:pt x="0" y="116008"/>
                        </a:cubicBezTo>
                        <a:lnTo>
                          <a:pt x="27569" y="4367"/>
                        </a:lnTo>
                        <a:cubicBezTo>
                          <a:pt x="29343" y="4777"/>
                          <a:pt x="200762" y="46403"/>
                          <a:pt x="459529" y="58823"/>
                        </a:cubicBezTo>
                        <a:cubicBezTo>
                          <a:pt x="648145" y="67967"/>
                          <a:pt x="915509" y="62645"/>
                          <a:pt x="1206212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7" name="任意多边形: 形状 26">
                    <a:extLst>
                      <a:ext uri="{FF2B5EF4-FFF2-40B4-BE49-F238E27FC236}">
                        <a16:creationId xmlns:a16="http://schemas.microsoft.com/office/drawing/2014/main" id="{A5AA379C-B571-491B-B6CF-BA9D5F0D3CB9}"/>
                      </a:ext>
                    </a:extLst>
                  </p:cNvPr>
                  <p:cNvSpPr/>
                  <p:nvPr/>
                </p:nvSpPr>
                <p:spPr>
                  <a:xfrm>
                    <a:off x="8695827" y="3329375"/>
                    <a:ext cx="1205939" cy="178925"/>
                  </a:xfrm>
                  <a:custGeom>
                    <a:avLst/>
                    <a:gdLst>
                      <a:gd name="connsiteX0" fmla="*/ 1205939 w 1205939"/>
                      <a:gd name="connsiteY0" fmla="*/ 7779 h 178925"/>
                      <a:gd name="connsiteX1" fmla="*/ 1205939 w 1205939"/>
                      <a:gd name="connsiteY1" fmla="*/ 7779 h 178925"/>
                      <a:gd name="connsiteX2" fmla="*/ 1204984 w 1205939"/>
                      <a:gd name="connsiteY2" fmla="*/ 23884 h 178925"/>
                      <a:gd name="connsiteX3" fmla="*/ 1204028 w 1205939"/>
                      <a:gd name="connsiteY3" fmla="*/ 41353 h 178925"/>
                      <a:gd name="connsiteX4" fmla="*/ 1202527 w 1205939"/>
                      <a:gd name="connsiteY4" fmla="*/ 73699 h 178925"/>
                      <a:gd name="connsiteX5" fmla="*/ 1201435 w 1205939"/>
                      <a:gd name="connsiteY5" fmla="*/ 100722 h 178925"/>
                      <a:gd name="connsiteX6" fmla="*/ 1201299 w 1205939"/>
                      <a:gd name="connsiteY6" fmla="*/ 105636 h 178925"/>
                      <a:gd name="connsiteX7" fmla="*/ 1200616 w 1205939"/>
                      <a:gd name="connsiteY7" fmla="*/ 123105 h 178925"/>
                      <a:gd name="connsiteX8" fmla="*/ 1200480 w 1205939"/>
                      <a:gd name="connsiteY8" fmla="*/ 126108 h 178925"/>
                      <a:gd name="connsiteX9" fmla="*/ 634633 w 1205939"/>
                      <a:gd name="connsiteY9" fmla="*/ 178926 h 178925"/>
                      <a:gd name="connsiteX10" fmla="*/ 450112 w 1205939"/>
                      <a:gd name="connsiteY10" fmla="*/ 173466 h 178925"/>
                      <a:gd name="connsiteX11" fmla="*/ 0 w 1205939"/>
                      <a:gd name="connsiteY11" fmla="*/ 111368 h 178925"/>
                      <a:gd name="connsiteX12" fmla="*/ 28661 w 1205939"/>
                      <a:gd name="connsiteY12" fmla="*/ 0 h 178925"/>
                      <a:gd name="connsiteX13" fmla="*/ 28661 w 1205939"/>
                      <a:gd name="connsiteY13" fmla="*/ 0 h 178925"/>
                      <a:gd name="connsiteX14" fmla="*/ 148900 w 1205939"/>
                      <a:gd name="connsiteY14" fmla="*/ 24021 h 178925"/>
                      <a:gd name="connsiteX15" fmla="*/ 459938 w 1205939"/>
                      <a:gd name="connsiteY15" fmla="*/ 58687 h 178925"/>
                      <a:gd name="connsiteX16" fmla="*/ 1205939 w 1205939"/>
                      <a:gd name="connsiteY16" fmla="*/ 7779 h 178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05939" h="178925">
                        <a:moveTo>
                          <a:pt x="1205939" y="7779"/>
                        </a:moveTo>
                        <a:lnTo>
                          <a:pt x="1205939" y="7779"/>
                        </a:lnTo>
                        <a:cubicBezTo>
                          <a:pt x="1205666" y="13239"/>
                          <a:pt x="1205257" y="18561"/>
                          <a:pt x="1204984" y="23884"/>
                        </a:cubicBezTo>
                        <a:cubicBezTo>
                          <a:pt x="1204575" y="29753"/>
                          <a:pt x="1204302" y="35485"/>
                          <a:pt x="1204028" y="41353"/>
                        </a:cubicBezTo>
                        <a:cubicBezTo>
                          <a:pt x="1203483" y="52136"/>
                          <a:pt x="1202937" y="62781"/>
                          <a:pt x="1202527" y="73699"/>
                        </a:cubicBezTo>
                        <a:cubicBezTo>
                          <a:pt x="1202118" y="82707"/>
                          <a:pt x="1201708" y="91715"/>
                          <a:pt x="1201435" y="100722"/>
                        </a:cubicBezTo>
                        <a:cubicBezTo>
                          <a:pt x="1201299" y="102360"/>
                          <a:pt x="1201299" y="103998"/>
                          <a:pt x="1201299" y="105636"/>
                        </a:cubicBezTo>
                        <a:cubicBezTo>
                          <a:pt x="1201026" y="111504"/>
                          <a:pt x="1200753" y="117237"/>
                          <a:pt x="1200616" y="123105"/>
                        </a:cubicBezTo>
                        <a:lnTo>
                          <a:pt x="1200480" y="126108"/>
                        </a:lnTo>
                        <a:cubicBezTo>
                          <a:pt x="992894" y="166233"/>
                          <a:pt x="798136" y="178926"/>
                          <a:pt x="634633" y="178926"/>
                        </a:cubicBezTo>
                        <a:cubicBezTo>
                          <a:pt x="567485" y="178926"/>
                          <a:pt x="505523" y="176878"/>
                          <a:pt x="450112" y="173466"/>
                        </a:cubicBezTo>
                        <a:cubicBezTo>
                          <a:pt x="181246" y="157498"/>
                          <a:pt x="7233" y="113279"/>
                          <a:pt x="0" y="111368"/>
                        </a:cubicBezTo>
                        <a:lnTo>
                          <a:pt x="28661" y="0"/>
                        </a:lnTo>
                        <a:lnTo>
                          <a:pt x="28661" y="0"/>
                        </a:lnTo>
                        <a:cubicBezTo>
                          <a:pt x="30162" y="409"/>
                          <a:pt x="73699" y="11328"/>
                          <a:pt x="148900" y="24021"/>
                        </a:cubicBezTo>
                        <a:cubicBezTo>
                          <a:pt x="224100" y="36713"/>
                          <a:pt x="331101" y="51317"/>
                          <a:pt x="459938" y="58687"/>
                        </a:cubicBezTo>
                        <a:cubicBezTo>
                          <a:pt x="648281" y="69878"/>
                          <a:pt x="915236" y="67148"/>
                          <a:pt x="1205939" y="7779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8" name="任意多边形: 形状 27">
                    <a:extLst>
                      <a:ext uri="{FF2B5EF4-FFF2-40B4-BE49-F238E27FC236}">
                        <a16:creationId xmlns:a16="http://schemas.microsoft.com/office/drawing/2014/main" id="{36FBA8D6-FD0D-4613-9532-69D7C0E19743}"/>
                      </a:ext>
                    </a:extLst>
                  </p:cNvPr>
                  <p:cNvSpPr/>
                  <p:nvPr/>
                </p:nvSpPr>
                <p:spPr>
                  <a:xfrm>
                    <a:off x="8677675" y="3578725"/>
                    <a:ext cx="1217949" cy="185203"/>
                  </a:xfrm>
                  <a:custGeom>
                    <a:avLst/>
                    <a:gdLst>
                      <a:gd name="connsiteX0" fmla="*/ 1217131 w 1217949"/>
                      <a:gd name="connsiteY0" fmla="*/ 98948 h 185203"/>
                      <a:gd name="connsiteX1" fmla="*/ 1216312 w 1217949"/>
                      <a:gd name="connsiteY1" fmla="*/ 17606 h 185203"/>
                      <a:gd name="connsiteX2" fmla="*/ 460348 w 1217949"/>
                      <a:gd name="connsiteY2" fmla="*/ 63054 h 185203"/>
                      <a:gd name="connsiteX3" fmla="*/ 29753 w 1217949"/>
                      <a:gd name="connsiteY3" fmla="*/ 0 h 185203"/>
                      <a:gd name="connsiteX4" fmla="*/ 14876 w 1217949"/>
                      <a:gd name="connsiteY4" fmla="*/ 55548 h 185203"/>
                      <a:gd name="connsiteX5" fmla="*/ 0 w 1217949"/>
                      <a:gd name="connsiteY5" fmla="*/ 111095 h 185203"/>
                      <a:gd name="connsiteX6" fmla="*/ 449429 w 1217949"/>
                      <a:gd name="connsiteY6" fmla="*/ 177697 h 185203"/>
                      <a:gd name="connsiteX7" fmla="*/ 665478 w 1217949"/>
                      <a:gd name="connsiteY7" fmla="*/ 185204 h 185203"/>
                      <a:gd name="connsiteX8" fmla="*/ 1217949 w 1217949"/>
                      <a:gd name="connsiteY8" fmla="*/ 134569 h 185203"/>
                      <a:gd name="connsiteX9" fmla="*/ 1217131 w 1217949"/>
                      <a:gd name="connsiteY9" fmla="*/ 98948 h 185203"/>
                      <a:gd name="connsiteX10" fmla="*/ 29616 w 1217949"/>
                      <a:gd name="connsiteY10" fmla="*/ 0 h 185203"/>
                      <a:gd name="connsiteX11" fmla="*/ 14740 w 1217949"/>
                      <a:gd name="connsiteY11" fmla="*/ 55548 h 185203"/>
                      <a:gd name="connsiteX12" fmla="*/ 29616 w 1217949"/>
                      <a:gd name="connsiteY12" fmla="*/ 0 h 185203"/>
                      <a:gd name="connsiteX13" fmla="*/ 29616 w 1217949"/>
                      <a:gd name="connsiteY13" fmla="*/ 0 h 185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17949" h="185203">
                        <a:moveTo>
                          <a:pt x="1217131" y="98948"/>
                        </a:moveTo>
                        <a:cubicBezTo>
                          <a:pt x="1216585" y="70697"/>
                          <a:pt x="1216312" y="43537"/>
                          <a:pt x="1216312" y="17606"/>
                        </a:cubicBezTo>
                        <a:cubicBezTo>
                          <a:pt x="921241" y="75883"/>
                          <a:pt x="650601" y="76020"/>
                          <a:pt x="460348" y="63054"/>
                        </a:cubicBezTo>
                        <a:cubicBezTo>
                          <a:pt x="202946" y="45448"/>
                          <a:pt x="32892" y="819"/>
                          <a:pt x="29753" y="0"/>
                        </a:cubicBezTo>
                        <a:lnTo>
                          <a:pt x="14876" y="55548"/>
                        </a:lnTo>
                        <a:lnTo>
                          <a:pt x="0" y="111095"/>
                        </a:lnTo>
                        <a:cubicBezTo>
                          <a:pt x="7233" y="113006"/>
                          <a:pt x="180700" y="158999"/>
                          <a:pt x="449429" y="177697"/>
                        </a:cubicBezTo>
                        <a:cubicBezTo>
                          <a:pt x="513439" y="182201"/>
                          <a:pt x="586046" y="185204"/>
                          <a:pt x="665478" y="185204"/>
                        </a:cubicBezTo>
                        <a:cubicBezTo>
                          <a:pt x="827070" y="185204"/>
                          <a:pt x="1016641" y="172784"/>
                          <a:pt x="1217949" y="134569"/>
                        </a:cubicBezTo>
                        <a:cubicBezTo>
                          <a:pt x="1217540" y="122559"/>
                          <a:pt x="1217267" y="110685"/>
                          <a:pt x="1217131" y="98948"/>
                        </a:cubicBezTo>
                        <a:close/>
                        <a:moveTo>
                          <a:pt x="29616" y="0"/>
                        </a:moveTo>
                        <a:lnTo>
                          <a:pt x="14740" y="55548"/>
                        </a:lnTo>
                        <a:lnTo>
                          <a:pt x="29616" y="0"/>
                        </a:lnTo>
                        <a:lnTo>
                          <a:pt x="29616" y="0"/>
                        </a:ln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29" name="任意多边形: 形状 28">
                    <a:extLst>
                      <a:ext uri="{FF2B5EF4-FFF2-40B4-BE49-F238E27FC236}">
                        <a16:creationId xmlns:a16="http://schemas.microsoft.com/office/drawing/2014/main" id="{716F415A-CA03-4ED5-A8AD-D1142AF4CF23}"/>
                      </a:ext>
                    </a:extLst>
                  </p:cNvPr>
                  <p:cNvSpPr/>
                  <p:nvPr/>
                </p:nvSpPr>
                <p:spPr>
                  <a:xfrm>
                    <a:off x="8659250" y="3827938"/>
                    <a:ext cx="1246473" cy="191618"/>
                  </a:xfrm>
                  <a:custGeom>
                    <a:avLst/>
                    <a:gdLst>
                      <a:gd name="connsiteX0" fmla="*/ 1246474 w 1246473"/>
                      <a:gd name="connsiteY0" fmla="*/ 141121 h 191618"/>
                      <a:gd name="connsiteX1" fmla="*/ 696186 w 1246473"/>
                      <a:gd name="connsiteY1" fmla="*/ 191618 h 191618"/>
                      <a:gd name="connsiteX2" fmla="*/ 448747 w 1246473"/>
                      <a:gd name="connsiteY2" fmla="*/ 181928 h 191618"/>
                      <a:gd name="connsiteX3" fmla="*/ 0 w 1246473"/>
                      <a:gd name="connsiteY3" fmla="*/ 110822 h 191618"/>
                      <a:gd name="connsiteX4" fmla="*/ 15422 w 1246473"/>
                      <a:gd name="connsiteY4" fmla="*/ 55411 h 191618"/>
                      <a:gd name="connsiteX5" fmla="*/ 30845 w 1246473"/>
                      <a:gd name="connsiteY5" fmla="*/ 0 h 191618"/>
                      <a:gd name="connsiteX6" fmla="*/ 30845 w 1246473"/>
                      <a:gd name="connsiteY6" fmla="*/ 0 h 191618"/>
                      <a:gd name="connsiteX7" fmla="*/ 460894 w 1246473"/>
                      <a:gd name="connsiteY7" fmla="*/ 67421 h 191618"/>
                      <a:gd name="connsiteX8" fmla="*/ 1240605 w 1246473"/>
                      <a:gd name="connsiteY8" fmla="*/ 25113 h 191618"/>
                      <a:gd name="connsiteX9" fmla="*/ 1241697 w 1246473"/>
                      <a:gd name="connsiteY9" fmla="*/ 53091 h 191618"/>
                      <a:gd name="connsiteX10" fmla="*/ 1243471 w 1246473"/>
                      <a:gd name="connsiteY10" fmla="*/ 94035 h 191618"/>
                      <a:gd name="connsiteX11" fmla="*/ 1246474 w 1246473"/>
                      <a:gd name="connsiteY11" fmla="*/ 141121 h 1916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46473" h="191618">
                        <a:moveTo>
                          <a:pt x="1246474" y="141121"/>
                        </a:moveTo>
                        <a:cubicBezTo>
                          <a:pt x="1047076" y="179062"/>
                          <a:pt x="858597" y="191618"/>
                          <a:pt x="696186" y="191618"/>
                        </a:cubicBezTo>
                        <a:cubicBezTo>
                          <a:pt x="604334" y="191618"/>
                          <a:pt x="520945" y="187524"/>
                          <a:pt x="448747" y="181928"/>
                        </a:cubicBezTo>
                        <a:cubicBezTo>
                          <a:pt x="180290" y="160637"/>
                          <a:pt x="7234" y="112869"/>
                          <a:pt x="0" y="110822"/>
                        </a:cubicBezTo>
                        <a:lnTo>
                          <a:pt x="15422" y="55411"/>
                        </a:lnTo>
                        <a:lnTo>
                          <a:pt x="30845" y="0"/>
                        </a:lnTo>
                        <a:cubicBezTo>
                          <a:pt x="30845" y="0"/>
                          <a:pt x="30845" y="0"/>
                          <a:pt x="30845" y="0"/>
                        </a:cubicBezTo>
                        <a:cubicBezTo>
                          <a:pt x="33574" y="819"/>
                          <a:pt x="203356" y="47222"/>
                          <a:pt x="460894" y="67421"/>
                        </a:cubicBezTo>
                        <a:cubicBezTo>
                          <a:pt x="656060" y="82707"/>
                          <a:pt x="935845" y="85027"/>
                          <a:pt x="1240605" y="25113"/>
                        </a:cubicBezTo>
                        <a:cubicBezTo>
                          <a:pt x="1240878" y="34393"/>
                          <a:pt x="1241288" y="43674"/>
                          <a:pt x="1241697" y="53091"/>
                        </a:cubicBezTo>
                        <a:cubicBezTo>
                          <a:pt x="1242243" y="66602"/>
                          <a:pt x="1242925" y="80387"/>
                          <a:pt x="1243471" y="94035"/>
                        </a:cubicBezTo>
                        <a:cubicBezTo>
                          <a:pt x="1244154" y="108911"/>
                          <a:pt x="1245245" y="124606"/>
                          <a:pt x="1246474" y="1411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0" name="任意多边形: 形状 29">
                    <a:extLst>
                      <a:ext uri="{FF2B5EF4-FFF2-40B4-BE49-F238E27FC236}">
                        <a16:creationId xmlns:a16="http://schemas.microsoft.com/office/drawing/2014/main" id="{D0A6B3DC-1567-4426-A0EF-3B8E564B2674}"/>
                      </a:ext>
                    </a:extLst>
                  </p:cNvPr>
                  <p:cNvSpPr/>
                  <p:nvPr/>
                </p:nvSpPr>
                <p:spPr>
                  <a:xfrm>
                    <a:off x="8641099" y="4077287"/>
                    <a:ext cx="1295879" cy="198442"/>
                  </a:xfrm>
                  <a:custGeom>
                    <a:avLst/>
                    <a:gdLst>
                      <a:gd name="connsiteX0" fmla="*/ 1295880 w 1295879"/>
                      <a:gd name="connsiteY0" fmla="*/ 143850 h 198442"/>
                      <a:gd name="connsiteX1" fmla="*/ 726894 w 1295879"/>
                      <a:gd name="connsiteY1" fmla="*/ 198442 h 198442"/>
                      <a:gd name="connsiteX2" fmla="*/ 448201 w 1295879"/>
                      <a:gd name="connsiteY2" fmla="*/ 186023 h 198442"/>
                      <a:gd name="connsiteX3" fmla="*/ 0 w 1295879"/>
                      <a:gd name="connsiteY3" fmla="*/ 110412 h 198442"/>
                      <a:gd name="connsiteX4" fmla="*/ 32073 w 1295879"/>
                      <a:gd name="connsiteY4" fmla="*/ 0 h 198442"/>
                      <a:gd name="connsiteX5" fmla="*/ 32073 w 1295879"/>
                      <a:gd name="connsiteY5" fmla="*/ 0 h 198442"/>
                      <a:gd name="connsiteX6" fmla="*/ 461440 w 1295879"/>
                      <a:gd name="connsiteY6" fmla="*/ 71789 h 198442"/>
                      <a:gd name="connsiteX7" fmla="*/ 1279502 w 1295879"/>
                      <a:gd name="connsiteY7" fmla="*/ 29889 h 198442"/>
                      <a:gd name="connsiteX8" fmla="*/ 1285371 w 1295879"/>
                      <a:gd name="connsiteY8" fmla="*/ 72744 h 198442"/>
                      <a:gd name="connsiteX9" fmla="*/ 1286053 w 1295879"/>
                      <a:gd name="connsiteY9" fmla="*/ 77657 h 198442"/>
                      <a:gd name="connsiteX10" fmla="*/ 1289329 w 1295879"/>
                      <a:gd name="connsiteY10" fmla="*/ 100040 h 198442"/>
                      <a:gd name="connsiteX11" fmla="*/ 1295880 w 1295879"/>
                      <a:gd name="connsiteY11" fmla="*/ 143850 h 1984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95879" h="198442">
                        <a:moveTo>
                          <a:pt x="1295880" y="143850"/>
                        </a:moveTo>
                        <a:cubicBezTo>
                          <a:pt x="1090613" y="184794"/>
                          <a:pt x="895583" y="198442"/>
                          <a:pt x="726894" y="198442"/>
                        </a:cubicBezTo>
                        <a:cubicBezTo>
                          <a:pt x="622623" y="198442"/>
                          <a:pt x="528451" y="193256"/>
                          <a:pt x="448201" y="186023"/>
                        </a:cubicBezTo>
                        <a:cubicBezTo>
                          <a:pt x="179881" y="162002"/>
                          <a:pt x="7233" y="112596"/>
                          <a:pt x="0" y="110412"/>
                        </a:cubicBezTo>
                        <a:lnTo>
                          <a:pt x="32073" y="0"/>
                        </a:lnTo>
                        <a:lnTo>
                          <a:pt x="32073" y="0"/>
                        </a:lnTo>
                        <a:cubicBezTo>
                          <a:pt x="33711" y="546"/>
                          <a:pt x="203355" y="48996"/>
                          <a:pt x="461440" y="71789"/>
                        </a:cubicBezTo>
                        <a:cubicBezTo>
                          <a:pt x="664386" y="89804"/>
                          <a:pt x="959592" y="94581"/>
                          <a:pt x="1279502" y="29889"/>
                        </a:cubicBezTo>
                        <a:cubicBezTo>
                          <a:pt x="1281276" y="43810"/>
                          <a:pt x="1283187" y="58141"/>
                          <a:pt x="1285371" y="72744"/>
                        </a:cubicBezTo>
                        <a:cubicBezTo>
                          <a:pt x="1285644" y="74382"/>
                          <a:pt x="1285780" y="76020"/>
                          <a:pt x="1286053" y="77657"/>
                        </a:cubicBezTo>
                        <a:cubicBezTo>
                          <a:pt x="1287145" y="85027"/>
                          <a:pt x="1288237" y="92397"/>
                          <a:pt x="1289329" y="100040"/>
                        </a:cubicBezTo>
                        <a:cubicBezTo>
                          <a:pt x="1291239" y="114234"/>
                          <a:pt x="1293559" y="128974"/>
                          <a:pt x="1295880" y="14385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1" name="任意多边形: 形状 30">
                    <a:extLst>
                      <a:ext uri="{FF2B5EF4-FFF2-40B4-BE49-F238E27FC236}">
                        <a16:creationId xmlns:a16="http://schemas.microsoft.com/office/drawing/2014/main" id="{D00028B4-325B-40F9-A8C3-C95A95D34204}"/>
                      </a:ext>
                    </a:extLst>
                  </p:cNvPr>
                  <p:cNvSpPr/>
                  <p:nvPr/>
                </p:nvSpPr>
                <p:spPr>
                  <a:xfrm>
                    <a:off x="8622674" y="4326500"/>
                    <a:ext cx="1357159" cy="205539"/>
                  </a:xfrm>
                  <a:custGeom>
                    <a:avLst/>
                    <a:gdLst>
                      <a:gd name="connsiteX0" fmla="*/ 1357159 w 1357159"/>
                      <a:gd name="connsiteY0" fmla="*/ 144123 h 205539"/>
                      <a:gd name="connsiteX1" fmla="*/ 757465 w 1357159"/>
                      <a:gd name="connsiteY1" fmla="*/ 205539 h 205539"/>
                      <a:gd name="connsiteX2" fmla="*/ 447519 w 1357159"/>
                      <a:gd name="connsiteY2" fmla="*/ 190253 h 205539"/>
                      <a:gd name="connsiteX3" fmla="*/ 0 w 1357159"/>
                      <a:gd name="connsiteY3" fmla="*/ 110139 h 205539"/>
                      <a:gd name="connsiteX4" fmla="*/ 33165 w 1357159"/>
                      <a:gd name="connsiteY4" fmla="*/ 0 h 205539"/>
                      <a:gd name="connsiteX5" fmla="*/ 461849 w 1357159"/>
                      <a:gd name="connsiteY5" fmla="*/ 76019 h 205539"/>
                      <a:gd name="connsiteX6" fmla="*/ 1336687 w 1357159"/>
                      <a:gd name="connsiteY6" fmla="*/ 30844 h 205539"/>
                      <a:gd name="connsiteX7" fmla="*/ 1357159 w 1357159"/>
                      <a:gd name="connsiteY7" fmla="*/ 144123 h 2055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57159" h="205539">
                        <a:moveTo>
                          <a:pt x="1357159" y="144123"/>
                        </a:moveTo>
                        <a:cubicBezTo>
                          <a:pt x="1141794" y="190253"/>
                          <a:pt x="935845" y="205539"/>
                          <a:pt x="757465" y="205539"/>
                        </a:cubicBezTo>
                        <a:cubicBezTo>
                          <a:pt x="640775" y="205539"/>
                          <a:pt x="535821" y="198988"/>
                          <a:pt x="447519" y="190253"/>
                        </a:cubicBezTo>
                        <a:cubicBezTo>
                          <a:pt x="179335" y="163503"/>
                          <a:pt x="7234" y="112323"/>
                          <a:pt x="0" y="110139"/>
                        </a:cubicBezTo>
                        <a:lnTo>
                          <a:pt x="33165" y="0"/>
                        </a:lnTo>
                        <a:cubicBezTo>
                          <a:pt x="34802" y="546"/>
                          <a:pt x="204038" y="50634"/>
                          <a:pt x="461849" y="76019"/>
                        </a:cubicBezTo>
                        <a:cubicBezTo>
                          <a:pt x="676533" y="97174"/>
                          <a:pt x="994395" y="104680"/>
                          <a:pt x="1336687" y="30844"/>
                        </a:cubicBezTo>
                        <a:cubicBezTo>
                          <a:pt x="1343238" y="67830"/>
                          <a:pt x="1350062" y="105636"/>
                          <a:pt x="1357159" y="144123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2" name="任意多边形: 形状 31">
                    <a:extLst>
                      <a:ext uri="{FF2B5EF4-FFF2-40B4-BE49-F238E27FC236}">
                        <a16:creationId xmlns:a16="http://schemas.microsoft.com/office/drawing/2014/main" id="{0B42C70B-46E6-45F8-8654-6E2C22A6E6C9}"/>
                      </a:ext>
                    </a:extLst>
                  </p:cNvPr>
                  <p:cNvSpPr/>
                  <p:nvPr/>
                </p:nvSpPr>
                <p:spPr>
                  <a:xfrm>
                    <a:off x="8604522" y="4575986"/>
                    <a:ext cx="1423761" cy="212772"/>
                  </a:xfrm>
                  <a:custGeom>
                    <a:avLst/>
                    <a:gdLst>
                      <a:gd name="connsiteX0" fmla="*/ 1423762 w 1423761"/>
                      <a:gd name="connsiteY0" fmla="*/ 142758 h 212772"/>
                      <a:gd name="connsiteX1" fmla="*/ 787764 w 1423761"/>
                      <a:gd name="connsiteY1" fmla="*/ 212773 h 212772"/>
                      <a:gd name="connsiteX2" fmla="*/ 446836 w 1423761"/>
                      <a:gd name="connsiteY2" fmla="*/ 194211 h 212772"/>
                      <a:gd name="connsiteX3" fmla="*/ 0 w 1423761"/>
                      <a:gd name="connsiteY3" fmla="*/ 109730 h 212772"/>
                      <a:gd name="connsiteX4" fmla="*/ 17196 w 1423761"/>
                      <a:gd name="connsiteY4" fmla="*/ 54865 h 212772"/>
                      <a:gd name="connsiteX5" fmla="*/ 34256 w 1423761"/>
                      <a:gd name="connsiteY5" fmla="*/ 0 h 212772"/>
                      <a:gd name="connsiteX6" fmla="*/ 34256 w 1423761"/>
                      <a:gd name="connsiteY6" fmla="*/ 0 h 212772"/>
                      <a:gd name="connsiteX7" fmla="*/ 462395 w 1423761"/>
                      <a:gd name="connsiteY7" fmla="*/ 80387 h 212772"/>
                      <a:gd name="connsiteX8" fmla="*/ 1401106 w 1423761"/>
                      <a:gd name="connsiteY8" fmla="*/ 30025 h 212772"/>
                      <a:gd name="connsiteX9" fmla="*/ 1423762 w 1423761"/>
                      <a:gd name="connsiteY9" fmla="*/ 142758 h 212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23761" h="212772">
                        <a:moveTo>
                          <a:pt x="1423762" y="142758"/>
                        </a:moveTo>
                        <a:cubicBezTo>
                          <a:pt x="1196113" y="195440"/>
                          <a:pt x="977471" y="212773"/>
                          <a:pt x="787764" y="212773"/>
                        </a:cubicBezTo>
                        <a:cubicBezTo>
                          <a:pt x="658517" y="212773"/>
                          <a:pt x="542782" y="204720"/>
                          <a:pt x="446836" y="194211"/>
                        </a:cubicBezTo>
                        <a:cubicBezTo>
                          <a:pt x="178925" y="164868"/>
                          <a:pt x="7233" y="111914"/>
                          <a:pt x="0" y="109730"/>
                        </a:cubicBezTo>
                        <a:lnTo>
                          <a:pt x="17196" y="54865"/>
                        </a:lnTo>
                        <a:lnTo>
                          <a:pt x="34256" y="0"/>
                        </a:lnTo>
                        <a:cubicBezTo>
                          <a:pt x="34256" y="0"/>
                          <a:pt x="34256" y="0"/>
                          <a:pt x="34256" y="0"/>
                        </a:cubicBezTo>
                        <a:cubicBezTo>
                          <a:pt x="36986" y="819"/>
                          <a:pt x="205403" y="52408"/>
                          <a:pt x="462395" y="80387"/>
                        </a:cubicBezTo>
                        <a:cubicBezTo>
                          <a:pt x="690044" y="105090"/>
                          <a:pt x="1034111" y="115599"/>
                          <a:pt x="1401106" y="30025"/>
                        </a:cubicBezTo>
                        <a:cubicBezTo>
                          <a:pt x="1408476" y="67285"/>
                          <a:pt x="1416119" y="105090"/>
                          <a:pt x="1423762" y="142758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F3C6EC51-D612-4640-A32C-760FC463701F}"/>
                  </a:ext>
                </a:extLst>
              </p:cNvPr>
              <p:cNvSpPr/>
              <p:nvPr/>
            </p:nvSpPr>
            <p:spPr>
              <a:xfrm>
                <a:off x="8315753" y="2333752"/>
                <a:ext cx="837224" cy="3121029"/>
              </a:xfrm>
              <a:custGeom>
                <a:avLst/>
                <a:gdLst>
                  <a:gd name="connsiteX0" fmla="*/ 836191 w 837224"/>
                  <a:gd name="connsiteY0" fmla="*/ 2772869 h 3121029"/>
                  <a:gd name="connsiteX1" fmla="*/ 766722 w 837224"/>
                  <a:gd name="connsiteY1" fmla="*/ 1272678 h 3121029"/>
                  <a:gd name="connsiteX2" fmla="*/ 798113 w 837224"/>
                  <a:gd name="connsiteY2" fmla="*/ 0 h 3121029"/>
                  <a:gd name="connsiteX3" fmla="*/ 653034 w 837224"/>
                  <a:gd name="connsiteY3" fmla="*/ 24976 h 3121029"/>
                  <a:gd name="connsiteX4" fmla="*/ 240318 w 837224"/>
                  <a:gd name="connsiteY4" fmla="*/ 210589 h 3121029"/>
                  <a:gd name="connsiteX5" fmla="*/ 16081 w 837224"/>
                  <a:gd name="connsiteY5" fmla="*/ 2022364 h 3121029"/>
                  <a:gd name="connsiteX6" fmla="*/ 612090 w 837224"/>
                  <a:gd name="connsiteY6" fmla="*/ 3102605 h 3121029"/>
                  <a:gd name="connsiteX7" fmla="*/ 773956 w 837224"/>
                  <a:gd name="connsiteY7" fmla="*/ 3121029 h 3121029"/>
                  <a:gd name="connsiteX8" fmla="*/ 836191 w 837224"/>
                  <a:gd name="connsiteY8" fmla="*/ 2772869 h 31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7224" h="3121029">
                    <a:moveTo>
                      <a:pt x="836191" y="2772869"/>
                    </a:moveTo>
                    <a:cubicBezTo>
                      <a:pt x="847245" y="2298736"/>
                      <a:pt x="766040" y="1746947"/>
                      <a:pt x="766722" y="1272678"/>
                    </a:cubicBezTo>
                    <a:cubicBezTo>
                      <a:pt x="767405" y="847406"/>
                      <a:pt x="798386" y="425272"/>
                      <a:pt x="798113" y="0"/>
                    </a:cubicBezTo>
                    <a:cubicBezTo>
                      <a:pt x="696708" y="7643"/>
                      <a:pt x="653034" y="24976"/>
                      <a:pt x="653034" y="24976"/>
                    </a:cubicBezTo>
                    <a:cubicBezTo>
                      <a:pt x="653034" y="24976"/>
                      <a:pt x="555997" y="107683"/>
                      <a:pt x="240318" y="210589"/>
                    </a:cubicBezTo>
                    <a:cubicBezTo>
                      <a:pt x="-57345" y="307626"/>
                      <a:pt x="-2071" y="1406974"/>
                      <a:pt x="16081" y="2022364"/>
                    </a:cubicBezTo>
                    <a:cubicBezTo>
                      <a:pt x="34096" y="2637753"/>
                      <a:pt x="26999" y="3027814"/>
                      <a:pt x="612090" y="3102605"/>
                    </a:cubicBezTo>
                    <a:cubicBezTo>
                      <a:pt x="667092" y="3109565"/>
                      <a:pt x="721001" y="3115843"/>
                      <a:pt x="773956" y="3121029"/>
                    </a:cubicBezTo>
                    <a:cubicBezTo>
                      <a:pt x="774911" y="2980318"/>
                      <a:pt x="832915" y="2913989"/>
                      <a:pt x="836191" y="2772869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A2B21B77-1C7C-449B-94AC-4B59E7B201AD}"/>
                  </a:ext>
                </a:extLst>
              </p:cNvPr>
              <p:cNvSpPr/>
              <p:nvPr/>
            </p:nvSpPr>
            <p:spPr>
              <a:xfrm>
                <a:off x="8503477" y="3567640"/>
                <a:ext cx="281228" cy="288821"/>
              </a:xfrm>
              <a:custGeom>
                <a:avLst/>
                <a:gdLst>
                  <a:gd name="connsiteX0" fmla="*/ 13697 w 281228"/>
                  <a:gd name="connsiteY0" fmla="*/ 288822 h 288821"/>
                  <a:gd name="connsiteX1" fmla="*/ 322 w 281228"/>
                  <a:gd name="connsiteY1" fmla="*/ 278040 h 288821"/>
                  <a:gd name="connsiteX2" fmla="*/ 10831 w 281228"/>
                  <a:gd name="connsiteY2" fmla="*/ 261799 h 288821"/>
                  <a:gd name="connsiteX3" fmla="*/ 254448 w 281228"/>
                  <a:gd name="connsiteY3" fmla="*/ 9856 h 288821"/>
                  <a:gd name="connsiteX4" fmla="*/ 271372 w 281228"/>
                  <a:gd name="connsiteY4" fmla="*/ 576 h 288821"/>
                  <a:gd name="connsiteX5" fmla="*/ 280652 w 281228"/>
                  <a:gd name="connsiteY5" fmla="*/ 17499 h 288821"/>
                  <a:gd name="connsiteX6" fmla="*/ 16427 w 281228"/>
                  <a:gd name="connsiteY6" fmla="*/ 288549 h 288821"/>
                  <a:gd name="connsiteX7" fmla="*/ 13697 w 281228"/>
                  <a:gd name="connsiteY7" fmla="*/ 288822 h 288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228" h="288821">
                    <a:moveTo>
                      <a:pt x="13697" y="288822"/>
                    </a:moveTo>
                    <a:cubicBezTo>
                      <a:pt x="7419" y="288822"/>
                      <a:pt x="1687" y="284454"/>
                      <a:pt x="322" y="278040"/>
                    </a:cubicBezTo>
                    <a:cubicBezTo>
                      <a:pt x="-1316" y="270670"/>
                      <a:pt x="3461" y="263437"/>
                      <a:pt x="10831" y="261799"/>
                    </a:cubicBezTo>
                    <a:cubicBezTo>
                      <a:pt x="18337" y="260161"/>
                      <a:pt x="193987" y="220172"/>
                      <a:pt x="254448" y="9856"/>
                    </a:cubicBezTo>
                    <a:cubicBezTo>
                      <a:pt x="256495" y="2623"/>
                      <a:pt x="264138" y="-1608"/>
                      <a:pt x="271372" y="576"/>
                    </a:cubicBezTo>
                    <a:cubicBezTo>
                      <a:pt x="278605" y="2623"/>
                      <a:pt x="282836" y="10266"/>
                      <a:pt x="280652" y="17499"/>
                    </a:cubicBezTo>
                    <a:cubicBezTo>
                      <a:pt x="215415" y="244056"/>
                      <a:pt x="24479" y="286911"/>
                      <a:pt x="16427" y="288549"/>
                    </a:cubicBezTo>
                    <a:cubicBezTo>
                      <a:pt x="15608" y="288685"/>
                      <a:pt x="14652" y="288822"/>
                      <a:pt x="13697" y="28882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33E13631-9221-4D17-A6B0-660BB0F06508}"/>
                  </a:ext>
                </a:extLst>
              </p:cNvPr>
              <p:cNvSpPr/>
              <p:nvPr/>
            </p:nvSpPr>
            <p:spPr>
              <a:xfrm>
                <a:off x="8961147" y="2494910"/>
                <a:ext cx="77530" cy="2518358"/>
              </a:xfrm>
              <a:custGeom>
                <a:avLst/>
                <a:gdLst>
                  <a:gd name="connsiteX0" fmla="*/ 66873 w 77530"/>
                  <a:gd name="connsiteY0" fmla="*/ 2518359 h 2518358"/>
                  <a:gd name="connsiteX1" fmla="*/ 56091 w 77530"/>
                  <a:gd name="connsiteY1" fmla="*/ 2508123 h 2518358"/>
                  <a:gd name="connsiteX2" fmla="*/ 29614 w 77530"/>
                  <a:gd name="connsiteY2" fmla="*/ 9989 h 2518358"/>
                  <a:gd name="connsiteX3" fmla="*/ 41079 w 77530"/>
                  <a:gd name="connsiteY3" fmla="*/ 26 h 2518358"/>
                  <a:gd name="connsiteX4" fmla="*/ 51042 w 77530"/>
                  <a:gd name="connsiteY4" fmla="*/ 11490 h 2518358"/>
                  <a:gd name="connsiteX5" fmla="*/ 77519 w 77530"/>
                  <a:gd name="connsiteY5" fmla="*/ 2507031 h 2518358"/>
                  <a:gd name="connsiteX6" fmla="*/ 67419 w 77530"/>
                  <a:gd name="connsiteY6" fmla="*/ 2518359 h 2518358"/>
                  <a:gd name="connsiteX7" fmla="*/ 66873 w 77530"/>
                  <a:gd name="connsiteY7" fmla="*/ 2518359 h 251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530" h="2518358">
                    <a:moveTo>
                      <a:pt x="66873" y="2518359"/>
                    </a:moveTo>
                    <a:cubicBezTo>
                      <a:pt x="61141" y="2518359"/>
                      <a:pt x="56501" y="2513855"/>
                      <a:pt x="56091" y="2508123"/>
                    </a:cubicBezTo>
                    <a:cubicBezTo>
                      <a:pt x="9006" y="1659079"/>
                      <a:pt x="-28526" y="829143"/>
                      <a:pt x="29614" y="9989"/>
                    </a:cubicBezTo>
                    <a:cubicBezTo>
                      <a:pt x="30024" y="4120"/>
                      <a:pt x="35210" y="-384"/>
                      <a:pt x="41079" y="26"/>
                    </a:cubicBezTo>
                    <a:cubicBezTo>
                      <a:pt x="46947" y="435"/>
                      <a:pt x="51451" y="5621"/>
                      <a:pt x="51042" y="11490"/>
                    </a:cubicBezTo>
                    <a:cubicBezTo>
                      <a:pt x="-6962" y="829416"/>
                      <a:pt x="30433" y="1658670"/>
                      <a:pt x="77519" y="2507031"/>
                    </a:cubicBezTo>
                    <a:cubicBezTo>
                      <a:pt x="77792" y="2512899"/>
                      <a:pt x="73288" y="2518086"/>
                      <a:pt x="67419" y="2518359"/>
                    </a:cubicBezTo>
                    <a:cubicBezTo>
                      <a:pt x="67283" y="2518359"/>
                      <a:pt x="67010" y="2518359"/>
                      <a:pt x="66873" y="2518359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38B14F16-8F69-4F0B-BDC2-6130A7A36429}"/>
                  </a:ext>
                </a:extLst>
              </p:cNvPr>
              <p:cNvSpPr/>
              <p:nvPr/>
            </p:nvSpPr>
            <p:spPr>
              <a:xfrm>
                <a:off x="9540568" y="2357636"/>
                <a:ext cx="747243" cy="3096462"/>
              </a:xfrm>
              <a:custGeom>
                <a:avLst/>
                <a:gdLst>
                  <a:gd name="connsiteX0" fmla="*/ 627062 w 747243"/>
                  <a:gd name="connsiteY0" fmla="*/ 617437 h 3096462"/>
                  <a:gd name="connsiteX1" fmla="*/ 9079 w 747243"/>
                  <a:gd name="connsiteY1" fmla="*/ 682 h 3096462"/>
                  <a:gd name="connsiteX2" fmla="*/ 4166 w 747243"/>
                  <a:gd name="connsiteY2" fmla="*/ 0 h 3096462"/>
                  <a:gd name="connsiteX3" fmla="*/ 4576 w 747243"/>
                  <a:gd name="connsiteY3" fmla="*/ 218095 h 3096462"/>
                  <a:gd name="connsiteX4" fmla="*/ 30234 w 747243"/>
                  <a:gd name="connsiteY4" fmla="*/ 564209 h 3096462"/>
                  <a:gd name="connsiteX5" fmla="*/ 58076 w 747243"/>
                  <a:gd name="connsiteY5" fmla="*/ 2008989 h 3096462"/>
                  <a:gd name="connsiteX6" fmla="*/ 118400 w 747243"/>
                  <a:gd name="connsiteY6" fmla="*/ 3096463 h 3096462"/>
                  <a:gd name="connsiteX7" fmla="*/ 661319 w 747243"/>
                  <a:gd name="connsiteY7" fmla="*/ 2765226 h 3096462"/>
                  <a:gd name="connsiteX8" fmla="*/ 627062 w 747243"/>
                  <a:gd name="connsiteY8" fmla="*/ 617437 h 309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7243" h="3096462">
                    <a:moveTo>
                      <a:pt x="627062" y="617437"/>
                    </a:moveTo>
                    <a:cubicBezTo>
                      <a:pt x="641119" y="179335"/>
                      <a:pt x="430257" y="63736"/>
                      <a:pt x="9079" y="682"/>
                    </a:cubicBezTo>
                    <a:cubicBezTo>
                      <a:pt x="7442" y="409"/>
                      <a:pt x="5804" y="273"/>
                      <a:pt x="4166" y="0"/>
                    </a:cubicBezTo>
                    <a:cubicBezTo>
                      <a:pt x="-2658" y="72335"/>
                      <a:pt x="-65" y="145897"/>
                      <a:pt x="4576" y="218095"/>
                    </a:cubicBezTo>
                    <a:cubicBezTo>
                      <a:pt x="12082" y="333558"/>
                      <a:pt x="25594" y="448474"/>
                      <a:pt x="30234" y="564209"/>
                    </a:cubicBezTo>
                    <a:cubicBezTo>
                      <a:pt x="49614" y="1047076"/>
                      <a:pt x="96973" y="1375175"/>
                      <a:pt x="58076" y="2008989"/>
                    </a:cubicBezTo>
                    <a:cubicBezTo>
                      <a:pt x="28869" y="2485441"/>
                      <a:pt x="105025" y="2735473"/>
                      <a:pt x="118400" y="3096463"/>
                    </a:cubicBezTo>
                    <a:cubicBezTo>
                      <a:pt x="357377" y="3060023"/>
                      <a:pt x="545583" y="2962713"/>
                      <a:pt x="661319" y="2765226"/>
                    </a:cubicBezTo>
                    <a:cubicBezTo>
                      <a:pt x="878868" y="2394818"/>
                      <a:pt x="613004" y="1055402"/>
                      <a:pt x="627062" y="617437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21A17D4D-BFF9-44CC-B2CC-612DD69BDA10}"/>
                  </a:ext>
                </a:extLst>
              </p:cNvPr>
              <p:cNvSpPr/>
              <p:nvPr/>
            </p:nvSpPr>
            <p:spPr>
              <a:xfrm>
                <a:off x="9785129" y="3349466"/>
                <a:ext cx="346942" cy="492119"/>
              </a:xfrm>
              <a:custGeom>
                <a:avLst/>
                <a:gdLst>
                  <a:gd name="connsiteX0" fmla="*/ 333095 w 346942"/>
                  <a:gd name="connsiteY0" fmla="*/ 492120 h 492119"/>
                  <a:gd name="connsiteX1" fmla="*/ 330092 w 346942"/>
                  <a:gd name="connsiteY1" fmla="*/ 491710 h 492119"/>
                  <a:gd name="connsiteX2" fmla="*/ 83 w 346942"/>
                  <a:gd name="connsiteY2" fmla="*/ 15258 h 492119"/>
                  <a:gd name="connsiteX3" fmla="*/ 12093 w 346942"/>
                  <a:gd name="connsiteY3" fmla="*/ 109 h 492119"/>
                  <a:gd name="connsiteX4" fmla="*/ 27243 w 346942"/>
                  <a:gd name="connsiteY4" fmla="*/ 12119 h 492119"/>
                  <a:gd name="connsiteX5" fmla="*/ 336370 w 346942"/>
                  <a:gd name="connsiteY5" fmla="*/ 465097 h 492119"/>
                  <a:gd name="connsiteX6" fmla="*/ 346606 w 346942"/>
                  <a:gd name="connsiteY6" fmla="*/ 481474 h 492119"/>
                  <a:gd name="connsiteX7" fmla="*/ 333095 w 346942"/>
                  <a:gd name="connsiteY7" fmla="*/ 492120 h 492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942" h="492119">
                    <a:moveTo>
                      <a:pt x="333095" y="492120"/>
                    </a:moveTo>
                    <a:cubicBezTo>
                      <a:pt x="332139" y="492120"/>
                      <a:pt x="331048" y="491983"/>
                      <a:pt x="330092" y="491710"/>
                    </a:cubicBezTo>
                    <a:cubicBezTo>
                      <a:pt x="327226" y="491028"/>
                      <a:pt x="47305" y="422378"/>
                      <a:pt x="83" y="15258"/>
                    </a:cubicBezTo>
                    <a:cubicBezTo>
                      <a:pt x="-736" y="7751"/>
                      <a:pt x="4587" y="1064"/>
                      <a:pt x="12093" y="109"/>
                    </a:cubicBezTo>
                    <a:cubicBezTo>
                      <a:pt x="19600" y="-847"/>
                      <a:pt x="26424" y="4612"/>
                      <a:pt x="27243" y="12119"/>
                    </a:cubicBezTo>
                    <a:cubicBezTo>
                      <a:pt x="72417" y="400268"/>
                      <a:pt x="333641" y="464551"/>
                      <a:pt x="336370" y="465097"/>
                    </a:cubicBezTo>
                    <a:cubicBezTo>
                      <a:pt x="343740" y="466734"/>
                      <a:pt x="348244" y="474104"/>
                      <a:pt x="346606" y="481474"/>
                    </a:cubicBezTo>
                    <a:cubicBezTo>
                      <a:pt x="344968" y="487889"/>
                      <a:pt x="339373" y="492120"/>
                      <a:pt x="333095" y="492120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DD5A7B23-3B10-479E-961A-83163F6C56C9}"/>
                  </a:ext>
                </a:extLst>
              </p:cNvPr>
              <p:cNvSpPr/>
              <p:nvPr/>
            </p:nvSpPr>
            <p:spPr>
              <a:xfrm>
                <a:off x="9596686" y="2468820"/>
                <a:ext cx="108047" cy="2466517"/>
              </a:xfrm>
              <a:custGeom>
                <a:avLst/>
                <a:gdLst>
                  <a:gd name="connsiteX0" fmla="*/ 94492 w 108047"/>
                  <a:gd name="connsiteY0" fmla="*/ 2466518 h 2466517"/>
                  <a:gd name="connsiteX1" fmla="*/ 83846 w 108047"/>
                  <a:gd name="connsiteY1" fmla="*/ 2457510 h 2466517"/>
                  <a:gd name="connsiteX2" fmla="*/ 79069 w 108047"/>
                  <a:gd name="connsiteY2" fmla="*/ 1705095 h 2466517"/>
                  <a:gd name="connsiteX3" fmla="*/ 83710 w 108047"/>
                  <a:gd name="connsiteY3" fmla="*/ 1110450 h 2466517"/>
                  <a:gd name="connsiteX4" fmla="*/ 47 w 108047"/>
                  <a:gd name="connsiteY4" fmla="*/ 11785 h 2466517"/>
                  <a:gd name="connsiteX5" fmla="*/ 9737 w 108047"/>
                  <a:gd name="connsiteY5" fmla="*/ 47 h 2466517"/>
                  <a:gd name="connsiteX6" fmla="*/ 21475 w 108047"/>
                  <a:gd name="connsiteY6" fmla="*/ 9737 h 2466517"/>
                  <a:gd name="connsiteX7" fmla="*/ 105274 w 108047"/>
                  <a:gd name="connsiteY7" fmla="*/ 1109495 h 2466517"/>
                  <a:gd name="connsiteX8" fmla="*/ 100633 w 108047"/>
                  <a:gd name="connsiteY8" fmla="*/ 1705640 h 2466517"/>
                  <a:gd name="connsiteX9" fmla="*/ 105137 w 108047"/>
                  <a:gd name="connsiteY9" fmla="*/ 2454098 h 2466517"/>
                  <a:gd name="connsiteX10" fmla="*/ 96266 w 108047"/>
                  <a:gd name="connsiteY10" fmla="*/ 2466518 h 2466517"/>
                  <a:gd name="connsiteX11" fmla="*/ 94492 w 108047"/>
                  <a:gd name="connsiteY11" fmla="*/ 2466518 h 246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047" h="2466517">
                    <a:moveTo>
                      <a:pt x="94492" y="2466518"/>
                    </a:moveTo>
                    <a:cubicBezTo>
                      <a:pt x="89305" y="2466518"/>
                      <a:pt x="84801" y="2462833"/>
                      <a:pt x="83846" y="2457510"/>
                    </a:cubicBezTo>
                    <a:cubicBezTo>
                      <a:pt x="64056" y="2337680"/>
                      <a:pt x="71700" y="2015997"/>
                      <a:pt x="79069" y="1705095"/>
                    </a:cubicBezTo>
                    <a:cubicBezTo>
                      <a:pt x="84665" y="1468574"/>
                      <a:pt x="89851" y="1245020"/>
                      <a:pt x="83710" y="1110450"/>
                    </a:cubicBezTo>
                    <a:cubicBezTo>
                      <a:pt x="62965" y="654743"/>
                      <a:pt x="593" y="18199"/>
                      <a:pt x="47" y="11785"/>
                    </a:cubicBezTo>
                    <a:cubicBezTo>
                      <a:pt x="-499" y="5916"/>
                      <a:pt x="3732" y="593"/>
                      <a:pt x="9737" y="47"/>
                    </a:cubicBezTo>
                    <a:cubicBezTo>
                      <a:pt x="15606" y="-499"/>
                      <a:pt x="20929" y="3732"/>
                      <a:pt x="21475" y="9737"/>
                    </a:cubicBezTo>
                    <a:cubicBezTo>
                      <a:pt x="22157" y="16152"/>
                      <a:pt x="84392" y="653105"/>
                      <a:pt x="105274" y="1109495"/>
                    </a:cubicBezTo>
                    <a:cubicBezTo>
                      <a:pt x="111415" y="1244883"/>
                      <a:pt x="106229" y="1468711"/>
                      <a:pt x="100633" y="1705640"/>
                    </a:cubicBezTo>
                    <a:cubicBezTo>
                      <a:pt x="93263" y="2015587"/>
                      <a:pt x="85757" y="2336179"/>
                      <a:pt x="105137" y="2454098"/>
                    </a:cubicBezTo>
                    <a:cubicBezTo>
                      <a:pt x="106092" y="2459967"/>
                      <a:pt x="102135" y="2465562"/>
                      <a:pt x="96266" y="2466518"/>
                    </a:cubicBezTo>
                    <a:cubicBezTo>
                      <a:pt x="95720" y="2466518"/>
                      <a:pt x="95174" y="2466518"/>
                      <a:pt x="94492" y="24665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8460123" y="961410"/>
              <a:ext cx="1372410" cy="2852606"/>
              <a:chOff x="8601558" y="961410"/>
              <a:chExt cx="1372410" cy="2852606"/>
            </a:xfrm>
            <a:solidFill>
              <a:schemeClr val="accent1"/>
            </a:solidFill>
          </p:grpSpPr>
          <p:grpSp>
            <p:nvGrpSpPr>
              <p:cNvPr id="40" name="组合 39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8795760" y="961410"/>
                <a:ext cx="745749" cy="564528"/>
                <a:chOff x="8795760" y="961410"/>
                <a:chExt cx="745749" cy="564528"/>
              </a:xfrm>
              <a:solidFill>
                <a:schemeClr val="accent1"/>
              </a:solidFill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4966F3CD-2532-4601-99D9-E9744DB844A9}"/>
                    </a:ext>
                  </a:extLst>
                </p:cNvPr>
                <p:cNvSpPr/>
                <p:nvPr/>
              </p:nvSpPr>
              <p:spPr>
                <a:xfrm>
                  <a:off x="8823532" y="1014008"/>
                  <a:ext cx="506465" cy="485098"/>
                </a:xfrm>
                <a:custGeom>
                  <a:avLst/>
                  <a:gdLst>
                    <a:gd name="connsiteX0" fmla="*/ 484955 w 506465"/>
                    <a:gd name="connsiteY0" fmla="*/ 339544 h 485098"/>
                    <a:gd name="connsiteX1" fmla="*/ 277915 w 506465"/>
                    <a:gd name="connsiteY1" fmla="*/ 414744 h 485098"/>
                    <a:gd name="connsiteX2" fmla="*/ 134337 w 506465"/>
                    <a:gd name="connsiteY2" fmla="*/ 482711 h 485098"/>
                    <a:gd name="connsiteX3" fmla="*/ 29794 w 506465"/>
                    <a:gd name="connsiteY3" fmla="*/ 399458 h 485098"/>
                    <a:gd name="connsiteX4" fmla="*/ 390920 w 506465"/>
                    <a:gd name="connsiteY4" fmla="*/ 4758 h 485098"/>
                    <a:gd name="connsiteX5" fmla="*/ 506383 w 506465"/>
                    <a:gd name="connsiteY5" fmla="*/ 183820 h 485098"/>
                    <a:gd name="connsiteX6" fmla="*/ 484955 w 506465"/>
                    <a:gd name="connsiteY6" fmla="*/ 339544 h 48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06465" h="485098">
                      <a:moveTo>
                        <a:pt x="484955" y="339544"/>
                      </a:moveTo>
                      <a:lnTo>
                        <a:pt x="277915" y="414744"/>
                      </a:lnTo>
                      <a:cubicBezTo>
                        <a:pt x="277915" y="414744"/>
                        <a:pt x="215816" y="500317"/>
                        <a:pt x="134337" y="482711"/>
                      </a:cubicBezTo>
                      <a:cubicBezTo>
                        <a:pt x="101719" y="475614"/>
                        <a:pt x="65961" y="451867"/>
                        <a:pt x="29794" y="399458"/>
                      </a:cubicBezTo>
                      <a:cubicBezTo>
                        <a:pt x="-96451" y="216166"/>
                        <a:pt x="208037" y="-37961"/>
                        <a:pt x="390920" y="4758"/>
                      </a:cubicBezTo>
                      <a:cubicBezTo>
                        <a:pt x="480724" y="25639"/>
                        <a:pt x="505018" y="106708"/>
                        <a:pt x="506383" y="183820"/>
                      </a:cubicBezTo>
                      <a:cubicBezTo>
                        <a:pt x="508020" y="263797"/>
                        <a:pt x="484955" y="339544"/>
                        <a:pt x="484955" y="339544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rgbClr val="0A2E70"/>
                    </a:solidFill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48B785BD-B743-483D-9882-7B1560854AA6}"/>
                    </a:ext>
                  </a:extLst>
                </p:cNvPr>
                <p:cNvSpPr/>
                <p:nvPr/>
              </p:nvSpPr>
              <p:spPr>
                <a:xfrm>
                  <a:off x="8957869" y="1197691"/>
                  <a:ext cx="372251" cy="301414"/>
                </a:xfrm>
                <a:custGeom>
                  <a:avLst/>
                  <a:gdLst>
                    <a:gd name="connsiteX0" fmla="*/ 350618 w 372251"/>
                    <a:gd name="connsiteY0" fmla="*/ 155860 h 301414"/>
                    <a:gd name="connsiteX1" fmla="*/ 143577 w 372251"/>
                    <a:gd name="connsiteY1" fmla="*/ 231061 h 301414"/>
                    <a:gd name="connsiteX2" fmla="*/ 0 w 372251"/>
                    <a:gd name="connsiteY2" fmla="*/ 299028 h 301414"/>
                    <a:gd name="connsiteX3" fmla="*/ 372182 w 372251"/>
                    <a:gd name="connsiteY3" fmla="*/ 0 h 301414"/>
                    <a:gd name="connsiteX4" fmla="*/ 350618 w 372251"/>
                    <a:gd name="connsiteY4" fmla="*/ 155860 h 301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2251" h="301414">
                      <a:moveTo>
                        <a:pt x="350618" y="155860"/>
                      </a:moveTo>
                      <a:lnTo>
                        <a:pt x="143577" y="231061"/>
                      </a:lnTo>
                      <a:cubicBezTo>
                        <a:pt x="143577" y="231061"/>
                        <a:pt x="81479" y="316634"/>
                        <a:pt x="0" y="299028"/>
                      </a:cubicBezTo>
                      <a:cubicBezTo>
                        <a:pt x="0" y="204038"/>
                        <a:pt x="133205" y="30435"/>
                        <a:pt x="372182" y="0"/>
                      </a:cubicBezTo>
                      <a:cubicBezTo>
                        <a:pt x="373683" y="80114"/>
                        <a:pt x="350618" y="155860"/>
                        <a:pt x="350618" y="155860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E7A2A1BE-68C8-44D8-AF0F-023DD312BE45}"/>
                    </a:ext>
                  </a:extLst>
                </p:cNvPr>
                <p:cNvSpPr/>
                <p:nvPr/>
              </p:nvSpPr>
              <p:spPr>
                <a:xfrm>
                  <a:off x="9240324" y="961410"/>
                  <a:ext cx="128473" cy="283776"/>
                </a:xfrm>
                <a:custGeom>
                  <a:avLst/>
                  <a:gdLst>
                    <a:gd name="connsiteX0" fmla="*/ 82493 w 128473"/>
                    <a:gd name="connsiteY0" fmla="*/ 283776 h 283776"/>
                    <a:gd name="connsiteX1" fmla="*/ 71165 w 128473"/>
                    <a:gd name="connsiteY1" fmla="*/ 277089 h 283776"/>
                    <a:gd name="connsiteX2" fmla="*/ 7020 w 128473"/>
                    <a:gd name="connsiteY2" fmla="*/ 32789 h 283776"/>
                    <a:gd name="connsiteX3" fmla="*/ 47418 w 128473"/>
                    <a:gd name="connsiteY3" fmla="*/ 1808 h 283776"/>
                    <a:gd name="connsiteX4" fmla="*/ 107469 w 128473"/>
                    <a:gd name="connsiteY4" fmla="*/ 18322 h 283776"/>
                    <a:gd name="connsiteX5" fmla="*/ 94913 w 128473"/>
                    <a:gd name="connsiteY5" fmla="*/ 274905 h 283776"/>
                    <a:gd name="connsiteX6" fmla="*/ 83858 w 128473"/>
                    <a:gd name="connsiteY6" fmla="*/ 283776 h 283776"/>
                    <a:gd name="connsiteX7" fmla="*/ 82493 w 128473"/>
                    <a:gd name="connsiteY7" fmla="*/ 283776 h 283776"/>
                    <a:gd name="connsiteX8" fmla="*/ 64614 w 128473"/>
                    <a:gd name="connsiteY8" fmla="*/ 25828 h 283776"/>
                    <a:gd name="connsiteX9" fmla="*/ 52467 w 128473"/>
                    <a:gd name="connsiteY9" fmla="*/ 27193 h 283776"/>
                    <a:gd name="connsiteX10" fmla="*/ 30631 w 128473"/>
                    <a:gd name="connsiteY10" fmla="*/ 43571 h 283776"/>
                    <a:gd name="connsiteX11" fmla="*/ 79354 w 128473"/>
                    <a:gd name="connsiteY11" fmla="*/ 236417 h 283776"/>
                    <a:gd name="connsiteX12" fmla="*/ 88089 w 128473"/>
                    <a:gd name="connsiteY12" fmla="*/ 35382 h 283776"/>
                    <a:gd name="connsiteX13" fmla="*/ 64614 w 128473"/>
                    <a:gd name="connsiteY13" fmla="*/ 25828 h 28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8473" h="283776">
                      <a:moveTo>
                        <a:pt x="82493" y="283776"/>
                      </a:moveTo>
                      <a:cubicBezTo>
                        <a:pt x="77853" y="283776"/>
                        <a:pt x="73485" y="281319"/>
                        <a:pt x="71165" y="277089"/>
                      </a:cubicBezTo>
                      <a:cubicBezTo>
                        <a:pt x="61202" y="259346"/>
                        <a:pt x="-24780" y="101439"/>
                        <a:pt x="7020" y="32789"/>
                      </a:cubicBezTo>
                      <a:cubicBezTo>
                        <a:pt x="14662" y="16275"/>
                        <a:pt x="28583" y="5493"/>
                        <a:pt x="47418" y="1808"/>
                      </a:cubicBezTo>
                      <a:cubicBezTo>
                        <a:pt x="79354" y="-4607"/>
                        <a:pt x="97779" y="7267"/>
                        <a:pt x="107469" y="18322"/>
                      </a:cubicBezTo>
                      <a:cubicBezTo>
                        <a:pt x="158376" y="75917"/>
                        <a:pt x="101600" y="254706"/>
                        <a:pt x="94913" y="274905"/>
                      </a:cubicBezTo>
                      <a:cubicBezTo>
                        <a:pt x="93275" y="279818"/>
                        <a:pt x="88908" y="283230"/>
                        <a:pt x="83858" y="283776"/>
                      </a:cubicBezTo>
                      <a:cubicBezTo>
                        <a:pt x="83312" y="283640"/>
                        <a:pt x="82902" y="283776"/>
                        <a:pt x="82493" y="283776"/>
                      </a:cubicBezTo>
                      <a:close/>
                      <a:moveTo>
                        <a:pt x="64614" y="25828"/>
                      </a:moveTo>
                      <a:cubicBezTo>
                        <a:pt x="60929" y="25828"/>
                        <a:pt x="56835" y="26238"/>
                        <a:pt x="52467" y="27193"/>
                      </a:cubicBezTo>
                      <a:cubicBezTo>
                        <a:pt x="41685" y="29377"/>
                        <a:pt x="34725" y="34563"/>
                        <a:pt x="30631" y="43571"/>
                      </a:cubicBezTo>
                      <a:cubicBezTo>
                        <a:pt x="12069" y="83833"/>
                        <a:pt x="51239" y="179778"/>
                        <a:pt x="79354" y="236417"/>
                      </a:cubicBezTo>
                      <a:cubicBezTo>
                        <a:pt x="96687" y="173500"/>
                        <a:pt x="117432" y="68547"/>
                        <a:pt x="88089" y="35382"/>
                      </a:cubicBezTo>
                      <a:cubicBezTo>
                        <a:pt x="82357" y="28968"/>
                        <a:pt x="74714" y="25828"/>
                        <a:pt x="64614" y="25828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FE605E4D-1AC0-458C-B09C-01F20E7EDCD4}"/>
                    </a:ext>
                  </a:extLst>
                </p:cNvPr>
                <p:cNvSpPr/>
                <p:nvPr/>
              </p:nvSpPr>
              <p:spPr>
                <a:xfrm>
                  <a:off x="9313329" y="1025395"/>
                  <a:ext cx="228180" cy="220610"/>
                </a:xfrm>
                <a:custGeom>
                  <a:avLst/>
                  <a:gdLst>
                    <a:gd name="connsiteX0" fmla="*/ 13037 w 228180"/>
                    <a:gd name="connsiteY0" fmla="*/ 220611 h 220610"/>
                    <a:gd name="connsiteX1" fmla="*/ 3620 w 228180"/>
                    <a:gd name="connsiteY1" fmla="*/ 216653 h 220610"/>
                    <a:gd name="connsiteX2" fmla="*/ 1026 w 228180"/>
                    <a:gd name="connsiteY2" fmla="*/ 202732 h 220610"/>
                    <a:gd name="connsiteX3" fmla="*/ 159480 w 228180"/>
                    <a:gd name="connsiteY3" fmla="*/ 468 h 220610"/>
                    <a:gd name="connsiteX4" fmla="*/ 215710 w 228180"/>
                    <a:gd name="connsiteY4" fmla="*/ 27355 h 220610"/>
                    <a:gd name="connsiteX5" fmla="*/ 225946 w 228180"/>
                    <a:gd name="connsiteY5" fmla="*/ 77170 h 220610"/>
                    <a:gd name="connsiteX6" fmla="*/ 17540 w 228180"/>
                    <a:gd name="connsiteY6" fmla="*/ 220065 h 220610"/>
                    <a:gd name="connsiteX7" fmla="*/ 13037 w 228180"/>
                    <a:gd name="connsiteY7" fmla="*/ 220611 h 220610"/>
                    <a:gd name="connsiteX8" fmla="*/ 166713 w 228180"/>
                    <a:gd name="connsiteY8" fmla="*/ 25717 h 220610"/>
                    <a:gd name="connsiteX9" fmla="*/ 163028 w 228180"/>
                    <a:gd name="connsiteY9" fmla="*/ 25990 h 220610"/>
                    <a:gd name="connsiteX10" fmla="*/ 38149 w 228180"/>
                    <a:gd name="connsiteY10" fmla="*/ 183761 h 220610"/>
                    <a:gd name="connsiteX11" fmla="*/ 201106 w 228180"/>
                    <a:gd name="connsiteY11" fmla="*/ 69800 h 220610"/>
                    <a:gd name="connsiteX12" fmla="*/ 195238 w 228180"/>
                    <a:gd name="connsiteY12" fmla="*/ 43050 h 220610"/>
                    <a:gd name="connsiteX13" fmla="*/ 166713 w 228180"/>
                    <a:gd name="connsiteY13" fmla="*/ 25717 h 220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28180" h="220610">
                      <a:moveTo>
                        <a:pt x="13037" y="220611"/>
                      </a:moveTo>
                      <a:cubicBezTo>
                        <a:pt x="9488" y="220611"/>
                        <a:pt x="6076" y="219246"/>
                        <a:pt x="3620" y="216653"/>
                      </a:cubicBezTo>
                      <a:cubicBezTo>
                        <a:pt x="71" y="212968"/>
                        <a:pt x="-1021" y="207508"/>
                        <a:pt x="1026" y="202732"/>
                      </a:cubicBezTo>
                      <a:cubicBezTo>
                        <a:pt x="9215" y="183078"/>
                        <a:pt x="83187" y="10567"/>
                        <a:pt x="159480" y="468"/>
                      </a:cubicBezTo>
                      <a:cubicBezTo>
                        <a:pt x="174083" y="-1443"/>
                        <a:pt x="195647" y="1560"/>
                        <a:pt x="215710" y="27355"/>
                      </a:cubicBezTo>
                      <a:cubicBezTo>
                        <a:pt x="227447" y="42504"/>
                        <a:pt x="230995" y="59700"/>
                        <a:pt x="225946" y="77170"/>
                      </a:cubicBezTo>
                      <a:cubicBezTo>
                        <a:pt x="204928" y="149914"/>
                        <a:pt x="36648" y="213104"/>
                        <a:pt x="17540" y="220065"/>
                      </a:cubicBezTo>
                      <a:cubicBezTo>
                        <a:pt x="16039" y="220338"/>
                        <a:pt x="14538" y="220611"/>
                        <a:pt x="13037" y="220611"/>
                      </a:cubicBezTo>
                      <a:close/>
                      <a:moveTo>
                        <a:pt x="166713" y="25717"/>
                      </a:moveTo>
                      <a:cubicBezTo>
                        <a:pt x="165485" y="25717"/>
                        <a:pt x="164257" y="25853"/>
                        <a:pt x="163028" y="25990"/>
                      </a:cubicBezTo>
                      <a:cubicBezTo>
                        <a:pt x="119218" y="31858"/>
                        <a:pt x="66127" y="124938"/>
                        <a:pt x="38149" y="183761"/>
                      </a:cubicBezTo>
                      <a:cubicBezTo>
                        <a:pt x="96426" y="159194"/>
                        <a:pt x="188823" y="112382"/>
                        <a:pt x="201106" y="69800"/>
                      </a:cubicBezTo>
                      <a:cubicBezTo>
                        <a:pt x="203836" y="60246"/>
                        <a:pt x="202062" y="51785"/>
                        <a:pt x="195238" y="43050"/>
                      </a:cubicBezTo>
                      <a:cubicBezTo>
                        <a:pt x="186230" y="31449"/>
                        <a:pt x="176813" y="25717"/>
                        <a:pt x="166713" y="25717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5ED676E7-4F4A-4FDC-80DF-7F8EFFAB4E62}"/>
                    </a:ext>
                  </a:extLst>
                </p:cNvPr>
                <p:cNvSpPr/>
                <p:nvPr/>
              </p:nvSpPr>
              <p:spPr>
                <a:xfrm>
                  <a:off x="8795760" y="1133674"/>
                  <a:ext cx="248140" cy="392264"/>
                </a:xfrm>
                <a:custGeom>
                  <a:avLst/>
                  <a:gdLst>
                    <a:gd name="connsiteX0" fmla="*/ 146414 w 248140"/>
                    <a:gd name="connsiteY0" fmla="*/ 390069 h 392264"/>
                    <a:gd name="connsiteX1" fmla="*/ 18396 w 248140"/>
                    <a:gd name="connsiteY1" fmla="*/ 292622 h 392264"/>
                    <a:gd name="connsiteX2" fmla="*/ 125123 w 248140"/>
                    <a:gd name="connsiteY2" fmla="*/ 1509 h 392264"/>
                    <a:gd name="connsiteX3" fmla="*/ 136588 w 248140"/>
                    <a:gd name="connsiteY3" fmla="*/ 3420 h 392264"/>
                    <a:gd name="connsiteX4" fmla="*/ 134677 w 248140"/>
                    <a:gd name="connsiteY4" fmla="*/ 14885 h 392264"/>
                    <a:gd name="connsiteX5" fmla="*/ 33136 w 248140"/>
                    <a:gd name="connsiteY5" fmla="*/ 285525 h 392264"/>
                    <a:gd name="connsiteX6" fmla="*/ 237174 w 248140"/>
                    <a:gd name="connsiteY6" fmla="*/ 367140 h 392264"/>
                    <a:gd name="connsiteX7" fmla="*/ 247683 w 248140"/>
                    <a:gd name="connsiteY7" fmla="*/ 372190 h 392264"/>
                    <a:gd name="connsiteX8" fmla="*/ 242633 w 248140"/>
                    <a:gd name="connsiteY8" fmla="*/ 382699 h 392264"/>
                    <a:gd name="connsiteX9" fmla="*/ 146414 w 248140"/>
                    <a:gd name="connsiteY9" fmla="*/ 390069 h 392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140" h="392264">
                      <a:moveTo>
                        <a:pt x="146414" y="390069"/>
                      </a:moveTo>
                      <a:cubicBezTo>
                        <a:pt x="101239" y="383381"/>
                        <a:pt x="50332" y="359224"/>
                        <a:pt x="18396" y="292622"/>
                      </a:cubicBezTo>
                      <a:cubicBezTo>
                        <a:pt x="-56941" y="135397"/>
                        <a:pt x="123349" y="2874"/>
                        <a:pt x="125123" y="1509"/>
                      </a:cubicBezTo>
                      <a:cubicBezTo>
                        <a:pt x="128808" y="-1084"/>
                        <a:pt x="133995" y="-265"/>
                        <a:pt x="136588" y="3420"/>
                      </a:cubicBezTo>
                      <a:cubicBezTo>
                        <a:pt x="139317" y="7105"/>
                        <a:pt x="138362" y="12291"/>
                        <a:pt x="134677" y="14885"/>
                      </a:cubicBezTo>
                      <a:cubicBezTo>
                        <a:pt x="132903" y="16113"/>
                        <a:pt x="-36333" y="140856"/>
                        <a:pt x="33136" y="285525"/>
                      </a:cubicBezTo>
                      <a:cubicBezTo>
                        <a:pt x="95098" y="414635"/>
                        <a:pt x="231441" y="369187"/>
                        <a:pt x="237174" y="367140"/>
                      </a:cubicBezTo>
                      <a:cubicBezTo>
                        <a:pt x="241541" y="365639"/>
                        <a:pt x="246181" y="367959"/>
                        <a:pt x="247683" y="372190"/>
                      </a:cubicBezTo>
                      <a:cubicBezTo>
                        <a:pt x="249184" y="376421"/>
                        <a:pt x="246864" y="381197"/>
                        <a:pt x="242633" y="382699"/>
                      </a:cubicBezTo>
                      <a:cubicBezTo>
                        <a:pt x="241950" y="382972"/>
                        <a:pt x="197867" y="397712"/>
                        <a:pt x="146414" y="390069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65679752-BE67-4916-8355-1A67E659086F}"/>
                  </a:ext>
                </a:extLst>
              </p:cNvPr>
              <p:cNvSpPr/>
              <p:nvPr/>
            </p:nvSpPr>
            <p:spPr>
              <a:xfrm>
                <a:off x="9366456" y="1232903"/>
                <a:ext cx="607512" cy="1237198"/>
              </a:xfrm>
              <a:custGeom>
                <a:avLst/>
                <a:gdLst>
                  <a:gd name="connsiteX0" fmla="*/ 175548 w 607512"/>
                  <a:gd name="connsiteY0" fmla="*/ 310220 h 1237198"/>
                  <a:gd name="connsiteX1" fmla="*/ 144158 w 607512"/>
                  <a:gd name="connsiteY1" fmla="*/ 869106 h 1237198"/>
                  <a:gd name="connsiteX2" fmla="*/ 80285 w 607512"/>
                  <a:gd name="connsiteY2" fmla="*/ 1216721 h 1237198"/>
                  <a:gd name="connsiteX3" fmla="*/ 547866 w 607512"/>
                  <a:gd name="connsiteY3" fmla="*/ 1222590 h 1237198"/>
                  <a:gd name="connsiteX4" fmla="*/ 455606 w 607512"/>
                  <a:gd name="connsiteY4" fmla="*/ 329736 h 1237198"/>
                  <a:gd name="connsiteX5" fmla="*/ 18733 w 607512"/>
                  <a:gd name="connsiteY5" fmla="*/ 0 h 1237198"/>
                  <a:gd name="connsiteX6" fmla="*/ 175548 w 607512"/>
                  <a:gd name="connsiteY6" fmla="*/ 310220 h 123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512" h="1237198">
                    <a:moveTo>
                      <a:pt x="175548" y="310220"/>
                    </a:moveTo>
                    <a:cubicBezTo>
                      <a:pt x="175548" y="310220"/>
                      <a:pt x="256345" y="649509"/>
                      <a:pt x="144158" y="869106"/>
                    </a:cubicBezTo>
                    <a:cubicBezTo>
                      <a:pt x="31971" y="1088703"/>
                      <a:pt x="-80762" y="1148481"/>
                      <a:pt x="80285" y="1216721"/>
                    </a:cubicBezTo>
                    <a:cubicBezTo>
                      <a:pt x="241468" y="1284961"/>
                      <a:pt x="424761" y="1155032"/>
                      <a:pt x="547866" y="1222590"/>
                    </a:cubicBezTo>
                    <a:cubicBezTo>
                      <a:pt x="696357" y="1304205"/>
                      <a:pt x="529851" y="619484"/>
                      <a:pt x="455606" y="329736"/>
                    </a:cubicBezTo>
                    <a:cubicBezTo>
                      <a:pt x="379586" y="33301"/>
                      <a:pt x="18733" y="0"/>
                      <a:pt x="18733" y="0"/>
                    </a:cubicBezTo>
                    <a:lnTo>
                      <a:pt x="175548" y="310220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C979BB22-2676-4CCB-8FA5-953F2EC3F267}"/>
                  </a:ext>
                </a:extLst>
              </p:cNvPr>
              <p:cNvSpPr/>
              <p:nvPr/>
            </p:nvSpPr>
            <p:spPr>
              <a:xfrm>
                <a:off x="8987629" y="1228179"/>
                <a:ext cx="806563" cy="558696"/>
              </a:xfrm>
              <a:custGeom>
                <a:avLst/>
                <a:gdLst>
                  <a:gd name="connsiteX0" fmla="*/ 768103 w 806563"/>
                  <a:gd name="connsiteY0" fmla="*/ 558697 h 558696"/>
                  <a:gd name="connsiteX1" fmla="*/ 641722 w 806563"/>
                  <a:gd name="connsiteY1" fmla="*/ 72418 h 558696"/>
                  <a:gd name="connsiteX2" fmla="*/ 24695 w 806563"/>
                  <a:gd name="connsiteY2" fmla="*/ 213539 h 558696"/>
                  <a:gd name="connsiteX3" fmla="*/ 63456 w 806563"/>
                  <a:gd name="connsiteY3" fmla="*/ 510656 h 558696"/>
                  <a:gd name="connsiteX4" fmla="*/ 768103 w 806563"/>
                  <a:gd name="connsiteY4" fmla="*/ 558697 h 558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6563" h="558696">
                    <a:moveTo>
                      <a:pt x="768103" y="558697"/>
                    </a:moveTo>
                    <a:cubicBezTo>
                      <a:pt x="768103" y="558697"/>
                      <a:pt x="912499" y="228005"/>
                      <a:pt x="641722" y="72418"/>
                    </a:cubicBezTo>
                    <a:cubicBezTo>
                      <a:pt x="370945" y="-83169"/>
                      <a:pt x="97576" y="34340"/>
                      <a:pt x="24695" y="213539"/>
                    </a:cubicBezTo>
                    <a:cubicBezTo>
                      <a:pt x="-48185" y="392737"/>
                      <a:pt x="63456" y="510656"/>
                      <a:pt x="63456" y="510656"/>
                    </a:cubicBezTo>
                    <a:lnTo>
                      <a:pt x="768103" y="558697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8" name="组合 47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9098444" y="2132035"/>
                <a:ext cx="353893" cy="359906"/>
                <a:chOff x="9098444" y="2132035"/>
                <a:chExt cx="353893" cy="359906"/>
              </a:xfrm>
              <a:solidFill>
                <a:schemeClr val="accent1"/>
              </a:solidFill>
            </p:grpSpPr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114749BF-9301-4616-9E73-5BA08A5724A9}"/>
                    </a:ext>
                  </a:extLst>
                </p:cNvPr>
                <p:cNvSpPr/>
                <p:nvPr/>
              </p:nvSpPr>
              <p:spPr>
                <a:xfrm>
                  <a:off x="9098444" y="2132035"/>
                  <a:ext cx="353893" cy="359906"/>
                </a:xfrm>
                <a:custGeom>
                  <a:avLst/>
                  <a:gdLst>
                    <a:gd name="connsiteX0" fmla="*/ 193120 w 353893"/>
                    <a:gd name="connsiteY0" fmla="*/ 353074 h 359906"/>
                    <a:gd name="connsiteX1" fmla="*/ 326461 w 353893"/>
                    <a:gd name="connsiteY1" fmla="*/ 314314 h 359906"/>
                    <a:gd name="connsiteX2" fmla="*/ 342565 w 353893"/>
                    <a:gd name="connsiteY2" fmla="*/ 174149 h 359906"/>
                    <a:gd name="connsiteX3" fmla="*/ 351983 w 353893"/>
                    <a:gd name="connsiteY3" fmla="*/ 92397 h 359906"/>
                    <a:gd name="connsiteX4" fmla="*/ 353893 w 353893"/>
                    <a:gd name="connsiteY4" fmla="*/ 80387 h 359906"/>
                    <a:gd name="connsiteX5" fmla="*/ 317999 w 353893"/>
                    <a:gd name="connsiteY5" fmla="*/ 76429 h 359906"/>
                    <a:gd name="connsiteX6" fmla="*/ 52954 w 353893"/>
                    <a:gd name="connsiteY6" fmla="*/ 0 h 359906"/>
                    <a:gd name="connsiteX7" fmla="*/ 17060 w 353893"/>
                    <a:gd name="connsiteY7" fmla="*/ 168280 h 359906"/>
                    <a:gd name="connsiteX8" fmla="*/ 0 w 353893"/>
                    <a:gd name="connsiteY8" fmla="*/ 248121 h 359906"/>
                    <a:gd name="connsiteX9" fmla="*/ 193120 w 353893"/>
                    <a:gd name="connsiteY9" fmla="*/ 353074 h 359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3893" h="359906">
                      <a:moveTo>
                        <a:pt x="193120" y="353074"/>
                      </a:moveTo>
                      <a:cubicBezTo>
                        <a:pt x="271186" y="374775"/>
                        <a:pt x="302577" y="340109"/>
                        <a:pt x="326461" y="314314"/>
                      </a:cubicBezTo>
                      <a:lnTo>
                        <a:pt x="342565" y="174149"/>
                      </a:lnTo>
                      <a:lnTo>
                        <a:pt x="351983" y="92397"/>
                      </a:lnTo>
                      <a:lnTo>
                        <a:pt x="353893" y="80387"/>
                      </a:lnTo>
                      <a:lnTo>
                        <a:pt x="317999" y="76429"/>
                      </a:lnTo>
                      <a:lnTo>
                        <a:pt x="52954" y="0"/>
                      </a:lnTo>
                      <a:lnTo>
                        <a:pt x="17060" y="168280"/>
                      </a:lnTo>
                      <a:lnTo>
                        <a:pt x="0" y="248121"/>
                      </a:lnTo>
                      <a:cubicBezTo>
                        <a:pt x="34257" y="280467"/>
                        <a:pt x="79568" y="321547"/>
                        <a:pt x="193120" y="353074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7FD18F6-DFA2-468C-9F02-04059B3BB738}"/>
                    </a:ext>
                  </a:extLst>
                </p:cNvPr>
                <p:cNvSpPr/>
                <p:nvPr/>
              </p:nvSpPr>
              <p:spPr>
                <a:xfrm>
                  <a:off x="9114821" y="2132035"/>
                  <a:ext cx="337515" cy="195729"/>
                </a:xfrm>
                <a:custGeom>
                  <a:avLst/>
                  <a:gdLst>
                    <a:gd name="connsiteX0" fmla="*/ 326324 w 337515"/>
                    <a:gd name="connsiteY0" fmla="*/ 174285 h 195729"/>
                    <a:gd name="connsiteX1" fmla="*/ 819 w 337515"/>
                    <a:gd name="connsiteY1" fmla="*/ 168417 h 195729"/>
                    <a:gd name="connsiteX2" fmla="*/ 0 w 337515"/>
                    <a:gd name="connsiteY2" fmla="*/ 168144 h 195729"/>
                    <a:gd name="connsiteX3" fmla="*/ 36577 w 337515"/>
                    <a:gd name="connsiteY3" fmla="*/ 0 h 195729"/>
                    <a:gd name="connsiteX4" fmla="*/ 301621 w 337515"/>
                    <a:gd name="connsiteY4" fmla="*/ 76429 h 195729"/>
                    <a:gd name="connsiteX5" fmla="*/ 337516 w 337515"/>
                    <a:gd name="connsiteY5" fmla="*/ 80387 h 195729"/>
                    <a:gd name="connsiteX6" fmla="*/ 335605 w 337515"/>
                    <a:gd name="connsiteY6" fmla="*/ 92397 h 195729"/>
                    <a:gd name="connsiteX7" fmla="*/ 326324 w 337515"/>
                    <a:gd name="connsiteY7" fmla="*/ 174285 h 195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7515" h="195729">
                      <a:moveTo>
                        <a:pt x="326324" y="174285"/>
                      </a:moveTo>
                      <a:cubicBezTo>
                        <a:pt x="244163" y="211271"/>
                        <a:pt x="82161" y="194484"/>
                        <a:pt x="819" y="168417"/>
                      </a:cubicBezTo>
                      <a:cubicBezTo>
                        <a:pt x="546" y="168417"/>
                        <a:pt x="273" y="168280"/>
                        <a:pt x="0" y="168144"/>
                      </a:cubicBezTo>
                      <a:lnTo>
                        <a:pt x="36577" y="0"/>
                      </a:lnTo>
                      <a:lnTo>
                        <a:pt x="301621" y="76429"/>
                      </a:lnTo>
                      <a:lnTo>
                        <a:pt x="337516" y="80387"/>
                      </a:lnTo>
                      <a:lnTo>
                        <a:pt x="335605" y="92397"/>
                      </a:lnTo>
                      <a:lnTo>
                        <a:pt x="326324" y="174285"/>
                      </a:lnTo>
                      <a:close/>
                    </a:path>
                  </a:pathLst>
                </a:custGeom>
                <a:solidFill>
                  <a:srgbClr val="18181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51" name="组合 50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9543410" y="1781729"/>
                <a:ext cx="244717" cy="384248"/>
                <a:chOff x="9543410" y="1781729"/>
                <a:chExt cx="244717" cy="384248"/>
              </a:xfrm>
              <a:solidFill>
                <a:schemeClr val="accent1"/>
              </a:solidFill>
            </p:grpSpPr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7AAC7F68-B645-4372-9856-DFBBC2BE0E9F}"/>
                    </a:ext>
                  </a:extLst>
                </p:cNvPr>
                <p:cNvSpPr/>
                <p:nvPr/>
              </p:nvSpPr>
              <p:spPr>
                <a:xfrm>
                  <a:off x="9603284" y="1781729"/>
                  <a:ext cx="184843" cy="213542"/>
                </a:xfrm>
                <a:custGeom>
                  <a:avLst/>
                  <a:gdLst>
                    <a:gd name="connsiteX0" fmla="*/ 54319 w 184843"/>
                    <a:gd name="connsiteY0" fmla="*/ 7195 h 213542"/>
                    <a:gd name="connsiteX1" fmla="*/ 180836 w 184843"/>
                    <a:gd name="connsiteY1" fmla="*/ 100547 h 213542"/>
                    <a:gd name="connsiteX2" fmla="*/ 0 w 184843"/>
                    <a:gd name="connsiteY2" fmla="*/ 200314 h 213542"/>
                    <a:gd name="connsiteX3" fmla="*/ 54319 w 184843"/>
                    <a:gd name="connsiteY3" fmla="*/ 7195 h 21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4843" h="213542">
                      <a:moveTo>
                        <a:pt x="54319" y="7195"/>
                      </a:moveTo>
                      <a:cubicBezTo>
                        <a:pt x="54319" y="7195"/>
                        <a:pt x="211681" y="-38526"/>
                        <a:pt x="180836" y="100547"/>
                      </a:cubicBezTo>
                      <a:cubicBezTo>
                        <a:pt x="146853" y="253678"/>
                        <a:pt x="21564" y="210141"/>
                        <a:pt x="0" y="200314"/>
                      </a:cubicBezTo>
                      <a:lnTo>
                        <a:pt x="54319" y="7195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130F47B1-C509-495E-BB0F-DC0868CDAB6C}"/>
                    </a:ext>
                  </a:extLst>
                </p:cNvPr>
                <p:cNvSpPr/>
                <p:nvPr/>
              </p:nvSpPr>
              <p:spPr>
                <a:xfrm>
                  <a:off x="9543410" y="1960343"/>
                  <a:ext cx="213624" cy="205635"/>
                </a:xfrm>
                <a:custGeom>
                  <a:avLst/>
                  <a:gdLst>
                    <a:gd name="connsiteX0" fmla="*/ 1188 w 213624"/>
                    <a:gd name="connsiteY0" fmla="*/ 82980 h 205635"/>
                    <a:gd name="connsiteX1" fmla="*/ 90992 w 213624"/>
                    <a:gd name="connsiteY1" fmla="*/ 204447 h 205635"/>
                    <a:gd name="connsiteX2" fmla="*/ 212459 w 213624"/>
                    <a:gd name="connsiteY2" fmla="*/ 114643 h 205635"/>
                    <a:gd name="connsiteX3" fmla="*/ 146948 w 213624"/>
                    <a:gd name="connsiteY3" fmla="*/ 0 h 205635"/>
                    <a:gd name="connsiteX4" fmla="*/ 146676 w 213624"/>
                    <a:gd name="connsiteY4" fmla="*/ 410 h 205635"/>
                    <a:gd name="connsiteX5" fmla="*/ 136985 w 213624"/>
                    <a:gd name="connsiteY5" fmla="*/ 14467 h 205635"/>
                    <a:gd name="connsiteX6" fmla="*/ 195536 w 213624"/>
                    <a:gd name="connsiteY6" fmla="*/ 112187 h 205635"/>
                    <a:gd name="connsiteX7" fmla="*/ 93585 w 213624"/>
                    <a:gd name="connsiteY7" fmla="*/ 187660 h 205635"/>
                    <a:gd name="connsiteX8" fmla="*/ 18111 w 213624"/>
                    <a:gd name="connsiteY8" fmla="*/ 85710 h 205635"/>
                    <a:gd name="connsiteX9" fmla="*/ 48273 w 213624"/>
                    <a:gd name="connsiteY9" fmla="*/ 31118 h 205635"/>
                    <a:gd name="connsiteX10" fmla="*/ 61375 w 213624"/>
                    <a:gd name="connsiteY10" fmla="*/ 21837 h 205635"/>
                    <a:gd name="connsiteX11" fmla="*/ 49911 w 213624"/>
                    <a:gd name="connsiteY11" fmla="*/ 8871 h 205635"/>
                    <a:gd name="connsiteX12" fmla="*/ 37628 w 213624"/>
                    <a:gd name="connsiteY12" fmla="*/ 17879 h 205635"/>
                    <a:gd name="connsiteX13" fmla="*/ 1188 w 213624"/>
                    <a:gd name="connsiteY13" fmla="*/ 82980 h 205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3624" h="205635">
                      <a:moveTo>
                        <a:pt x="1188" y="82980"/>
                      </a:moveTo>
                      <a:cubicBezTo>
                        <a:pt x="-7547" y="141257"/>
                        <a:pt x="32851" y="195713"/>
                        <a:pt x="90992" y="204447"/>
                      </a:cubicBezTo>
                      <a:cubicBezTo>
                        <a:pt x="149269" y="213182"/>
                        <a:pt x="203724" y="172784"/>
                        <a:pt x="212459" y="114643"/>
                      </a:cubicBezTo>
                      <a:cubicBezTo>
                        <a:pt x="219829" y="64965"/>
                        <a:pt x="191578" y="18152"/>
                        <a:pt x="146948" y="0"/>
                      </a:cubicBezTo>
                      <a:cubicBezTo>
                        <a:pt x="146812" y="137"/>
                        <a:pt x="146812" y="273"/>
                        <a:pt x="146676" y="410"/>
                      </a:cubicBezTo>
                      <a:cubicBezTo>
                        <a:pt x="139169" y="2320"/>
                        <a:pt x="137531" y="8189"/>
                        <a:pt x="136985" y="14467"/>
                      </a:cubicBezTo>
                      <a:cubicBezTo>
                        <a:pt x="176565" y="28524"/>
                        <a:pt x="201950" y="69195"/>
                        <a:pt x="195536" y="112187"/>
                      </a:cubicBezTo>
                      <a:cubicBezTo>
                        <a:pt x="188166" y="161047"/>
                        <a:pt x="142445" y="195030"/>
                        <a:pt x="93585" y="187660"/>
                      </a:cubicBezTo>
                      <a:cubicBezTo>
                        <a:pt x="44725" y="180290"/>
                        <a:pt x="10741" y="134569"/>
                        <a:pt x="18111" y="85710"/>
                      </a:cubicBezTo>
                      <a:cubicBezTo>
                        <a:pt x="21387" y="63600"/>
                        <a:pt x="32578" y="44629"/>
                        <a:pt x="48273" y="31118"/>
                      </a:cubicBezTo>
                      <a:cubicBezTo>
                        <a:pt x="52368" y="27706"/>
                        <a:pt x="56735" y="24430"/>
                        <a:pt x="61375" y="21837"/>
                      </a:cubicBezTo>
                      <a:cubicBezTo>
                        <a:pt x="57281" y="18152"/>
                        <a:pt x="53323" y="13785"/>
                        <a:pt x="49911" y="8871"/>
                      </a:cubicBezTo>
                      <a:cubicBezTo>
                        <a:pt x="45680" y="11464"/>
                        <a:pt x="41586" y="14467"/>
                        <a:pt x="37628" y="17879"/>
                      </a:cubicBezTo>
                      <a:cubicBezTo>
                        <a:pt x="18521" y="33574"/>
                        <a:pt x="5146" y="56366"/>
                        <a:pt x="1188" y="8298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F99293C0-1D32-41DA-B526-5392B07B72B9}"/>
                    </a:ext>
                  </a:extLst>
                </p:cNvPr>
                <p:cNvSpPr/>
                <p:nvPr/>
              </p:nvSpPr>
              <p:spPr>
                <a:xfrm>
                  <a:off x="9667827" y="1833472"/>
                  <a:ext cx="81708" cy="103195"/>
                </a:xfrm>
                <a:custGeom>
                  <a:avLst/>
                  <a:gdLst>
                    <a:gd name="connsiteX0" fmla="*/ 7382 w 81708"/>
                    <a:gd name="connsiteY0" fmla="*/ 103123 h 103195"/>
                    <a:gd name="connsiteX1" fmla="*/ 6427 w 81708"/>
                    <a:gd name="connsiteY1" fmla="*/ 102987 h 103195"/>
                    <a:gd name="connsiteX2" fmla="*/ 285 w 81708"/>
                    <a:gd name="connsiteY2" fmla="*/ 92614 h 103195"/>
                    <a:gd name="connsiteX3" fmla="*/ 69617 w 81708"/>
                    <a:gd name="connsiteY3" fmla="*/ 763 h 103195"/>
                    <a:gd name="connsiteX4" fmla="*/ 80945 w 81708"/>
                    <a:gd name="connsiteY4" fmla="*/ 4994 h 103195"/>
                    <a:gd name="connsiteX5" fmla="*/ 76714 w 81708"/>
                    <a:gd name="connsiteY5" fmla="*/ 16322 h 103195"/>
                    <a:gd name="connsiteX6" fmla="*/ 16799 w 81708"/>
                    <a:gd name="connsiteY6" fmla="*/ 96982 h 103195"/>
                    <a:gd name="connsiteX7" fmla="*/ 7382 w 81708"/>
                    <a:gd name="connsiteY7" fmla="*/ 103123 h 103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708" h="103195">
                      <a:moveTo>
                        <a:pt x="7382" y="103123"/>
                      </a:moveTo>
                      <a:cubicBezTo>
                        <a:pt x="7109" y="103123"/>
                        <a:pt x="6836" y="102987"/>
                        <a:pt x="6427" y="102987"/>
                      </a:cubicBezTo>
                      <a:cubicBezTo>
                        <a:pt x="1923" y="101759"/>
                        <a:pt x="-943" y="97118"/>
                        <a:pt x="285" y="92614"/>
                      </a:cubicBezTo>
                      <a:cubicBezTo>
                        <a:pt x="17755" y="25057"/>
                        <a:pt x="67434" y="1719"/>
                        <a:pt x="69617" y="763"/>
                      </a:cubicBezTo>
                      <a:cubicBezTo>
                        <a:pt x="73848" y="-1147"/>
                        <a:pt x="79034" y="627"/>
                        <a:pt x="80945" y="4994"/>
                      </a:cubicBezTo>
                      <a:cubicBezTo>
                        <a:pt x="82856" y="9225"/>
                        <a:pt x="81082" y="14275"/>
                        <a:pt x="76714" y="16322"/>
                      </a:cubicBezTo>
                      <a:cubicBezTo>
                        <a:pt x="74803" y="17141"/>
                        <a:pt x="32222" y="37613"/>
                        <a:pt x="16799" y="96982"/>
                      </a:cubicBezTo>
                      <a:cubicBezTo>
                        <a:pt x="15844" y="101076"/>
                        <a:pt x="11750" y="103669"/>
                        <a:pt x="7382" y="103123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5192C1E9-3575-487D-AD60-7EB821EF0A09}"/>
                    </a:ext>
                  </a:extLst>
                </p:cNvPr>
                <p:cNvSpPr/>
                <p:nvPr/>
              </p:nvSpPr>
              <p:spPr>
                <a:xfrm>
                  <a:off x="9691314" y="1869993"/>
                  <a:ext cx="50120" cy="38297"/>
                </a:xfrm>
                <a:custGeom>
                  <a:avLst/>
                  <a:gdLst>
                    <a:gd name="connsiteX0" fmla="*/ 40262 w 50120"/>
                    <a:gd name="connsiteY0" fmla="*/ 38214 h 38297"/>
                    <a:gd name="connsiteX1" fmla="*/ 34256 w 50120"/>
                    <a:gd name="connsiteY1" fmla="*/ 34256 h 38297"/>
                    <a:gd name="connsiteX2" fmla="*/ 8462 w 50120"/>
                    <a:gd name="connsiteY2" fmla="*/ 17060 h 38297"/>
                    <a:gd name="connsiteX3" fmla="*/ 0 w 50120"/>
                    <a:gd name="connsiteY3" fmla="*/ 8462 h 38297"/>
                    <a:gd name="connsiteX4" fmla="*/ 8598 w 50120"/>
                    <a:gd name="connsiteY4" fmla="*/ 0 h 38297"/>
                    <a:gd name="connsiteX5" fmla="*/ 48860 w 50120"/>
                    <a:gd name="connsiteY5" fmla="*/ 25385 h 38297"/>
                    <a:gd name="connsiteX6" fmla="*/ 45994 w 50120"/>
                    <a:gd name="connsiteY6" fmla="*/ 37123 h 38297"/>
                    <a:gd name="connsiteX7" fmla="*/ 40262 w 50120"/>
                    <a:gd name="connsiteY7" fmla="*/ 38214 h 38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120" h="38297">
                      <a:moveTo>
                        <a:pt x="40262" y="38214"/>
                      </a:moveTo>
                      <a:cubicBezTo>
                        <a:pt x="37805" y="37805"/>
                        <a:pt x="35621" y="36440"/>
                        <a:pt x="34256" y="34256"/>
                      </a:cubicBezTo>
                      <a:cubicBezTo>
                        <a:pt x="33984" y="33847"/>
                        <a:pt x="23475" y="17196"/>
                        <a:pt x="8462" y="17060"/>
                      </a:cubicBezTo>
                      <a:cubicBezTo>
                        <a:pt x="3821" y="17060"/>
                        <a:pt x="0" y="13102"/>
                        <a:pt x="0" y="8462"/>
                      </a:cubicBezTo>
                      <a:cubicBezTo>
                        <a:pt x="0" y="3685"/>
                        <a:pt x="3958" y="0"/>
                        <a:pt x="8598" y="0"/>
                      </a:cubicBezTo>
                      <a:cubicBezTo>
                        <a:pt x="33165" y="273"/>
                        <a:pt x="48177" y="24430"/>
                        <a:pt x="48860" y="25385"/>
                      </a:cubicBezTo>
                      <a:cubicBezTo>
                        <a:pt x="51316" y="29480"/>
                        <a:pt x="50088" y="34666"/>
                        <a:pt x="45994" y="37123"/>
                      </a:cubicBezTo>
                      <a:cubicBezTo>
                        <a:pt x="44220" y="38078"/>
                        <a:pt x="42172" y="38487"/>
                        <a:pt x="40262" y="38214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3B3B9F9-5667-4219-9592-D0195E724D55}"/>
                  </a:ext>
                </a:extLst>
              </p:cNvPr>
              <p:cNvSpPr/>
              <p:nvPr/>
            </p:nvSpPr>
            <p:spPr>
              <a:xfrm>
                <a:off x="9047717" y="1410092"/>
                <a:ext cx="705369" cy="854835"/>
              </a:xfrm>
              <a:custGeom>
                <a:avLst/>
                <a:gdLst>
                  <a:gd name="connsiteX0" fmla="*/ 696278 w 705369"/>
                  <a:gd name="connsiteY0" fmla="*/ 359861 h 854835"/>
                  <a:gd name="connsiteX1" fmla="*/ 652605 w 705369"/>
                  <a:gd name="connsiteY1" fmla="*/ 519270 h 854835"/>
                  <a:gd name="connsiteX2" fmla="*/ 625036 w 705369"/>
                  <a:gd name="connsiteY2" fmla="*/ 585463 h 854835"/>
                  <a:gd name="connsiteX3" fmla="*/ 376369 w 705369"/>
                  <a:gd name="connsiteY3" fmla="*/ 852691 h 854835"/>
                  <a:gd name="connsiteX4" fmla="*/ 36942 w 705369"/>
                  <a:gd name="connsiteY4" fmla="*/ 641420 h 854835"/>
                  <a:gd name="connsiteX5" fmla="*/ 7736 w 705369"/>
                  <a:gd name="connsiteY5" fmla="*/ 543836 h 854835"/>
                  <a:gd name="connsiteX6" fmla="*/ 5552 w 705369"/>
                  <a:gd name="connsiteY6" fmla="*/ 527595 h 854835"/>
                  <a:gd name="connsiteX7" fmla="*/ 28344 w 705369"/>
                  <a:gd name="connsiteY7" fmla="*/ 113241 h 854835"/>
                  <a:gd name="connsiteX8" fmla="*/ 482687 w 705369"/>
                  <a:gd name="connsiteY8" fmla="*/ 21254 h 854835"/>
                  <a:gd name="connsiteX9" fmla="*/ 696278 w 705369"/>
                  <a:gd name="connsiteY9" fmla="*/ 359861 h 85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5369" h="854835">
                    <a:moveTo>
                      <a:pt x="696278" y="359861"/>
                    </a:moveTo>
                    <a:cubicBezTo>
                      <a:pt x="686452" y="415136"/>
                      <a:pt x="671439" y="468909"/>
                      <a:pt x="652605" y="519270"/>
                    </a:cubicBezTo>
                    <a:cubicBezTo>
                      <a:pt x="644143" y="542062"/>
                      <a:pt x="634862" y="564172"/>
                      <a:pt x="625036" y="585463"/>
                    </a:cubicBezTo>
                    <a:cubicBezTo>
                      <a:pt x="555704" y="735318"/>
                      <a:pt x="455937" y="843410"/>
                      <a:pt x="376369" y="852691"/>
                    </a:cubicBezTo>
                    <a:cubicBezTo>
                      <a:pt x="250261" y="867567"/>
                      <a:pt x="107093" y="805878"/>
                      <a:pt x="36942" y="641420"/>
                    </a:cubicBezTo>
                    <a:cubicBezTo>
                      <a:pt x="25478" y="614533"/>
                      <a:pt x="13468" y="582187"/>
                      <a:pt x="7736" y="543836"/>
                    </a:cubicBezTo>
                    <a:cubicBezTo>
                      <a:pt x="6917" y="538514"/>
                      <a:pt x="6234" y="533054"/>
                      <a:pt x="5552" y="527595"/>
                    </a:cubicBezTo>
                    <a:cubicBezTo>
                      <a:pt x="-15057" y="356722"/>
                      <a:pt x="28344" y="113241"/>
                      <a:pt x="28344" y="113241"/>
                    </a:cubicBezTo>
                    <a:cubicBezTo>
                      <a:pt x="131660" y="-40981"/>
                      <a:pt x="353849" y="99"/>
                      <a:pt x="482687" y="21254"/>
                    </a:cubicBezTo>
                    <a:cubicBezTo>
                      <a:pt x="611797" y="42545"/>
                      <a:pt x="741180" y="106690"/>
                      <a:pt x="696278" y="35986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196E8F75-E0D7-499C-8B2E-6A2A7C90D96B}"/>
                  </a:ext>
                </a:extLst>
              </p:cNvPr>
              <p:cNvSpPr/>
              <p:nvPr/>
            </p:nvSpPr>
            <p:spPr>
              <a:xfrm>
                <a:off x="9341788" y="2142135"/>
                <a:ext cx="105478" cy="33708"/>
              </a:xfrm>
              <a:custGeom>
                <a:avLst/>
                <a:gdLst>
                  <a:gd name="connsiteX0" fmla="*/ 47495 w 105478"/>
                  <a:gd name="connsiteY0" fmla="*/ 32345 h 33708"/>
                  <a:gd name="connsiteX1" fmla="*/ 3275 w 105478"/>
                  <a:gd name="connsiteY1" fmla="*/ 15285 h 33708"/>
                  <a:gd name="connsiteX2" fmla="*/ 1774 w 105478"/>
                  <a:gd name="connsiteY2" fmla="*/ 3275 h 33708"/>
                  <a:gd name="connsiteX3" fmla="*/ 13784 w 105478"/>
                  <a:gd name="connsiteY3" fmla="*/ 1774 h 33708"/>
                  <a:gd name="connsiteX4" fmla="*/ 52681 w 105478"/>
                  <a:gd name="connsiteY4" fmla="*/ 15695 h 33708"/>
                  <a:gd name="connsiteX5" fmla="*/ 94035 w 105478"/>
                  <a:gd name="connsiteY5" fmla="*/ 12965 h 33708"/>
                  <a:gd name="connsiteX6" fmla="*/ 104953 w 105478"/>
                  <a:gd name="connsiteY6" fmla="*/ 18152 h 33708"/>
                  <a:gd name="connsiteX7" fmla="*/ 99767 w 105478"/>
                  <a:gd name="connsiteY7" fmla="*/ 29070 h 33708"/>
                  <a:gd name="connsiteX8" fmla="*/ 50634 w 105478"/>
                  <a:gd name="connsiteY8" fmla="*/ 32755 h 33708"/>
                  <a:gd name="connsiteX9" fmla="*/ 47495 w 105478"/>
                  <a:gd name="connsiteY9" fmla="*/ 32345 h 3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478" h="33708">
                    <a:moveTo>
                      <a:pt x="47495" y="32345"/>
                    </a:moveTo>
                    <a:cubicBezTo>
                      <a:pt x="20062" y="28251"/>
                      <a:pt x="3958" y="15831"/>
                      <a:pt x="3275" y="15285"/>
                    </a:cubicBezTo>
                    <a:cubicBezTo>
                      <a:pt x="-410" y="12419"/>
                      <a:pt x="-1092" y="6960"/>
                      <a:pt x="1774" y="3275"/>
                    </a:cubicBezTo>
                    <a:cubicBezTo>
                      <a:pt x="4640" y="-410"/>
                      <a:pt x="9963" y="-1092"/>
                      <a:pt x="13784" y="1774"/>
                    </a:cubicBezTo>
                    <a:cubicBezTo>
                      <a:pt x="14057" y="2047"/>
                      <a:pt x="28524" y="12829"/>
                      <a:pt x="52681" y="15695"/>
                    </a:cubicBezTo>
                    <a:cubicBezTo>
                      <a:pt x="77248" y="18697"/>
                      <a:pt x="93762" y="12965"/>
                      <a:pt x="94035" y="12965"/>
                    </a:cubicBezTo>
                    <a:cubicBezTo>
                      <a:pt x="98538" y="11464"/>
                      <a:pt x="103315" y="13784"/>
                      <a:pt x="104953" y="18152"/>
                    </a:cubicBezTo>
                    <a:cubicBezTo>
                      <a:pt x="106591" y="22519"/>
                      <a:pt x="104271" y="27432"/>
                      <a:pt x="99767" y="29070"/>
                    </a:cubicBezTo>
                    <a:cubicBezTo>
                      <a:pt x="98948" y="29343"/>
                      <a:pt x="79568" y="36167"/>
                      <a:pt x="50634" y="32755"/>
                    </a:cubicBezTo>
                    <a:cubicBezTo>
                      <a:pt x="49542" y="32618"/>
                      <a:pt x="48450" y="32482"/>
                      <a:pt x="47495" y="32345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8" name="组合 57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8748645" y="1933663"/>
                <a:ext cx="951923" cy="1880353"/>
                <a:chOff x="8748645" y="1933663"/>
                <a:chExt cx="951923" cy="1880353"/>
              </a:xfrm>
              <a:solidFill>
                <a:schemeClr val="accent1"/>
              </a:solidFill>
            </p:grpSpPr>
            <p:grpSp>
              <p:nvGrpSpPr>
                <p:cNvPr id="59" name="组合 58">
                  <a:extLst>
                    <a:ext uri="{FF2B5EF4-FFF2-40B4-BE49-F238E27FC236}">
                      <a16:creationId xmlns:a16="http://schemas.microsoft.com/office/drawing/2014/main" id="{259356AE-3F16-4A0F-AE90-670FE51B9627}"/>
                    </a:ext>
                  </a:extLst>
                </p:cNvPr>
                <p:cNvGrpSpPr/>
                <p:nvPr/>
              </p:nvGrpSpPr>
              <p:grpSpPr>
                <a:xfrm>
                  <a:off x="8864819" y="3528566"/>
                  <a:ext cx="473587" cy="285450"/>
                  <a:chOff x="8864819" y="3528566"/>
                  <a:chExt cx="473587" cy="285450"/>
                </a:xfrm>
                <a:solidFill>
                  <a:srgbClr val="1C55D1"/>
                </a:solidFill>
              </p:grpSpPr>
              <p:sp>
                <p:nvSpPr>
                  <p:cNvPr id="60" name="任意多边形: 形状 59">
                    <a:extLst>
                      <a:ext uri="{FF2B5EF4-FFF2-40B4-BE49-F238E27FC236}">
                        <a16:creationId xmlns:a16="http://schemas.microsoft.com/office/drawing/2014/main" id="{55CE4319-AF97-4B87-9E17-381478654755}"/>
                      </a:ext>
                    </a:extLst>
                  </p:cNvPr>
                  <p:cNvSpPr/>
                  <p:nvPr/>
                </p:nvSpPr>
                <p:spPr>
                  <a:xfrm>
                    <a:off x="8864819" y="3665010"/>
                    <a:ext cx="57510" cy="149006"/>
                  </a:xfrm>
                  <a:custGeom>
                    <a:avLst/>
                    <a:gdLst>
                      <a:gd name="connsiteX0" fmla="*/ 44463 w 57510"/>
                      <a:gd name="connsiteY0" fmla="*/ 149007 h 149006"/>
                      <a:gd name="connsiteX1" fmla="*/ 32180 w 57510"/>
                      <a:gd name="connsiteY1" fmla="*/ 139999 h 149006"/>
                      <a:gd name="connsiteX2" fmla="*/ 243 w 57510"/>
                      <a:gd name="connsiteY2" fmla="*/ 15529 h 149006"/>
                      <a:gd name="connsiteX3" fmla="*/ 10480 w 57510"/>
                      <a:gd name="connsiteY3" fmla="*/ 243 h 149006"/>
                      <a:gd name="connsiteX4" fmla="*/ 25765 w 57510"/>
                      <a:gd name="connsiteY4" fmla="*/ 10479 h 149006"/>
                      <a:gd name="connsiteX5" fmla="*/ 56883 w 57510"/>
                      <a:gd name="connsiteY5" fmla="*/ 131947 h 149006"/>
                      <a:gd name="connsiteX6" fmla="*/ 48557 w 57510"/>
                      <a:gd name="connsiteY6" fmla="*/ 148325 h 149006"/>
                      <a:gd name="connsiteX7" fmla="*/ 44463 w 57510"/>
                      <a:gd name="connsiteY7" fmla="*/ 149007 h 1490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10" h="149006">
                        <a:moveTo>
                          <a:pt x="44463" y="149007"/>
                        </a:moveTo>
                        <a:cubicBezTo>
                          <a:pt x="39004" y="149007"/>
                          <a:pt x="33954" y="145458"/>
                          <a:pt x="32180" y="139999"/>
                        </a:cubicBezTo>
                        <a:cubicBezTo>
                          <a:pt x="13618" y="82814"/>
                          <a:pt x="789" y="18259"/>
                          <a:pt x="243" y="15529"/>
                        </a:cubicBezTo>
                        <a:cubicBezTo>
                          <a:pt x="-1121" y="8432"/>
                          <a:pt x="3382" y="1608"/>
                          <a:pt x="10480" y="243"/>
                        </a:cubicBezTo>
                        <a:cubicBezTo>
                          <a:pt x="17440" y="-1121"/>
                          <a:pt x="24400" y="3383"/>
                          <a:pt x="25765" y="10479"/>
                        </a:cubicBezTo>
                        <a:cubicBezTo>
                          <a:pt x="25902" y="11162"/>
                          <a:pt x="38867" y="76263"/>
                          <a:pt x="56883" y="131947"/>
                        </a:cubicBezTo>
                        <a:cubicBezTo>
                          <a:pt x="59066" y="138771"/>
                          <a:pt x="55381" y="146141"/>
                          <a:pt x="48557" y="148325"/>
                        </a:cubicBezTo>
                        <a:cubicBezTo>
                          <a:pt x="47193" y="148870"/>
                          <a:pt x="45828" y="149007"/>
                          <a:pt x="44463" y="14900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1" name="任意多边形: 形状 60">
                    <a:extLst>
                      <a:ext uri="{FF2B5EF4-FFF2-40B4-BE49-F238E27FC236}">
                        <a16:creationId xmlns:a16="http://schemas.microsoft.com/office/drawing/2014/main" id="{5A87C4EB-4506-48D2-B63C-EFE2B3CB0207}"/>
                      </a:ext>
                    </a:extLst>
                  </p:cNvPr>
                  <p:cNvSpPr/>
                  <p:nvPr/>
                </p:nvSpPr>
                <p:spPr>
                  <a:xfrm>
                    <a:off x="8932468" y="3642309"/>
                    <a:ext cx="59123" cy="148506"/>
                  </a:xfrm>
                  <a:custGeom>
                    <a:avLst/>
                    <a:gdLst>
                      <a:gd name="connsiteX0" fmla="*/ 46146 w 59123"/>
                      <a:gd name="connsiteY0" fmla="*/ 148506 h 148506"/>
                      <a:gd name="connsiteX1" fmla="*/ 33863 w 59123"/>
                      <a:gd name="connsiteY1" fmla="*/ 139635 h 148506"/>
                      <a:gd name="connsiteX2" fmla="*/ 289 w 59123"/>
                      <a:gd name="connsiteY2" fmla="*/ 15711 h 148506"/>
                      <a:gd name="connsiteX3" fmla="*/ 10252 w 59123"/>
                      <a:gd name="connsiteY3" fmla="*/ 289 h 148506"/>
                      <a:gd name="connsiteX4" fmla="*/ 25674 w 59123"/>
                      <a:gd name="connsiteY4" fmla="*/ 10252 h 148506"/>
                      <a:gd name="connsiteX5" fmla="*/ 58429 w 59123"/>
                      <a:gd name="connsiteY5" fmla="*/ 131173 h 148506"/>
                      <a:gd name="connsiteX6" fmla="*/ 50241 w 59123"/>
                      <a:gd name="connsiteY6" fmla="*/ 147687 h 148506"/>
                      <a:gd name="connsiteX7" fmla="*/ 46146 w 59123"/>
                      <a:gd name="connsiteY7" fmla="*/ 148506 h 1485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123" h="148506">
                        <a:moveTo>
                          <a:pt x="46146" y="148506"/>
                        </a:moveTo>
                        <a:cubicBezTo>
                          <a:pt x="40687" y="148506"/>
                          <a:pt x="35637" y="145094"/>
                          <a:pt x="33863" y="139635"/>
                        </a:cubicBezTo>
                        <a:cubicBezTo>
                          <a:pt x="14483" y="82723"/>
                          <a:pt x="835" y="18441"/>
                          <a:pt x="289" y="15711"/>
                        </a:cubicBezTo>
                        <a:cubicBezTo>
                          <a:pt x="-1212" y="8751"/>
                          <a:pt x="3291" y="1790"/>
                          <a:pt x="10252" y="289"/>
                        </a:cubicBezTo>
                        <a:cubicBezTo>
                          <a:pt x="17212" y="-1212"/>
                          <a:pt x="24173" y="3291"/>
                          <a:pt x="25674" y="10252"/>
                        </a:cubicBezTo>
                        <a:cubicBezTo>
                          <a:pt x="25811" y="10934"/>
                          <a:pt x="39595" y="75762"/>
                          <a:pt x="58429" y="131173"/>
                        </a:cubicBezTo>
                        <a:cubicBezTo>
                          <a:pt x="60750" y="137997"/>
                          <a:pt x="57065" y="145367"/>
                          <a:pt x="50241" y="147687"/>
                        </a:cubicBezTo>
                        <a:cubicBezTo>
                          <a:pt x="49012" y="148233"/>
                          <a:pt x="47511" y="148506"/>
                          <a:pt x="46146" y="148506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2" name="任意多边形: 形状 61">
                    <a:extLst>
                      <a:ext uri="{FF2B5EF4-FFF2-40B4-BE49-F238E27FC236}">
                        <a16:creationId xmlns:a16="http://schemas.microsoft.com/office/drawing/2014/main" id="{1AF00E54-809A-4507-AA5E-BE20137F4FF5}"/>
                      </a:ext>
                    </a:extLst>
                  </p:cNvPr>
                  <p:cNvSpPr/>
                  <p:nvPr/>
                </p:nvSpPr>
                <p:spPr>
                  <a:xfrm>
                    <a:off x="9000114" y="3619647"/>
                    <a:ext cx="60757" cy="147830"/>
                  </a:xfrm>
                  <a:custGeom>
                    <a:avLst/>
                    <a:gdLst>
                      <a:gd name="connsiteX0" fmla="*/ 47832 w 60757"/>
                      <a:gd name="connsiteY0" fmla="*/ 147830 h 147830"/>
                      <a:gd name="connsiteX1" fmla="*/ 35549 w 60757"/>
                      <a:gd name="connsiteY1" fmla="*/ 139232 h 147830"/>
                      <a:gd name="connsiteX2" fmla="*/ 337 w 60757"/>
                      <a:gd name="connsiteY2" fmla="*/ 15854 h 147830"/>
                      <a:gd name="connsiteX3" fmla="*/ 10163 w 60757"/>
                      <a:gd name="connsiteY3" fmla="*/ 295 h 147830"/>
                      <a:gd name="connsiteX4" fmla="*/ 25722 w 60757"/>
                      <a:gd name="connsiteY4" fmla="*/ 10122 h 147830"/>
                      <a:gd name="connsiteX5" fmla="*/ 59979 w 60757"/>
                      <a:gd name="connsiteY5" fmla="*/ 130634 h 147830"/>
                      <a:gd name="connsiteX6" fmla="*/ 52063 w 60757"/>
                      <a:gd name="connsiteY6" fmla="*/ 147148 h 147830"/>
                      <a:gd name="connsiteX7" fmla="*/ 47832 w 60757"/>
                      <a:gd name="connsiteY7" fmla="*/ 147830 h 147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0757" h="147830">
                        <a:moveTo>
                          <a:pt x="47832" y="147830"/>
                        </a:moveTo>
                        <a:cubicBezTo>
                          <a:pt x="42509" y="147830"/>
                          <a:pt x="37460" y="144555"/>
                          <a:pt x="35549" y="139232"/>
                        </a:cubicBezTo>
                        <a:cubicBezTo>
                          <a:pt x="15486" y="82593"/>
                          <a:pt x="1019" y="18447"/>
                          <a:pt x="337" y="15854"/>
                        </a:cubicBezTo>
                        <a:cubicBezTo>
                          <a:pt x="-1301" y="8893"/>
                          <a:pt x="3203" y="1933"/>
                          <a:pt x="10163" y="295"/>
                        </a:cubicBezTo>
                        <a:cubicBezTo>
                          <a:pt x="17124" y="-1206"/>
                          <a:pt x="24084" y="3161"/>
                          <a:pt x="25722" y="10122"/>
                        </a:cubicBezTo>
                        <a:cubicBezTo>
                          <a:pt x="25859" y="10804"/>
                          <a:pt x="40462" y="75496"/>
                          <a:pt x="59979" y="130634"/>
                        </a:cubicBezTo>
                        <a:cubicBezTo>
                          <a:pt x="62435" y="137458"/>
                          <a:pt x="58887" y="144828"/>
                          <a:pt x="52063" y="147148"/>
                        </a:cubicBezTo>
                        <a:cubicBezTo>
                          <a:pt x="50835" y="147694"/>
                          <a:pt x="49333" y="147830"/>
                          <a:pt x="47832" y="14783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63" name="任意多边形: 形状 62">
                    <a:extLst>
                      <a:ext uri="{FF2B5EF4-FFF2-40B4-BE49-F238E27FC236}">
                        <a16:creationId xmlns:a16="http://schemas.microsoft.com/office/drawing/2014/main" id="{B20BD406-1E94-4AEE-9853-202AFF768A3C}"/>
                      </a:ext>
                    </a:extLst>
                  </p:cNvPr>
                  <p:cNvSpPr/>
                  <p:nvPr/>
                </p:nvSpPr>
                <p:spPr>
                  <a:xfrm>
                    <a:off x="9067930" y="3596798"/>
                    <a:ext cx="62291" cy="147477"/>
                  </a:xfrm>
                  <a:custGeom>
                    <a:avLst/>
                    <a:gdLst>
                      <a:gd name="connsiteX0" fmla="*/ 49348 w 62291"/>
                      <a:gd name="connsiteY0" fmla="*/ 147478 h 147477"/>
                      <a:gd name="connsiteX1" fmla="*/ 37202 w 62291"/>
                      <a:gd name="connsiteY1" fmla="*/ 139016 h 147477"/>
                      <a:gd name="connsiteX2" fmla="*/ 352 w 62291"/>
                      <a:gd name="connsiteY2" fmla="*/ 16047 h 147477"/>
                      <a:gd name="connsiteX3" fmla="*/ 9905 w 62291"/>
                      <a:gd name="connsiteY3" fmla="*/ 352 h 147477"/>
                      <a:gd name="connsiteX4" fmla="*/ 25601 w 62291"/>
                      <a:gd name="connsiteY4" fmla="*/ 9905 h 147477"/>
                      <a:gd name="connsiteX5" fmla="*/ 61495 w 62291"/>
                      <a:gd name="connsiteY5" fmla="*/ 129871 h 147477"/>
                      <a:gd name="connsiteX6" fmla="*/ 53852 w 62291"/>
                      <a:gd name="connsiteY6" fmla="*/ 146522 h 147477"/>
                      <a:gd name="connsiteX7" fmla="*/ 49348 w 62291"/>
                      <a:gd name="connsiteY7" fmla="*/ 147478 h 147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2291" h="147477">
                        <a:moveTo>
                          <a:pt x="49348" y="147478"/>
                        </a:moveTo>
                        <a:cubicBezTo>
                          <a:pt x="44026" y="147478"/>
                          <a:pt x="39112" y="144202"/>
                          <a:pt x="37202" y="139016"/>
                        </a:cubicBezTo>
                        <a:cubicBezTo>
                          <a:pt x="16456" y="82649"/>
                          <a:pt x="1034" y="18777"/>
                          <a:pt x="352" y="16047"/>
                        </a:cubicBezTo>
                        <a:cubicBezTo>
                          <a:pt x="-1286" y="9087"/>
                          <a:pt x="2945" y="2126"/>
                          <a:pt x="9905" y="352"/>
                        </a:cubicBezTo>
                        <a:cubicBezTo>
                          <a:pt x="16866" y="-1286"/>
                          <a:pt x="23827" y="2945"/>
                          <a:pt x="25601" y="9905"/>
                        </a:cubicBezTo>
                        <a:cubicBezTo>
                          <a:pt x="25737" y="10588"/>
                          <a:pt x="41296" y="75007"/>
                          <a:pt x="61495" y="129871"/>
                        </a:cubicBezTo>
                        <a:cubicBezTo>
                          <a:pt x="63952" y="136559"/>
                          <a:pt x="60540" y="144066"/>
                          <a:pt x="53852" y="146522"/>
                        </a:cubicBezTo>
                        <a:cubicBezTo>
                          <a:pt x="52351" y="147205"/>
                          <a:pt x="50850" y="147478"/>
                          <a:pt x="49348" y="14747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2" name="任意多边形: 形状 9791">
                    <a:extLst>
                      <a:ext uri="{FF2B5EF4-FFF2-40B4-BE49-F238E27FC236}">
                        <a16:creationId xmlns:a16="http://schemas.microsoft.com/office/drawing/2014/main" id="{33B1F95D-B687-4AD3-A913-2EF81E097947}"/>
                      </a:ext>
                    </a:extLst>
                  </p:cNvPr>
                  <p:cNvSpPr/>
                  <p:nvPr/>
                </p:nvSpPr>
                <p:spPr>
                  <a:xfrm>
                    <a:off x="9135708" y="3573953"/>
                    <a:ext cx="64054" cy="146984"/>
                  </a:xfrm>
                  <a:custGeom>
                    <a:avLst/>
                    <a:gdLst>
                      <a:gd name="connsiteX0" fmla="*/ 51038 w 64054"/>
                      <a:gd name="connsiteY0" fmla="*/ 146984 h 146984"/>
                      <a:gd name="connsiteX1" fmla="*/ 38892 w 64054"/>
                      <a:gd name="connsiteY1" fmla="*/ 138659 h 146984"/>
                      <a:gd name="connsiteX2" fmla="*/ 404 w 64054"/>
                      <a:gd name="connsiteY2" fmla="*/ 16236 h 146984"/>
                      <a:gd name="connsiteX3" fmla="*/ 9821 w 64054"/>
                      <a:gd name="connsiteY3" fmla="*/ 404 h 146984"/>
                      <a:gd name="connsiteX4" fmla="*/ 25653 w 64054"/>
                      <a:gd name="connsiteY4" fmla="*/ 9821 h 146984"/>
                      <a:gd name="connsiteX5" fmla="*/ 63185 w 64054"/>
                      <a:gd name="connsiteY5" fmla="*/ 129378 h 146984"/>
                      <a:gd name="connsiteX6" fmla="*/ 55679 w 64054"/>
                      <a:gd name="connsiteY6" fmla="*/ 146165 h 146984"/>
                      <a:gd name="connsiteX7" fmla="*/ 51038 w 64054"/>
                      <a:gd name="connsiteY7" fmla="*/ 146984 h 146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4054" h="146984">
                        <a:moveTo>
                          <a:pt x="51038" y="146984"/>
                        </a:moveTo>
                        <a:cubicBezTo>
                          <a:pt x="45852" y="146984"/>
                          <a:pt x="40939" y="143845"/>
                          <a:pt x="38892" y="138659"/>
                        </a:cubicBezTo>
                        <a:cubicBezTo>
                          <a:pt x="17328" y="82565"/>
                          <a:pt x="1087" y="18829"/>
                          <a:pt x="404" y="16236"/>
                        </a:cubicBezTo>
                        <a:cubicBezTo>
                          <a:pt x="-1370" y="9276"/>
                          <a:pt x="2861" y="2179"/>
                          <a:pt x="9821" y="404"/>
                        </a:cubicBezTo>
                        <a:cubicBezTo>
                          <a:pt x="16782" y="-1370"/>
                          <a:pt x="23879" y="2861"/>
                          <a:pt x="25653" y="9821"/>
                        </a:cubicBezTo>
                        <a:cubicBezTo>
                          <a:pt x="25790" y="10504"/>
                          <a:pt x="42167" y="74786"/>
                          <a:pt x="63185" y="129378"/>
                        </a:cubicBezTo>
                        <a:cubicBezTo>
                          <a:pt x="65778" y="136066"/>
                          <a:pt x="62366" y="143572"/>
                          <a:pt x="55679" y="146165"/>
                        </a:cubicBezTo>
                        <a:cubicBezTo>
                          <a:pt x="54041" y="146711"/>
                          <a:pt x="52540" y="146984"/>
                          <a:pt x="51038" y="14698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3" name="任意多边形: 形状 9792">
                    <a:extLst>
                      <a:ext uri="{FF2B5EF4-FFF2-40B4-BE49-F238E27FC236}">
                        <a16:creationId xmlns:a16="http://schemas.microsoft.com/office/drawing/2014/main" id="{4082EABA-C4F1-4ABB-B160-BAB157558D42}"/>
                      </a:ext>
                    </a:extLst>
                  </p:cNvPr>
                  <p:cNvSpPr/>
                  <p:nvPr/>
                </p:nvSpPr>
                <p:spPr>
                  <a:xfrm>
                    <a:off x="9203619" y="3551242"/>
                    <a:ext cx="65432" cy="146493"/>
                  </a:xfrm>
                  <a:custGeom>
                    <a:avLst/>
                    <a:gdLst>
                      <a:gd name="connsiteX0" fmla="*/ 52459 w 65432"/>
                      <a:gd name="connsiteY0" fmla="*/ 146494 h 146493"/>
                      <a:gd name="connsiteX1" fmla="*/ 40449 w 65432"/>
                      <a:gd name="connsiteY1" fmla="*/ 138305 h 146493"/>
                      <a:gd name="connsiteX2" fmla="*/ 460 w 65432"/>
                      <a:gd name="connsiteY2" fmla="*/ 16292 h 146493"/>
                      <a:gd name="connsiteX3" fmla="*/ 9604 w 65432"/>
                      <a:gd name="connsiteY3" fmla="*/ 460 h 146493"/>
                      <a:gd name="connsiteX4" fmla="*/ 25436 w 65432"/>
                      <a:gd name="connsiteY4" fmla="*/ 9604 h 146493"/>
                      <a:gd name="connsiteX5" fmla="*/ 64469 w 65432"/>
                      <a:gd name="connsiteY5" fmla="*/ 128615 h 146493"/>
                      <a:gd name="connsiteX6" fmla="*/ 57236 w 65432"/>
                      <a:gd name="connsiteY6" fmla="*/ 145539 h 146493"/>
                      <a:gd name="connsiteX7" fmla="*/ 52459 w 65432"/>
                      <a:gd name="connsiteY7" fmla="*/ 146494 h 146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5432" h="146493">
                        <a:moveTo>
                          <a:pt x="52459" y="146494"/>
                        </a:moveTo>
                        <a:cubicBezTo>
                          <a:pt x="47273" y="146494"/>
                          <a:pt x="42359" y="143355"/>
                          <a:pt x="40449" y="138305"/>
                        </a:cubicBezTo>
                        <a:cubicBezTo>
                          <a:pt x="18203" y="82485"/>
                          <a:pt x="1143" y="19021"/>
                          <a:pt x="460" y="16292"/>
                        </a:cubicBezTo>
                        <a:cubicBezTo>
                          <a:pt x="-1451" y="9331"/>
                          <a:pt x="2780" y="2234"/>
                          <a:pt x="9604" y="460"/>
                        </a:cubicBezTo>
                        <a:cubicBezTo>
                          <a:pt x="16565" y="-1451"/>
                          <a:pt x="23662" y="2780"/>
                          <a:pt x="25436" y="9604"/>
                        </a:cubicBezTo>
                        <a:cubicBezTo>
                          <a:pt x="25572" y="10287"/>
                          <a:pt x="42769" y="74296"/>
                          <a:pt x="64469" y="128615"/>
                        </a:cubicBezTo>
                        <a:cubicBezTo>
                          <a:pt x="67199" y="135302"/>
                          <a:pt x="63923" y="142809"/>
                          <a:pt x="57236" y="145539"/>
                        </a:cubicBezTo>
                        <a:cubicBezTo>
                          <a:pt x="55598" y="146221"/>
                          <a:pt x="53960" y="146494"/>
                          <a:pt x="52459" y="14649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794" name="任意多边形: 形状 9793">
                    <a:extLst>
                      <a:ext uri="{FF2B5EF4-FFF2-40B4-BE49-F238E27FC236}">
                        <a16:creationId xmlns:a16="http://schemas.microsoft.com/office/drawing/2014/main" id="{BC78EEBF-5294-474F-9F9F-AAE227740A9C}"/>
                      </a:ext>
                    </a:extLst>
                  </p:cNvPr>
                  <p:cNvSpPr/>
                  <p:nvPr/>
                </p:nvSpPr>
                <p:spPr>
                  <a:xfrm>
                    <a:off x="9271294" y="3528566"/>
                    <a:ext cx="67112" cy="145967"/>
                  </a:xfrm>
                  <a:custGeom>
                    <a:avLst/>
                    <a:gdLst>
                      <a:gd name="connsiteX0" fmla="*/ 54117 w 67112"/>
                      <a:gd name="connsiteY0" fmla="*/ 145968 h 145967"/>
                      <a:gd name="connsiteX1" fmla="*/ 42106 w 67112"/>
                      <a:gd name="connsiteY1" fmla="*/ 137915 h 145967"/>
                      <a:gd name="connsiteX2" fmla="*/ 480 w 67112"/>
                      <a:gd name="connsiteY2" fmla="*/ 16448 h 145967"/>
                      <a:gd name="connsiteX3" fmla="*/ 9487 w 67112"/>
                      <a:gd name="connsiteY3" fmla="*/ 480 h 145967"/>
                      <a:gd name="connsiteX4" fmla="*/ 25456 w 67112"/>
                      <a:gd name="connsiteY4" fmla="*/ 9487 h 145967"/>
                      <a:gd name="connsiteX5" fmla="*/ 66127 w 67112"/>
                      <a:gd name="connsiteY5" fmla="*/ 128089 h 145967"/>
                      <a:gd name="connsiteX6" fmla="*/ 59166 w 67112"/>
                      <a:gd name="connsiteY6" fmla="*/ 145012 h 145967"/>
                      <a:gd name="connsiteX7" fmla="*/ 54117 w 67112"/>
                      <a:gd name="connsiteY7" fmla="*/ 145968 h 145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7112" h="145967">
                        <a:moveTo>
                          <a:pt x="54117" y="145968"/>
                        </a:moveTo>
                        <a:cubicBezTo>
                          <a:pt x="49067" y="145968"/>
                          <a:pt x="44154" y="142965"/>
                          <a:pt x="42106" y="137915"/>
                        </a:cubicBezTo>
                        <a:cubicBezTo>
                          <a:pt x="19041" y="82368"/>
                          <a:pt x="1162" y="19041"/>
                          <a:pt x="480" y="16448"/>
                        </a:cubicBezTo>
                        <a:cubicBezTo>
                          <a:pt x="-1431" y="9487"/>
                          <a:pt x="2527" y="2390"/>
                          <a:pt x="9487" y="480"/>
                        </a:cubicBezTo>
                        <a:cubicBezTo>
                          <a:pt x="16448" y="-1431"/>
                          <a:pt x="23545" y="2527"/>
                          <a:pt x="25456" y="9487"/>
                        </a:cubicBezTo>
                        <a:cubicBezTo>
                          <a:pt x="25592" y="10170"/>
                          <a:pt x="43744" y="73906"/>
                          <a:pt x="66127" y="128089"/>
                        </a:cubicBezTo>
                        <a:cubicBezTo>
                          <a:pt x="68856" y="134776"/>
                          <a:pt x="65717" y="142283"/>
                          <a:pt x="59166" y="145012"/>
                        </a:cubicBezTo>
                        <a:cubicBezTo>
                          <a:pt x="57392" y="145558"/>
                          <a:pt x="55754" y="145968"/>
                          <a:pt x="54117" y="14596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795" name="任意多边形: 形状 9794">
                  <a:extLst>
                    <a:ext uri="{FF2B5EF4-FFF2-40B4-BE49-F238E27FC236}">
                      <a16:creationId xmlns:a16="http://schemas.microsoft.com/office/drawing/2014/main" id="{7A42DB48-53CE-4381-A45A-5AA0144A3806}"/>
                    </a:ext>
                  </a:extLst>
                </p:cNvPr>
                <p:cNvSpPr/>
                <p:nvPr/>
              </p:nvSpPr>
              <p:spPr>
                <a:xfrm>
                  <a:off x="8905450" y="1933663"/>
                  <a:ext cx="795118" cy="611786"/>
                </a:xfrm>
                <a:custGeom>
                  <a:avLst/>
                  <a:gdLst>
                    <a:gd name="connsiteX0" fmla="*/ 793507 w 795118"/>
                    <a:gd name="connsiteY0" fmla="*/ 356552 h 611786"/>
                    <a:gd name="connsiteX1" fmla="*/ 773035 w 795118"/>
                    <a:gd name="connsiteY1" fmla="*/ 455773 h 611786"/>
                    <a:gd name="connsiteX2" fmla="*/ 763072 w 795118"/>
                    <a:gd name="connsiteY2" fmla="*/ 479520 h 611786"/>
                    <a:gd name="connsiteX3" fmla="*/ 763072 w 795118"/>
                    <a:gd name="connsiteY3" fmla="*/ 479520 h 611786"/>
                    <a:gd name="connsiteX4" fmla="*/ 674906 w 795118"/>
                    <a:gd name="connsiteY4" fmla="*/ 578878 h 611786"/>
                    <a:gd name="connsiteX5" fmla="*/ 235576 w 795118"/>
                    <a:gd name="connsiteY5" fmla="*/ 559361 h 611786"/>
                    <a:gd name="connsiteX6" fmla="*/ 235576 w 795118"/>
                    <a:gd name="connsiteY6" fmla="*/ 559361 h 611786"/>
                    <a:gd name="connsiteX7" fmla="*/ 194768 w 795118"/>
                    <a:gd name="connsiteY7" fmla="*/ 539435 h 611786"/>
                    <a:gd name="connsiteX8" fmla="*/ 158737 w 795118"/>
                    <a:gd name="connsiteY8" fmla="*/ 518827 h 611786"/>
                    <a:gd name="connsiteX9" fmla="*/ 3423 w 795118"/>
                    <a:gd name="connsiteY9" fmla="*/ 289267 h 611786"/>
                    <a:gd name="connsiteX10" fmla="*/ 1103 w 795118"/>
                    <a:gd name="connsiteY10" fmla="*/ 267703 h 611786"/>
                    <a:gd name="connsiteX11" fmla="*/ 17071 w 795118"/>
                    <a:gd name="connsiteY11" fmla="*/ 115528 h 611786"/>
                    <a:gd name="connsiteX12" fmla="*/ 19255 w 795118"/>
                    <a:gd name="connsiteY12" fmla="*/ 107612 h 611786"/>
                    <a:gd name="connsiteX13" fmla="*/ 44231 w 795118"/>
                    <a:gd name="connsiteY13" fmla="*/ 39099 h 611786"/>
                    <a:gd name="connsiteX14" fmla="*/ 167745 w 795118"/>
                    <a:gd name="connsiteY14" fmla="*/ 5252 h 611786"/>
                    <a:gd name="connsiteX15" fmla="*/ 252909 w 795118"/>
                    <a:gd name="connsiteY15" fmla="*/ 475 h 611786"/>
                    <a:gd name="connsiteX16" fmla="*/ 351857 w 795118"/>
                    <a:gd name="connsiteY16" fmla="*/ 23267 h 611786"/>
                    <a:gd name="connsiteX17" fmla="*/ 756657 w 795118"/>
                    <a:gd name="connsiteY17" fmla="*/ 83728 h 611786"/>
                    <a:gd name="connsiteX18" fmla="*/ 778358 w 795118"/>
                    <a:gd name="connsiteY18" fmla="*/ 166026 h 611786"/>
                    <a:gd name="connsiteX19" fmla="*/ 782725 w 795118"/>
                    <a:gd name="connsiteY19" fmla="*/ 187999 h 611786"/>
                    <a:gd name="connsiteX20" fmla="*/ 792279 w 795118"/>
                    <a:gd name="connsiteY20" fmla="*/ 256512 h 611786"/>
                    <a:gd name="connsiteX21" fmla="*/ 793507 w 795118"/>
                    <a:gd name="connsiteY21" fmla="*/ 356552 h 611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5118" h="611786">
                      <a:moveTo>
                        <a:pt x="793507" y="356552"/>
                      </a:moveTo>
                      <a:cubicBezTo>
                        <a:pt x="790914" y="390399"/>
                        <a:pt x="784499" y="424246"/>
                        <a:pt x="773035" y="455773"/>
                      </a:cubicBezTo>
                      <a:cubicBezTo>
                        <a:pt x="770169" y="463825"/>
                        <a:pt x="766757" y="471741"/>
                        <a:pt x="763072" y="479520"/>
                      </a:cubicBezTo>
                      <a:lnTo>
                        <a:pt x="763072" y="479520"/>
                      </a:lnTo>
                      <a:cubicBezTo>
                        <a:pt x="744511" y="518827"/>
                        <a:pt x="716396" y="553629"/>
                        <a:pt x="674906" y="578878"/>
                      </a:cubicBezTo>
                      <a:cubicBezTo>
                        <a:pt x="674906" y="578878"/>
                        <a:pt x="473188" y="664588"/>
                        <a:pt x="235576" y="559361"/>
                      </a:cubicBezTo>
                      <a:cubicBezTo>
                        <a:pt x="235576" y="559361"/>
                        <a:pt x="235576" y="559361"/>
                        <a:pt x="235576" y="559361"/>
                      </a:cubicBezTo>
                      <a:cubicBezTo>
                        <a:pt x="222064" y="553356"/>
                        <a:pt x="208416" y="546805"/>
                        <a:pt x="194768" y="539435"/>
                      </a:cubicBezTo>
                      <a:cubicBezTo>
                        <a:pt x="182758" y="533157"/>
                        <a:pt x="170748" y="526197"/>
                        <a:pt x="158737" y="518827"/>
                      </a:cubicBezTo>
                      <a:cubicBezTo>
                        <a:pt x="55558" y="455636"/>
                        <a:pt x="14614" y="370336"/>
                        <a:pt x="3423" y="289267"/>
                      </a:cubicBezTo>
                      <a:cubicBezTo>
                        <a:pt x="2468" y="282034"/>
                        <a:pt x="1649" y="274937"/>
                        <a:pt x="1103" y="267703"/>
                      </a:cubicBezTo>
                      <a:cubicBezTo>
                        <a:pt x="-3265" y="210518"/>
                        <a:pt x="6016" y="156608"/>
                        <a:pt x="17071" y="115528"/>
                      </a:cubicBezTo>
                      <a:cubicBezTo>
                        <a:pt x="17753" y="112798"/>
                        <a:pt x="18572" y="110205"/>
                        <a:pt x="19255" y="107612"/>
                      </a:cubicBezTo>
                      <a:cubicBezTo>
                        <a:pt x="31265" y="65712"/>
                        <a:pt x="44231" y="39099"/>
                        <a:pt x="44231" y="39099"/>
                      </a:cubicBezTo>
                      <a:cubicBezTo>
                        <a:pt x="44231" y="39099"/>
                        <a:pt x="97594" y="15897"/>
                        <a:pt x="167745" y="5252"/>
                      </a:cubicBezTo>
                      <a:cubicBezTo>
                        <a:pt x="194359" y="1157"/>
                        <a:pt x="223429" y="-1026"/>
                        <a:pt x="252909" y="475"/>
                      </a:cubicBezTo>
                      <a:cubicBezTo>
                        <a:pt x="286346" y="2249"/>
                        <a:pt x="320330" y="8800"/>
                        <a:pt x="351857" y="23267"/>
                      </a:cubicBezTo>
                      <a:cubicBezTo>
                        <a:pt x="577186" y="126037"/>
                        <a:pt x="691283" y="171894"/>
                        <a:pt x="756657" y="83728"/>
                      </a:cubicBezTo>
                      <a:cubicBezTo>
                        <a:pt x="756657" y="83728"/>
                        <a:pt x="767985" y="116620"/>
                        <a:pt x="778358" y="166026"/>
                      </a:cubicBezTo>
                      <a:cubicBezTo>
                        <a:pt x="779859" y="172986"/>
                        <a:pt x="781224" y="180356"/>
                        <a:pt x="782725" y="187999"/>
                      </a:cubicBezTo>
                      <a:cubicBezTo>
                        <a:pt x="786546" y="209017"/>
                        <a:pt x="789958" y="232082"/>
                        <a:pt x="792279" y="256512"/>
                      </a:cubicBezTo>
                      <a:cubicBezTo>
                        <a:pt x="795281" y="288585"/>
                        <a:pt x="796236" y="322568"/>
                        <a:pt x="793507" y="356552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96" name="任意多边形: 形状 9795">
                  <a:extLst>
                    <a:ext uri="{FF2B5EF4-FFF2-40B4-BE49-F238E27FC236}">
                      <a16:creationId xmlns:a16="http://schemas.microsoft.com/office/drawing/2014/main" id="{DEF3BE15-1344-4298-9A1F-93AA876855E0}"/>
                    </a:ext>
                  </a:extLst>
                </p:cNvPr>
                <p:cNvSpPr/>
                <p:nvPr/>
              </p:nvSpPr>
              <p:spPr>
                <a:xfrm>
                  <a:off x="8921019" y="2035169"/>
                  <a:ext cx="767155" cy="178207"/>
                </a:xfrm>
                <a:custGeom>
                  <a:avLst/>
                  <a:gdLst>
                    <a:gd name="connsiteX0" fmla="*/ 767155 w 767155"/>
                    <a:gd name="connsiteY0" fmla="*/ 86629 h 178207"/>
                    <a:gd name="connsiteX1" fmla="*/ 757056 w 767155"/>
                    <a:gd name="connsiteY1" fmla="*/ 100687 h 178207"/>
                    <a:gd name="connsiteX2" fmla="*/ 568986 w 767155"/>
                    <a:gd name="connsiteY2" fmla="*/ 178208 h 178207"/>
                    <a:gd name="connsiteX3" fmla="*/ 549333 w 767155"/>
                    <a:gd name="connsiteY3" fmla="*/ 177662 h 178207"/>
                    <a:gd name="connsiteX4" fmla="*/ 293569 w 767155"/>
                    <a:gd name="connsiteY4" fmla="*/ 90860 h 178207"/>
                    <a:gd name="connsiteX5" fmla="*/ 3003 w 767155"/>
                    <a:gd name="connsiteY5" fmla="*/ 21392 h 178207"/>
                    <a:gd name="connsiteX6" fmla="*/ 1501 w 767155"/>
                    <a:gd name="connsiteY6" fmla="*/ 14159 h 178207"/>
                    <a:gd name="connsiteX7" fmla="*/ 0 w 767155"/>
                    <a:gd name="connsiteY7" fmla="*/ 6925 h 178207"/>
                    <a:gd name="connsiteX8" fmla="*/ 3685 w 767155"/>
                    <a:gd name="connsiteY8" fmla="*/ 6243 h 178207"/>
                    <a:gd name="connsiteX9" fmla="*/ 300529 w 767155"/>
                    <a:gd name="connsiteY9" fmla="*/ 77895 h 178207"/>
                    <a:gd name="connsiteX10" fmla="*/ 550015 w 767155"/>
                    <a:gd name="connsiteY10" fmla="*/ 162922 h 178207"/>
                    <a:gd name="connsiteX11" fmla="*/ 745045 w 767155"/>
                    <a:gd name="connsiteY11" fmla="*/ 92089 h 178207"/>
                    <a:gd name="connsiteX12" fmla="*/ 762925 w 767155"/>
                    <a:gd name="connsiteY12" fmla="*/ 64793 h 178207"/>
                    <a:gd name="connsiteX13" fmla="*/ 767155 w 767155"/>
                    <a:gd name="connsiteY13" fmla="*/ 86629 h 17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67155" h="178207">
                      <a:moveTo>
                        <a:pt x="767155" y="86629"/>
                      </a:moveTo>
                      <a:cubicBezTo>
                        <a:pt x="764153" y="91270"/>
                        <a:pt x="760741" y="96047"/>
                        <a:pt x="757056" y="100687"/>
                      </a:cubicBezTo>
                      <a:cubicBezTo>
                        <a:pt x="728531" y="136718"/>
                        <a:pt x="673121" y="178208"/>
                        <a:pt x="568986" y="178208"/>
                      </a:cubicBezTo>
                      <a:cubicBezTo>
                        <a:pt x="562571" y="178208"/>
                        <a:pt x="556020" y="178071"/>
                        <a:pt x="549333" y="177662"/>
                      </a:cubicBezTo>
                      <a:cubicBezTo>
                        <a:pt x="448338" y="172885"/>
                        <a:pt x="369725" y="131122"/>
                        <a:pt x="293569" y="90860"/>
                      </a:cubicBezTo>
                      <a:cubicBezTo>
                        <a:pt x="202673" y="42819"/>
                        <a:pt x="116827" y="-2629"/>
                        <a:pt x="3003" y="21392"/>
                      </a:cubicBezTo>
                      <a:lnTo>
                        <a:pt x="1501" y="14159"/>
                      </a:lnTo>
                      <a:lnTo>
                        <a:pt x="0" y="6925"/>
                      </a:lnTo>
                      <a:cubicBezTo>
                        <a:pt x="1228" y="6652"/>
                        <a:pt x="2457" y="6379"/>
                        <a:pt x="3685" y="6243"/>
                      </a:cubicBezTo>
                      <a:cubicBezTo>
                        <a:pt x="120921" y="-17095"/>
                        <a:pt x="208269" y="29035"/>
                        <a:pt x="300529" y="77895"/>
                      </a:cubicBezTo>
                      <a:cubicBezTo>
                        <a:pt x="375184" y="117338"/>
                        <a:pt x="452432" y="158282"/>
                        <a:pt x="550015" y="162922"/>
                      </a:cubicBezTo>
                      <a:cubicBezTo>
                        <a:pt x="638454" y="167153"/>
                        <a:pt x="704101" y="143269"/>
                        <a:pt x="745045" y="92089"/>
                      </a:cubicBezTo>
                      <a:cubicBezTo>
                        <a:pt x="752415" y="82945"/>
                        <a:pt x="758284" y="73527"/>
                        <a:pt x="762925" y="64793"/>
                      </a:cubicBezTo>
                      <a:cubicBezTo>
                        <a:pt x="764426" y="71753"/>
                        <a:pt x="765790" y="78987"/>
                        <a:pt x="767155" y="86629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97" name="任意多边形: 形状 9796">
                  <a:extLst>
                    <a:ext uri="{FF2B5EF4-FFF2-40B4-BE49-F238E27FC236}">
                      <a16:creationId xmlns:a16="http://schemas.microsoft.com/office/drawing/2014/main" id="{12BC1DFD-2E69-4672-BD96-0402AC21D3D7}"/>
                    </a:ext>
                  </a:extLst>
                </p:cNvPr>
                <p:cNvSpPr/>
                <p:nvPr/>
              </p:nvSpPr>
              <p:spPr>
                <a:xfrm>
                  <a:off x="9006320" y="2366098"/>
                  <a:ext cx="672165" cy="98265"/>
                </a:xfrm>
                <a:custGeom>
                  <a:avLst/>
                  <a:gdLst>
                    <a:gd name="connsiteX0" fmla="*/ 672165 w 672165"/>
                    <a:gd name="connsiteY0" fmla="*/ 23475 h 98265"/>
                    <a:gd name="connsiteX1" fmla="*/ 662202 w 672165"/>
                    <a:gd name="connsiteY1" fmla="*/ 47222 h 98265"/>
                    <a:gd name="connsiteX2" fmla="*/ 662202 w 672165"/>
                    <a:gd name="connsiteY2" fmla="*/ 47222 h 98265"/>
                    <a:gd name="connsiteX3" fmla="*/ 526950 w 672165"/>
                    <a:gd name="connsiteY3" fmla="*/ 91578 h 98265"/>
                    <a:gd name="connsiteX4" fmla="*/ 431005 w 672165"/>
                    <a:gd name="connsiteY4" fmla="*/ 98266 h 98265"/>
                    <a:gd name="connsiteX5" fmla="*/ 287018 w 672165"/>
                    <a:gd name="connsiteY5" fmla="*/ 86938 h 98265"/>
                    <a:gd name="connsiteX6" fmla="*/ 0 w 672165"/>
                    <a:gd name="connsiteY6" fmla="*/ 13921 h 98265"/>
                    <a:gd name="connsiteX7" fmla="*/ 5323 w 672165"/>
                    <a:gd name="connsiteY7" fmla="*/ 0 h 98265"/>
                    <a:gd name="connsiteX8" fmla="*/ 289475 w 672165"/>
                    <a:gd name="connsiteY8" fmla="*/ 72198 h 98265"/>
                    <a:gd name="connsiteX9" fmla="*/ 672165 w 672165"/>
                    <a:gd name="connsiteY9" fmla="*/ 23475 h 9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2165" h="98265">
                      <a:moveTo>
                        <a:pt x="672165" y="23475"/>
                      </a:moveTo>
                      <a:cubicBezTo>
                        <a:pt x="669299" y="31527"/>
                        <a:pt x="665887" y="39443"/>
                        <a:pt x="662202" y="47222"/>
                      </a:cubicBezTo>
                      <a:lnTo>
                        <a:pt x="662202" y="47222"/>
                      </a:lnTo>
                      <a:cubicBezTo>
                        <a:pt x="624534" y="68923"/>
                        <a:pt x="579222" y="83662"/>
                        <a:pt x="526950" y="91578"/>
                      </a:cubicBezTo>
                      <a:cubicBezTo>
                        <a:pt x="497198" y="96082"/>
                        <a:pt x="465261" y="98266"/>
                        <a:pt x="431005" y="98266"/>
                      </a:cubicBezTo>
                      <a:cubicBezTo>
                        <a:pt x="386512" y="98266"/>
                        <a:pt x="338471" y="94444"/>
                        <a:pt x="287018" y="86938"/>
                      </a:cubicBezTo>
                      <a:cubicBezTo>
                        <a:pt x="132932" y="64146"/>
                        <a:pt x="1228" y="14467"/>
                        <a:pt x="0" y="13921"/>
                      </a:cubicBezTo>
                      <a:lnTo>
                        <a:pt x="5323" y="0"/>
                      </a:lnTo>
                      <a:cubicBezTo>
                        <a:pt x="6688" y="546"/>
                        <a:pt x="137026" y="49815"/>
                        <a:pt x="289475" y="72198"/>
                      </a:cubicBezTo>
                      <a:cubicBezTo>
                        <a:pt x="410942" y="90077"/>
                        <a:pt x="568031" y="93898"/>
                        <a:pt x="672165" y="23475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98" name="任意多边形: 形状 9797">
                  <a:extLst>
                    <a:ext uri="{FF2B5EF4-FFF2-40B4-BE49-F238E27FC236}">
                      <a16:creationId xmlns:a16="http://schemas.microsoft.com/office/drawing/2014/main" id="{0A1F864C-51DE-4371-9AB1-A6A3E67F1470}"/>
                    </a:ext>
                  </a:extLst>
                </p:cNvPr>
                <p:cNvSpPr/>
                <p:nvPr/>
              </p:nvSpPr>
              <p:spPr>
                <a:xfrm>
                  <a:off x="8748647" y="2296357"/>
                  <a:ext cx="573760" cy="1430858"/>
                </a:xfrm>
                <a:custGeom>
                  <a:avLst/>
                  <a:gdLst>
                    <a:gd name="connsiteX0" fmla="*/ 573761 w 573760"/>
                    <a:gd name="connsiteY0" fmla="*/ 1281686 h 1430858"/>
                    <a:gd name="connsiteX1" fmla="*/ 117098 w 573760"/>
                    <a:gd name="connsiteY1" fmla="*/ 1430859 h 1430858"/>
                    <a:gd name="connsiteX2" fmla="*/ 101676 w 573760"/>
                    <a:gd name="connsiteY2" fmla="*/ 1358933 h 1430858"/>
                    <a:gd name="connsiteX3" fmla="*/ 94988 w 573760"/>
                    <a:gd name="connsiteY3" fmla="*/ 1325905 h 1430858"/>
                    <a:gd name="connsiteX4" fmla="*/ 73288 w 573760"/>
                    <a:gd name="connsiteY4" fmla="*/ 1212627 h 1430858"/>
                    <a:gd name="connsiteX5" fmla="*/ 67283 w 573760"/>
                    <a:gd name="connsiteY5" fmla="*/ 1179325 h 1430858"/>
                    <a:gd name="connsiteX6" fmla="*/ 48176 w 573760"/>
                    <a:gd name="connsiteY6" fmla="*/ 1065228 h 1430858"/>
                    <a:gd name="connsiteX7" fmla="*/ 42989 w 573760"/>
                    <a:gd name="connsiteY7" fmla="*/ 1031517 h 1430858"/>
                    <a:gd name="connsiteX8" fmla="*/ 26748 w 573760"/>
                    <a:gd name="connsiteY8" fmla="*/ 916465 h 1430858"/>
                    <a:gd name="connsiteX9" fmla="*/ 22517 w 573760"/>
                    <a:gd name="connsiteY9" fmla="*/ 882208 h 1430858"/>
                    <a:gd name="connsiteX10" fmla="*/ 10234 w 573760"/>
                    <a:gd name="connsiteY10" fmla="*/ 765654 h 1430858"/>
                    <a:gd name="connsiteX11" fmla="*/ 7368 w 573760"/>
                    <a:gd name="connsiteY11" fmla="*/ 730988 h 1430858"/>
                    <a:gd name="connsiteX12" fmla="*/ 817 w 573760"/>
                    <a:gd name="connsiteY12" fmla="*/ 612387 h 1430858"/>
                    <a:gd name="connsiteX13" fmla="*/ 135 w 573760"/>
                    <a:gd name="connsiteY13" fmla="*/ 577311 h 1430858"/>
                    <a:gd name="connsiteX14" fmla="*/ 3820 w 573760"/>
                    <a:gd name="connsiteY14" fmla="*/ 455161 h 1430858"/>
                    <a:gd name="connsiteX15" fmla="*/ 7505 w 573760"/>
                    <a:gd name="connsiteY15" fmla="*/ 418994 h 1430858"/>
                    <a:gd name="connsiteX16" fmla="*/ 10917 w 573760"/>
                    <a:gd name="connsiteY16" fmla="*/ 394155 h 1430858"/>
                    <a:gd name="connsiteX17" fmla="*/ 35210 w 573760"/>
                    <a:gd name="connsiteY17" fmla="*/ 291522 h 1430858"/>
                    <a:gd name="connsiteX18" fmla="*/ 48585 w 573760"/>
                    <a:gd name="connsiteY18" fmla="*/ 254263 h 1430858"/>
                    <a:gd name="connsiteX19" fmla="*/ 299163 w 573760"/>
                    <a:gd name="connsiteY19" fmla="*/ 0 h 1430858"/>
                    <a:gd name="connsiteX20" fmla="*/ 476178 w 573760"/>
                    <a:gd name="connsiteY20" fmla="*/ 143577 h 1430858"/>
                    <a:gd name="connsiteX21" fmla="*/ 418992 w 573760"/>
                    <a:gd name="connsiteY21" fmla="*/ 242389 h 1430858"/>
                    <a:gd name="connsiteX22" fmla="*/ 410258 w 573760"/>
                    <a:gd name="connsiteY22" fmla="*/ 275144 h 1430858"/>
                    <a:gd name="connsiteX23" fmla="*/ 397292 w 573760"/>
                    <a:gd name="connsiteY23" fmla="*/ 374502 h 1430858"/>
                    <a:gd name="connsiteX24" fmla="*/ 396064 w 573760"/>
                    <a:gd name="connsiteY24" fmla="*/ 408212 h 1430858"/>
                    <a:gd name="connsiteX25" fmla="*/ 399203 w 573760"/>
                    <a:gd name="connsiteY25" fmla="*/ 511801 h 1430858"/>
                    <a:gd name="connsiteX26" fmla="*/ 401932 w 573760"/>
                    <a:gd name="connsiteY26" fmla="*/ 545375 h 1430858"/>
                    <a:gd name="connsiteX27" fmla="*/ 414762 w 573760"/>
                    <a:gd name="connsiteY27" fmla="*/ 650055 h 1430858"/>
                    <a:gd name="connsiteX28" fmla="*/ 419948 w 573760"/>
                    <a:gd name="connsiteY28" fmla="*/ 683629 h 1430858"/>
                    <a:gd name="connsiteX29" fmla="*/ 439192 w 573760"/>
                    <a:gd name="connsiteY29" fmla="*/ 788310 h 1430858"/>
                    <a:gd name="connsiteX30" fmla="*/ 446152 w 573760"/>
                    <a:gd name="connsiteY30" fmla="*/ 821474 h 1430858"/>
                    <a:gd name="connsiteX31" fmla="*/ 470173 w 573760"/>
                    <a:gd name="connsiteY31" fmla="*/ 925609 h 1430858"/>
                    <a:gd name="connsiteX32" fmla="*/ 478361 w 573760"/>
                    <a:gd name="connsiteY32" fmla="*/ 958091 h 1430858"/>
                    <a:gd name="connsiteX33" fmla="*/ 505794 w 573760"/>
                    <a:gd name="connsiteY33" fmla="*/ 1060861 h 1430858"/>
                    <a:gd name="connsiteX34" fmla="*/ 514938 w 573760"/>
                    <a:gd name="connsiteY34" fmla="*/ 1093070 h 1430858"/>
                    <a:gd name="connsiteX35" fmla="*/ 545237 w 573760"/>
                    <a:gd name="connsiteY35" fmla="*/ 1193929 h 1430858"/>
                    <a:gd name="connsiteX36" fmla="*/ 555336 w 573760"/>
                    <a:gd name="connsiteY36" fmla="*/ 1225729 h 1430858"/>
                    <a:gd name="connsiteX37" fmla="*/ 573761 w 573760"/>
                    <a:gd name="connsiteY37" fmla="*/ 1281686 h 1430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73760" h="1430858">
                      <a:moveTo>
                        <a:pt x="573761" y="1281686"/>
                      </a:moveTo>
                      <a:lnTo>
                        <a:pt x="117098" y="1430859"/>
                      </a:lnTo>
                      <a:cubicBezTo>
                        <a:pt x="117098" y="1430859"/>
                        <a:pt x="111093" y="1404245"/>
                        <a:pt x="101676" y="1358933"/>
                      </a:cubicBezTo>
                      <a:cubicBezTo>
                        <a:pt x="99629" y="1348834"/>
                        <a:pt x="97309" y="1337779"/>
                        <a:pt x="94988" y="1325905"/>
                      </a:cubicBezTo>
                      <a:cubicBezTo>
                        <a:pt x="88574" y="1293832"/>
                        <a:pt x="81067" y="1255481"/>
                        <a:pt x="73288" y="1212627"/>
                      </a:cubicBezTo>
                      <a:cubicBezTo>
                        <a:pt x="71377" y="1201845"/>
                        <a:pt x="69330" y="1190653"/>
                        <a:pt x="67283" y="1179325"/>
                      </a:cubicBezTo>
                      <a:cubicBezTo>
                        <a:pt x="61005" y="1143568"/>
                        <a:pt x="54454" y="1105217"/>
                        <a:pt x="48176" y="1065228"/>
                      </a:cubicBezTo>
                      <a:cubicBezTo>
                        <a:pt x="46401" y="1054173"/>
                        <a:pt x="44627" y="1042982"/>
                        <a:pt x="42989" y="1031517"/>
                      </a:cubicBezTo>
                      <a:cubicBezTo>
                        <a:pt x="37257" y="994122"/>
                        <a:pt x="31798" y="955498"/>
                        <a:pt x="26748" y="916465"/>
                      </a:cubicBezTo>
                      <a:cubicBezTo>
                        <a:pt x="25247" y="905137"/>
                        <a:pt x="23882" y="893672"/>
                        <a:pt x="22517" y="882208"/>
                      </a:cubicBezTo>
                      <a:cubicBezTo>
                        <a:pt x="17877" y="843448"/>
                        <a:pt x="13646" y="804414"/>
                        <a:pt x="10234" y="765654"/>
                      </a:cubicBezTo>
                      <a:cubicBezTo>
                        <a:pt x="9142" y="754053"/>
                        <a:pt x="8187" y="742452"/>
                        <a:pt x="7368" y="730988"/>
                      </a:cubicBezTo>
                      <a:cubicBezTo>
                        <a:pt x="4229" y="690590"/>
                        <a:pt x="1909" y="650874"/>
                        <a:pt x="817" y="612387"/>
                      </a:cubicBezTo>
                      <a:cubicBezTo>
                        <a:pt x="544" y="600513"/>
                        <a:pt x="271" y="588776"/>
                        <a:pt x="135" y="577311"/>
                      </a:cubicBezTo>
                      <a:cubicBezTo>
                        <a:pt x="-411" y="534184"/>
                        <a:pt x="681" y="493103"/>
                        <a:pt x="3820" y="455161"/>
                      </a:cubicBezTo>
                      <a:cubicBezTo>
                        <a:pt x="4775" y="442742"/>
                        <a:pt x="6003" y="430732"/>
                        <a:pt x="7505" y="418994"/>
                      </a:cubicBezTo>
                      <a:cubicBezTo>
                        <a:pt x="8460" y="410532"/>
                        <a:pt x="9688" y="402207"/>
                        <a:pt x="10917" y="394155"/>
                      </a:cubicBezTo>
                      <a:cubicBezTo>
                        <a:pt x="16922" y="356623"/>
                        <a:pt x="25111" y="322503"/>
                        <a:pt x="35210" y="291522"/>
                      </a:cubicBezTo>
                      <a:cubicBezTo>
                        <a:pt x="39304" y="278556"/>
                        <a:pt x="43808" y="266136"/>
                        <a:pt x="48585" y="254263"/>
                      </a:cubicBezTo>
                      <a:cubicBezTo>
                        <a:pt x="133066" y="41899"/>
                        <a:pt x="299163" y="0"/>
                        <a:pt x="299163" y="0"/>
                      </a:cubicBezTo>
                      <a:cubicBezTo>
                        <a:pt x="422131" y="12147"/>
                        <a:pt x="476178" y="143577"/>
                        <a:pt x="476178" y="143577"/>
                      </a:cubicBezTo>
                      <a:cubicBezTo>
                        <a:pt x="450383" y="168144"/>
                        <a:pt x="431822" y="201854"/>
                        <a:pt x="418992" y="242389"/>
                      </a:cubicBezTo>
                      <a:cubicBezTo>
                        <a:pt x="415717" y="252898"/>
                        <a:pt x="412714" y="263816"/>
                        <a:pt x="410258" y="275144"/>
                      </a:cubicBezTo>
                      <a:cubicBezTo>
                        <a:pt x="403434" y="305579"/>
                        <a:pt x="399339" y="339017"/>
                        <a:pt x="397292" y="374502"/>
                      </a:cubicBezTo>
                      <a:cubicBezTo>
                        <a:pt x="396610" y="385557"/>
                        <a:pt x="396337" y="396748"/>
                        <a:pt x="396064" y="408212"/>
                      </a:cubicBezTo>
                      <a:cubicBezTo>
                        <a:pt x="395518" y="441377"/>
                        <a:pt x="396610" y="476180"/>
                        <a:pt x="399203" y="511801"/>
                      </a:cubicBezTo>
                      <a:cubicBezTo>
                        <a:pt x="400022" y="522992"/>
                        <a:pt x="400977" y="534184"/>
                        <a:pt x="401932" y="545375"/>
                      </a:cubicBezTo>
                      <a:cubicBezTo>
                        <a:pt x="405071" y="579768"/>
                        <a:pt x="409439" y="614843"/>
                        <a:pt x="414762" y="650055"/>
                      </a:cubicBezTo>
                      <a:cubicBezTo>
                        <a:pt x="416399" y="661247"/>
                        <a:pt x="418174" y="672438"/>
                        <a:pt x="419948" y="683629"/>
                      </a:cubicBezTo>
                      <a:cubicBezTo>
                        <a:pt x="425680" y="718705"/>
                        <a:pt x="432094" y="753644"/>
                        <a:pt x="439192" y="788310"/>
                      </a:cubicBezTo>
                      <a:cubicBezTo>
                        <a:pt x="441375" y="799501"/>
                        <a:pt x="443695" y="810556"/>
                        <a:pt x="446152" y="821474"/>
                      </a:cubicBezTo>
                      <a:cubicBezTo>
                        <a:pt x="453795" y="857096"/>
                        <a:pt x="461847" y="891898"/>
                        <a:pt x="470173" y="925609"/>
                      </a:cubicBezTo>
                      <a:cubicBezTo>
                        <a:pt x="472902" y="936527"/>
                        <a:pt x="475495" y="947446"/>
                        <a:pt x="478361" y="958091"/>
                      </a:cubicBezTo>
                      <a:cubicBezTo>
                        <a:pt x="487505" y="994258"/>
                        <a:pt x="496786" y="1028788"/>
                        <a:pt x="505794" y="1060861"/>
                      </a:cubicBezTo>
                      <a:cubicBezTo>
                        <a:pt x="508933" y="1071916"/>
                        <a:pt x="511935" y="1082697"/>
                        <a:pt x="514938" y="1093070"/>
                      </a:cubicBezTo>
                      <a:cubicBezTo>
                        <a:pt x="525993" y="1131557"/>
                        <a:pt x="536365" y="1165541"/>
                        <a:pt x="545237" y="1193929"/>
                      </a:cubicBezTo>
                      <a:cubicBezTo>
                        <a:pt x="548922" y="1205530"/>
                        <a:pt x="552334" y="1216175"/>
                        <a:pt x="555336" y="1225729"/>
                      </a:cubicBezTo>
                      <a:cubicBezTo>
                        <a:pt x="566528" y="1261350"/>
                        <a:pt x="573761" y="1281686"/>
                        <a:pt x="573761" y="1281686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799" name="组合 9798">
                  <a:extLst>
                    <a:ext uri="{FF2B5EF4-FFF2-40B4-BE49-F238E27FC236}">
                      <a16:creationId xmlns:a16="http://schemas.microsoft.com/office/drawing/2014/main" id="{259356AE-3F16-4A0F-AE90-670FE51B9627}"/>
                    </a:ext>
                  </a:extLst>
                </p:cNvPr>
                <p:cNvGrpSpPr/>
                <p:nvPr/>
              </p:nvGrpSpPr>
              <p:grpSpPr>
                <a:xfrm>
                  <a:off x="8748645" y="2528972"/>
                  <a:ext cx="555065" cy="1126318"/>
                  <a:chOff x="8748645" y="2528972"/>
                  <a:chExt cx="555065" cy="1126318"/>
                </a:xfrm>
                <a:solidFill>
                  <a:srgbClr val="1C55D1"/>
                </a:solidFill>
              </p:grpSpPr>
              <p:sp>
                <p:nvSpPr>
                  <p:cNvPr id="9800" name="任意多边形: 形状 9799">
                    <a:extLst>
                      <a:ext uri="{FF2B5EF4-FFF2-40B4-BE49-F238E27FC236}">
                        <a16:creationId xmlns:a16="http://schemas.microsoft.com/office/drawing/2014/main" id="{EBBF2F19-9721-490C-995A-568448E4B5D3}"/>
                      </a:ext>
                    </a:extLst>
                  </p:cNvPr>
                  <p:cNvSpPr/>
                  <p:nvPr/>
                </p:nvSpPr>
                <p:spPr>
                  <a:xfrm>
                    <a:off x="8783584" y="2528972"/>
                    <a:ext cx="383782" cy="59043"/>
                  </a:xfrm>
                  <a:custGeom>
                    <a:avLst/>
                    <a:gdLst>
                      <a:gd name="connsiteX0" fmla="*/ 383782 w 383782"/>
                      <a:gd name="connsiteY0" fmla="*/ 10047 h 59043"/>
                      <a:gd name="connsiteX1" fmla="*/ 375048 w 383782"/>
                      <a:gd name="connsiteY1" fmla="*/ 42802 h 59043"/>
                      <a:gd name="connsiteX2" fmla="*/ 0 w 383782"/>
                      <a:gd name="connsiteY2" fmla="*/ 59043 h 59043"/>
                      <a:gd name="connsiteX3" fmla="*/ 13375 w 383782"/>
                      <a:gd name="connsiteY3" fmla="*/ 21784 h 59043"/>
                      <a:gd name="connsiteX4" fmla="*/ 215093 w 383782"/>
                      <a:gd name="connsiteY4" fmla="*/ 84 h 59043"/>
                      <a:gd name="connsiteX5" fmla="*/ 383782 w 383782"/>
                      <a:gd name="connsiteY5" fmla="*/ 10047 h 590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83782" h="59043">
                        <a:moveTo>
                          <a:pt x="383782" y="10047"/>
                        </a:moveTo>
                        <a:cubicBezTo>
                          <a:pt x="380507" y="20556"/>
                          <a:pt x="377504" y="31474"/>
                          <a:pt x="375048" y="42802"/>
                        </a:cubicBezTo>
                        <a:cubicBezTo>
                          <a:pt x="294251" y="32839"/>
                          <a:pt x="147398" y="23558"/>
                          <a:pt x="0" y="59043"/>
                        </a:cubicBezTo>
                        <a:cubicBezTo>
                          <a:pt x="4094" y="46078"/>
                          <a:pt x="8598" y="33658"/>
                          <a:pt x="13375" y="21784"/>
                        </a:cubicBezTo>
                        <a:cubicBezTo>
                          <a:pt x="86665" y="5952"/>
                          <a:pt x="156952" y="630"/>
                          <a:pt x="215093" y="84"/>
                        </a:cubicBezTo>
                        <a:cubicBezTo>
                          <a:pt x="283606" y="-735"/>
                          <a:pt x="342565" y="4588"/>
                          <a:pt x="383782" y="1004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3" name="任意多边形: 形状 9802">
                    <a:extLst>
                      <a:ext uri="{FF2B5EF4-FFF2-40B4-BE49-F238E27FC236}">
                        <a16:creationId xmlns:a16="http://schemas.microsoft.com/office/drawing/2014/main" id="{6022B508-7AEF-4F2E-9752-B495D9CBB9AB}"/>
                      </a:ext>
                    </a:extLst>
                  </p:cNvPr>
                  <p:cNvSpPr/>
                  <p:nvPr/>
                </p:nvSpPr>
                <p:spPr>
                  <a:xfrm>
                    <a:off x="8752057" y="2669833"/>
                    <a:ext cx="393609" cy="81821"/>
                  </a:xfrm>
                  <a:custGeom>
                    <a:avLst/>
                    <a:gdLst>
                      <a:gd name="connsiteX0" fmla="*/ 393609 w 393609"/>
                      <a:gd name="connsiteY0" fmla="*/ 1298 h 81821"/>
                      <a:gd name="connsiteX1" fmla="*/ 392381 w 393609"/>
                      <a:gd name="connsiteY1" fmla="*/ 35009 h 81821"/>
                      <a:gd name="connsiteX2" fmla="*/ 0 w 393609"/>
                      <a:gd name="connsiteY2" fmla="*/ 81822 h 81821"/>
                      <a:gd name="connsiteX3" fmla="*/ 3685 w 393609"/>
                      <a:gd name="connsiteY3" fmla="*/ 45654 h 81821"/>
                      <a:gd name="connsiteX4" fmla="*/ 269685 w 393609"/>
                      <a:gd name="connsiteY4" fmla="*/ 1571 h 81821"/>
                      <a:gd name="connsiteX5" fmla="*/ 393609 w 393609"/>
                      <a:gd name="connsiteY5" fmla="*/ 1298 h 818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93609" h="81821">
                        <a:moveTo>
                          <a:pt x="393609" y="1298"/>
                        </a:moveTo>
                        <a:cubicBezTo>
                          <a:pt x="392927" y="12353"/>
                          <a:pt x="392654" y="23545"/>
                          <a:pt x="392381" y="35009"/>
                        </a:cubicBezTo>
                        <a:cubicBezTo>
                          <a:pt x="295889" y="30915"/>
                          <a:pt x="144396" y="34736"/>
                          <a:pt x="0" y="81822"/>
                        </a:cubicBezTo>
                        <a:cubicBezTo>
                          <a:pt x="955" y="69402"/>
                          <a:pt x="2184" y="57392"/>
                          <a:pt x="3685" y="45654"/>
                        </a:cubicBezTo>
                        <a:cubicBezTo>
                          <a:pt x="99358" y="16175"/>
                          <a:pt x="194757" y="5120"/>
                          <a:pt x="269685" y="1571"/>
                        </a:cubicBezTo>
                        <a:cubicBezTo>
                          <a:pt x="316361" y="-749"/>
                          <a:pt x="358534" y="-203"/>
                          <a:pt x="393609" y="129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4" name="任意多边形: 形状 9803">
                    <a:extLst>
                      <a:ext uri="{FF2B5EF4-FFF2-40B4-BE49-F238E27FC236}">
                        <a16:creationId xmlns:a16="http://schemas.microsoft.com/office/drawing/2014/main" id="{EBA472EB-EEEB-4DCC-9C87-703E854A71EC}"/>
                      </a:ext>
                    </a:extLst>
                  </p:cNvPr>
                  <p:cNvSpPr/>
                  <p:nvPr/>
                </p:nvSpPr>
                <p:spPr>
                  <a:xfrm>
                    <a:off x="8748645" y="2808431"/>
                    <a:ext cx="401797" cy="100449"/>
                  </a:xfrm>
                  <a:custGeom>
                    <a:avLst/>
                    <a:gdLst>
                      <a:gd name="connsiteX0" fmla="*/ 401798 w 401797"/>
                      <a:gd name="connsiteY0" fmla="*/ 33574 h 100449"/>
                      <a:gd name="connsiteX1" fmla="*/ 682 w 401797"/>
                      <a:gd name="connsiteY1" fmla="*/ 100449 h 100449"/>
                      <a:gd name="connsiteX2" fmla="*/ 0 w 401797"/>
                      <a:gd name="connsiteY2" fmla="*/ 65374 h 100449"/>
                      <a:gd name="connsiteX3" fmla="*/ 296435 w 401797"/>
                      <a:gd name="connsiteY3" fmla="*/ 5186 h 100449"/>
                      <a:gd name="connsiteX4" fmla="*/ 399205 w 401797"/>
                      <a:gd name="connsiteY4" fmla="*/ 0 h 100449"/>
                      <a:gd name="connsiteX5" fmla="*/ 401798 w 401797"/>
                      <a:gd name="connsiteY5" fmla="*/ 33574 h 100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01797" h="100449">
                        <a:moveTo>
                          <a:pt x="401798" y="33574"/>
                        </a:moveTo>
                        <a:cubicBezTo>
                          <a:pt x="298755" y="35348"/>
                          <a:pt x="144123" y="48177"/>
                          <a:pt x="682" y="100449"/>
                        </a:cubicBezTo>
                        <a:cubicBezTo>
                          <a:pt x="410" y="88576"/>
                          <a:pt x="137" y="76838"/>
                          <a:pt x="0" y="65374"/>
                        </a:cubicBezTo>
                        <a:cubicBezTo>
                          <a:pt x="105636" y="28388"/>
                          <a:pt x="213592" y="12147"/>
                          <a:pt x="296435" y="5186"/>
                        </a:cubicBezTo>
                        <a:cubicBezTo>
                          <a:pt x="334104" y="2047"/>
                          <a:pt x="368770" y="546"/>
                          <a:pt x="399205" y="0"/>
                        </a:cubicBezTo>
                        <a:cubicBezTo>
                          <a:pt x="399751" y="11055"/>
                          <a:pt x="400706" y="22246"/>
                          <a:pt x="401798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5" name="任意多边形: 形状 9804">
                    <a:extLst>
                      <a:ext uri="{FF2B5EF4-FFF2-40B4-BE49-F238E27FC236}">
                        <a16:creationId xmlns:a16="http://schemas.microsoft.com/office/drawing/2014/main" id="{09A95FF5-B7C2-489A-9324-43FFAA9EB778}"/>
                      </a:ext>
                    </a:extLst>
                  </p:cNvPr>
                  <p:cNvSpPr/>
                  <p:nvPr/>
                </p:nvSpPr>
                <p:spPr>
                  <a:xfrm>
                    <a:off x="8756015" y="2946549"/>
                    <a:ext cx="412443" cy="115598"/>
                  </a:xfrm>
                  <a:custGeom>
                    <a:avLst/>
                    <a:gdLst>
                      <a:gd name="connsiteX0" fmla="*/ 412443 w 412443"/>
                      <a:gd name="connsiteY0" fmla="*/ 33574 h 115598"/>
                      <a:gd name="connsiteX1" fmla="*/ 2866 w 412443"/>
                      <a:gd name="connsiteY1" fmla="*/ 115599 h 115598"/>
                      <a:gd name="connsiteX2" fmla="*/ 0 w 412443"/>
                      <a:gd name="connsiteY2" fmla="*/ 80933 h 115598"/>
                      <a:gd name="connsiteX3" fmla="*/ 407257 w 412443"/>
                      <a:gd name="connsiteY3" fmla="*/ 0 h 115598"/>
                      <a:gd name="connsiteX4" fmla="*/ 412443 w 412443"/>
                      <a:gd name="connsiteY4" fmla="*/ 33574 h 1155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443" h="115598">
                        <a:moveTo>
                          <a:pt x="412443" y="33574"/>
                        </a:moveTo>
                        <a:cubicBezTo>
                          <a:pt x="306125" y="40671"/>
                          <a:pt x="147808" y="60734"/>
                          <a:pt x="2866" y="115599"/>
                        </a:cubicBezTo>
                        <a:cubicBezTo>
                          <a:pt x="1774" y="103998"/>
                          <a:pt x="819" y="92397"/>
                          <a:pt x="0" y="80933"/>
                        </a:cubicBezTo>
                        <a:cubicBezTo>
                          <a:pt x="145761" y="26886"/>
                          <a:pt x="301075" y="7097"/>
                          <a:pt x="407257" y="0"/>
                        </a:cubicBezTo>
                        <a:cubicBezTo>
                          <a:pt x="408758" y="11191"/>
                          <a:pt x="410533" y="22383"/>
                          <a:pt x="412443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6" name="任意多边形: 形状 9805">
                    <a:extLst>
                      <a:ext uri="{FF2B5EF4-FFF2-40B4-BE49-F238E27FC236}">
                        <a16:creationId xmlns:a16="http://schemas.microsoft.com/office/drawing/2014/main" id="{7A0B68DA-CFFA-47E3-A2D1-18266388C755}"/>
                      </a:ext>
                    </a:extLst>
                  </p:cNvPr>
                  <p:cNvSpPr/>
                  <p:nvPr/>
                </p:nvSpPr>
                <p:spPr>
                  <a:xfrm>
                    <a:off x="8771028" y="3084803"/>
                    <a:ext cx="423498" cy="128154"/>
                  </a:xfrm>
                  <a:custGeom>
                    <a:avLst/>
                    <a:gdLst>
                      <a:gd name="connsiteX0" fmla="*/ 423498 w 423498"/>
                      <a:gd name="connsiteY0" fmla="*/ 33165 h 128154"/>
                      <a:gd name="connsiteX1" fmla="*/ 4231 w 423498"/>
                      <a:gd name="connsiteY1" fmla="*/ 128155 h 128154"/>
                      <a:gd name="connsiteX2" fmla="*/ 0 w 423498"/>
                      <a:gd name="connsiteY2" fmla="*/ 93898 h 128154"/>
                      <a:gd name="connsiteX3" fmla="*/ 416537 w 423498"/>
                      <a:gd name="connsiteY3" fmla="*/ 0 h 128154"/>
                      <a:gd name="connsiteX4" fmla="*/ 423498 w 423498"/>
                      <a:gd name="connsiteY4" fmla="*/ 33165 h 1281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498" h="128154">
                        <a:moveTo>
                          <a:pt x="423498" y="33165"/>
                        </a:moveTo>
                        <a:cubicBezTo>
                          <a:pt x="315406" y="45448"/>
                          <a:pt x="152312" y="71925"/>
                          <a:pt x="4231" y="128155"/>
                        </a:cubicBezTo>
                        <a:cubicBezTo>
                          <a:pt x="2730" y="116827"/>
                          <a:pt x="1365" y="105363"/>
                          <a:pt x="0" y="93898"/>
                        </a:cubicBezTo>
                        <a:cubicBezTo>
                          <a:pt x="148627" y="38351"/>
                          <a:pt x="308718" y="12147"/>
                          <a:pt x="416537" y="0"/>
                        </a:cubicBezTo>
                        <a:cubicBezTo>
                          <a:pt x="418858" y="11191"/>
                          <a:pt x="421178" y="22246"/>
                          <a:pt x="423498" y="33165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7" name="任意多边形: 形状 9806">
                    <a:extLst>
                      <a:ext uri="{FF2B5EF4-FFF2-40B4-BE49-F238E27FC236}">
                        <a16:creationId xmlns:a16="http://schemas.microsoft.com/office/drawing/2014/main" id="{BD387497-7A8F-44D0-BAAF-049BCBC9959D}"/>
                      </a:ext>
                    </a:extLst>
                  </p:cNvPr>
                  <p:cNvSpPr/>
                  <p:nvPr/>
                </p:nvSpPr>
                <p:spPr>
                  <a:xfrm>
                    <a:off x="8791500" y="3222102"/>
                    <a:ext cx="435098" cy="139619"/>
                  </a:xfrm>
                  <a:custGeom>
                    <a:avLst/>
                    <a:gdLst>
                      <a:gd name="connsiteX0" fmla="*/ 435099 w 435098"/>
                      <a:gd name="connsiteY0" fmla="*/ 32619 h 139619"/>
                      <a:gd name="connsiteX1" fmla="*/ 5186 w 435098"/>
                      <a:gd name="connsiteY1" fmla="*/ 139619 h 139619"/>
                      <a:gd name="connsiteX2" fmla="*/ 0 w 435098"/>
                      <a:gd name="connsiteY2" fmla="*/ 105909 h 139619"/>
                      <a:gd name="connsiteX3" fmla="*/ 427046 w 435098"/>
                      <a:gd name="connsiteY3" fmla="*/ 0 h 139619"/>
                      <a:gd name="connsiteX4" fmla="*/ 435099 w 435098"/>
                      <a:gd name="connsiteY4" fmla="*/ 32619 h 139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35098" h="139619">
                        <a:moveTo>
                          <a:pt x="435099" y="32619"/>
                        </a:moveTo>
                        <a:cubicBezTo>
                          <a:pt x="326733" y="49679"/>
                          <a:pt x="157771" y="82844"/>
                          <a:pt x="5186" y="139619"/>
                        </a:cubicBezTo>
                        <a:cubicBezTo>
                          <a:pt x="3412" y="128565"/>
                          <a:pt x="1638" y="117373"/>
                          <a:pt x="0" y="105909"/>
                        </a:cubicBezTo>
                        <a:cubicBezTo>
                          <a:pt x="152039" y="50088"/>
                          <a:pt x="318545" y="17333"/>
                          <a:pt x="427046" y="0"/>
                        </a:cubicBezTo>
                        <a:cubicBezTo>
                          <a:pt x="429640" y="11055"/>
                          <a:pt x="432369" y="21973"/>
                          <a:pt x="435099" y="3261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8" name="任意多边形: 形状 9807">
                    <a:extLst>
                      <a:ext uri="{FF2B5EF4-FFF2-40B4-BE49-F238E27FC236}">
                        <a16:creationId xmlns:a16="http://schemas.microsoft.com/office/drawing/2014/main" id="{5B7A2EAC-C35B-446F-92F6-3A5212936447}"/>
                      </a:ext>
                    </a:extLst>
                  </p:cNvPr>
                  <p:cNvSpPr/>
                  <p:nvPr/>
                </p:nvSpPr>
                <p:spPr>
                  <a:xfrm>
                    <a:off x="8815930" y="3357354"/>
                    <a:ext cx="447382" cy="151629"/>
                  </a:xfrm>
                  <a:custGeom>
                    <a:avLst/>
                    <a:gdLst>
                      <a:gd name="connsiteX0" fmla="*/ 447382 w 447382"/>
                      <a:gd name="connsiteY0" fmla="*/ 32209 h 151629"/>
                      <a:gd name="connsiteX1" fmla="*/ 6005 w 447382"/>
                      <a:gd name="connsiteY1" fmla="*/ 151630 h 151629"/>
                      <a:gd name="connsiteX2" fmla="*/ 0 w 447382"/>
                      <a:gd name="connsiteY2" fmla="*/ 118328 h 151629"/>
                      <a:gd name="connsiteX3" fmla="*/ 438238 w 447382"/>
                      <a:gd name="connsiteY3" fmla="*/ 0 h 151629"/>
                      <a:gd name="connsiteX4" fmla="*/ 447382 w 447382"/>
                      <a:gd name="connsiteY4" fmla="*/ 32209 h 151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7382" h="151629">
                        <a:moveTo>
                          <a:pt x="447382" y="32209"/>
                        </a:moveTo>
                        <a:cubicBezTo>
                          <a:pt x="340245" y="54046"/>
                          <a:pt x="164459" y="94444"/>
                          <a:pt x="6005" y="151630"/>
                        </a:cubicBezTo>
                        <a:cubicBezTo>
                          <a:pt x="4094" y="140848"/>
                          <a:pt x="2047" y="129656"/>
                          <a:pt x="0" y="118328"/>
                        </a:cubicBezTo>
                        <a:cubicBezTo>
                          <a:pt x="157771" y="61826"/>
                          <a:pt x="330965" y="21973"/>
                          <a:pt x="438238" y="0"/>
                        </a:cubicBezTo>
                        <a:cubicBezTo>
                          <a:pt x="441241" y="11055"/>
                          <a:pt x="444380" y="21837"/>
                          <a:pt x="447382" y="3220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09" name="任意多边形: 形状 9808">
                    <a:extLst>
                      <a:ext uri="{FF2B5EF4-FFF2-40B4-BE49-F238E27FC236}">
                        <a16:creationId xmlns:a16="http://schemas.microsoft.com/office/drawing/2014/main" id="{660C77C6-ADC0-4535-B1CE-2F8E116D574A}"/>
                      </a:ext>
                    </a:extLst>
                  </p:cNvPr>
                  <p:cNvSpPr/>
                  <p:nvPr/>
                </p:nvSpPr>
                <p:spPr>
                  <a:xfrm>
                    <a:off x="8843499" y="3490422"/>
                    <a:ext cx="460211" cy="164868"/>
                  </a:xfrm>
                  <a:custGeom>
                    <a:avLst/>
                    <a:gdLst>
                      <a:gd name="connsiteX0" fmla="*/ 460211 w 460211"/>
                      <a:gd name="connsiteY0" fmla="*/ 31800 h 164868"/>
                      <a:gd name="connsiteX1" fmla="*/ 6687 w 460211"/>
                      <a:gd name="connsiteY1" fmla="*/ 164868 h 164868"/>
                      <a:gd name="connsiteX2" fmla="*/ 0 w 460211"/>
                      <a:gd name="connsiteY2" fmla="*/ 131840 h 164868"/>
                      <a:gd name="connsiteX3" fmla="*/ 450112 w 460211"/>
                      <a:gd name="connsiteY3" fmla="*/ 0 h 164868"/>
                      <a:gd name="connsiteX4" fmla="*/ 460211 w 460211"/>
                      <a:gd name="connsiteY4" fmla="*/ 31800 h 164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0211" h="164868">
                        <a:moveTo>
                          <a:pt x="460211" y="31800"/>
                        </a:moveTo>
                        <a:cubicBezTo>
                          <a:pt x="356350" y="57868"/>
                          <a:pt x="172647" y="106864"/>
                          <a:pt x="6687" y="164868"/>
                        </a:cubicBezTo>
                        <a:cubicBezTo>
                          <a:pt x="4640" y="154769"/>
                          <a:pt x="2320" y="143714"/>
                          <a:pt x="0" y="131840"/>
                        </a:cubicBezTo>
                        <a:cubicBezTo>
                          <a:pt x="165005" y="74518"/>
                          <a:pt x="346250" y="26204"/>
                          <a:pt x="450112" y="0"/>
                        </a:cubicBezTo>
                        <a:cubicBezTo>
                          <a:pt x="453797" y="11601"/>
                          <a:pt x="457209" y="22246"/>
                          <a:pt x="460211" y="3180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810" name="任意多边形: 形状 9809">
                  <a:extLst>
                    <a:ext uri="{FF2B5EF4-FFF2-40B4-BE49-F238E27FC236}">
                      <a16:creationId xmlns:a16="http://schemas.microsoft.com/office/drawing/2014/main" id="{DB3B005C-4C6B-48B2-95A5-AB0CC5E0B8C2}"/>
                    </a:ext>
                  </a:extLst>
                </p:cNvPr>
                <p:cNvSpPr/>
                <p:nvPr/>
              </p:nvSpPr>
              <p:spPr>
                <a:xfrm>
                  <a:off x="9001406" y="1933936"/>
                  <a:ext cx="224267" cy="559458"/>
                </a:xfrm>
                <a:custGeom>
                  <a:avLst/>
                  <a:gdLst>
                    <a:gd name="connsiteX0" fmla="*/ 139756 w 224267"/>
                    <a:gd name="connsiteY0" fmla="*/ 559361 h 559458"/>
                    <a:gd name="connsiteX1" fmla="*/ 139756 w 224267"/>
                    <a:gd name="connsiteY1" fmla="*/ 559361 h 559458"/>
                    <a:gd name="connsiteX2" fmla="*/ 129247 w 224267"/>
                    <a:gd name="connsiteY2" fmla="*/ 558133 h 559458"/>
                    <a:gd name="connsiteX3" fmla="*/ 98812 w 224267"/>
                    <a:gd name="connsiteY3" fmla="*/ 539572 h 559458"/>
                    <a:gd name="connsiteX4" fmla="*/ 0 w 224267"/>
                    <a:gd name="connsiteY4" fmla="*/ 120577 h 559458"/>
                    <a:gd name="connsiteX5" fmla="*/ 71789 w 224267"/>
                    <a:gd name="connsiteY5" fmla="*/ 5252 h 559458"/>
                    <a:gd name="connsiteX6" fmla="*/ 156952 w 224267"/>
                    <a:gd name="connsiteY6" fmla="*/ 475 h 559458"/>
                    <a:gd name="connsiteX7" fmla="*/ 208678 w 224267"/>
                    <a:gd name="connsiteY7" fmla="*/ 318474 h 559458"/>
                    <a:gd name="connsiteX8" fmla="*/ 139756 w 224267"/>
                    <a:gd name="connsiteY8" fmla="*/ 559361 h 559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4267" h="559458">
                      <a:moveTo>
                        <a:pt x="139756" y="559361"/>
                      </a:moveTo>
                      <a:cubicBezTo>
                        <a:pt x="139756" y="559361"/>
                        <a:pt x="139756" y="559361"/>
                        <a:pt x="139756" y="559361"/>
                      </a:cubicBezTo>
                      <a:cubicBezTo>
                        <a:pt x="136344" y="559225"/>
                        <a:pt x="132795" y="558815"/>
                        <a:pt x="129247" y="558133"/>
                      </a:cubicBezTo>
                      <a:cubicBezTo>
                        <a:pt x="118328" y="556086"/>
                        <a:pt x="108229" y="549535"/>
                        <a:pt x="98812" y="539572"/>
                      </a:cubicBezTo>
                      <a:cubicBezTo>
                        <a:pt x="20336" y="454817"/>
                        <a:pt x="0" y="120577"/>
                        <a:pt x="0" y="120577"/>
                      </a:cubicBezTo>
                      <a:cubicBezTo>
                        <a:pt x="0" y="120577"/>
                        <a:pt x="29480" y="47834"/>
                        <a:pt x="71789" y="5252"/>
                      </a:cubicBezTo>
                      <a:cubicBezTo>
                        <a:pt x="98402" y="1157"/>
                        <a:pt x="127472" y="-1026"/>
                        <a:pt x="156952" y="475"/>
                      </a:cubicBezTo>
                      <a:cubicBezTo>
                        <a:pt x="163094" y="63256"/>
                        <a:pt x="184248" y="263336"/>
                        <a:pt x="208678" y="318474"/>
                      </a:cubicBezTo>
                      <a:cubicBezTo>
                        <a:pt x="237066" y="381664"/>
                        <a:pt x="233518" y="564275"/>
                        <a:pt x="139756" y="559361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11" name="任意多边形: 形状 9810">
                  <a:extLst>
                    <a:ext uri="{FF2B5EF4-FFF2-40B4-BE49-F238E27FC236}">
                      <a16:creationId xmlns:a16="http://schemas.microsoft.com/office/drawing/2014/main" id="{AB36E8BD-28C8-45E3-A244-771F1D106FBE}"/>
                    </a:ext>
                  </a:extLst>
                </p:cNvPr>
                <p:cNvSpPr/>
                <p:nvPr/>
              </p:nvSpPr>
              <p:spPr>
                <a:xfrm>
                  <a:off x="8906553" y="2190448"/>
                  <a:ext cx="794016" cy="147291"/>
                </a:xfrm>
                <a:custGeom>
                  <a:avLst/>
                  <a:gdLst>
                    <a:gd name="connsiteX0" fmla="*/ 792404 w 794016"/>
                    <a:gd name="connsiteY0" fmla="*/ 99767 h 147291"/>
                    <a:gd name="connsiteX1" fmla="*/ 198579 w 794016"/>
                    <a:gd name="connsiteY1" fmla="*/ 70151 h 147291"/>
                    <a:gd name="connsiteX2" fmla="*/ 2320 w 794016"/>
                    <a:gd name="connsiteY2" fmla="*/ 32755 h 147291"/>
                    <a:gd name="connsiteX3" fmla="*/ 0 w 794016"/>
                    <a:gd name="connsiteY3" fmla="*/ 11191 h 147291"/>
                    <a:gd name="connsiteX4" fmla="*/ 397567 w 794016"/>
                    <a:gd name="connsiteY4" fmla="*/ 82843 h 147291"/>
                    <a:gd name="connsiteX5" fmla="*/ 791176 w 794016"/>
                    <a:gd name="connsiteY5" fmla="*/ 0 h 147291"/>
                    <a:gd name="connsiteX6" fmla="*/ 792404 w 794016"/>
                    <a:gd name="connsiteY6" fmla="*/ 99767 h 147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4016" h="147291">
                      <a:moveTo>
                        <a:pt x="792404" y="99767"/>
                      </a:moveTo>
                      <a:cubicBezTo>
                        <a:pt x="677624" y="188752"/>
                        <a:pt x="427183" y="137572"/>
                        <a:pt x="198579" y="70151"/>
                      </a:cubicBezTo>
                      <a:cubicBezTo>
                        <a:pt x="120512" y="47086"/>
                        <a:pt x="55411" y="36304"/>
                        <a:pt x="2320" y="32755"/>
                      </a:cubicBezTo>
                      <a:cubicBezTo>
                        <a:pt x="1365" y="25522"/>
                        <a:pt x="546" y="18288"/>
                        <a:pt x="0" y="11191"/>
                      </a:cubicBezTo>
                      <a:cubicBezTo>
                        <a:pt x="99358" y="17469"/>
                        <a:pt x="232562" y="45311"/>
                        <a:pt x="397567" y="82843"/>
                      </a:cubicBezTo>
                      <a:cubicBezTo>
                        <a:pt x="642139" y="138391"/>
                        <a:pt x="753644" y="44629"/>
                        <a:pt x="791176" y="0"/>
                      </a:cubicBezTo>
                      <a:cubicBezTo>
                        <a:pt x="794178" y="31800"/>
                        <a:pt x="795134" y="65783"/>
                        <a:pt x="792404" y="99767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812" name="任意多边形: 形状 9811">
                <a:extLst>
                  <a:ext uri="{FF2B5EF4-FFF2-40B4-BE49-F238E27FC236}">
                    <a16:creationId xmlns:a16="http://schemas.microsoft.com/office/drawing/2014/main" id="{D201CB49-6E21-4D93-A7C0-72A8B0E5C103}"/>
                  </a:ext>
                </a:extLst>
              </p:cNvPr>
              <p:cNvSpPr/>
              <p:nvPr/>
            </p:nvSpPr>
            <p:spPr>
              <a:xfrm>
                <a:off x="9532171" y="1797340"/>
                <a:ext cx="83396" cy="87709"/>
              </a:xfrm>
              <a:custGeom>
                <a:avLst/>
                <a:gdLst>
                  <a:gd name="connsiteX0" fmla="*/ 962 w 83396"/>
                  <a:gd name="connsiteY0" fmla="*/ 40034 h 87709"/>
                  <a:gd name="connsiteX1" fmla="*/ 18432 w 83396"/>
                  <a:gd name="connsiteY1" fmla="*/ 87529 h 87709"/>
                  <a:gd name="connsiteX2" fmla="*/ 49685 w 83396"/>
                  <a:gd name="connsiteY2" fmla="*/ 47677 h 87709"/>
                  <a:gd name="connsiteX3" fmla="*/ 49140 w 83396"/>
                  <a:gd name="connsiteY3" fmla="*/ 21473 h 87709"/>
                  <a:gd name="connsiteX4" fmla="*/ 83396 w 83396"/>
                  <a:gd name="connsiteY4" fmla="*/ 12465 h 87709"/>
                  <a:gd name="connsiteX5" fmla="*/ 37539 w 83396"/>
                  <a:gd name="connsiteY5" fmla="*/ 2229 h 87709"/>
                  <a:gd name="connsiteX6" fmla="*/ 32080 w 83396"/>
                  <a:gd name="connsiteY6" fmla="*/ 182 h 87709"/>
                  <a:gd name="connsiteX7" fmla="*/ 962 w 83396"/>
                  <a:gd name="connsiteY7" fmla="*/ 40034 h 87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396" h="87709">
                    <a:moveTo>
                      <a:pt x="962" y="40034"/>
                    </a:moveTo>
                    <a:cubicBezTo>
                      <a:pt x="-2859" y="64191"/>
                      <a:pt x="5057" y="85482"/>
                      <a:pt x="18432" y="87529"/>
                    </a:cubicBezTo>
                    <a:cubicBezTo>
                      <a:pt x="31943" y="89713"/>
                      <a:pt x="46001" y="71834"/>
                      <a:pt x="49685" y="47677"/>
                    </a:cubicBezTo>
                    <a:cubicBezTo>
                      <a:pt x="51187" y="38123"/>
                      <a:pt x="50777" y="29116"/>
                      <a:pt x="49140" y="21473"/>
                    </a:cubicBezTo>
                    <a:cubicBezTo>
                      <a:pt x="73160" y="26249"/>
                      <a:pt x="83396" y="12465"/>
                      <a:pt x="83396" y="12465"/>
                    </a:cubicBezTo>
                    <a:cubicBezTo>
                      <a:pt x="67428" y="12192"/>
                      <a:pt x="47092" y="5641"/>
                      <a:pt x="37539" y="2229"/>
                    </a:cubicBezTo>
                    <a:cubicBezTo>
                      <a:pt x="34127" y="1001"/>
                      <a:pt x="32080" y="182"/>
                      <a:pt x="32080" y="182"/>
                    </a:cubicBezTo>
                    <a:cubicBezTo>
                      <a:pt x="18841" y="-2002"/>
                      <a:pt x="4784" y="15740"/>
                      <a:pt x="962" y="40034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13" name="任意多边形: 形状 9812">
                <a:extLst>
                  <a:ext uri="{FF2B5EF4-FFF2-40B4-BE49-F238E27FC236}">
                    <a16:creationId xmlns:a16="http://schemas.microsoft.com/office/drawing/2014/main" id="{E8125606-DDCD-4A29-B1FA-DA1996DD9640}"/>
                  </a:ext>
                </a:extLst>
              </p:cNvPr>
              <p:cNvSpPr/>
              <p:nvPr/>
            </p:nvSpPr>
            <p:spPr>
              <a:xfrm>
                <a:off x="9564387" y="1797385"/>
                <a:ext cx="5459" cy="2047"/>
              </a:xfrm>
              <a:custGeom>
                <a:avLst/>
                <a:gdLst>
                  <a:gd name="connsiteX0" fmla="*/ 0 w 5459"/>
                  <a:gd name="connsiteY0" fmla="*/ 0 h 2047"/>
                  <a:gd name="connsiteX1" fmla="*/ 5459 w 5459"/>
                  <a:gd name="connsiteY1" fmla="*/ 2047 h 2047"/>
                  <a:gd name="connsiteX2" fmla="*/ 0 w 5459"/>
                  <a:gd name="connsiteY2" fmla="*/ 0 h 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9" h="2047">
                    <a:moveTo>
                      <a:pt x="0" y="0"/>
                    </a:moveTo>
                    <a:cubicBezTo>
                      <a:pt x="0" y="0"/>
                      <a:pt x="2047" y="819"/>
                      <a:pt x="5459" y="2047"/>
                    </a:cubicBezTo>
                    <a:cubicBezTo>
                      <a:pt x="3821" y="1092"/>
                      <a:pt x="2047" y="273"/>
                      <a:pt x="0" y="0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14" name="任意多边形: 形状 9813">
                <a:extLst>
                  <a:ext uri="{FF2B5EF4-FFF2-40B4-BE49-F238E27FC236}">
                    <a16:creationId xmlns:a16="http://schemas.microsoft.com/office/drawing/2014/main" id="{9AEBE19D-17BE-415E-9874-91460919C9A3}"/>
                  </a:ext>
                </a:extLst>
              </p:cNvPr>
              <p:cNvSpPr/>
              <p:nvPr/>
            </p:nvSpPr>
            <p:spPr>
              <a:xfrm>
                <a:off x="9546489" y="1913582"/>
                <a:ext cx="153831" cy="81987"/>
              </a:xfrm>
              <a:custGeom>
                <a:avLst/>
                <a:gdLst>
                  <a:gd name="connsiteX0" fmla="*/ 153832 w 153831"/>
                  <a:gd name="connsiteY0" fmla="*/ 15780 h 81987"/>
                  <a:gd name="connsiteX1" fmla="*/ 126263 w 153831"/>
                  <a:gd name="connsiteY1" fmla="*/ 81973 h 81987"/>
                  <a:gd name="connsiteX2" fmla="*/ 91733 w 153831"/>
                  <a:gd name="connsiteY2" fmla="*/ 79653 h 81987"/>
                  <a:gd name="connsiteX3" fmla="*/ 155 w 153831"/>
                  <a:gd name="connsiteY3" fmla="*/ 27244 h 81987"/>
                  <a:gd name="connsiteX4" fmla="*/ 102652 w 153831"/>
                  <a:gd name="connsiteY4" fmla="*/ 2405 h 81987"/>
                  <a:gd name="connsiteX5" fmla="*/ 153832 w 153831"/>
                  <a:gd name="connsiteY5" fmla="*/ 15780 h 81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831" h="81987">
                    <a:moveTo>
                      <a:pt x="153832" y="15780"/>
                    </a:moveTo>
                    <a:cubicBezTo>
                      <a:pt x="145370" y="38572"/>
                      <a:pt x="136090" y="60682"/>
                      <a:pt x="126263" y="81973"/>
                    </a:cubicBezTo>
                    <a:cubicBezTo>
                      <a:pt x="115481" y="82109"/>
                      <a:pt x="103744" y="81290"/>
                      <a:pt x="91733" y="79653"/>
                    </a:cubicBezTo>
                    <a:cubicBezTo>
                      <a:pt x="38097" y="72146"/>
                      <a:pt x="-2847" y="48672"/>
                      <a:pt x="155" y="27244"/>
                    </a:cubicBezTo>
                    <a:cubicBezTo>
                      <a:pt x="3158" y="5953"/>
                      <a:pt x="49152" y="-5238"/>
                      <a:pt x="102652" y="2405"/>
                    </a:cubicBezTo>
                    <a:cubicBezTo>
                      <a:pt x="121896" y="4998"/>
                      <a:pt x="139365" y="9775"/>
                      <a:pt x="153832" y="15780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15" name="任意多边形: 形状 9814">
                <a:extLst>
                  <a:ext uri="{FF2B5EF4-FFF2-40B4-BE49-F238E27FC236}">
                    <a16:creationId xmlns:a16="http://schemas.microsoft.com/office/drawing/2014/main" id="{BF63621C-414F-4EE5-AD58-565EFA0E0684}"/>
                  </a:ext>
                </a:extLst>
              </p:cNvPr>
              <p:cNvSpPr/>
              <p:nvPr/>
            </p:nvSpPr>
            <p:spPr>
              <a:xfrm>
                <a:off x="9110969" y="1843570"/>
                <a:ext cx="196306" cy="82870"/>
              </a:xfrm>
              <a:custGeom>
                <a:avLst/>
                <a:gdLst>
                  <a:gd name="connsiteX0" fmla="*/ 196153 w 196306"/>
                  <a:gd name="connsiteY0" fmla="*/ 55356 h 82870"/>
                  <a:gd name="connsiteX1" fmla="*/ 92564 w 196306"/>
                  <a:gd name="connsiteY1" fmla="*/ 80469 h 82870"/>
                  <a:gd name="connsiteX2" fmla="*/ 168 w 196306"/>
                  <a:gd name="connsiteY2" fmla="*/ 27514 h 82870"/>
                  <a:gd name="connsiteX3" fmla="*/ 103756 w 196306"/>
                  <a:gd name="connsiteY3" fmla="*/ 2402 h 82870"/>
                  <a:gd name="connsiteX4" fmla="*/ 196153 w 196306"/>
                  <a:gd name="connsiteY4" fmla="*/ 55356 h 8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306" h="82870">
                    <a:moveTo>
                      <a:pt x="196153" y="55356"/>
                    </a:moveTo>
                    <a:cubicBezTo>
                      <a:pt x="193151" y="76920"/>
                      <a:pt x="146747" y="88112"/>
                      <a:pt x="92564" y="80469"/>
                    </a:cubicBezTo>
                    <a:cubicBezTo>
                      <a:pt x="38382" y="72826"/>
                      <a:pt x="-2972" y="49078"/>
                      <a:pt x="168" y="27514"/>
                    </a:cubicBezTo>
                    <a:cubicBezTo>
                      <a:pt x="3170" y="5951"/>
                      <a:pt x="49573" y="-5241"/>
                      <a:pt x="103756" y="2402"/>
                    </a:cubicBezTo>
                    <a:cubicBezTo>
                      <a:pt x="157802" y="10045"/>
                      <a:pt x="199156" y="33793"/>
                      <a:pt x="196153" y="55356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816" name="组合 9815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8922544" y="1681687"/>
                <a:ext cx="180561" cy="272377"/>
                <a:chOff x="8922544" y="1681687"/>
                <a:chExt cx="180561" cy="272377"/>
              </a:xfrm>
              <a:solidFill>
                <a:schemeClr val="accent1"/>
              </a:solidFill>
            </p:grpSpPr>
            <p:sp>
              <p:nvSpPr>
                <p:cNvPr id="9817" name="任意多边形: 形状 9816">
                  <a:extLst>
                    <a:ext uri="{FF2B5EF4-FFF2-40B4-BE49-F238E27FC236}">
                      <a16:creationId xmlns:a16="http://schemas.microsoft.com/office/drawing/2014/main" id="{22B460AD-5EB1-4D3F-AC4C-51A96F536190}"/>
                    </a:ext>
                  </a:extLst>
                </p:cNvPr>
                <p:cNvSpPr/>
                <p:nvPr/>
              </p:nvSpPr>
              <p:spPr>
                <a:xfrm>
                  <a:off x="8922544" y="1681687"/>
                  <a:ext cx="161567" cy="256529"/>
                </a:xfrm>
                <a:custGeom>
                  <a:avLst/>
                  <a:gdLst>
                    <a:gd name="connsiteX0" fmla="*/ 161023 w 161567"/>
                    <a:gd name="connsiteY0" fmla="*/ 80896 h 256529"/>
                    <a:gd name="connsiteX1" fmla="*/ 138640 w 161567"/>
                    <a:gd name="connsiteY1" fmla="*/ 28078 h 256529"/>
                    <a:gd name="connsiteX2" fmla="*/ 14580 w 161567"/>
                    <a:gd name="connsiteY2" fmla="*/ 35585 h 256529"/>
                    <a:gd name="connsiteX3" fmla="*/ 136184 w 161567"/>
                    <a:gd name="connsiteY3" fmla="*/ 254908 h 256529"/>
                    <a:gd name="connsiteX4" fmla="*/ 161023 w 161567"/>
                    <a:gd name="connsiteY4" fmla="*/ 80896 h 256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567" h="256529">
                      <a:moveTo>
                        <a:pt x="161023" y="80896"/>
                      </a:moveTo>
                      <a:cubicBezTo>
                        <a:pt x="163889" y="60424"/>
                        <a:pt x="155291" y="40225"/>
                        <a:pt x="138640" y="28078"/>
                      </a:cubicBezTo>
                      <a:cubicBezTo>
                        <a:pt x="97287" y="-1947"/>
                        <a:pt x="42012" y="-19007"/>
                        <a:pt x="14580" y="35585"/>
                      </a:cubicBezTo>
                      <a:cubicBezTo>
                        <a:pt x="-36327" y="136989"/>
                        <a:pt x="56206" y="272924"/>
                        <a:pt x="136184" y="254908"/>
                      </a:cubicBezTo>
                      <a:lnTo>
                        <a:pt x="161023" y="80896"/>
                      </a:ln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18" name="任意多边形: 形状 9817">
                  <a:extLst>
                    <a:ext uri="{FF2B5EF4-FFF2-40B4-BE49-F238E27FC236}">
                      <a16:creationId xmlns:a16="http://schemas.microsoft.com/office/drawing/2014/main" id="{BEB937EC-0BB6-4BDB-9119-A35D4F08064C}"/>
                    </a:ext>
                  </a:extLst>
                </p:cNvPr>
                <p:cNvSpPr/>
                <p:nvPr/>
              </p:nvSpPr>
              <p:spPr>
                <a:xfrm>
                  <a:off x="9053405" y="1915252"/>
                  <a:ext cx="49700" cy="38812"/>
                </a:xfrm>
                <a:custGeom>
                  <a:avLst/>
                  <a:gdLst>
                    <a:gd name="connsiteX0" fmla="*/ 46949 w 49700"/>
                    <a:gd name="connsiteY0" fmla="*/ 14792 h 38812"/>
                    <a:gd name="connsiteX1" fmla="*/ 42309 w 49700"/>
                    <a:gd name="connsiteY1" fmla="*/ 18886 h 38812"/>
                    <a:gd name="connsiteX2" fmla="*/ 28252 w 49700"/>
                    <a:gd name="connsiteY2" fmla="*/ 28576 h 38812"/>
                    <a:gd name="connsiteX3" fmla="*/ 2184 w 49700"/>
                    <a:gd name="connsiteY3" fmla="*/ 38812 h 38812"/>
                    <a:gd name="connsiteX4" fmla="*/ 0 w 49700"/>
                    <a:gd name="connsiteY4" fmla="*/ 22435 h 38812"/>
                    <a:gd name="connsiteX5" fmla="*/ 18561 w 49700"/>
                    <a:gd name="connsiteY5" fmla="*/ 15747 h 38812"/>
                    <a:gd name="connsiteX6" fmla="*/ 33301 w 49700"/>
                    <a:gd name="connsiteY6" fmla="*/ 6603 h 38812"/>
                    <a:gd name="connsiteX7" fmla="*/ 38897 w 49700"/>
                    <a:gd name="connsiteY7" fmla="*/ 1826 h 38812"/>
                    <a:gd name="connsiteX8" fmla="*/ 48314 w 49700"/>
                    <a:gd name="connsiteY8" fmla="*/ 3191 h 38812"/>
                    <a:gd name="connsiteX9" fmla="*/ 46949 w 49700"/>
                    <a:gd name="connsiteY9" fmla="*/ 14792 h 38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9700" h="38812">
                      <a:moveTo>
                        <a:pt x="46949" y="14792"/>
                      </a:moveTo>
                      <a:cubicBezTo>
                        <a:pt x="45448" y="16293"/>
                        <a:pt x="43810" y="17658"/>
                        <a:pt x="42309" y="18886"/>
                      </a:cubicBezTo>
                      <a:cubicBezTo>
                        <a:pt x="37669" y="22708"/>
                        <a:pt x="33028" y="25847"/>
                        <a:pt x="28252" y="28576"/>
                      </a:cubicBezTo>
                      <a:cubicBezTo>
                        <a:pt x="19517" y="33490"/>
                        <a:pt x="10645" y="36765"/>
                        <a:pt x="2184" y="38812"/>
                      </a:cubicBezTo>
                      <a:cubicBezTo>
                        <a:pt x="1365" y="33490"/>
                        <a:pt x="682" y="28031"/>
                        <a:pt x="0" y="22435"/>
                      </a:cubicBezTo>
                      <a:cubicBezTo>
                        <a:pt x="6142" y="20934"/>
                        <a:pt x="12283" y="18886"/>
                        <a:pt x="18561" y="15747"/>
                      </a:cubicBezTo>
                      <a:cubicBezTo>
                        <a:pt x="23611" y="13427"/>
                        <a:pt x="28525" y="10425"/>
                        <a:pt x="33301" y="6603"/>
                      </a:cubicBezTo>
                      <a:cubicBezTo>
                        <a:pt x="35212" y="5102"/>
                        <a:pt x="37123" y="3464"/>
                        <a:pt x="38897" y="1826"/>
                      </a:cubicBezTo>
                      <a:cubicBezTo>
                        <a:pt x="41900" y="-1040"/>
                        <a:pt x="46130" y="-494"/>
                        <a:pt x="48314" y="3191"/>
                      </a:cubicBezTo>
                      <a:cubicBezTo>
                        <a:pt x="50634" y="6876"/>
                        <a:pt x="49952" y="12062"/>
                        <a:pt x="46949" y="14792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19" name="任意多边形: 形状 9818">
                  <a:extLst>
                    <a:ext uri="{FF2B5EF4-FFF2-40B4-BE49-F238E27FC236}">
                      <a16:creationId xmlns:a16="http://schemas.microsoft.com/office/drawing/2014/main" id="{C8885B13-BA39-4385-BA3A-092283792B41}"/>
                    </a:ext>
                  </a:extLst>
                </p:cNvPr>
                <p:cNvSpPr/>
                <p:nvPr/>
              </p:nvSpPr>
              <p:spPr>
                <a:xfrm>
                  <a:off x="8970398" y="1737034"/>
                  <a:ext cx="62453" cy="129277"/>
                </a:xfrm>
                <a:custGeom>
                  <a:avLst/>
                  <a:gdLst>
                    <a:gd name="connsiteX0" fmla="*/ 52572 w 62453"/>
                    <a:gd name="connsiteY0" fmla="*/ 129137 h 129277"/>
                    <a:gd name="connsiteX1" fmla="*/ 45338 w 62453"/>
                    <a:gd name="connsiteY1" fmla="*/ 120539 h 129277"/>
                    <a:gd name="connsiteX2" fmla="*/ 3166 w 62453"/>
                    <a:gd name="connsiteY2" fmla="*/ 15176 h 129277"/>
                    <a:gd name="connsiteX3" fmla="*/ 1938 w 62453"/>
                    <a:gd name="connsiteY3" fmla="*/ 3166 h 129277"/>
                    <a:gd name="connsiteX4" fmla="*/ 13948 w 62453"/>
                    <a:gd name="connsiteY4" fmla="*/ 1938 h 129277"/>
                    <a:gd name="connsiteX5" fmla="*/ 62398 w 62453"/>
                    <a:gd name="connsiteY5" fmla="*/ 120948 h 129277"/>
                    <a:gd name="connsiteX6" fmla="*/ 53664 w 62453"/>
                    <a:gd name="connsiteY6" fmla="*/ 129274 h 129277"/>
                    <a:gd name="connsiteX7" fmla="*/ 52572 w 62453"/>
                    <a:gd name="connsiteY7" fmla="*/ 129137 h 129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453" h="129277">
                      <a:moveTo>
                        <a:pt x="52572" y="129137"/>
                      </a:moveTo>
                      <a:cubicBezTo>
                        <a:pt x="48341" y="128455"/>
                        <a:pt x="45202" y="124770"/>
                        <a:pt x="45338" y="120539"/>
                      </a:cubicBezTo>
                      <a:cubicBezTo>
                        <a:pt x="46976" y="52162"/>
                        <a:pt x="3575" y="15586"/>
                        <a:pt x="3166" y="15176"/>
                      </a:cubicBezTo>
                      <a:cubicBezTo>
                        <a:pt x="-519" y="12174"/>
                        <a:pt x="-1065" y="6851"/>
                        <a:pt x="1938" y="3166"/>
                      </a:cubicBezTo>
                      <a:cubicBezTo>
                        <a:pt x="4940" y="-519"/>
                        <a:pt x="10263" y="-1065"/>
                        <a:pt x="13948" y="1938"/>
                      </a:cubicBezTo>
                      <a:cubicBezTo>
                        <a:pt x="15995" y="3575"/>
                        <a:pt x="64309" y="43837"/>
                        <a:pt x="62398" y="120948"/>
                      </a:cubicBezTo>
                      <a:cubicBezTo>
                        <a:pt x="62262" y="125725"/>
                        <a:pt x="58304" y="129410"/>
                        <a:pt x="53664" y="129274"/>
                      </a:cubicBezTo>
                      <a:cubicBezTo>
                        <a:pt x="53254" y="129274"/>
                        <a:pt x="52845" y="129274"/>
                        <a:pt x="52572" y="129137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20" name="任意多边形: 形状 9819">
                  <a:extLst>
                    <a:ext uri="{FF2B5EF4-FFF2-40B4-BE49-F238E27FC236}">
                      <a16:creationId xmlns:a16="http://schemas.microsoft.com/office/drawing/2014/main" id="{88D52BCB-CD8E-4333-9D43-89748456272A}"/>
                    </a:ext>
                  </a:extLst>
                </p:cNvPr>
                <p:cNvSpPr/>
                <p:nvPr/>
              </p:nvSpPr>
              <p:spPr>
                <a:xfrm>
                  <a:off x="8961072" y="1787704"/>
                  <a:ext cx="61237" cy="30629"/>
                </a:xfrm>
                <a:custGeom>
                  <a:avLst/>
                  <a:gdLst>
                    <a:gd name="connsiteX0" fmla="*/ 7306 w 61237"/>
                    <a:gd name="connsiteY0" fmla="*/ 30563 h 30629"/>
                    <a:gd name="connsiteX1" fmla="*/ 2119 w 61237"/>
                    <a:gd name="connsiteY1" fmla="*/ 27697 h 30629"/>
                    <a:gd name="connsiteX2" fmla="*/ 2938 w 61237"/>
                    <a:gd name="connsiteY2" fmla="*/ 15687 h 30629"/>
                    <a:gd name="connsiteX3" fmla="*/ 54937 w 61237"/>
                    <a:gd name="connsiteY3" fmla="*/ 1493 h 30629"/>
                    <a:gd name="connsiteX4" fmla="*/ 60943 w 61237"/>
                    <a:gd name="connsiteY4" fmla="*/ 12002 h 30629"/>
                    <a:gd name="connsiteX5" fmla="*/ 50434 w 61237"/>
                    <a:gd name="connsiteY5" fmla="*/ 18007 h 30629"/>
                    <a:gd name="connsiteX6" fmla="*/ 13993 w 61237"/>
                    <a:gd name="connsiteY6" fmla="*/ 28652 h 30629"/>
                    <a:gd name="connsiteX7" fmla="*/ 7306 w 61237"/>
                    <a:gd name="connsiteY7" fmla="*/ 30563 h 30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1237" h="30629">
                      <a:moveTo>
                        <a:pt x="7306" y="30563"/>
                      </a:moveTo>
                      <a:cubicBezTo>
                        <a:pt x="5395" y="30290"/>
                        <a:pt x="3484" y="29335"/>
                        <a:pt x="2119" y="27697"/>
                      </a:cubicBezTo>
                      <a:cubicBezTo>
                        <a:pt x="-1020" y="24148"/>
                        <a:pt x="-610" y="18689"/>
                        <a:pt x="2938" y="15687"/>
                      </a:cubicBezTo>
                      <a:cubicBezTo>
                        <a:pt x="3894" y="14868"/>
                        <a:pt x="27914" y="-5604"/>
                        <a:pt x="54937" y="1493"/>
                      </a:cubicBezTo>
                      <a:cubicBezTo>
                        <a:pt x="59441" y="2721"/>
                        <a:pt x="62171" y="7361"/>
                        <a:pt x="60943" y="12002"/>
                      </a:cubicBezTo>
                      <a:cubicBezTo>
                        <a:pt x="59714" y="16505"/>
                        <a:pt x="55074" y="19235"/>
                        <a:pt x="50434" y="18007"/>
                      </a:cubicBezTo>
                      <a:cubicBezTo>
                        <a:pt x="32282" y="13230"/>
                        <a:pt x="14266" y="28516"/>
                        <a:pt x="13993" y="28652"/>
                      </a:cubicBezTo>
                      <a:cubicBezTo>
                        <a:pt x="12219" y="30290"/>
                        <a:pt x="9763" y="30836"/>
                        <a:pt x="7306" y="30563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821" name="任意多边形: 形状 9820">
                <a:extLst>
                  <a:ext uri="{FF2B5EF4-FFF2-40B4-BE49-F238E27FC236}">
                    <a16:creationId xmlns:a16="http://schemas.microsoft.com/office/drawing/2014/main" id="{C7D37F21-DD08-4F11-93AC-44047A353AE4}"/>
                  </a:ext>
                </a:extLst>
              </p:cNvPr>
              <p:cNvSpPr/>
              <p:nvPr/>
            </p:nvSpPr>
            <p:spPr>
              <a:xfrm>
                <a:off x="9420549" y="1817040"/>
                <a:ext cx="67277" cy="154894"/>
              </a:xfrm>
              <a:custGeom>
                <a:avLst/>
                <a:gdLst>
                  <a:gd name="connsiteX0" fmla="*/ 7358 w 67277"/>
                  <a:gd name="connsiteY0" fmla="*/ 154767 h 154894"/>
                  <a:gd name="connsiteX1" fmla="*/ 125 w 67277"/>
                  <a:gd name="connsiteY1" fmla="*/ 147669 h 154894"/>
                  <a:gd name="connsiteX2" fmla="*/ 5174 w 67277"/>
                  <a:gd name="connsiteY2" fmla="*/ 138525 h 154894"/>
                  <a:gd name="connsiteX3" fmla="*/ 49940 w 67277"/>
                  <a:gd name="connsiteY3" fmla="*/ 110274 h 154894"/>
                  <a:gd name="connsiteX4" fmla="*/ 31242 w 67277"/>
                  <a:gd name="connsiteY4" fmla="*/ 10097 h 154894"/>
                  <a:gd name="connsiteX5" fmla="*/ 38066 w 67277"/>
                  <a:gd name="connsiteY5" fmla="*/ 134 h 154894"/>
                  <a:gd name="connsiteX6" fmla="*/ 38066 w 67277"/>
                  <a:gd name="connsiteY6" fmla="*/ 134 h 154894"/>
                  <a:gd name="connsiteX7" fmla="*/ 48029 w 67277"/>
                  <a:gd name="connsiteY7" fmla="*/ 6958 h 154894"/>
                  <a:gd name="connsiteX8" fmla="*/ 67000 w 67277"/>
                  <a:gd name="connsiteY8" fmla="*/ 108500 h 154894"/>
                  <a:gd name="connsiteX9" fmla="*/ 12271 w 67277"/>
                  <a:gd name="connsiteY9" fmla="*/ 154084 h 154894"/>
                  <a:gd name="connsiteX10" fmla="*/ 7358 w 67277"/>
                  <a:gd name="connsiteY10" fmla="*/ 154767 h 154894"/>
                  <a:gd name="connsiteX11" fmla="*/ 50213 w 67277"/>
                  <a:gd name="connsiteY11" fmla="*/ 111639 h 154894"/>
                  <a:gd name="connsiteX12" fmla="*/ 50213 w 67277"/>
                  <a:gd name="connsiteY12" fmla="*/ 111639 h 154894"/>
                  <a:gd name="connsiteX13" fmla="*/ 50213 w 67277"/>
                  <a:gd name="connsiteY13" fmla="*/ 111639 h 15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277" h="154894">
                    <a:moveTo>
                      <a:pt x="7358" y="154767"/>
                    </a:moveTo>
                    <a:cubicBezTo>
                      <a:pt x="3946" y="154221"/>
                      <a:pt x="807" y="151627"/>
                      <a:pt x="125" y="147669"/>
                    </a:cubicBezTo>
                    <a:cubicBezTo>
                      <a:pt x="-558" y="143848"/>
                      <a:pt x="1626" y="140163"/>
                      <a:pt x="5174" y="138525"/>
                    </a:cubicBezTo>
                    <a:cubicBezTo>
                      <a:pt x="26192" y="128562"/>
                      <a:pt x="46528" y="115733"/>
                      <a:pt x="49940" y="110274"/>
                    </a:cubicBezTo>
                    <a:cubicBezTo>
                      <a:pt x="47074" y="94715"/>
                      <a:pt x="35473" y="32753"/>
                      <a:pt x="31242" y="10097"/>
                    </a:cubicBezTo>
                    <a:cubicBezTo>
                      <a:pt x="30423" y="5457"/>
                      <a:pt x="33426" y="953"/>
                      <a:pt x="38066" y="134"/>
                    </a:cubicBezTo>
                    <a:lnTo>
                      <a:pt x="38066" y="134"/>
                    </a:lnTo>
                    <a:cubicBezTo>
                      <a:pt x="42706" y="-684"/>
                      <a:pt x="47210" y="2318"/>
                      <a:pt x="48029" y="6958"/>
                    </a:cubicBezTo>
                    <a:cubicBezTo>
                      <a:pt x="52396" y="30297"/>
                      <a:pt x="64543" y="95534"/>
                      <a:pt x="67000" y="108500"/>
                    </a:cubicBezTo>
                    <a:cubicBezTo>
                      <a:pt x="67819" y="113004"/>
                      <a:pt x="70412" y="126515"/>
                      <a:pt x="12271" y="154084"/>
                    </a:cubicBezTo>
                    <a:cubicBezTo>
                      <a:pt x="10634" y="154903"/>
                      <a:pt x="8859" y="155039"/>
                      <a:pt x="7358" y="154767"/>
                    </a:cubicBezTo>
                    <a:close/>
                    <a:moveTo>
                      <a:pt x="50213" y="111639"/>
                    </a:moveTo>
                    <a:lnTo>
                      <a:pt x="50213" y="111639"/>
                    </a:lnTo>
                    <a:lnTo>
                      <a:pt x="50213" y="111639"/>
                    </a:ln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2" name="任意多边形: 形状 9821">
                <a:extLst>
                  <a:ext uri="{FF2B5EF4-FFF2-40B4-BE49-F238E27FC236}">
                    <a16:creationId xmlns:a16="http://schemas.microsoft.com/office/drawing/2014/main" id="{C5AF619D-2225-4618-AF8C-378D5913CEEC}"/>
                  </a:ext>
                </a:extLst>
              </p:cNvPr>
              <p:cNvSpPr/>
              <p:nvPr/>
            </p:nvSpPr>
            <p:spPr>
              <a:xfrm>
                <a:off x="9248572" y="1754940"/>
                <a:ext cx="71607" cy="90897"/>
              </a:xfrm>
              <a:custGeom>
                <a:avLst/>
                <a:gdLst>
                  <a:gd name="connsiteX0" fmla="*/ 70833 w 71607"/>
                  <a:gd name="connsiteY0" fmla="*/ 50361 h 90897"/>
                  <a:gd name="connsiteX1" fmla="*/ 40262 w 71607"/>
                  <a:gd name="connsiteY1" fmla="*/ 90759 h 90897"/>
                  <a:gd name="connsiteX2" fmla="*/ 21973 w 71607"/>
                  <a:gd name="connsiteY2" fmla="*/ 43401 h 90897"/>
                  <a:gd name="connsiteX3" fmla="*/ 30162 w 71607"/>
                  <a:gd name="connsiteY3" fmla="*/ 18561 h 90897"/>
                  <a:gd name="connsiteX4" fmla="*/ 0 w 71607"/>
                  <a:gd name="connsiteY4" fmla="*/ 0 h 90897"/>
                  <a:gd name="connsiteX5" fmla="*/ 46813 w 71607"/>
                  <a:gd name="connsiteY5" fmla="*/ 3548 h 90897"/>
                  <a:gd name="connsiteX6" fmla="*/ 52681 w 71607"/>
                  <a:gd name="connsiteY6" fmla="*/ 3139 h 90897"/>
                  <a:gd name="connsiteX7" fmla="*/ 70833 w 71607"/>
                  <a:gd name="connsiteY7" fmla="*/ 50361 h 90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607" h="90897">
                    <a:moveTo>
                      <a:pt x="70833" y="50361"/>
                    </a:moveTo>
                    <a:cubicBezTo>
                      <a:pt x="67421" y="74518"/>
                      <a:pt x="53637" y="92670"/>
                      <a:pt x="40262" y="90759"/>
                    </a:cubicBezTo>
                    <a:cubicBezTo>
                      <a:pt x="26750" y="88849"/>
                      <a:pt x="18561" y="67694"/>
                      <a:pt x="21973" y="43401"/>
                    </a:cubicBezTo>
                    <a:cubicBezTo>
                      <a:pt x="23338" y="33847"/>
                      <a:pt x="26341" y="25385"/>
                      <a:pt x="30162" y="18561"/>
                    </a:cubicBezTo>
                    <a:cubicBezTo>
                      <a:pt x="5869" y="16105"/>
                      <a:pt x="0" y="0"/>
                      <a:pt x="0" y="0"/>
                    </a:cubicBezTo>
                    <a:cubicBezTo>
                      <a:pt x="15286" y="4367"/>
                      <a:pt x="36713" y="4094"/>
                      <a:pt x="46813" y="3548"/>
                    </a:cubicBezTo>
                    <a:cubicBezTo>
                      <a:pt x="50361" y="3275"/>
                      <a:pt x="52681" y="3139"/>
                      <a:pt x="52681" y="3139"/>
                    </a:cubicBezTo>
                    <a:cubicBezTo>
                      <a:pt x="66056" y="5050"/>
                      <a:pt x="74245" y="26204"/>
                      <a:pt x="70833" y="50361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3" name="任意多边形: 形状 9822">
                <a:extLst>
                  <a:ext uri="{FF2B5EF4-FFF2-40B4-BE49-F238E27FC236}">
                    <a16:creationId xmlns:a16="http://schemas.microsoft.com/office/drawing/2014/main" id="{34E031F3-E0F4-4738-A9B1-FB951892331E}"/>
                  </a:ext>
                </a:extLst>
              </p:cNvPr>
              <p:cNvSpPr/>
              <p:nvPr/>
            </p:nvSpPr>
            <p:spPr>
              <a:xfrm>
                <a:off x="9295248" y="1757942"/>
                <a:ext cx="5868" cy="545"/>
              </a:xfrm>
              <a:custGeom>
                <a:avLst/>
                <a:gdLst>
                  <a:gd name="connsiteX0" fmla="*/ 5869 w 5868"/>
                  <a:gd name="connsiteY0" fmla="*/ 136 h 545"/>
                  <a:gd name="connsiteX1" fmla="*/ 0 w 5868"/>
                  <a:gd name="connsiteY1" fmla="*/ 546 h 545"/>
                  <a:gd name="connsiteX2" fmla="*/ 5869 w 5868"/>
                  <a:gd name="connsiteY2" fmla="*/ 136 h 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8" h="545">
                    <a:moveTo>
                      <a:pt x="5869" y="136"/>
                    </a:moveTo>
                    <a:cubicBezTo>
                      <a:pt x="5869" y="136"/>
                      <a:pt x="3685" y="273"/>
                      <a:pt x="0" y="546"/>
                    </a:cubicBezTo>
                    <a:cubicBezTo>
                      <a:pt x="1911" y="0"/>
                      <a:pt x="3958" y="-136"/>
                      <a:pt x="5869" y="136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4" name="任意多边形: 形状 9823">
                <a:extLst>
                  <a:ext uri="{FF2B5EF4-FFF2-40B4-BE49-F238E27FC236}">
                    <a16:creationId xmlns:a16="http://schemas.microsoft.com/office/drawing/2014/main" id="{B64CBB3E-CBD3-42E2-916F-4B542752ABE8}"/>
                  </a:ext>
                </a:extLst>
              </p:cNvPr>
              <p:cNvSpPr/>
              <p:nvPr/>
            </p:nvSpPr>
            <p:spPr>
              <a:xfrm>
                <a:off x="9542605" y="1676245"/>
                <a:ext cx="125015" cy="126092"/>
              </a:xfrm>
              <a:custGeom>
                <a:avLst/>
                <a:gdLst>
                  <a:gd name="connsiteX0" fmla="*/ 114043 w 125015"/>
                  <a:gd name="connsiteY0" fmla="*/ 122505 h 126092"/>
                  <a:gd name="connsiteX1" fmla="*/ 95755 w 125015"/>
                  <a:gd name="connsiteY1" fmla="*/ 93298 h 126092"/>
                  <a:gd name="connsiteX2" fmla="*/ 72553 w 125015"/>
                  <a:gd name="connsiteY2" fmla="*/ 68595 h 126092"/>
                  <a:gd name="connsiteX3" fmla="*/ 45530 w 125015"/>
                  <a:gd name="connsiteY3" fmla="*/ 50307 h 126092"/>
                  <a:gd name="connsiteX4" fmla="*/ 16050 w 125015"/>
                  <a:gd name="connsiteY4" fmla="*/ 39798 h 126092"/>
                  <a:gd name="connsiteX5" fmla="*/ 15095 w 125015"/>
                  <a:gd name="connsiteY5" fmla="*/ 39525 h 126092"/>
                  <a:gd name="connsiteX6" fmla="*/ 628 w 125015"/>
                  <a:gd name="connsiteY6" fmla="*/ 15095 h 126092"/>
                  <a:gd name="connsiteX7" fmla="*/ 25058 w 125015"/>
                  <a:gd name="connsiteY7" fmla="*/ 628 h 126092"/>
                  <a:gd name="connsiteX8" fmla="*/ 28743 w 125015"/>
                  <a:gd name="connsiteY8" fmla="*/ 1993 h 126092"/>
                  <a:gd name="connsiteX9" fmla="*/ 63682 w 125015"/>
                  <a:gd name="connsiteY9" fmla="*/ 23147 h 126092"/>
                  <a:gd name="connsiteX10" fmla="*/ 91387 w 125015"/>
                  <a:gd name="connsiteY10" fmla="*/ 51399 h 126092"/>
                  <a:gd name="connsiteX11" fmla="*/ 111586 w 125015"/>
                  <a:gd name="connsiteY11" fmla="*/ 83881 h 126092"/>
                  <a:gd name="connsiteX12" fmla="*/ 124825 w 125015"/>
                  <a:gd name="connsiteY12" fmla="*/ 119229 h 126092"/>
                  <a:gd name="connsiteX13" fmla="*/ 120867 w 125015"/>
                  <a:gd name="connsiteY13" fmla="*/ 125917 h 126092"/>
                  <a:gd name="connsiteX14" fmla="*/ 114589 w 125015"/>
                  <a:gd name="connsiteY14" fmla="*/ 122914 h 126092"/>
                  <a:gd name="connsiteX15" fmla="*/ 114043 w 125015"/>
                  <a:gd name="connsiteY15" fmla="*/ 122505 h 126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5015" h="126092">
                    <a:moveTo>
                      <a:pt x="114043" y="122505"/>
                    </a:moveTo>
                    <a:cubicBezTo>
                      <a:pt x="109130" y="112405"/>
                      <a:pt x="102715" y="102306"/>
                      <a:pt x="95755" y="93298"/>
                    </a:cubicBezTo>
                    <a:cubicBezTo>
                      <a:pt x="88794" y="84154"/>
                      <a:pt x="80878" y="75829"/>
                      <a:pt x="72553" y="68595"/>
                    </a:cubicBezTo>
                    <a:cubicBezTo>
                      <a:pt x="64228" y="61225"/>
                      <a:pt x="55084" y="55084"/>
                      <a:pt x="45530" y="50307"/>
                    </a:cubicBezTo>
                    <a:cubicBezTo>
                      <a:pt x="36113" y="45121"/>
                      <a:pt x="26013" y="42254"/>
                      <a:pt x="16050" y="39798"/>
                    </a:cubicBezTo>
                    <a:lnTo>
                      <a:pt x="15095" y="39525"/>
                    </a:lnTo>
                    <a:cubicBezTo>
                      <a:pt x="4313" y="36795"/>
                      <a:pt x="-2102" y="25877"/>
                      <a:pt x="628" y="15095"/>
                    </a:cubicBezTo>
                    <a:cubicBezTo>
                      <a:pt x="3358" y="4313"/>
                      <a:pt x="14276" y="-2102"/>
                      <a:pt x="25058" y="628"/>
                    </a:cubicBezTo>
                    <a:cubicBezTo>
                      <a:pt x="26286" y="901"/>
                      <a:pt x="27515" y="1447"/>
                      <a:pt x="28743" y="1993"/>
                    </a:cubicBezTo>
                    <a:cubicBezTo>
                      <a:pt x="41299" y="7861"/>
                      <a:pt x="53309" y="14412"/>
                      <a:pt x="63682" y="23147"/>
                    </a:cubicBezTo>
                    <a:cubicBezTo>
                      <a:pt x="74191" y="31473"/>
                      <a:pt x="83472" y="41026"/>
                      <a:pt x="91387" y="51399"/>
                    </a:cubicBezTo>
                    <a:cubicBezTo>
                      <a:pt x="99303" y="61635"/>
                      <a:pt x="105991" y="72553"/>
                      <a:pt x="111586" y="83881"/>
                    </a:cubicBezTo>
                    <a:cubicBezTo>
                      <a:pt x="117046" y="95345"/>
                      <a:pt x="121549" y="106810"/>
                      <a:pt x="124825" y="119229"/>
                    </a:cubicBezTo>
                    <a:cubicBezTo>
                      <a:pt x="125644" y="122232"/>
                      <a:pt x="123733" y="125234"/>
                      <a:pt x="120867" y="125917"/>
                    </a:cubicBezTo>
                    <a:cubicBezTo>
                      <a:pt x="118274" y="126599"/>
                      <a:pt x="115681" y="125234"/>
                      <a:pt x="114589" y="122914"/>
                    </a:cubicBezTo>
                    <a:lnTo>
                      <a:pt x="114043" y="122505"/>
                    </a:ln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5" name="任意多边形: 形状 9824">
                <a:extLst>
                  <a:ext uri="{FF2B5EF4-FFF2-40B4-BE49-F238E27FC236}">
                    <a16:creationId xmlns:a16="http://schemas.microsoft.com/office/drawing/2014/main" id="{D349FA89-78C9-4FFC-A993-3288E5397CC6}"/>
                  </a:ext>
                </a:extLst>
              </p:cNvPr>
              <p:cNvSpPr/>
              <p:nvPr/>
            </p:nvSpPr>
            <p:spPr>
              <a:xfrm>
                <a:off x="9195225" y="1642578"/>
                <a:ext cx="171987" cy="91771"/>
              </a:xfrm>
              <a:custGeom>
                <a:avLst/>
                <a:gdLst>
                  <a:gd name="connsiteX0" fmla="*/ 1075 w 171987"/>
                  <a:gd name="connsiteY0" fmla="*/ 82883 h 91771"/>
                  <a:gd name="connsiteX1" fmla="*/ 29873 w 171987"/>
                  <a:gd name="connsiteY1" fmla="*/ 51219 h 91771"/>
                  <a:gd name="connsiteX2" fmla="*/ 64812 w 171987"/>
                  <a:gd name="connsiteY2" fmla="*/ 25561 h 91771"/>
                  <a:gd name="connsiteX3" fmla="*/ 105483 w 171987"/>
                  <a:gd name="connsiteY3" fmla="*/ 7546 h 91771"/>
                  <a:gd name="connsiteX4" fmla="*/ 150658 w 171987"/>
                  <a:gd name="connsiteY4" fmla="*/ 39 h 91771"/>
                  <a:gd name="connsiteX5" fmla="*/ 171949 w 171987"/>
                  <a:gd name="connsiteY5" fmla="*/ 18737 h 91771"/>
                  <a:gd name="connsiteX6" fmla="*/ 153251 w 171987"/>
                  <a:gd name="connsiteY6" fmla="*/ 40028 h 91771"/>
                  <a:gd name="connsiteX7" fmla="*/ 149975 w 171987"/>
                  <a:gd name="connsiteY7" fmla="*/ 40028 h 91771"/>
                  <a:gd name="connsiteX8" fmla="*/ 148747 w 171987"/>
                  <a:gd name="connsiteY8" fmla="*/ 39891 h 91771"/>
                  <a:gd name="connsiteX9" fmla="*/ 112443 w 171987"/>
                  <a:gd name="connsiteY9" fmla="*/ 39482 h 91771"/>
                  <a:gd name="connsiteX10" fmla="*/ 75867 w 171987"/>
                  <a:gd name="connsiteY10" fmla="*/ 48490 h 91771"/>
                  <a:gd name="connsiteX11" fmla="*/ 40928 w 171987"/>
                  <a:gd name="connsiteY11" fmla="*/ 65823 h 91771"/>
                  <a:gd name="connsiteX12" fmla="*/ 9674 w 171987"/>
                  <a:gd name="connsiteY12" fmla="*/ 89980 h 91771"/>
                  <a:gd name="connsiteX13" fmla="*/ 9401 w 171987"/>
                  <a:gd name="connsiteY13" fmla="*/ 90253 h 91771"/>
                  <a:gd name="connsiteX14" fmla="*/ 1621 w 171987"/>
                  <a:gd name="connsiteY14" fmla="*/ 90116 h 91771"/>
                  <a:gd name="connsiteX15" fmla="*/ 1075 w 171987"/>
                  <a:gd name="connsiteY15" fmla="*/ 82883 h 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987" h="91771">
                    <a:moveTo>
                      <a:pt x="1075" y="82883"/>
                    </a:moveTo>
                    <a:cubicBezTo>
                      <a:pt x="9674" y="71145"/>
                      <a:pt x="19227" y="60909"/>
                      <a:pt x="29873" y="51219"/>
                    </a:cubicBezTo>
                    <a:cubicBezTo>
                      <a:pt x="40518" y="41666"/>
                      <a:pt x="52119" y="33067"/>
                      <a:pt x="64812" y="25561"/>
                    </a:cubicBezTo>
                    <a:cubicBezTo>
                      <a:pt x="77368" y="17918"/>
                      <a:pt x="91152" y="11913"/>
                      <a:pt x="105483" y="7546"/>
                    </a:cubicBezTo>
                    <a:cubicBezTo>
                      <a:pt x="119950" y="2769"/>
                      <a:pt x="135235" y="995"/>
                      <a:pt x="150658" y="39"/>
                    </a:cubicBezTo>
                    <a:cubicBezTo>
                      <a:pt x="161713" y="-643"/>
                      <a:pt x="171266" y="7682"/>
                      <a:pt x="171949" y="18737"/>
                    </a:cubicBezTo>
                    <a:cubicBezTo>
                      <a:pt x="172631" y="29792"/>
                      <a:pt x="164306" y="39345"/>
                      <a:pt x="153251" y="40028"/>
                    </a:cubicBezTo>
                    <a:cubicBezTo>
                      <a:pt x="152159" y="40164"/>
                      <a:pt x="151067" y="40028"/>
                      <a:pt x="149975" y="40028"/>
                    </a:cubicBezTo>
                    <a:lnTo>
                      <a:pt x="148747" y="39891"/>
                    </a:lnTo>
                    <a:cubicBezTo>
                      <a:pt x="136873" y="38663"/>
                      <a:pt x="124590" y="37708"/>
                      <a:pt x="112443" y="39482"/>
                    </a:cubicBezTo>
                    <a:cubicBezTo>
                      <a:pt x="100160" y="40983"/>
                      <a:pt x="87877" y="43849"/>
                      <a:pt x="75867" y="48490"/>
                    </a:cubicBezTo>
                    <a:cubicBezTo>
                      <a:pt x="63856" y="52993"/>
                      <a:pt x="52119" y="58726"/>
                      <a:pt x="40928" y="65823"/>
                    </a:cubicBezTo>
                    <a:cubicBezTo>
                      <a:pt x="29873" y="72783"/>
                      <a:pt x="18954" y="80972"/>
                      <a:pt x="9674" y="89980"/>
                    </a:cubicBezTo>
                    <a:lnTo>
                      <a:pt x="9401" y="90253"/>
                    </a:lnTo>
                    <a:cubicBezTo>
                      <a:pt x="7217" y="92300"/>
                      <a:pt x="3668" y="92300"/>
                      <a:pt x="1621" y="90116"/>
                    </a:cubicBezTo>
                    <a:cubicBezTo>
                      <a:pt x="-289" y="87932"/>
                      <a:pt x="-562" y="84930"/>
                      <a:pt x="1075" y="82883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6" name="任意多边形: 形状 9825">
                <a:extLst>
                  <a:ext uri="{FF2B5EF4-FFF2-40B4-BE49-F238E27FC236}">
                    <a16:creationId xmlns:a16="http://schemas.microsoft.com/office/drawing/2014/main" id="{B427051F-D93D-4CDF-BA14-F8D7770309B5}"/>
                  </a:ext>
                </a:extLst>
              </p:cNvPr>
              <p:cNvSpPr/>
              <p:nvPr/>
            </p:nvSpPr>
            <p:spPr>
              <a:xfrm>
                <a:off x="9184933" y="1374210"/>
                <a:ext cx="615925" cy="336071"/>
              </a:xfrm>
              <a:custGeom>
                <a:avLst/>
                <a:gdLst>
                  <a:gd name="connsiteX0" fmla="*/ 1677 w 615925"/>
                  <a:gd name="connsiteY0" fmla="*/ 130015 h 336071"/>
                  <a:gd name="connsiteX1" fmla="*/ 530401 w 615925"/>
                  <a:gd name="connsiteY1" fmla="*/ 335691 h 336071"/>
                  <a:gd name="connsiteX2" fmla="*/ 259625 w 615925"/>
                  <a:gd name="connsiteY2" fmla="*/ 1451 h 336071"/>
                  <a:gd name="connsiteX3" fmla="*/ 1677 w 615925"/>
                  <a:gd name="connsiteY3" fmla="*/ 130015 h 33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5925" h="336071">
                    <a:moveTo>
                      <a:pt x="1677" y="130015"/>
                    </a:moveTo>
                    <a:cubicBezTo>
                      <a:pt x="1677" y="130015"/>
                      <a:pt x="160131" y="346337"/>
                      <a:pt x="530401" y="335691"/>
                    </a:cubicBezTo>
                    <a:cubicBezTo>
                      <a:pt x="729663" y="329959"/>
                      <a:pt x="556606" y="18921"/>
                      <a:pt x="259625" y="1451"/>
                    </a:cubicBezTo>
                    <a:cubicBezTo>
                      <a:pt x="-37220" y="-16018"/>
                      <a:pt x="1677" y="130015"/>
                      <a:pt x="1677" y="130015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9827" name="任意多边形: 形状 9826">
                <a:extLst>
                  <a:ext uri="{FF2B5EF4-FFF2-40B4-BE49-F238E27FC236}">
                    <a16:creationId xmlns:a16="http://schemas.microsoft.com/office/drawing/2014/main" id="{CDEA4B23-FDAD-475A-B597-125C520EB019}"/>
                  </a:ext>
                </a:extLst>
              </p:cNvPr>
              <p:cNvSpPr/>
              <p:nvPr/>
            </p:nvSpPr>
            <p:spPr>
              <a:xfrm>
                <a:off x="9700321" y="1643370"/>
                <a:ext cx="53600" cy="285855"/>
              </a:xfrm>
              <a:custGeom>
                <a:avLst/>
                <a:gdLst>
                  <a:gd name="connsiteX0" fmla="*/ 15968 w 53600"/>
                  <a:gd name="connsiteY0" fmla="*/ 32684 h 285855"/>
                  <a:gd name="connsiteX1" fmla="*/ 0 w 53600"/>
                  <a:gd name="connsiteY1" fmla="*/ 285855 h 285855"/>
                  <a:gd name="connsiteX2" fmla="*/ 49269 w 53600"/>
                  <a:gd name="connsiteY2" fmla="*/ 44831 h 285855"/>
                  <a:gd name="connsiteX3" fmla="*/ 15968 w 53600"/>
                  <a:gd name="connsiteY3" fmla="*/ 32684 h 28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00" h="285855">
                    <a:moveTo>
                      <a:pt x="15968" y="32684"/>
                    </a:moveTo>
                    <a:cubicBezTo>
                      <a:pt x="15968" y="32684"/>
                      <a:pt x="38215" y="197689"/>
                      <a:pt x="0" y="285855"/>
                    </a:cubicBezTo>
                    <a:cubicBezTo>
                      <a:pt x="0" y="285855"/>
                      <a:pt x="71652" y="138184"/>
                      <a:pt x="49269" y="44831"/>
                    </a:cubicBezTo>
                    <a:cubicBezTo>
                      <a:pt x="27023" y="-48385"/>
                      <a:pt x="15968" y="32684"/>
                      <a:pt x="15968" y="32684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28" name="任意多边形: 形状 9827">
                <a:extLst>
                  <a:ext uri="{FF2B5EF4-FFF2-40B4-BE49-F238E27FC236}">
                    <a16:creationId xmlns:a16="http://schemas.microsoft.com/office/drawing/2014/main" id="{DB3CD299-4E84-4111-A01A-AEE02C2CF8DB}"/>
                  </a:ext>
                </a:extLst>
              </p:cNvPr>
              <p:cNvSpPr/>
              <p:nvPr/>
            </p:nvSpPr>
            <p:spPr>
              <a:xfrm>
                <a:off x="8601558" y="1244747"/>
                <a:ext cx="925024" cy="1274848"/>
              </a:xfrm>
              <a:custGeom>
                <a:avLst/>
                <a:gdLst>
                  <a:gd name="connsiteX0" fmla="*/ 684273 w 925024"/>
                  <a:gd name="connsiteY0" fmla="*/ 260161 h 1274848"/>
                  <a:gd name="connsiteX1" fmla="*/ 550932 w 925024"/>
                  <a:gd name="connsiteY1" fmla="*/ 803898 h 1274848"/>
                  <a:gd name="connsiteX2" fmla="*/ 483101 w 925024"/>
                  <a:gd name="connsiteY2" fmla="*/ 1258241 h 1274848"/>
                  <a:gd name="connsiteX3" fmla="*/ 42407 w 925024"/>
                  <a:gd name="connsiteY3" fmla="*/ 1269569 h 1274848"/>
                  <a:gd name="connsiteX4" fmla="*/ 42407 w 925024"/>
                  <a:gd name="connsiteY4" fmla="*/ 1269569 h 1274848"/>
                  <a:gd name="connsiteX5" fmla="*/ 37630 w 925024"/>
                  <a:gd name="connsiteY5" fmla="*/ 1271479 h 1274848"/>
                  <a:gd name="connsiteX6" fmla="*/ 26575 w 925024"/>
                  <a:gd name="connsiteY6" fmla="*/ 1274618 h 1274848"/>
                  <a:gd name="connsiteX7" fmla="*/ 4738 w 925024"/>
                  <a:gd name="connsiteY7" fmla="*/ 1183723 h 1274848"/>
                  <a:gd name="connsiteX8" fmla="*/ 20706 w 925024"/>
                  <a:gd name="connsiteY8" fmla="*/ 1112071 h 1274848"/>
                  <a:gd name="connsiteX9" fmla="*/ 192672 w 925024"/>
                  <a:gd name="connsiteY9" fmla="*/ 643807 h 1274848"/>
                  <a:gd name="connsiteX10" fmla="*/ 360679 w 925024"/>
                  <a:gd name="connsiteY10" fmla="*/ 286911 h 1274848"/>
                  <a:gd name="connsiteX11" fmla="*/ 410903 w 925024"/>
                  <a:gd name="connsiteY11" fmla="*/ 197244 h 1274848"/>
                  <a:gd name="connsiteX12" fmla="*/ 925024 w 925024"/>
                  <a:gd name="connsiteY12" fmla="*/ 9583 h 1274848"/>
                  <a:gd name="connsiteX13" fmla="*/ 684273 w 925024"/>
                  <a:gd name="connsiteY13" fmla="*/ 260161 h 1274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25024" h="1274848">
                    <a:moveTo>
                      <a:pt x="684273" y="260161"/>
                    </a:moveTo>
                    <a:cubicBezTo>
                      <a:pt x="684273" y="260161"/>
                      <a:pt x="507804" y="560963"/>
                      <a:pt x="550932" y="803898"/>
                    </a:cubicBezTo>
                    <a:cubicBezTo>
                      <a:pt x="594060" y="1046696"/>
                      <a:pt x="657114" y="1240089"/>
                      <a:pt x="483101" y="1258241"/>
                    </a:cubicBezTo>
                    <a:cubicBezTo>
                      <a:pt x="310863" y="1276256"/>
                      <a:pt x="196629" y="1208562"/>
                      <a:pt x="42407" y="1269569"/>
                    </a:cubicBezTo>
                    <a:lnTo>
                      <a:pt x="42407" y="1269569"/>
                    </a:lnTo>
                    <a:cubicBezTo>
                      <a:pt x="40769" y="1270251"/>
                      <a:pt x="39268" y="1270933"/>
                      <a:pt x="37630" y="1271479"/>
                    </a:cubicBezTo>
                    <a:cubicBezTo>
                      <a:pt x="33536" y="1273117"/>
                      <a:pt x="29987" y="1274209"/>
                      <a:pt x="26575" y="1274618"/>
                    </a:cubicBezTo>
                    <a:cubicBezTo>
                      <a:pt x="-175" y="1278030"/>
                      <a:pt x="-5225" y="1243228"/>
                      <a:pt x="4738" y="1183723"/>
                    </a:cubicBezTo>
                    <a:cubicBezTo>
                      <a:pt x="8287" y="1162705"/>
                      <a:pt x="13746" y="1138548"/>
                      <a:pt x="20706" y="1112071"/>
                    </a:cubicBezTo>
                    <a:cubicBezTo>
                      <a:pt x="53189" y="988965"/>
                      <a:pt x="120064" y="812906"/>
                      <a:pt x="192672" y="643807"/>
                    </a:cubicBezTo>
                    <a:cubicBezTo>
                      <a:pt x="249720" y="510875"/>
                      <a:pt x="310317" y="382311"/>
                      <a:pt x="360679" y="286911"/>
                    </a:cubicBezTo>
                    <a:cubicBezTo>
                      <a:pt x="378967" y="252109"/>
                      <a:pt x="396027" y="221810"/>
                      <a:pt x="410903" y="197244"/>
                    </a:cubicBezTo>
                    <a:cubicBezTo>
                      <a:pt x="570176" y="-64116"/>
                      <a:pt x="925024" y="9583"/>
                      <a:pt x="925024" y="9583"/>
                    </a:cubicBezTo>
                    <a:lnTo>
                      <a:pt x="684273" y="260161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9829" name="任意多边形: 形状 9828">
                <a:extLst>
                  <a:ext uri="{FF2B5EF4-FFF2-40B4-BE49-F238E27FC236}">
                    <a16:creationId xmlns:a16="http://schemas.microsoft.com/office/drawing/2014/main" id="{80164CED-E264-4B33-8741-C688EE8033BF}"/>
                  </a:ext>
                </a:extLst>
              </p:cNvPr>
              <p:cNvSpPr/>
              <p:nvPr/>
            </p:nvSpPr>
            <p:spPr>
              <a:xfrm>
                <a:off x="8604588" y="1530461"/>
                <a:ext cx="369058" cy="988631"/>
              </a:xfrm>
              <a:custGeom>
                <a:avLst/>
                <a:gdLst>
                  <a:gd name="connsiteX0" fmla="*/ 368021 w 369058"/>
                  <a:gd name="connsiteY0" fmla="*/ 12252 h 988631"/>
                  <a:gd name="connsiteX1" fmla="*/ 189505 w 369058"/>
                  <a:gd name="connsiteY1" fmla="*/ 357820 h 988631"/>
                  <a:gd name="connsiteX2" fmla="*/ 31461 w 369058"/>
                  <a:gd name="connsiteY2" fmla="*/ 734232 h 988631"/>
                  <a:gd name="connsiteX3" fmla="*/ 17676 w 369058"/>
                  <a:gd name="connsiteY3" fmla="*/ 826083 h 988631"/>
                  <a:gd name="connsiteX4" fmla="*/ 39377 w 369058"/>
                  <a:gd name="connsiteY4" fmla="*/ 983582 h 988631"/>
                  <a:gd name="connsiteX5" fmla="*/ 34600 w 369058"/>
                  <a:gd name="connsiteY5" fmla="*/ 985492 h 988631"/>
                  <a:gd name="connsiteX6" fmla="*/ 23545 w 369058"/>
                  <a:gd name="connsiteY6" fmla="*/ 988631 h 988631"/>
                  <a:gd name="connsiteX7" fmla="*/ 1708 w 369058"/>
                  <a:gd name="connsiteY7" fmla="*/ 897736 h 988631"/>
                  <a:gd name="connsiteX8" fmla="*/ 15493 w 369058"/>
                  <a:gd name="connsiteY8" fmla="*/ 730547 h 988631"/>
                  <a:gd name="connsiteX9" fmla="*/ 353691 w 369058"/>
                  <a:gd name="connsiteY9" fmla="*/ 4336 h 988631"/>
                  <a:gd name="connsiteX10" fmla="*/ 357512 w 369058"/>
                  <a:gd name="connsiteY10" fmla="*/ 788 h 988631"/>
                  <a:gd name="connsiteX11" fmla="*/ 364882 w 369058"/>
                  <a:gd name="connsiteY11" fmla="*/ 1061 h 988631"/>
                  <a:gd name="connsiteX12" fmla="*/ 368021 w 369058"/>
                  <a:gd name="connsiteY12" fmla="*/ 12252 h 988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9058" h="988631">
                    <a:moveTo>
                      <a:pt x="368021" y="12252"/>
                    </a:moveTo>
                    <a:cubicBezTo>
                      <a:pt x="366383" y="15255"/>
                      <a:pt x="276579" y="180532"/>
                      <a:pt x="189505" y="357820"/>
                    </a:cubicBezTo>
                    <a:cubicBezTo>
                      <a:pt x="118399" y="502489"/>
                      <a:pt x="49340" y="655210"/>
                      <a:pt x="31461" y="734232"/>
                    </a:cubicBezTo>
                    <a:cubicBezTo>
                      <a:pt x="23682" y="768352"/>
                      <a:pt x="19451" y="798924"/>
                      <a:pt x="17676" y="826083"/>
                    </a:cubicBezTo>
                    <a:cubicBezTo>
                      <a:pt x="11808" y="912885"/>
                      <a:pt x="30642" y="964747"/>
                      <a:pt x="39377" y="983582"/>
                    </a:cubicBezTo>
                    <a:cubicBezTo>
                      <a:pt x="37739" y="984264"/>
                      <a:pt x="36238" y="984946"/>
                      <a:pt x="34600" y="985492"/>
                    </a:cubicBezTo>
                    <a:cubicBezTo>
                      <a:pt x="30506" y="987130"/>
                      <a:pt x="26957" y="988222"/>
                      <a:pt x="23545" y="988631"/>
                    </a:cubicBezTo>
                    <a:cubicBezTo>
                      <a:pt x="16585" y="973346"/>
                      <a:pt x="5803" y="943320"/>
                      <a:pt x="1708" y="897736"/>
                    </a:cubicBezTo>
                    <a:cubicBezTo>
                      <a:pt x="-2113" y="855563"/>
                      <a:pt x="-339" y="800152"/>
                      <a:pt x="15493" y="730547"/>
                    </a:cubicBezTo>
                    <a:cubicBezTo>
                      <a:pt x="55891" y="552168"/>
                      <a:pt x="341680" y="26582"/>
                      <a:pt x="353691" y="4336"/>
                    </a:cubicBezTo>
                    <a:cubicBezTo>
                      <a:pt x="354646" y="2698"/>
                      <a:pt x="356011" y="1470"/>
                      <a:pt x="357512" y="788"/>
                    </a:cubicBezTo>
                    <a:cubicBezTo>
                      <a:pt x="359832" y="-304"/>
                      <a:pt x="362425" y="-304"/>
                      <a:pt x="364882" y="1061"/>
                    </a:cubicBezTo>
                    <a:cubicBezTo>
                      <a:pt x="368840" y="3244"/>
                      <a:pt x="370205" y="8294"/>
                      <a:pt x="368021" y="12252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31" name="任意多边形: 形状 9830">
                <a:extLst>
                  <a:ext uri="{FF2B5EF4-FFF2-40B4-BE49-F238E27FC236}">
                    <a16:creationId xmlns:a16="http://schemas.microsoft.com/office/drawing/2014/main" id="{4D265A7D-FF0C-4D94-89F2-7EA5AB7C7CB6}"/>
                  </a:ext>
                </a:extLst>
              </p:cNvPr>
              <p:cNvSpPr/>
              <p:nvPr/>
            </p:nvSpPr>
            <p:spPr>
              <a:xfrm>
                <a:off x="9155219" y="1669913"/>
                <a:ext cx="296708" cy="296708"/>
              </a:xfrm>
              <a:custGeom>
                <a:avLst/>
                <a:gdLst>
                  <a:gd name="connsiteX0" fmla="*/ 148354 w 296708"/>
                  <a:gd name="connsiteY0" fmla="*/ 296708 h 296708"/>
                  <a:gd name="connsiteX1" fmla="*/ 0 w 296708"/>
                  <a:gd name="connsiteY1" fmla="*/ 148354 h 296708"/>
                  <a:gd name="connsiteX2" fmla="*/ 148354 w 296708"/>
                  <a:gd name="connsiteY2" fmla="*/ 0 h 296708"/>
                  <a:gd name="connsiteX3" fmla="*/ 296708 w 296708"/>
                  <a:gd name="connsiteY3" fmla="*/ 148354 h 296708"/>
                  <a:gd name="connsiteX4" fmla="*/ 148354 w 296708"/>
                  <a:gd name="connsiteY4" fmla="*/ 296708 h 296708"/>
                  <a:gd name="connsiteX5" fmla="*/ 148354 w 296708"/>
                  <a:gd name="connsiteY5" fmla="*/ 18015 h 296708"/>
                  <a:gd name="connsiteX6" fmla="*/ 18015 w 296708"/>
                  <a:gd name="connsiteY6" fmla="*/ 148354 h 296708"/>
                  <a:gd name="connsiteX7" fmla="*/ 148354 w 296708"/>
                  <a:gd name="connsiteY7" fmla="*/ 278693 h 296708"/>
                  <a:gd name="connsiteX8" fmla="*/ 278693 w 296708"/>
                  <a:gd name="connsiteY8" fmla="*/ 148354 h 296708"/>
                  <a:gd name="connsiteX9" fmla="*/ 148354 w 296708"/>
                  <a:gd name="connsiteY9" fmla="*/ 18015 h 29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8" h="296708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242"/>
                      <a:pt x="230106" y="296708"/>
                      <a:pt x="148354" y="296708"/>
                    </a:cubicBezTo>
                    <a:close/>
                    <a:moveTo>
                      <a:pt x="148354" y="18015"/>
                    </a:moveTo>
                    <a:cubicBezTo>
                      <a:pt x="76429" y="18015"/>
                      <a:pt x="18015" y="76565"/>
                      <a:pt x="18015" y="148354"/>
                    </a:cubicBezTo>
                    <a:cubicBezTo>
                      <a:pt x="18015" y="220279"/>
                      <a:pt x="76565" y="278693"/>
                      <a:pt x="148354" y="278693"/>
                    </a:cubicBezTo>
                    <a:cubicBezTo>
                      <a:pt x="220279" y="278693"/>
                      <a:pt x="278693" y="220143"/>
                      <a:pt x="278693" y="148354"/>
                    </a:cubicBezTo>
                    <a:cubicBezTo>
                      <a:pt x="278829" y="76565"/>
                      <a:pt x="220279" y="18015"/>
                      <a:pt x="148354" y="180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32" name="任意多边形: 形状 9831">
                <a:extLst>
                  <a:ext uri="{FF2B5EF4-FFF2-40B4-BE49-F238E27FC236}">
                    <a16:creationId xmlns:a16="http://schemas.microsoft.com/office/drawing/2014/main" id="{053AE3B9-DBEC-4AF7-8FE6-9759A204C95E}"/>
                  </a:ext>
                </a:extLst>
              </p:cNvPr>
              <p:cNvSpPr/>
              <p:nvPr/>
            </p:nvSpPr>
            <p:spPr>
              <a:xfrm>
                <a:off x="9483864" y="1736652"/>
                <a:ext cx="296707" cy="296707"/>
              </a:xfrm>
              <a:custGeom>
                <a:avLst/>
                <a:gdLst>
                  <a:gd name="connsiteX0" fmla="*/ 148354 w 296707"/>
                  <a:gd name="connsiteY0" fmla="*/ 296708 h 296707"/>
                  <a:gd name="connsiteX1" fmla="*/ 0 w 296707"/>
                  <a:gd name="connsiteY1" fmla="*/ 148354 h 296707"/>
                  <a:gd name="connsiteX2" fmla="*/ 148354 w 296707"/>
                  <a:gd name="connsiteY2" fmla="*/ 0 h 296707"/>
                  <a:gd name="connsiteX3" fmla="*/ 296708 w 296707"/>
                  <a:gd name="connsiteY3" fmla="*/ 148354 h 296707"/>
                  <a:gd name="connsiteX4" fmla="*/ 148354 w 296707"/>
                  <a:gd name="connsiteY4" fmla="*/ 296708 h 296707"/>
                  <a:gd name="connsiteX5" fmla="*/ 148354 w 296707"/>
                  <a:gd name="connsiteY5" fmla="*/ 17879 h 296707"/>
                  <a:gd name="connsiteX6" fmla="*/ 18015 w 296707"/>
                  <a:gd name="connsiteY6" fmla="*/ 148217 h 296707"/>
                  <a:gd name="connsiteX7" fmla="*/ 148354 w 296707"/>
                  <a:gd name="connsiteY7" fmla="*/ 278556 h 296707"/>
                  <a:gd name="connsiteX8" fmla="*/ 278693 w 296707"/>
                  <a:gd name="connsiteY8" fmla="*/ 148217 h 296707"/>
                  <a:gd name="connsiteX9" fmla="*/ 148354 w 296707"/>
                  <a:gd name="connsiteY9" fmla="*/ 17879 h 296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7" h="296707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106"/>
                      <a:pt x="230242" y="296708"/>
                      <a:pt x="148354" y="296708"/>
                    </a:cubicBezTo>
                    <a:close/>
                    <a:moveTo>
                      <a:pt x="148354" y="17879"/>
                    </a:moveTo>
                    <a:cubicBezTo>
                      <a:pt x="76429" y="17879"/>
                      <a:pt x="18015" y="76429"/>
                      <a:pt x="18015" y="148217"/>
                    </a:cubicBezTo>
                    <a:cubicBezTo>
                      <a:pt x="18015" y="220006"/>
                      <a:pt x="76565" y="278556"/>
                      <a:pt x="148354" y="278556"/>
                    </a:cubicBezTo>
                    <a:cubicBezTo>
                      <a:pt x="220279" y="278556"/>
                      <a:pt x="278693" y="220006"/>
                      <a:pt x="278693" y="148217"/>
                    </a:cubicBezTo>
                    <a:cubicBezTo>
                      <a:pt x="278693" y="76429"/>
                      <a:pt x="220279" y="17879"/>
                      <a:pt x="148354" y="1787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33" name="任意多边形: 形状 9832">
                <a:extLst>
                  <a:ext uri="{FF2B5EF4-FFF2-40B4-BE49-F238E27FC236}">
                    <a16:creationId xmlns:a16="http://schemas.microsoft.com/office/drawing/2014/main" id="{D857F9C3-6A4A-411A-A680-9AE8E75167B4}"/>
                  </a:ext>
                </a:extLst>
              </p:cNvPr>
              <p:cNvSpPr/>
              <p:nvPr/>
            </p:nvSpPr>
            <p:spPr>
              <a:xfrm>
                <a:off x="9440054" y="1812562"/>
                <a:ext cx="67421" cy="33956"/>
              </a:xfrm>
              <a:custGeom>
                <a:avLst/>
                <a:gdLst>
                  <a:gd name="connsiteX0" fmla="*/ 52272 w 67421"/>
                  <a:gd name="connsiteY0" fmla="*/ 33956 h 33956"/>
                  <a:gd name="connsiteX1" fmla="*/ 6142 w 67421"/>
                  <a:gd name="connsiteY1" fmla="*/ 20308 h 33956"/>
                  <a:gd name="connsiteX2" fmla="*/ 0 w 67421"/>
                  <a:gd name="connsiteY2" fmla="*/ 3521 h 33956"/>
                  <a:gd name="connsiteX3" fmla="*/ 67421 w 67421"/>
                  <a:gd name="connsiteY3" fmla="*/ 24266 h 33956"/>
                  <a:gd name="connsiteX4" fmla="*/ 52272 w 67421"/>
                  <a:gd name="connsiteY4" fmla="*/ 33956 h 3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21" h="33956">
                    <a:moveTo>
                      <a:pt x="52272" y="33956"/>
                    </a:moveTo>
                    <a:cubicBezTo>
                      <a:pt x="36440" y="9663"/>
                      <a:pt x="7370" y="19899"/>
                      <a:pt x="6142" y="20308"/>
                    </a:cubicBezTo>
                    <a:lnTo>
                      <a:pt x="0" y="3521"/>
                    </a:lnTo>
                    <a:cubicBezTo>
                      <a:pt x="15149" y="-1938"/>
                      <a:pt x="48587" y="-4804"/>
                      <a:pt x="67421" y="24266"/>
                    </a:cubicBezTo>
                    <a:lnTo>
                      <a:pt x="52272" y="33956"/>
                    </a:ln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9834" name="任意多边形: 形状 9833">
              <a:extLst>
                <a:ext uri="{FF2B5EF4-FFF2-40B4-BE49-F238E27FC236}">
                  <a16:creationId xmlns:a16="http://schemas.microsoft.com/office/drawing/2014/main" id="{D3B758A0-5A7C-4BA0-93F9-318F3C83D4C0}"/>
                </a:ext>
              </a:extLst>
            </p:cNvPr>
            <p:cNvSpPr/>
            <p:nvPr/>
          </p:nvSpPr>
          <p:spPr>
            <a:xfrm flipH="1">
              <a:off x="8031150" y="4341786"/>
              <a:ext cx="2161047" cy="1112786"/>
            </a:xfrm>
            <a:custGeom>
              <a:avLst/>
              <a:gdLst>
                <a:gd name="connsiteX0" fmla="*/ 1486269 w 2161047"/>
                <a:gd name="connsiteY0" fmla="*/ 911961 h 1112786"/>
                <a:gd name="connsiteX1" fmla="*/ 1290011 w 2161047"/>
                <a:gd name="connsiteY1" fmla="*/ 1061953 h 1112786"/>
                <a:gd name="connsiteX2" fmla="*/ 211408 w 2161047"/>
                <a:gd name="connsiteY2" fmla="*/ 894901 h 1112786"/>
                <a:gd name="connsiteX3" fmla="*/ 251124 w 2161047"/>
                <a:gd name="connsiteY3" fmla="*/ 504977 h 1112786"/>
                <a:gd name="connsiteX4" fmla="*/ 245664 w 2161047"/>
                <a:gd name="connsiteY4" fmla="*/ 455434 h 1112786"/>
                <a:gd name="connsiteX5" fmla="*/ 0 w 2161047"/>
                <a:gd name="connsiteY5" fmla="*/ 0 h 1112786"/>
                <a:gd name="connsiteX6" fmla="*/ 666569 w 2161047"/>
                <a:gd name="connsiteY6" fmla="*/ 413535 h 1112786"/>
                <a:gd name="connsiteX7" fmla="*/ 666706 w 2161047"/>
                <a:gd name="connsiteY7" fmla="*/ 413535 h 1112786"/>
                <a:gd name="connsiteX8" fmla="*/ 874019 w 2161047"/>
                <a:gd name="connsiteY8" fmla="*/ 535548 h 1112786"/>
                <a:gd name="connsiteX9" fmla="*/ 1161310 w 2161047"/>
                <a:gd name="connsiteY9" fmla="*/ 571715 h 1112786"/>
                <a:gd name="connsiteX10" fmla="*/ 1550415 w 2161047"/>
                <a:gd name="connsiteY10" fmla="*/ 446427 h 1112786"/>
                <a:gd name="connsiteX11" fmla="*/ 2145469 w 2161047"/>
                <a:gd name="connsiteY11" fmla="*/ 175923 h 1112786"/>
                <a:gd name="connsiteX12" fmla="*/ 1486269 w 2161047"/>
                <a:gd name="connsiteY12" fmla="*/ 911961 h 1112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1047" h="1112786">
                  <a:moveTo>
                    <a:pt x="1486269" y="911961"/>
                  </a:moveTo>
                  <a:cubicBezTo>
                    <a:pt x="1444780" y="941713"/>
                    <a:pt x="1388277" y="1030698"/>
                    <a:pt x="1290011" y="1061953"/>
                  </a:cubicBezTo>
                  <a:cubicBezTo>
                    <a:pt x="732080" y="1239513"/>
                    <a:pt x="211408" y="894901"/>
                    <a:pt x="211408" y="894901"/>
                  </a:cubicBezTo>
                  <a:cubicBezTo>
                    <a:pt x="180427" y="742043"/>
                    <a:pt x="199671" y="568440"/>
                    <a:pt x="251124" y="504977"/>
                  </a:cubicBezTo>
                  <a:cubicBezTo>
                    <a:pt x="234882" y="482458"/>
                    <a:pt x="245664" y="455434"/>
                    <a:pt x="245664" y="455434"/>
                  </a:cubicBezTo>
                  <a:lnTo>
                    <a:pt x="0" y="0"/>
                  </a:lnTo>
                  <a:cubicBezTo>
                    <a:pt x="6005" y="3685"/>
                    <a:pt x="385420" y="243617"/>
                    <a:pt x="666569" y="413535"/>
                  </a:cubicBezTo>
                  <a:cubicBezTo>
                    <a:pt x="666569" y="413535"/>
                    <a:pt x="666569" y="413535"/>
                    <a:pt x="666706" y="413535"/>
                  </a:cubicBezTo>
                  <a:cubicBezTo>
                    <a:pt x="747775" y="462531"/>
                    <a:pt x="820519" y="505659"/>
                    <a:pt x="874019" y="535548"/>
                  </a:cubicBezTo>
                  <a:cubicBezTo>
                    <a:pt x="955498" y="581269"/>
                    <a:pt x="1059496" y="585773"/>
                    <a:pt x="1161310" y="571715"/>
                  </a:cubicBezTo>
                  <a:cubicBezTo>
                    <a:pt x="1359889" y="544283"/>
                    <a:pt x="1550415" y="446427"/>
                    <a:pt x="1550415" y="446427"/>
                  </a:cubicBezTo>
                  <a:cubicBezTo>
                    <a:pt x="1550415" y="446427"/>
                    <a:pt x="2025639" y="166233"/>
                    <a:pt x="2145469" y="175923"/>
                  </a:cubicBezTo>
                  <a:cubicBezTo>
                    <a:pt x="2238549" y="183293"/>
                    <a:pt x="1901306" y="697414"/>
                    <a:pt x="1486269" y="911961"/>
                  </a:cubicBezTo>
                  <a:close/>
                </a:path>
              </a:pathLst>
            </a:custGeom>
            <a:solidFill>
              <a:srgbClr val="1C55D1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9835" name="组合 9834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7297246" y="4341678"/>
              <a:ext cx="3527814" cy="1799430"/>
              <a:chOff x="7609031" y="4341678"/>
              <a:chExt cx="3527814" cy="1799430"/>
            </a:xfrm>
            <a:solidFill>
              <a:schemeClr val="accent1"/>
            </a:solidFill>
          </p:grpSpPr>
          <p:grpSp>
            <p:nvGrpSpPr>
              <p:cNvPr id="9836" name="组合 9835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7609031" y="5391036"/>
                <a:ext cx="1068371" cy="750072"/>
                <a:chOff x="7609031" y="5391036"/>
                <a:chExt cx="1068371" cy="750072"/>
              </a:xfrm>
              <a:solidFill>
                <a:schemeClr val="accent1"/>
              </a:solidFill>
            </p:grpSpPr>
            <p:sp>
              <p:nvSpPr>
                <p:cNvPr id="9837" name="任意多边形: 形状 9836">
                  <a:extLst>
                    <a:ext uri="{FF2B5EF4-FFF2-40B4-BE49-F238E27FC236}">
                      <a16:creationId xmlns:a16="http://schemas.microsoft.com/office/drawing/2014/main" id="{C864CB1A-808A-432B-9AC6-12395C2CDE94}"/>
                    </a:ext>
                  </a:extLst>
                </p:cNvPr>
                <p:cNvSpPr/>
                <p:nvPr/>
              </p:nvSpPr>
              <p:spPr>
                <a:xfrm>
                  <a:off x="7609031" y="5391036"/>
                  <a:ext cx="1068371" cy="750072"/>
                </a:xfrm>
                <a:custGeom>
                  <a:avLst/>
                  <a:gdLst>
                    <a:gd name="connsiteX0" fmla="*/ 1068371 w 1068371"/>
                    <a:gd name="connsiteY0" fmla="*/ 323468 h 750072"/>
                    <a:gd name="connsiteX1" fmla="*/ 989486 w 1068371"/>
                    <a:gd name="connsiteY1" fmla="*/ 339163 h 750072"/>
                    <a:gd name="connsiteX2" fmla="*/ 943492 w 1068371"/>
                    <a:gd name="connsiteY2" fmla="*/ 348717 h 750072"/>
                    <a:gd name="connsiteX3" fmla="*/ 871157 w 1068371"/>
                    <a:gd name="connsiteY3" fmla="*/ 364412 h 750072"/>
                    <a:gd name="connsiteX4" fmla="*/ 825300 w 1068371"/>
                    <a:gd name="connsiteY4" fmla="*/ 374648 h 750072"/>
                    <a:gd name="connsiteX5" fmla="*/ 266413 w 1068371"/>
                    <a:gd name="connsiteY5" fmla="*/ 553300 h 750072"/>
                    <a:gd name="connsiteX6" fmla="*/ 245123 w 1068371"/>
                    <a:gd name="connsiteY6" fmla="*/ 567222 h 750072"/>
                    <a:gd name="connsiteX7" fmla="*/ 24161 w 1068371"/>
                    <a:gd name="connsiteY7" fmla="*/ 747648 h 750072"/>
                    <a:gd name="connsiteX8" fmla="*/ 36717 w 1068371"/>
                    <a:gd name="connsiteY8" fmla="*/ 595473 h 750072"/>
                    <a:gd name="connsiteX9" fmla="*/ 142489 w 1068371"/>
                    <a:gd name="connsiteY9" fmla="*/ 448347 h 750072"/>
                    <a:gd name="connsiteX10" fmla="*/ 185890 w 1068371"/>
                    <a:gd name="connsiteY10" fmla="*/ 400989 h 750072"/>
                    <a:gd name="connsiteX11" fmla="*/ 440972 w 1068371"/>
                    <a:gd name="connsiteY11" fmla="*/ 202000 h 750072"/>
                    <a:gd name="connsiteX12" fmla="*/ 452982 w 1068371"/>
                    <a:gd name="connsiteY12" fmla="*/ 191355 h 750072"/>
                    <a:gd name="connsiteX13" fmla="*/ 625629 w 1068371"/>
                    <a:gd name="connsiteY13" fmla="*/ 8881 h 750072"/>
                    <a:gd name="connsiteX14" fmla="*/ 786267 w 1068371"/>
                    <a:gd name="connsiteY14" fmla="*/ 14203 h 750072"/>
                    <a:gd name="connsiteX15" fmla="*/ 815473 w 1068371"/>
                    <a:gd name="connsiteY15" fmla="*/ 22802 h 750072"/>
                    <a:gd name="connsiteX16" fmla="*/ 857509 w 1068371"/>
                    <a:gd name="connsiteY16" fmla="*/ 37678 h 750072"/>
                    <a:gd name="connsiteX17" fmla="*/ 910327 w 1068371"/>
                    <a:gd name="connsiteY17" fmla="*/ 60334 h 750072"/>
                    <a:gd name="connsiteX18" fmla="*/ 952226 w 1068371"/>
                    <a:gd name="connsiteY18" fmla="*/ 81079 h 750072"/>
                    <a:gd name="connsiteX19" fmla="*/ 999858 w 1068371"/>
                    <a:gd name="connsiteY19" fmla="*/ 107966 h 750072"/>
                    <a:gd name="connsiteX20" fmla="*/ 1068371 w 1068371"/>
                    <a:gd name="connsiteY20" fmla="*/ 323468 h 75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68371" h="750072">
                      <a:moveTo>
                        <a:pt x="1068371" y="323468"/>
                      </a:moveTo>
                      <a:cubicBezTo>
                        <a:pt x="1068371" y="323468"/>
                        <a:pt x="1038346" y="329063"/>
                        <a:pt x="989486" y="339163"/>
                      </a:cubicBezTo>
                      <a:cubicBezTo>
                        <a:pt x="975565" y="342029"/>
                        <a:pt x="960142" y="345168"/>
                        <a:pt x="943492" y="348717"/>
                      </a:cubicBezTo>
                      <a:cubicBezTo>
                        <a:pt x="921382" y="353357"/>
                        <a:pt x="897089" y="358680"/>
                        <a:pt x="871157" y="364412"/>
                      </a:cubicBezTo>
                      <a:cubicBezTo>
                        <a:pt x="856417" y="367688"/>
                        <a:pt x="841132" y="371100"/>
                        <a:pt x="825300" y="374648"/>
                      </a:cubicBezTo>
                      <a:cubicBezTo>
                        <a:pt x="629724" y="419277"/>
                        <a:pt x="370684" y="486971"/>
                        <a:pt x="266413" y="553300"/>
                      </a:cubicBezTo>
                      <a:cubicBezTo>
                        <a:pt x="259044" y="557941"/>
                        <a:pt x="251947" y="562581"/>
                        <a:pt x="245123" y="567222"/>
                      </a:cubicBezTo>
                      <a:cubicBezTo>
                        <a:pt x="86260" y="674085"/>
                        <a:pt x="53641" y="766346"/>
                        <a:pt x="24161" y="747648"/>
                      </a:cubicBezTo>
                      <a:cubicBezTo>
                        <a:pt x="-6683" y="728132"/>
                        <a:pt x="-13507" y="648154"/>
                        <a:pt x="36717" y="595473"/>
                      </a:cubicBezTo>
                      <a:cubicBezTo>
                        <a:pt x="71520" y="559033"/>
                        <a:pt x="95813" y="505805"/>
                        <a:pt x="142489" y="448347"/>
                      </a:cubicBezTo>
                      <a:cubicBezTo>
                        <a:pt x="155046" y="432788"/>
                        <a:pt x="169376" y="416957"/>
                        <a:pt x="185890" y="400989"/>
                      </a:cubicBezTo>
                      <a:cubicBezTo>
                        <a:pt x="258907" y="330701"/>
                        <a:pt x="375734" y="257957"/>
                        <a:pt x="440972" y="202000"/>
                      </a:cubicBezTo>
                      <a:cubicBezTo>
                        <a:pt x="445203" y="198452"/>
                        <a:pt x="449160" y="194904"/>
                        <a:pt x="452982" y="191355"/>
                      </a:cubicBezTo>
                      <a:cubicBezTo>
                        <a:pt x="506619" y="141813"/>
                        <a:pt x="527637" y="39862"/>
                        <a:pt x="625629" y="8881"/>
                      </a:cubicBezTo>
                      <a:cubicBezTo>
                        <a:pt x="673534" y="-6269"/>
                        <a:pt x="730856" y="-400"/>
                        <a:pt x="786267" y="14203"/>
                      </a:cubicBezTo>
                      <a:cubicBezTo>
                        <a:pt x="796093" y="16797"/>
                        <a:pt x="805920" y="19663"/>
                        <a:pt x="815473" y="22802"/>
                      </a:cubicBezTo>
                      <a:cubicBezTo>
                        <a:pt x="829940" y="27442"/>
                        <a:pt x="843998" y="32492"/>
                        <a:pt x="857509" y="37678"/>
                      </a:cubicBezTo>
                      <a:cubicBezTo>
                        <a:pt x="876207" y="45048"/>
                        <a:pt x="894086" y="52691"/>
                        <a:pt x="910327" y="60334"/>
                      </a:cubicBezTo>
                      <a:cubicBezTo>
                        <a:pt x="925886" y="67567"/>
                        <a:pt x="940080" y="74665"/>
                        <a:pt x="952226" y="81079"/>
                      </a:cubicBezTo>
                      <a:cubicBezTo>
                        <a:pt x="981706" y="96501"/>
                        <a:pt x="999858" y="107966"/>
                        <a:pt x="999858" y="107966"/>
                      </a:cubicBezTo>
                      <a:lnTo>
                        <a:pt x="1068371" y="32346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38" name="任意多边形: 形状 9837">
                  <a:extLst>
                    <a:ext uri="{FF2B5EF4-FFF2-40B4-BE49-F238E27FC236}">
                      <a16:creationId xmlns:a16="http://schemas.microsoft.com/office/drawing/2014/main" id="{465E6581-B1C2-4298-BBFB-536B3F49B6FF}"/>
                    </a:ext>
                  </a:extLst>
                </p:cNvPr>
                <p:cNvSpPr/>
                <p:nvPr/>
              </p:nvSpPr>
              <p:spPr>
                <a:xfrm>
                  <a:off x="8050139" y="5391144"/>
                  <a:ext cx="345158" cy="206708"/>
                </a:xfrm>
                <a:custGeom>
                  <a:avLst/>
                  <a:gdLst>
                    <a:gd name="connsiteX0" fmla="*/ 345158 w 345158"/>
                    <a:gd name="connsiteY0" fmla="*/ 14232 h 206708"/>
                    <a:gd name="connsiteX1" fmla="*/ 0 w 345158"/>
                    <a:gd name="connsiteY1" fmla="*/ 201892 h 206708"/>
                    <a:gd name="connsiteX2" fmla="*/ 12010 w 345158"/>
                    <a:gd name="connsiteY2" fmla="*/ 191247 h 206708"/>
                    <a:gd name="connsiteX3" fmla="*/ 184658 w 345158"/>
                    <a:gd name="connsiteY3" fmla="*/ 8773 h 206708"/>
                    <a:gd name="connsiteX4" fmla="*/ 345158 w 345158"/>
                    <a:gd name="connsiteY4" fmla="*/ 14232 h 206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5158" h="206708">
                      <a:moveTo>
                        <a:pt x="345158" y="14232"/>
                      </a:moveTo>
                      <a:cubicBezTo>
                        <a:pt x="287291" y="89979"/>
                        <a:pt x="153813" y="234921"/>
                        <a:pt x="0" y="201892"/>
                      </a:cubicBezTo>
                      <a:cubicBezTo>
                        <a:pt x="4231" y="198344"/>
                        <a:pt x="8189" y="194795"/>
                        <a:pt x="12010" y="191247"/>
                      </a:cubicBezTo>
                      <a:cubicBezTo>
                        <a:pt x="65647" y="141704"/>
                        <a:pt x="86665" y="39754"/>
                        <a:pt x="184658" y="8773"/>
                      </a:cubicBezTo>
                      <a:cubicBezTo>
                        <a:pt x="232426" y="-6240"/>
                        <a:pt x="289884" y="-372"/>
                        <a:pt x="345158" y="14232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39" name="任意多边形: 形状 9838">
                  <a:extLst>
                    <a:ext uri="{FF2B5EF4-FFF2-40B4-BE49-F238E27FC236}">
                      <a16:creationId xmlns:a16="http://schemas.microsoft.com/office/drawing/2014/main" id="{235B91B8-5A6B-468C-B1DC-3295C17CB1FA}"/>
                    </a:ext>
                  </a:extLst>
                </p:cNvPr>
                <p:cNvSpPr/>
                <p:nvPr/>
              </p:nvSpPr>
              <p:spPr>
                <a:xfrm>
                  <a:off x="7609168" y="5839247"/>
                  <a:ext cx="245122" cy="301725"/>
                </a:xfrm>
                <a:custGeom>
                  <a:avLst/>
                  <a:gdLst>
                    <a:gd name="connsiteX0" fmla="*/ 245123 w 245122"/>
                    <a:gd name="connsiteY0" fmla="*/ 118874 h 301725"/>
                    <a:gd name="connsiteX1" fmla="*/ 24161 w 245122"/>
                    <a:gd name="connsiteY1" fmla="*/ 299301 h 301725"/>
                    <a:gd name="connsiteX2" fmla="*/ 36717 w 245122"/>
                    <a:gd name="connsiteY2" fmla="*/ 147126 h 301725"/>
                    <a:gd name="connsiteX3" fmla="*/ 142489 w 245122"/>
                    <a:gd name="connsiteY3" fmla="*/ 0 h 301725"/>
                    <a:gd name="connsiteX4" fmla="*/ 245123 w 245122"/>
                    <a:gd name="connsiteY4" fmla="*/ 118874 h 301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122" h="301725">
                      <a:moveTo>
                        <a:pt x="245123" y="118874"/>
                      </a:moveTo>
                      <a:cubicBezTo>
                        <a:pt x="86260" y="225738"/>
                        <a:pt x="53641" y="317999"/>
                        <a:pt x="24161" y="299301"/>
                      </a:cubicBezTo>
                      <a:cubicBezTo>
                        <a:pt x="-6683" y="279784"/>
                        <a:pt x="-13507" y="199807"/>
                        <a:pt x="36717" y="147126"/>
                      </a:cubicBezTo>
                      <a:cubicBezTo>
                        <a:pt x="71520" y="110685"/>
                        <a:pt x="95813" y="57458"/>
                        <a:pt x="142489" y="0"/>
                      </a:cubicBezTo>
                      <a:cubicBezTo>
                        <a:pt x="181796" y="27978"/>
                        <a:pt x="223695" y="67557"/>
                        <a:pt x="245123" y="118874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40" name="任意多边形: 形状 9839">
                  <a:extLst>
                    <a:ext uri="{FF2B5EF4-FFF2-40B4-BE49-F238E27FC236}">
                      <a16:creationId xmlns:a16="http://schemas.microsoft.com/office/drawing/2014/main" id="{D2936327-2A40-4657-A410-673BE5820DA1}"/>
                    </a:ext>
                  </a:extLst>
                </p:cNvPr>
                <p:cNvSpPr/>
                <p:nvPr/>
              </p:nvSpPr>
              <p:spPr>
                <a:xfrm>
                  <a:off x="8509908" y="5451506"/>
                  <a:ext cx="88608" cy="288246"/>
                </a:xfrm>
                <a:custGeom>
                  <a:avLst/>
                  <a:gdLst>
                    <a:gd name="connsiteX0" fmla="*/ 88609 w 88608"/>
                    <a:gd name="connsiteY0" fmla="*/ 278693 h 288246"/>
                    <a:gd name="connsiteX1" fmla="*/ 42615 w 88608"/>
                    <a:gd name="connsiteY1" fmla="*/ 288246 h 288246"/>
                    <a:gd name="connsiteX2" fmla="*/ 33 w 88608"/>
                    <a:gd name="connsiteY2" fmla="*/ 97447 h 288246"/>
                    <a:gd name="connsiteX3" fmla="*/ 9450 w 88608"/>
                    <a:gd name="connsiteY3" fmla="*/ 0 h 288246"/>
                    <a:gd name="connsiteX4" fmla="*/ 51349 w 88608"/>
                    <a:gd name="connsiteY4" fmla="*/ 20745 h 288246"/>
                    <a:gd name="connsiteX5" fmla="*/ 44798 w 88608"/>
                    <a:gd name="connsiteY5" fmla="*/ 98402 h 288246"/>
                    <a:gd name="connsiteX6" fmla="*/ 88609 w 88608"/>
                    <a:gd name="connsiteY6" fmla="*/ 278693 h 288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8608" h="288246">
                      <a:moveTo>
                        <a:pt x="88609" y="278693"/>
                      </a:moveTo>
                      <a:cubicBezTo>
                        <a:pt x="74688" y="281559"/>
                        <a:pt x="59265" y="284698"/>
                        <a:pt x="42615" y="288246"/>
                      </a:cubicBezTo>
                      <a:cubicBezTo>
                        <a:pt x="13681" y="235428"/>
                        <a:pt x="-786" y="171010"/>
                        <a:pt x="33" y="97447"/>
                      </a:cubicBezTo>
                      <a:cubicBezTo>
                        <a:pt x="442" y="60324"/>
                        <a:pt x="4810" y="26477"/>
                        <a:pt x="9450" y="0"/>
                      </a:cubicBezTo>
                      <a:cubicBezTo>
                        <a:pt x="25009" y="7233"/>
                        <a:pt x="39203" y="14330"/>
                        <a:pt x="51349" y="20745"/>
                      </a:cubicBezTo>
                      <a:cubicBezTo>
                        <a:pt x="47937" y="43128"/>
                        <a:pt x="45071" y="69741"/>
                        <a:pt x="44798" y="98402"/>
                      </a:cubicBezTo>
                      <a:cubicBezTo>
                        <a:pt x="44252" y="156270"/>
                        <a:pt x="53806" y="222599"/>
                        <a:pt x="88609" y="278693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41" name="任意多边形: 形状 9840">
                  <a:extLst>
                    <a:ext uri="{FF2B5EF4-FFF2-40B4-BE49-F238E27FC236}">
                      <a16:creationId xmlns:a16="http://schemas.microsoft.com/office/drawing/2014/main" id="{922FCB4B-DFFE-43A3-BA95-40E913E23C68}"/>
                    </a:ext>
                  </a:extLst>
                </p:cNvPr>
                <p:cNvSpPr/>
                <p:nvPr/>
              </p:nvSpPr>
              <p:spPr>
                <a:xfrm>
                  <a:off x="8392708" y="5413974"/>
                  <a:ext cx="87616" cy="351709"/>
                </a:xfrm>
                <a:custGeom>
                  <a:avLst/>
                  <a:gdLst>
                    <a:gd name="connsiteX0" fmla="*/ 73969 w 87616"/>
                    <a:gd name="connsiteY0" fmla="*/ 14876 h 351709"/>
                    <a:gd name="connsiteX1" fmla="*/ 31933 w 87616"/>
                    <a:gd name="connsiteY1" fmla="*/ 0 h 351709"/>
                    <a:gd name="connsiteX2" fmla="*/ 3136 w 87616"/>
                    <a:gd name="connsiteY2" fmla="*/ 126654 h 351709"/>
                    <a:gd name="connsiteX3" fmla="*/ 41760 w 87616"/>
                    <a:gd name="connsiteY3" fmla="*/ 351709 h 351709"/>
                    <a:gd name="connsiteX4" fmla="*/ 87617 w 87616"/>
                    <a:gd name="connsiteY4" fmla="*/ 341473 h 351709"/>
                    <a:gd name="connsiteX5" fmla="*/ 73969 w 87616"/>
                    <a:gd name="connsiteY5" fmla="*/ 14876 h 351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616" h="351709">
                      <a:moveTo>
                        <a:pt x="73969" y="14876"/>
                      </a:moveTo>
                      <a:cubicBezTo>
                        <a:pt x="60321" y="9690"/>
                        <a:pt x="46263" y="4640"/>
                        <a:pt x="31933" y="0"/>
                      </a:cubicBezTo>
                      <a:cubicBezTo>
                        <a:pt x="22516" y="27159"/>
                        <a:pt x="9141" y="72880"/>
                        <a:pt x="3136" y="126654"/>
                      </a:cubicBezTo>
                      <a:cubicBezTo>
                        <a:pt x="-6691" y="213865"/>
                        <a:pt x="6684" y="290293"/>
                        <a:pt x="41760" y="351709"/>
                      </a:cubicBezTo>
                      <a:cubicBezTo>
                        <a:pt x="57455" y="348161"/>
                        <a:pt x="72741" y="344749"/>
                        <a:pt x="87617" y="341473"/>
                      </a:cubicBezTo>
                      <a:cubicBezTo>
                        <a:pt x="13235" y="227513"/>
                        <a:pt x="54043" y="73153"/>
                        <a:pt x="73969" y="1487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842" name="任意多边形: 形状 9841">
                <a:extLst>
                  <a:ext uri="{FF2B5EF4-FFF2-40B4-BE49-F238E27FC236}">
                    <a16:creationId xmlns:a16="http://schemas.microsoft.com/office/drawing/2014/main" id="{02839173-ED4A-45FD-A40D-5181202569D2}"/>
                  </a:ext>
                </a:extLst>
              </p:cNvPr>
              <p:cNvSpPr/>
              <p:nvPr/>
            </p:nvSpPr>
            <p:spPr>
              <a:xfrm>
                <a:off x="8605771" y="4341678"/>
                <a:ext cx="2531074" cy="1422905"/>
              </a:xfrm>
              <a:custGeom>
                <a:avLst/>
                <a:gdLst>
                  <a:gd name="connsiteX0" fmla="*/ 2417044 w 2531074"/>
                  <a:gd name="connsiteY0" fmla="*/ 546029 h 1422905"/>
                  <a:gd name="connsiteX1" fmla="*/ 1232941 w 2531074"/>
                  <a:gd name="connsiteY1" fmla="*/ 1215328 h 1422905"/>
                  <a:gd name="connsiteX2" fmla="*/ 779827 w 2531074"/>
                  <a:gd name="connsiteY2" fmla="*/ 1337204 h 1422905"/>
                  <a:gd name="connsiteX3" fmla="*/ 516693 w 2531074"/>
                  <a:gd name="connsiteY3" fmla="*/ 1390432 h 1422905"/>
                  <a:gd name="connsiteX4" fmla="*/ 121037 w 2531074"/>
                  <a:gd name="connsiteY4" fmla="*/ 1418683 h 1422905"/>
                  <a:gd name="connsiteX5" fmla="*/ 19086 w 2531074"/>
                  <a:gd name="connsiteY5" fmla="*/ 1071341 h 1422905"/>
                  <a:gd name="connsiteX6" fmla="*/ 619736 w 2531074"/>
                  <a:gd name="connsiteY6" fmla="*/ 864027 h 1422905"/>
                  <a:gd name="connsiteX7" fmla="*/ 767134 w 2531074"/>
                  <a:gd name="connsiteY7" fmla="*/ 778454 h 1422905"/>
                  <a:gd name="connsiteX8" fmla="*/ 797569 w 2531074"/>
                  <a:gd name="connsiteY8" fmla="*/ 756617 h 1422905"/>
                  <a:gd name="connsiteX9" fmla="*/ 1798788 w 2531074"/>
                  <a:gd name="connsiteY9" fmla="*/ 116389 h 1422905"/>
                  <a:gd name="connsiteX10" fmla="*/ 2316867 w 2531074"/>
                  <a:gd name="connsiteY10" fmla="*/ 20170 h 1422905"/>
                  <a:gd name="connsiteX11" fmla="*/ 2413359 w 2531074"/>
                  <a:gd name="connsiteY11" fmla="*/ 71760 h 1422905"/>
                  <a:gd name="connsiteX12" fmla="*/ 2417044 w 2531074"/>
                  <a:gd name="connsiteY12" fmla="*/ 546029 h 142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31074" h="1422905">
                    <a:moveTo>
                      <a:pt x="2417044" y="546029"/>
                    </a:moveTo>
                    <a:cubicBezTo>
                      <a:pt x="2207547" y="801792"/>
                      <a:pt x="1736690" y="1063425"/>
                      <a:pt x="1232941" y="1215328"/>
                    </a:cubicBezTo>
                    <a:cubicBezTo>
                      <a:pt x="1058110" y="1268009"/>
                      <a:pt x="907982" y="1307588"/>
                      <a:pt x="779827" y="1337204"/>
                    </a:cubicBezTo>
                    <a:cubicBezTo>
                      <a:pt x="678968" y="1360679"/>
                      <a:pt x="591621" y="1377739"/>
                      <a:pt x="516693" y="1390432"/>
                    </a:cubicBezTo>
                    <a:cubicBezTo>
                      <a:pt x="227355" y="1439018"/>
                      <a:pt x="121037" y="1418683"/>
                      <a:pt x="121037" y="1418683"/>
                    </a:cubicBezTo>
                    <a:cubicBezTo>
                      <a:pt x="121037" y="1418683"/>
                      <a:pt x="-57479" y="1361225"/>
                      <a:pt x="19086" y="1071341"/>
                    </a:cubicBezTo>
                    <a:cubicBezTo>
                      <a:pt x="19086" y="1071341"/>
                      <a:pt x="357557" y="993547"/>
                      <a:pt x="619736" y="864027"/>
                    </a:cubicBezTo>
                    <a:cubicBezTo>
                      <a:pt x="673236" y="837550"/>
                      <a:pt x="723461" y="809026"/>
                      <a:pt x="767134" y="778454"/>
                    </a:cubicBezTo>
                    <a:cubicBezTo>
                      <a:pt x="777370" y="771357"/>
                      <a:pt x="787470" y="763987"/>
                      <a:pt x="797569" y="756617"/>
                    </a:cubicBezTo>
                    <a:cubicBezTo>
                      <a:pt x="1041323" y="578101"/>
                      <a:pt x="1249592" y="335576"/>
                      <a:pt x="1798788" y="116389"/>
                    </a:cubicBezTo>
                    <a:cubicBezTo>
                      <a:pt x="1798788" y="116389"/>
                      <a:pt x="2086079" y="-58033"/>
                      <a:pt x="2316867" y="20170"/>
                    </a:cubicBezTo>
                    <a:cubicBezTo>
                      <a:pt x="2351260" y="31771"/>
                      <a:pt x="2383879" y="48558"/>
                      <a:pt x="2413359" y="71760"/>
                    </a:cubicBezTo>
                    <a:cubicBezTo>
                      <a:pt x="2580683" y="203463"/>
                      <a:pt x="2558437" y="373381"/>
                      <a:pt x="2417044" y="546029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43" name="任意多边形: 形状 9842">
                <a:extLst>
                  <a:ext uri="{FF2B5EF4-FFF2-40B4-BE49-F238E27FC236}">
                    <a16:creationId xmlns:a16="http://schemas.microsoft.com/office/drawing/2014/main" id="{9903BB05-515C-4F6A-8FE9-01DE4DA73F31}"/>
                  </a:ext>
                </a:extLst>
              </p:cNvPr>
              <p:cNvSpPr/>
              <p:nvPr/>
            </p:nvSpPr>
            <p:spPr>
              <a:xfrm>
                <a:off x="9225370" y="5098159"/>
                <a:ext cx="771522" cy="395383"/>
              </a:xfrm>
              <a:custGeom>
                <a:avLst/>
                <a:gdLst>
                  <a:gd name="connsiteX0" fmla="*/ 771523 w 771522"/>
                  <a:gd name="connsiteY0" fmla="*/ 380371 h 395383"/>
                  <a:gd name="connsiteX1" fmla="*/ 662338 w 771522"/>
                  <a:gd name="connsiteY1" fmla="*/ 395383 h 395383"/>
                  <a:gd name="connsiteX2" fmla="*/ 0 w 771522"/>
                  <a:gd name="connsiteY2" fmla="*/ 107410 h 395383"/>
                  <a:gd name="connsiteX3" fmla="*/ 147399 w 771522"/>
                  <a:gd name="connsiteY3" fmla="*/ 21837 h 395383"/>
                  <a:gd name="connsiteX4" fmla="*/ 177834 w 771522"/>
                  <a:gd name="connsiteY4" fmla="*/ 0 h 395383"/>
                  <a:gd name="connsiteX5" fmla="*/ 771523 w 771522"/>
                  <a:gd name="connsiteY5" fmla="*/ 380371 h 39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1522" h="395383">
                    <a:moveTo>
                      <a:pt x="771523" y="380371"/>
                    </a:moveTo>
                    <a:lnTo>
                      <a:pt x="662338" y="395383"/>
                    </a:lnTo>
                    <a:lnTo>
                      <a:pt x="0" y="107410"/>
                    </a:lnTo>
                    <a:cubicBezTo>
                      <a:pt x="53500" y="80933"/>
                      <a:pt x="103725" y="52409"/>
                      <a:pt x="147399" y="21837"/>
                    </a:cubicBezTo>
                    <a:cubicBezTo>
                      <a:pt x="157635" y="14740"/>
                      <a:pt x="167734" y="7370"/>
                      <a:pt x="177834" y="0"/>
                    </a:cubicBezTo>
                    <a:lnTo>
                      <a:pt x="771523" y="380371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44" name="任意多边形: 形状 9843">
                <a:extLst>
                  <a:ext uri="{FF2B5EF4-FFF2-40B4-BE49-F238E27FC236}">
                    <a16:creationId xmlns:a16="http://schemas.microsoft.com/office/drawing/2014/main" id="{A349FF39-8750-4855-AB2D-960E40FBA9C1}"/>
                  </a:ext>
                </a:extLst>
              </p:cNvPr>
              <p:cNvSpPr/>
              <p:nvPr/>
            </p:nvSpPr>
            <p:spPr>
              <a:xfrm>
                <a:off x="8659387" y="5437176"/>
                <a:ext cx="726211" cy="294933"/>
              </a:xfrm>
              <a:custGeom>
                <a:avLst/>
                <a:gdLst>
                  <a:gd name="connsiteX0" fmla="*/ 726211 w 726211"/>
                  <a:gd name="connsiteY0" fmla="*/ 241706 h 294933"/>
                  <a:gd name="connsiteX1" fmla="*/ 463077 w 726211"/>
                  <a:gd name="connsiteY1" fmla="*/ 294934 h 294933"/>
                  <a:gd name="connsiteX2" fmla="*/ 0 w 726211"/>
                  <a:gd name="connsiteY2" fmla="*/ 130884 h 294933"/>
                  <a:gd name="connsiteX3" fmla="*/ 16378 w 726211"/>
                  <a:gd name="connsiteY3" fmla="*/ 0 h 294933"/>
                  <a:gd name="connsiteX4" fmla="*/ 726211 w 726211"/>
                  <a:gd name="connsiteY4" fmla="*/ 241706 h 29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6211" h="294933">
                    <a:moveTo>
                      <a:pt x="726211" y="241706"/>
                    </a:moveTo>
                    <a:cubicBezTo>
                      <a:pt x="625352" y="265181"/>
                      <a:pt x="538005" y="282241"/>
                      <a:pt x="463077" y="294934"/>
                    </a:cubicBezTo>
                    <a:cubicBezTo>
                      <a:pt x="252352" y="237748"/>
                      <a:pt x="0" y="130884"/>
                      <a:pt x="0" y="130884"/>
                    </a:cubicBezTo>
                    <a:lnTo>
                      <a:pt x="16378" y="0"/>
                    </a:lnTo>
                    <a:lnTo>
                      <a:pt x="726211" y="24170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45" name="任意多边形: 形状 9844">
                <a:extLst>
                  <a:ext uri="{FF2B5EF4-FFF2-40B4-BE49-F238E27FC236}">
                    <a16:creationId xmlns:a16="http://schemas.microsoft.com/office/drawing/2014/main" id="{E8306F6E-191F-452F-BA27-A4A2C338881E}"/>
                  </a:ext>
                </a:extLst>
              </p:cNvPr>
              <p:cNvSpPr/>
              <p:nvPr/>
            </p:nvSpPr>
            <p:spPr>
              <a:xfrm>
                <a:off x="10891471" y="4361848"/>
                <a:ext cx="245375" cy="525858"/>
              </a:xfrm>
              <a:custGeom>
                <a:avLst/>
                <a:gdLst>
                  <a:gd name="connsiteX0" fmla="*/ 131344 w 245375"/>
                  <a:gd name="connsiteY0" fmla="*/ 525858 h 525858"/>
                  <a:gd name="connsiteX1" fmla="*/ 31167 w 245375"/>
                  <a:gd name="connsiteY1" fmla="*/ 0 h 525858"/>
                  <a:gd name="connsiteX2" fmla="*/ 127659 w 245375"/>
                  <a:gd name="connsiteY2" fmla="*/ 51590 h 525858"/>
                  <a:gd name="connsiteX3" fmla="*/ 131344 w 245375"/>
                  <a:gd name="connsiteY3" fmla="*/ 525858 h 52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375" h="525858">
                    <a:moveTo>
                      <a:pt x="131344" y="525858"/>
                    </a:moveTo>
                    <a:cubicBezTo>
                      <a:pt x="-41576" y="293569"/>
                      <a:pt x="-7184" y="98948"/>
                      <a:pt x="31167" y="0"/>
                    </a:cubicBezTo>
                    <a:cubicBezTo>
                      <a:pt x="65560" y="11601"/>
                      <a:pt x="98179" y="28524"/>
                      <a:pt x="127659" y="51590"/>
                    </a:cubicBezTo>
                    <a:cubicBezTo>
                      <a:pt x="294983" y="183293"/>
                      <a:pt x="272738" y="353211"/>
                      <a:pt x="131344" y="525858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46" name="任意多边形: 形状 9845">
                <a:extLst>
                  <a:ext uri="{FF2B5EF4-FFF2-40B4-BE49-F238E27FC236}">
                    <a16:creationId xmlns:a16="http://schemas.microsoft.com/office/drawing/2014/main" id="{F8E196DE-877C-4D1E-BCF2-082D5CD8D62E}"/>
                  </a:ext>
                </a:extLst>
              </p:cNvPr>
              <p:cNvSpPr/>
              <p:nvPr/>
            </p:nvSpPr>
            <p:spPr>
              <a:xfrm>
                <a:off x="8648605" y="4518655"/>
                <a:ext cx="1756737" cy="980755"/>
              </a:xfrm>
              <a:custGeom>
                <a:avLst/>
                <a:gdLst>
                  <a:gd name="connsiteX0" fmla="*/ 4913 w 1756737"/>
                  <a:gd name="connsiteY0" fmla="*/ 980756 h 980755"/>
                  <a:gd name="connsiteX1" fmla="*/ 973923 w 1756737"/>
                  <a:gd name="connsiteY1" fmla="*/ 585236 h 980755"/>
                  <a:gd name="connsiteX2" fmla="*/ 1724837 w 1756737"/>
                  <a:gd name="connsiteY2" fmla="*/ 146043 h 980755"/>
                  <a:gd name="connsiteX3" fmla="*/ 1750632 w 1756737"/>
                  <a:gd name="connsiteY3" fmla="*/ 46412 h 980755"/>
                  <a:gd name="connsiteX4" fmla="*/ 1639946 w 1756737"/>
                  <a:gd name="connsiteY4" fmla="*/ 9 h 980755"/>
                  <a:gd name="connsiteX5" fmla="*/ 1626844 w 1756737"/>
                  <a:gd name="connsiteY5" fmla="*/ 13111 h 980755"/>
                  <a:gd name="connsiteX6" fmla="*/ 1626844 w 1756737"/>
                  <a:gd name="connsiteY6" fmla="*/ 13111 h 980755"/>
                  <a:gd name="connsiteX7" fmla="*/ 1638991 w 1756737"/>
                  <a:gd name="connsiteY7" fmla="*/ 25394 h 980755"/>
                  <a:gd name="connsiteX8" fmla="*/ 1728113 w 1756737"/>
                  <a:gd name="connsiteY8" fmla="*/ 58150 h 980755"/>
                  <a:gd name="connsiteX9" fmla="*/ 1704638 w 1756737"/>
                  <a:gd name="connsiteY9" fmla="*/ 130893 h 980755"/>
                  <a:gd name="connsiteX10" fmla="*/ 962595 w 1756737"/>
                  <a:gd name="connsiteY10" fmla="*/ 562717 h 980755"/>
                  <a:gd name="connsiteX11" fmla="*/ 0 w 1756737"/>
                  <a:gd name="connsiteY11" fmla="*/ 956053 h 980755"/>
                  <a:gd name="connsiteX12" fmla="*/ 4913 w 1756737"/>
                  <a:gd name="connsiteY12" fmla="*/ 980756 h 98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56737" h="980755">
                    <a:moveTo>
                      <a:pt x="4913" y="980756"/>
                    </a:moveTo>
                    <a:cubicBezTo>
                      <a:pt x="181109" y="946226"/>
                      <a:pt x="543328" y="798418"/>
                      <a:pt x="973923" y="585236"/>
                    </a:cubicBezTo>
                    <a:cubicBezTo>
                      <a:pt x="1296016" y="425827"/>
                      <a:pt x="1668334" y="220424"/>
                      <a:pt x="1724837" y="146043"/>
                    </a:cubicBezTo>
                    <a:cubicBezTo>
                      <a:pt x="1755409" y="105918"/>
                      <a:pt x="1764007" y="72344"/>
                      <a:pt x="1750632" y="46412"/>
                    </a:cubicBezTo>
                    <a:cubicBezTo>
                      <a:pt x="1730569" y="7516"/>
                      <a:pt x="1668471" y="964"/>
                      <a:pt x="1639946" y="9"/>
                    </a:cubicBezTo>
                    <a:cubicBezTo>
                      <a:pt x="1632576" y="-264"/>
                      <a:pt x="1626571" y="5741"/>
                      <a:pt x="1626844" y="13111"/>
                    </a:cubicBezTo>
                    <a:lnTo>
                      <a:pt x="1626844" y="13111"/>
                    </a:lnTo>
                    <a:cubicBezTo>
                      <a:pt x="1626981" y="19799"/>
                      <a:pt x="1632303" y="25121"/>
                      <a:pt x="1638991" y="25394"/>
                    </a:cubicBezTo>
                    <a:cubicBezTo>
                      <a:pt x="1666969" y="26350"/>
                      <a:pt x="1715420" y="33310"/>
                      <a:pt x="1728113" y="58150"/>
                    </a:cubicBezTo>
                    <a:cubicBezTo>
                      <a:pt x="1738758" y="78758"/>
                      <a:pt x="1721152" y="109057"/>
                      <a:pt x="1704638" y="130893"/>
                    </a:cubicBezTo>
                    <a:cubicBezTo>
                      <a:pt x="1659054" y="190808"/>
                      <a:pt x="1347060" y="372464"/>
                      <a:pt x="962595" y="562717"/>
                    </a:cubicBezTo>
                    <a:cubicBezTo>
                      <a:pt x="631631" y="726493"/>
                      <a:pt x="204993" y="915928"/>
                      <a:pt x="0" y="956053"/>
                    </a:cubicBezTo>
                    <a:lnTo>
                      <a:pt x="4913" y="98075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47" name="任意多边形: 形状 9846">
                <a:extLst>
                  <a:ext uri="{FF2B5EF4-FFF2-40B4-BE49-F238E27FC236}">
                    <a16:creationId xmlns:a16="http://schemas.microsoft.com/office/drawing/2014/main" id="{EDA63FCF-A381-4BC9-B890-F79633E1998F}"/>
                  </a:ext>
                </a:extLst>
              </p:cNvPr>
              <p:cNvSpPr/>
              <p:nvPr/>
            </p:nvSpPr>
            <p:spPr>
              <a:xfrm>
                <a:off x="8569432" y="5368672"/>
                <a:ext cx="251547" cy="440796"/>
              </a:xfrm>
              <a:custGeom>
                <a:avLst/>
                <a:gdLst>
                  <a:gd name="connsiteX0" fmla="*/ 122164 w 251547"/>
                  <a:gd name="connsiteY0" fmla="*/ 8180 h 440796"/>
                  <a:gd name="connsiteX1" fmla="*/ 251547 w 251547"/>
                  <a:gd name="connsiteY1" fmla="*/ 415436 h 440796"/>
                  <a:gd name="connsiteX2" fmla="*/ 108516 w 251547"/>
                  <a:gd name="connsiteY2" fmla="*/ 424581 h 440796"/>
                  <a:gd name="connsiteX3" fmla="*/ 11615 w 251547"/>
                  <a:gd name="connsiteY3" fmla="*/ 21691 h 440796"/>
                  <a:gd name="connsiteX4" fmla="*/ 122164 w 251547"/>
                  <a:gd name="connsiteY4" fmla="*/ 8180 h 4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1547" h="440796">
                    <a:moveTo>
                      <a:pt x="122164" y="8180"/>
                    </a:moveTo>
                    <a:cubicBezTo>
                      <a:pt x="135266" y="162948"/>
                      <a:pt x="169113" y="304478"/>
                      <a:pt x="251547" y="415436"/>
                    </a:cubicBezTo>
                    <a:cubicBezTo>
                      <a:pt x="251547" y="415436"/>
                      <a:pt x="174845" y="465798"/>
                      <a:pt x="108516" y="424581"/>
                    </a:cubicBezTo>
                    <a:cubicBezTo>
                      <a:pt x="57882" y="393054"/>
                      <a:pt x="-32059" y="148481"/>
                      <a:pt x="11615" y="21691"/>
                    </a:cubicBezTo>
                    <a:cubicBezTo>
                      <a:pt x="55971" y="-282"/>
                      <a:pt x="93913" y="-6970"/>
                      <a:pt x="122164" y="818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848" name="组合 9847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7487257" y="4270432"/>
              <a:ext cx="3442205" cy="1999987"/>
              <a:chOff x="7504629" y="4270432"/>
              <a:chExt cx="3442205" cy="1999987"/>
            </a:xfrm>
            <a:solidFill>
              <a:schemeClr val="accent1"/>
            </a:solidFill>
          </p:grpSpPr>
          <p:grpSp>
            <p:nvGrpSpPr>
              <p:cNvPr id="9849" name="组合 9848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9904496" y="5478534"/>
                <a:ext cx="1042339" cy="791884"/>
                <a:chOff x="9904496" y="5478534"/>
                <a:chExt cx="1042339" cy="791884"/>
              </a:xfrm>
              <a:solidFill>
                <a:schemeClr val="accent1"/>
              </a:solidFill>
            </p:grpSpPr>
            <p:sp>
              <p:nvSpPr>
                <p:cNvPr id="9850" name="任意多边形: 形状 9849">
                  <a:extLst>
                    <a:ext uri="{FF2B5EF4-FFF2-40B4-BE49-F238E27FC236}">
                      <a16:creationId xmlns:a16="http://schemas.microsoft.com/office/drawing/2014/main" id="{FCC5F3BE-BDB1-45AC-90E4-72ABD4A09583}"/>
                    </a:ext>
                  </a:extLst>
                </p:cNvPr>
                <p:cNvSpPr/>
                <p:nvPr/>
              </p:nvSpPr>
              <p:spPr>
                <a:xfrm>
                  <a:off x="9904496" y="5478651"/>
                  <a:ext cx="1042339" cy="791768"/>
                </a:xfrm>
                <a:custGeom>
                  <a:avLst/>
                  <a:gdLst>
                    <a:gd name="connsiteX0" fmla="*/ 0 w 1042339"/>
                    <a:gd name="connsiteY0" fmla="*/ 298361 h 791768"/>
                    <a:gd name="connsiteX1" fmla="*/ 77657 w 1042339"/>
                    <a:gd name="connsiteY1" fmla="*/ 319106 h 791768"/>
                    <a:gd name="connsiteX2" fmla="*/ 122832 w 1042339"/>
                    <a:gd name="connsiteY2" fmla="*/ 331662 h 791768"/>
                    <a:gd name="connsiteX3" fmla="*/ 193938 w 1042339"/>
                    <a:gd name="connsiteY3" fmla="*/ 351997 h 791768"/>
                    <a:gd name="connsiteX4" fmla="*/ 238977 w 1042339"/>
                    <a:gd name="connsiteY4" fmla="*/ 365236 h 791768"/>
                    <a:gd name="connsiteX5" fmla="*/ 785034 w 1042339"/>
                    <a:gd name="connsiteY5" fmla="*/ 580056 h 791768"/>
                    <a:gd name="connsiteX6" fmla="*/ 805370 w 1042339"/>
                    <a:gd name="connsiteY6" fmla="*/ 595341 h 791768"/>
                    <a:gd name="connsiteX7" fmla="*/ 1014048 w 1042339"/>
                    <a:gd name="connsiteY7" fmla="*/ 789826 h 791768"/>
                    <a:gd name="connsiteX8" fmla="*/ 1011455 w 1042339"/>
                    <a:gd name="connsiteY8" fmla="*/ 637241 h 791768"/>
                    <a:gd name="connsiteX9" fmla="*/ 915510 w 1042339"/>
                    <a:gd name="connsiteY9" fmla="*/ 483565 h 791768"/>
                    <a:gd name="connsiteX10" fmla="*/ 875248 w 1042339"/>
                    <a:gd name="connsiteY10" fmla="*/ 433476 h 791768"/>
                    <a:gd name="connsiteX11" fmla="*/ 633678 w 1042339"/>
                    <a:gd name="connsiteY11" fmla="*/ 218247 h 791768"/>
                    <a:gd name="connsiteX12" fmla="*/ 622486 w 1042339"/>
                    <a:gd name="connsiteY12" fmla="*/ 206919 h 791768"/>
                    <a:gd name="connsiteX13" fmla="*/ 462122 w 1042339"/>
                    <a:gd name="connsiteY13" fmla="*/ 13527 h 791768"/>
                    <a:gd name="connsiteX14" fmla="*/ 301485 w 1042339"/>
                    <a:gd name="connsiteY14" fmla="*/ 8340 h 791768"/>
                    <a:gd name="connsiteX15" fmla="*/ 271732 w 1042339"/>
                    <a:gd name="connsiteY15" fmla="*/ 14891 h 791768"/>
                    <a:gd name="connsiteX16" fmla="*/ 228741 w 1042339"/>
                    <a:gd name="connsiteY16" fmla="*/ 27038 h 791768"/>
                    <a:gd name="connsiteX17" fmla="*/ 174558 w 1042339"/>
                    <a:gd name="connsiteY17" fmla="*/ 46145 h 791768"/>
                    <a:gd name="connsiteX18" fmla="*/ 131431 w 1042339"/>
                    <a:gd name="connsiteY18" fmla="*/ 64161 h 791768"/>
                    <a:gd name="connsiteX19" fmla="*/ 82161 w 1042339"/>
                    <a:gd name="connsiteY19" fmla="*/ 87908 h 791768"/>
                    <a:gd name="connsiteX20" fmla="*/ 0 w 1042339"/>
                    <a:gd name="connsiteY20" fmla="*/ 298361 h 791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42339" h="791768">
                      <a:moveTo>
                        <a:pt x="0" y="298361"/>
                      </a:moveTo>
                      <a:cubicBezTo>
                        <a:pt x="0" y="298361"/>
                        <a:pt x="29616" y="306004"/>
                        <a:pt x="77657" y="319106"/>
                      </a:cubicBezTo>
                      <a:cubicBezTo>
                        <a:pt x="91305" y="322791"/>
                        <a:pt x="106455" y="327022"/>
                        <a:pt x="122832" y="331662"/>
                      </a:cubicBezTo>
                      <a:cubicBezTo>
                        <a:pt x="144533" y="337803"/>
                        <a:pt x="168417" y="344627"/>
                        <a:pt x="193938" y="351997"/>
                      </a:cubicBezTo>
                      <a:cubicBezTo>
                        <a:pt x="208405" y="356228"/>
                        <a:pt x="223555" y="360596"/>
                        <a:pt x="238977" y="365236"/>
                      </a:cubicBezTo>
                      <a:cubicBezTo>
                        <a:pt x="431278" y="422558"/>
                        <a:pt x="685267" y="507039"/>
                        <a:pt x="785034" y="580056"/>
                      </a:cubicBezTo>
                      <a:cubicBezTo>
                        <a:pt x="791995" y="585242"/>
                        <a:pt x="798819" y="590292"/>
                        <a:pt x="805370" y="595341"/>
                      </a:cubicBezTo>
                      <a:cubicBezTo>
                        <a:pt x="956999" y="712305"/>
                        <a:pt x="983340" y="806613"/>
                        <a:pt x="1014048" y="789826"/>
                      </a:cubicBezTo>
                      <a:cubicBezTo>
                        <a:pt x="1045985" y="772356"/>
                        <a:pt x="1058131" y="692925"/>
                        <a:pt x="1011455" y="637241"/>
                      </a:cubicBezTo>
                      <a:cubicBezTo>
                        <a:pt x="979109" y="598617"/>
                        <a:pt x="958364" y="544025"/>
                        <a:pt x="915510" y="483565"/>
                      </a:cubicBezTo>
                      <a:cubicBezTo>
                        <a:pt x="903909" y="467187"/>
                        <a:pt x="890807" y="450536"/>
                        <a:pt x="875248" y="433476"/>
                      </a:cubicBezTo>
                      <a:cubicBezTo>
                        <a:pt x="807008" y="358549"/>
                        <a:pt x="695230" y="278298"/>
                        <a:pt x="633678" y="218247"/>
                      </a:cubicBezTo>
                      <a:cubicBezTo>
                        <a:pt x="629720" y="214426"/>
                        <a:pt x="626035" y="210604"/>
                        <a:pt x="622486" y="206919"/>
                      </a:cubicBezTo>
                      <a:cubicBezTo>
                        <a:pt x="572125" y="153965"/>
                        <a:pt x="557931" y="50922"/>
                        <a:pt x="462122" y="13527"/>
                      </a:cubicBezTo>
                      <a:cubicBezTo>
                        <a:pt x="415309" y="-4625"/>
                        <a:pt x="357715" y="-2578"/>
                        <a:pt x="301485" y="8340"/>
                      </a:cubicBezTo>
                      <a:cubicBezTo>
                        <a:pt x="291522" y="10251"/>
                        <a:pt x="281559" y="12571"/>
                        <a:pt x="271732" y="14891"/>
                      </a:cubicBezTo>
                      <a:cubicBezTo>
                        <a:pt x="256992" y="18576"/>
                        <a:pt x="242662" y="22671"/>
                        <a:pt x="228741" y="27038"/>
                      </a:cubicBezTo>
                      <a:cubicBezTo>
                        <a:pt x="209497" y="33180"/>
                        <a:pt x="191345" y="39731"/>
                        <a:pt x="174558" y="46145"/>
                      </a:cubicBezTo>
                      <a:cubicBezTo>
                        <a:pt x="158590" y="52287"/>
                        <a:pt x="143987" y="58565"/>
                        <a:pt x="131431" y="64161"/>
                      </a:cubicBezTo>
                      <a:cubicBezTo>
                        <a:pt x="100995" y="77672"/>
                        <a:pt x="82161" y="87908"/>
                        <a:pt x="82161" y="87908"/>
                      </a:cubicBezTo>
                      <a:lnTo>
                        <a:pt x="0" y="2983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51" name="任意多边形: 形状 9850">
                  <a:extLst>
                    <a:ext uri="{FF2B5EF4-FFF2-40B4-BE49-F238E27FC236}">
                      <a16:creationId xmlns:a16="http://schemas.microsoft.com/office/drawing/2014/main" id="{46A289AD-2ADD-46C7-A049-A22D7F81B71B}"/>
                    </a:ext>
                  </a:extLst>
                </p:cNvPr>
                <p:cNvSpPr/>
                <p:nvPr/>
              </p:nvSpPr>
              <p:spPr>
                <a:xfrm>
                  <a:off x="10206117" y="5478534"/>
                  <a:ext cx="332192" cy="220538"/>
                </a:xfrm>
                <a:custGeom>
                  <a:avLst/>
                  <a:gdLst>
                    <a:gd name="connsiteX0" fmla="*/ 0 w 332192"/>
                    <a:gd name="connsiteY0" fmla="*/ 8457 h 220538"/>
                    <a:gd name="connsiteX1" fmla="*/ 332193 w 332192"/>
                    <a:gd name="connsiteY1" fmla="*/ 218227 h 220538"/>
                    <a:gd name="connsiteX2" fmla="*/ 321001 w 332192"/>
                    <a:gd name="connsiteY2" fmla="*/ 206899 h 220538"/>
                    <a:gd name="connsiteX3" fmla="*/ 160637 w 332192"/>
                    <a:gd name="connsiteY3" fmla="*/ 13506 h 220538"/>
                    <a:gd name="connsiteX4" fmla="*/ 0 w 332192"/>
                    <a:gd name="connsiteY4" fmla="*/ 8457 h 220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192" h="220538">
                      <a:moveTo>
                        <a:pt x="0" y="8457"/>
                      </a:moveTo>
                      <a:cubicBezTo>
                        <a:pt x="52818" y="87888"/>
                        <a:pt x="176469" y="241155"/>
                        <a:pt x="332193" y="218227"/>
                      </a:cubicBezTo>
                      <a:cubicBezTo>
                        <a:pt x="328235" y="214405"/>
                        <a:pt x="324550" y="210584"/>
                        <a:pt x="321001" y="206899"/>
                      </a:cubicBezTo>
                      <a:cubicBezTo>
                        <a:pt x="270640" y="153945"/>
                        <a:pt x="256446" y="50902"/>
                        <a:pt x="160637" y="13506"/>
                      </a:cubicBezTo>
                      <a:cubicBezTo>
                        <a:pt x="113824" y="-4645"/>
                        <a:pt x="56093" y="-2598"/>
                        <a:pt x="0" y="845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52" name="任意多边形: 形状 9851">
                  <a:extLst>
                    <a:ext uri="{FF2B5EF4-FFF2-40B4-BE49-F238E27FC236}">
                      <a16:creationId xmlns:a16="http://schemas.microsoft.com/office/drawing/2014/main" id="{39473490-1389-40A4-89C8-5F92CFE120F3}"/>
                    </a:ext>
                  </a:extLst>
                </p:cNvPr>
                <p:cNvSpPr/>
                <p:nvPr/>
              </p:nvSpPr>
              <p:spPr>
                <a:xfrm>
                  <a:off x="10709866" y="5962079"/>
                  <a:ext cx="236969" cy="308204"/>
                </a:xfrm>
                <a:custGeom>
                  <a:avLst/>
                  <a:gdLst>
                    <a:gd name="connsiteX0" fmla="*/ 0 w 236969"/>
                    <a:gd name="connsiteY0" fmla="*/ 111777 h 308204"/>
                    <a:gd name="connsiteX1" fmla="*/ 208678 w 236969"/>
                    <a:gd name="connsiteY1" fmla="*/ 306262 h 308204"/>
                    <a:gd name="connsiteX2" fmla="*/ 206085 w 236969"/>
                    <a:gd name="connsiteY2" fmla="*/ 153677 h 308204"/>
                    <a:gd name="connsiteX3" fmla="*/ 110140 w 236969"/>
                    <a:gd name="connsiteY3" fmla="*/ 0 h 308204"/>
                    <a:gd name="connsiteX4" fmla="*/ 0 w 236969"/>
                    <a:gd name="connsiteY4" fmla="*/ 111777 h 308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6969" h="308204">
                      <a:moveTo>
                        <a:pt x="0" y="111777"/>
                      </a:moveTo>
                      <a:cubicBezTo>
                        <a:pt x="151629" y="228741"/>
                        <a:pt x="177970" y="323048"/>
                        <a:pt x="208678" y="306262"/>
                      </a:cubicBezTo>
                      <a:cubicBezTo>
                        <a:pt x="240615" y="288792"/>
                        <a:pt x="252761" y="209361"/>
                        <a:pt x="206085" y="153677"/>
                      </a:cubicBezTo>
                      <a:cubicBezTo>
                        <a:pt x="173739" y="115053"/>
                        <a:pt x="152994" y="60461"/>
                        <a:pt x="110140" y="0"/>
                      </a:cubicBezTo>
                      <a:cubicBezTo>
                        <a:pt x="69059" y="25249"/>
                        <a:pt x="24703" y="61962"/>
                        <a:pt x="0" y="11177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53" name="任意多边形: 形状 9852">
                  <a:extLst>
                    <a:ext uri="{FF2B5EF4-FFF2-40B4-BE49-F238E27FC236}">
                      <a16:creationId xmlns:a16="http://schemas.microsoft.com/office/drawing/2014/main" id="{F00D6D7A-1FC8-4390-B693-94591D29E9F9}"/>
                    </a:ext>
                  </a:extLst>
                </p:cNvPr>
                <p:cNvSpPr/>
                <p:nvPr/>
              </p:nvSpPr>
              <p:spPr>
                <a:xfrm>
                  <a:off x="9982153" y="5524796"/>
                  <a:ext cx="100917" cy="285516"/>
                </a:xfrm>
                <a:custGeom>
                  <a:avLst/>
                  <a:gdLst>
                    <a:gd name="connsiteX0" fmla="*/ 0 w 100917"/>
                    <a:gd name="connsiteY0" fmla="*/ 272960 h 285516"/>
                    <a:gd name="connsiteX1" fmla="*/ 45175 w 100917"/>
                    <a:gd name="connsiteY1" fmla="*/ 285517 h 285516"/>
                    <a:gd name="connsiteX2" fmla="*/ 100176 w 100917"/>
                    <a:gd name="connsiteY2" fmla="*/ 97856 h 285516"/>
                    <a:gd name="connsiteX3" fmla="*/ 97037 w 100917"/>
                    <a:gd name="connsiteY3" fmla="*/ 0 h 285516"/>
                    <a:gd name="connsiteX4" fmla="*/ 53910 w 100917"/>
                    <a:gd name="connsiteY4" fmla="*/ 18015 h 285516"/>
                    <a:gd name="connsiteX5" fmla="*/ 55411 w 100917"/>
                    <a:gd name="connsiteY5" fmla="*/ 95946 h 285516"/>
                    <a:gd name="connsiteX6" fmla="*/ 0 w 100917"/>
                    <a:gd name="connsiteY6" fmla="*/ 272960 h 285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917" h="285516">
                      <a:moveTo>
                        <a:pt x="0" y="272960"/>
                      </a:moveTo>
                      <a:cubicBezTo>
                        <a:pt x="13648" y="276646"/>
                        <a:pt x="28797" y="280877"/>
                        <a:pt x="45175" y="285517"/>
                      </a:cubicBezTo>
                      <a:cubicBezTo>
                        <a:pt x="77521" y="234610"/>
                        <a:pt x="96219" y="171283"/>
                        <a:pt x="100176" y="97856"/>
                      </a:cubicBezTo>
                      <a:cubicBezTo>
                        <a:pt x="102087" y="60734"/>
                        <a:pt x="100040" y="26750"/>
                        <a:pt x="97037" y="0"/>
                      </a:cubicBezTo>
                      <a:cubicBezTo>
                        <a:pt x="81069" y="6142"/>
                        <a:pt x="66466" y="12420"/>
                        <a:pt x="53910" y="18015"/>
                      </a:cubicBezTo>
                      <a:cubicBezTo>
                        <a:pt x="55957" y="40535"/>
                        <a:pt x="56912" y="67285"/>
                        <a:pt x="55411" y="95946"/>
                      </a:cubicBezTo>
                      <a:cubicBezTo>
                        <a:pt x="52272" y="153677"/>
                        <a:pt x="38351" y="219324"/>
                        <a:pt x="0" y="272960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54" name="任意多边形: 形状 9853">
                  <a:extLst>
                    <a:ext uri="{FF2B5EF4-FFF2-40B4-BE49-F238E27FC236}">
                      <a16:creationId xmlns:a16="http://schemas.microsoft.com/office/drawing/2014/main" id="{6A566674-244E-4A57-AAFD-5F1EE55661B8}"/>
                    </a:ext>
                  </a:extLst>
                </p:cNvPr>
                <p:cNvSpPr/>
                <p:nvPr/>
              </p:nvSpPr>
              <p:spPr>
                <a:xfrm>
                  <a:off x="10098434" y="5493542"/>
                  <a:ext cx="98828" cy="350344"/>
                </a:xfrm>
                <a:custGeom>
                  <a:avLst/>
                  <a:gdLst>
                    <a:gd name="connsiteX0" fmla="*/ 0 w 98828"/>
                    <a:gd name="connsiteY0" fmla="*/ 337106 h 350344"/>
                    <a:gd name="connsiteX1" fmla="*/ 45039 w 98828"/>
                    <a:gd name="connsiteY1" fmla="*/ 350345 h 350344"/>
                    <a:gd name="connsiteX2" fmla="*/ 98266 w 98828"/>
                    <a:gd name="connsiteY2" fmla="*/ 128292 h 350344"/>
                    <a:gd name="connsiteX3" fmla="*/ 77794 w 98828"/>
                    <a:gd name="connsiteY3" fmla="*/ 0 h 350344"/>
                    <a:gd name="connsiteX4" fmla="*/ 34802 w 98828"/>
                    <a:gd name="connsiteY4" fmla="*/ 12147 h 350344"/>
                    <a:gd name="connsiteX5" fmla="*/ 0 w 98828"/>
                    <a:gd name="connsiteY5" fmla="*/ 337106 h 350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8828" h="350344">
                      <a:moveTo>
                        <a:pt x="0" y="337106"/>
                      </a:moveTo>
                      <a:cubicBezTo>
                        <a:pt x="14467" y="341337"/>
                        <a:pt x="29616" y="345705"/>
                        <a:pt x="45039" y="350345"/>
                      </a:cubicBezTo>
                      <a:cubicBezTo>
                        <a:pt x="84072" y="291385"/>
                        <a:pt x="102360" y="215912"/>
                        <a:pt x="98266" y="128292"/>
                      </a:cubicBezTo>
                      <a:cubicBezTo>
                        <a:pt x="95809" y="74245"/>
                        <a:pt x="85437" y="27705"/>
                        <a:pt x="77794" y="0"/>
                      </a:cubicBezTo>
                      <a:cubicBezTo>
                        <a:pt x="63054" y="3685"/>
                        <a:pt x="48723" y="7779"/>
                        <a:pt x="34802" y="12147"/>
                      </a:cubicBezTo>
                      <a:cubicBezTo>
                        <a:pt x="50907" y="71652"/>
                        <a:pt x="81615" y="228332"/>
                        <a:pt x="0" y="33710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9855" name="任意多边形: 形状 9854">
                <a:extLst>
                  <a:ext uri="{FF2B5EF4-FFF2-40B4-BE49-F238E27FC236}">
                    <a16:creationId xmlns:a16="http://schemas.microsoft.com/office/drawing/2014/main" id="{6F454107-3FDD-4B66-AD6B-E5814ECD0832}"/>
                  </a:ext>
                </a:extLst>
              </p:cNvPr>
              <p:cNvSpPr/>
              <p:nvPr/>
            </p:nvSpPr>
            <p:spPr>
              <a:xfrm>
                <a:off x="7504629" y="4270432"/>
                <a:ext cx="2467043" cy="1554166"/>
              </a:xfrm>
              <a:custGeom>
                <a:avLst/>
                <a:gdLst>
                  <a:gd name="connsiteX0" fmla="*/ 2455824 w 2467043"/>
                  <a:gd name="connsiteY0" fmla="*/ 1213148 h 1554166"/>
                  <a:gd name="connsiteX1" fmla="*/ 2331354 w 2467043"/>
                  <a:gd name="connsiteY1" fmla="*/ 1553120 h 1554166"/>
                  <a:gd name="connsiteX2" fmla="*/ 1235145 w 2467043"/>
                  <a:gd name="connsiteY2" fmla="*/ 1277430 h 1554166"/>
                  <a:gd name="connsiteX3" fmla="*/ 117918 w 2467043"/>
                  <a:gd name="connsiteY3" fmla="*/ 559680 h 1554166"/>
                  <a:gd name="connsiteX4" fmla="*/ 131975 w 2467043"/>
                  <a:gd name="connsiteY4" fmla="*/ 59071 h 1554166"/>
                  <a:gd name="connsiteX5" fmla="*/ 271731 w 2467043"/>
                  <a:gd name="connsiteY5" fmla="*/ 5434 h 1554166"/>
                  <a:gd name="connsiteX6" fmla="*/ 769884 w 2467043"/>
                  <a:gd name="connsiteY6" fmla="*/ 123217 h 1554166"/>
                  <a:gd name="connsiteX7" fmla="*/ 1649908 w 2467043"/>
                  <a:gd name="connsiteY7" fmla="*/ 774637 h 1554166"/>
                  <a:gd name="connsiteX8" fmla="*/ 2455824 w 2467043"/>
                  <a:gd name="connsiteY8" fmla="*/ 1213148 h 1554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7043" h="1554166">
                    <a:moveTo>
                      <a:pt x="2455824" y="1213148"/>
                    </a:moveTo>
                    <a:cubicBezTo>
                      <a:pt x="2513282" y="1507535"/>
                      <a:pt x="2331354" y="1553120"/>
                      <a:pt x="2331354" y="1553120"/>
                    </a:cubicBezTo>
                    <a:cubicBezTo>
                      <a:pt x="2331354" y="1553120"/>
                      <a:pt x="2060304" y="1586421"/>
                      <a:pt x="1235145" y="1277430"/>
                    </a:cubicBezTo>
                    <a:cubicBezTo>
                      <a:pt x="759375" y="1099187"/>
                      <a:pt x="320727" y="820767"/>
                      <a:pt x="117918" y="559680"/>
                    </a:cubicBezTo>
                    <a:cubicBezTo>
                      <a:pt x="-30846" y="368062"/>
                      <a:pt x="-52410" y="185588"/>
                      <a:pt x="131975" y="59071"/>
                    </a:cubicBezTo>
                    <a:cubicBezTo>
                      <a:pt x="174421" y="29864"/>
                      <a:pt x="222052" y="13213"/>
                      <a:pt x="271731" y="5434"/>
                    </a:cubicBezTo>
                    <a:cubicBezTo>
                      <a:pt x="500062" y="-30460"/>
                      <a:pt x="769884" y="123217"/>
                      <a:pt x="769884" y="123217"/>
                    </a:cubicBezTo>
                    <a:cubicBezTo>
                      <a:pt x="1325631" y="388398"/>
                      <a:pt x="1186558" y="479566"/>
                      <a:pt x="1649908" y="774637"/>
                    </a:cubicBezTo>
                    <a:cubicBezTo>
                      <a:pt x="1914953" y="943735"/>
                      <a:pt x="2455824" y="1213148"/>
                      <a:pt x="2455824" y="1213148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56" name="任意多边形: 形状 9855">
                <a:extLst>
                  <a:ext uri="{FF2B5EF4-FFF2-40B4-BE49-F238E27FC236}">
                    <a16:creationId xmlns:a16="http://schemas.microsoft.com/office/drawing/2014/main" id="{A57EE71B-6E50-4389-A049-8485B20069D3}"/>
                  </a:ext>
                </a:extLst>
              </p:cNvPr>
              <p:cNvSpPr/>
              <p:nvPr/>
            </p:nvSpPr>
            <p:spPr>
              <a:xfrm>
                <a:off x="7504629" y="4276002"/>
                <a:ext cx="276451" cy="554246"/>
              </a:xfrm>
              <a:custGeom>
                <a:avLst/>
                <a:gdLst>
                  <a:gd name="connsiteX0" fmla="*/ 271731 w 276451"/>
                  <a:gd name="connsiteY0" fmla="*/ 0 h 554246"/>
                  <a:gd name="connsiteX1" fmla="*/ 117918 w 276451"/>
                  <a:gd name="connsiteY1" fmla="*/ 554246 h 554246"/>
                  <a:gd name="connsiteX2" fmla="*/ 131975 w 276451"/>
                  <a:gd name="connsiteY2" fmla="*/ 53637 h 554246"/>
                  <a:gd name="connsiteX3" fmla="*/ 271731 w 276451"/>
                  <a:gd name="connsiteY3" fmla="*/ 0 h 55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51" h="554246">
                    <a:moveTo>
                      <a:pt x="271731" y="0"/>
                    </a:moveTo>
                    <a:cubicBezTo>
                      <a:pt x="280602" y="99494"/>
                      <a:pt x="295751" y="432369"/>
                      <a:pt x="117918" y="554246"/>
                    </a:cubicBezTo>
                    <a:cubicBezTo>
                      <a:pt x="-30846" y="362628"/>
                      <a:pt x="-52410" y="180154"/>
                      <a:pt x="131975" y="53637"/>
                    </a:cubicBezTo>
                    <a:cubicBezTo>
                      <a:pt x="174557" y="24430"/>
                      <a:pt x="222189" y="7779"/>
                      <a:pt x="271731" y="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57" name="任意多边形: 形状 9856">
                <a:extLst>
                  <a:ext uri="{FF2B5EF4-FFF2-40B4-BE49-F238E27FC236}">
                    <a16:creationId xmlns:a16="http://schemas.microsoft.com/office/drawing/2014/main" id="{E33301A7-DBD0-4DBB-A8AA-66A2501B2E83}"/>
                  </a:ext>
                </a:extLst>
              </p:cNvPr>
              <p:cNvSpPr/>
              <p:nvPr/>
            </p:nvSpPr>
            <p:spPr>
              <a:xfrm>
                <a:off x="8237417" y="4482207"/>
                <a:ext cx="1695193" cy="1085716"/>
              </a:xfrm>
              <a:custGeom>
                <a:avLst/>
                <a:gdLst>
                  <a:gd name="connsiteX0" fmla="*/ 1688779 w 1695193"/>
                  <a:gd name="connsiteY0" fmla="*/ 1085716 h 1085716"/>
                  <a:gd name="connsiteX1" fmla="*/ 747748 w 1695193"/>
                  <a:gd name="connsiteY1" fmla="*/ 627689 h 1085716"/>
                  <a:gd name="connsiteX2" fmla="*/ 27133 w 1695193"/>
                  <a:gd name="connsiteY2" fmla="*/ 140318 h 1085716"/>
                  <a:gd name="connsiteX3" fmla="*/ 7889 w 1695193"/>
                  <a:gd name="connsiteY3" fmla="*/ 39186 h 1085716"/>
                  <a:gd name="connsiteX4" fmla="*/ 121304 w 1695193"/>
                  <a:gd name="connsiteY4" fmla="*/ 153 h 1085716"/>
                  <a:gd name="connsiteX5" fmla="*/ 133587 w 1695193"/>
                  <a:gd name="connsiteY5" fmla="*/ 14074 h 1085716"/>
                  <a:gd name="connsiteX6" fmla="*/ 133587 w 1695193"/>
                  <a:gd name="connsiteY6" fmla="*/ 14074 h 1085716"/>
                  <a:gd name="connsiteX7" fmla="*/ 120622 w 1695193"/>
                  <a:gd name="connsiteY7" fmla="*/ 25538 h 1085716"/>
                  <a:gd name="connsiteX8" fmla="*/ 29589 w 1695193"/>
                  <a:gd name="connsiteY8" fmla="*/ 52288 h 1085716"/>
                  <a:gd name="connsiteX9" fmla="*/ 48287 w 1695193"/>
                  <a:gd name="connsiteY9" fmla="*/ 126397 h 1085716"/>
                  <a:gd name="connsiteX10" fmla="*/ 760441 w 1695193"/>
                  <a:gd name="connsiteY10" fmla="*/ 605852 h 1085716"/>
                  <a:gd name="connsiteX11" fmla="*/ 1695194 w 1695193"/>
                  <a:gd name="connsiteY11" fmla="*/ 1061286 h 1085716"/>
                  <a:gd name="connsiteX12" fmla="*/ 1688779 w 1695193"/>
                  <a:gd name="connsiteY12" fmla="*/ 1085716 h 108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95193" h="1085716">
                    <a:moveTo>
                      <a:pt x="1688779" y="1085716"/>
                    </a:moveTo>
                    <a:cubicBezTo>
                      <a:pt x="1515313" y="1039723"/>
                      <a:pt x="1163467" y="868576"/>
                      <a:pt x="747748" y="627689"/>
                    </a:cubicBezTo>
                    <a:cubicBezTo>
                      <a:pt x="436846" y="447535"/>
                      <a:pt x="78722" y="218248"/>
                      <a:pt x="27133" y="140318"/>
                    </a:cubicBezTo>
                    <a:cubicBezTo>
                      <a:pt x="-709" y="98282"/>
                      <a:pt x="-7124" y="64162"/>
                      <a:pt x="7889" y="39186"/>
                    </a:cubicBezTo>
                    <a:cubicBezTo>
                      <a:pt x="30408" y="1654"/>
                      <a:pt x="92916" y="-802"/>
                      <a:pt x="121304" y="153"/>
                    </a:cubicBezTo>
                    <a:cubicBezTo>
                      <a:pt x="128674" y="426"/>
                      <a:pt x="134270" y="6704"/>
                      <a:pt x="133587" y="14074"/>
                    </a:cubicBezTo>
                    <a:lnTo>
                      <a:pt x="133587" y="14074"/>
                    </a:lnTo>
                    <a:cubicBezTo>
                      <a:pt x="132905" y="20761"/>
                      <a:pt x="127309" y="25674"/>
                      <a:pt x="120622" y="25538"/>
                    </a:cubicBezTo>
                    <a:cubicBezTo>
                      <a:pt x="92643" y="24719"/>
                      <a:pt x="43920" y="28404"/>
                      <a:pt x="29589" y="52288"/>
                    </a:cubicBezTo>
                    <a:cubicBezTo>
                      <a:pt x="17579" y="72214"/>
                      <a:pt x="33138" y="103605"/>
                      <a:pt x="48287" y="126397"/>
                    </a:cubicBezTo>
                    <a:cubicBezTo>
                      <a:pt x="89913" y="189178"/>
                      <a:pt x="389351" y="390759"/>
                      <a:pt x="760441" y="605852"/>
                    </a:cubicBezTo>
                    <a:cubicBezTo>
                      <a:pt x="1079941" y="791056"/>
                      <a:pt x="1493340" y="1007923"/>
                      <a:pt x="1695194" y="1061286"/>
                    </a:cubicBezTo>
                    <a:lnTo>
                      <a:pt x="1688779" y="108571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58" name="任意多边形: 形状 9857">
                <a:extLst>
                  <a:ext uri="{FF2B5EF4-FFF2-40B4-BE49-F238E27FC236}">
                    <a16:creationId xmlns:a16="http://schemas.microsoft.com/office/drawing/2014/main" id="{80D9EB4B-4E2E-47A8-B929-2D566A3A333E}"/>
                  </a:ext>
                </a:extLst>
              </p:cNvPr>
              <p:cNvSpPr/>
              <p:nvPr/>
            </p:nvSpPr>
            <p:spPr>
              <a:xfrm>
                <a:off x="9740447" y="5437119"/>
                <a:ext cx="272221" cy="434993"/>
              </a:xfrm>
              <a:custGeom>
                <a:avLst/>
                <a:gdLst>
                  <a:gd name="connsiteX0" fmla="*/ 155724 w 272221"/>
                  <a:gd name="connsiteY0" fmla="*/ 6062 h 434993"/>
                  <a:gd name="connsiteX1" fmla="*/ 0 w 272221"/>
                  <a:gd name="connsiteY1" fmla="*/ 403902 h 434993"/>
                  <a:gd name="connsiteX2" fmla="*/ 142076 w 272221"/>
                  <a:gd name="connsiteY2" fmla="*/ 422327 h 434993"/>
                  <a:gd name="connsiteX3" fmla="*/ 265181 w 272221"/>
                  <a:gd name="connsiteY3" fmla="*/ 26671 h 434993"/>
                  <a:gd name="connsiteX4" fmla="*/ 155724 w 272221"/>
                  <a:gd name="connsiteY4" fmla="*/ 6062 h 434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21" h="434993">
                    <a:moveTo>
                      <a:pt x="155724" y="6062"/>
                    </a:moveTo>
                    <a:cubicBezTo>
                      <a:pt x="132522" y="159603"/>
                      <a:pt x="89394" y="298675"/>
                      <a:pt x="0" y="403902"/>
                    </a:cubicBezTo>
                    <a:cubicBezTo>
                      <a:pt x="0" y="403902"/>
                      <a:pt x="73290" y="459176"/>
                      <a:pt x="142076" y="422327"/>
                    </a:cubicBezTo>
                    <a:cubicBezTo>
                      <a:pt x="194757" y="394075"/>
                      <a:pt x="300393" y="155917"/>
                      <a:pt x="265181" y="26671"/>
                    </a:cubicBezTo>
                    <a:cubicBezTo>
                      <a:pt x="222326" y="1968"/>
                      <a:pt x="184931" y="-7176"/>
                      <a:pt x="155724" y="6062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859" name="组合 9858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8588691" y="2568908"/>
              <a:ext cx="2071327" cy="1970501"/>
              <a:chOff x="7774073" y="2568908"/>
              <a:chExt cx="2071327" cy="1970501"/>
            </a:xfrm>
            <a:solidFill>
              <a:schemeClr val="accent1"/>
            </a:solidFill>
          </p:grpSpPr>
          <p:sp>
            <p:nvSpPr>
              <p:cNvPr id="9860" name="任意多边形: 形状 9859">
                <a:extLst>
                  <a:ext uri="{FF2B5EF4-FFF2-40B4-BE49-F238E27FC236}">
                    <a16:creationId xmlns:a16="http://schemas.microsoft.com/office/drawing/2014/main" id="{6D29B817-5F14-4706-9229-3E8AADEE83A7}"/>
                  </a:ext>
                </a:extLst>
              </p:cNvPr>
              <p:cNvSpPr/>
              <p:nvPr/>
            </p:nvSpPr>
            <p:spPr>
              <a:xfrm>
                <a:off x="7774073" y="2568908"/>
                <a:ext cx="1377834" cy="1961108"/>
              </a:xfrm>
              <a:custGeom>
                <a:avLst/>
                <a:gdLst>
                  <a:gd name="connsiteX0" fmla="*/ 1365588 w 1377834"/>
                  <a:gd name="connsiteY0" fmla="*/ 1757592 h 1961108"/>
                  <a:gd name="connsiteX1" fmla="*/ 203868 w 1377834"/>
                  <a:gd name="connsiteY1" fmla="*/ 1665605 h 1961108"/>
                  <a:gd name="connsiteX2" fmla="*/ 2287 w 1377834"/>
                  <a:gd name="connsiteY2" fmla="*/ 1259030 h 1961108"/>
                  <a:gd name="connsiteX3" fmla="*/ 9384 w 1377834"/>
                  <a:gd name="connsiteY3" fmla="*/ 1110267 h 1961108"/>
                  <a:gd name="connsiteX4" fmla="*/ 736414 w 1377834"/>
                  <a:gd name="connsiteY4" fmla="*/ 0 h 1961108"/>
                  <a:gd name="connsiteX5" fmla="*/ 571410 w 1377834"/>
                  <a:gd name="connsiteY5" fmla="*/ 812330 h 1961108"/>
                  <a:gd name="connsiteX6" fmla="*/ 848737 w 1377834"/>
                  <a:gd name="connsiteY6" fmla="*/ 1336824 h 1961108"/>
                  <a:gd name="connsiteX7" fmla="*/ 1365588 w 1377834"/>
                  <a:gd name="connsiteY7" fmla="*/ 1757592 h 196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7834" h="1961108">
                    <a:moveTo>
                      <a:pt x="1365588" y="1757592"/>
                    </a:moveTo>
                    <a:cubicBezTo>
                      <a:pt x="1316046" y="2055665"/>
                      <a:pt x="572911" y="2027413"/>
                      <a:pt x="203868" y="1665605"/>
                    </a:cubicBezTo>
                    <a:cubicBezTo>
                      <a:pt x="95094" y="1559013"/>
                      <a:pt x="18801" y="1423625"/>
                      <a:pt x="2287" y="1259030"/>
                    </a:cubicBezTo>
                    <a:cubicBezTo>
                      <a:pt x="-2490" y="1211535"/>
                      <a:pt x="376" y="1161720"/>
                      <a:pt x="9384" y="1110267"/>
                    </a:cubicBezTo>
                    <a:cubicBezTo>
                      <a:pt x="94548" y="622486"/>
                      <a:pt x="736414" y="0"/>
                      <a:pt x="736414" y="0"/>
                    </a:cubicBezTo>
                    <a:cubicBezTo>
                      <a:pt x="686326" y="116145"/>
                      <a:pt x="571410" y="812330"/>
                      <a:pt x="571410" y="812330"/>
                    </a:cubicBezTo>
                    <a:cubicBezTo>
                      <a:pt x="571410" y="812330"/>
                      <a:pt x="467821" y="1144660"/>
                      <a:pt x="848737" y="1336824"/>
                    </a:cubicBezTo>
                    <a:cubicBezTo>
                      <a:pt x="1239617" y="1533901"/>
                      <a:pt x="1429734" y="1371763"/>
                      <a:pt x="1365588" y="175759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1" name="任意多边形: 形状 9860">
                <a:extLst>
                  <a:ext uri="{FF2B5EF4-FFF2-40B4-BE49-F238E27FC236}">
                    <a16:creationId xmlns:a16="http://schemas.microsoft.com/office/drawing/2014/main" id="{16A0947E-9E67-4378-8C68-B5AF74B6063D}"/>
                  </a:ext>
                </a:extLst>
              </p:cNvPr>
              <p:cNvSpPr/>
              <p:nvPr/>
            </p:nvSpPr>
            <p:spPr>
              <a:xfrm>
                <a:off x="7774073" y="3679311"/>
                <a:ext cx="240625" cy="555337"/>
              </a:xfrm>
              <a:custGeom>
                <a:avLst/>
                <a:gdLst>
                  <a:gd name="connsiteX0" fmla="*/ 203868 w 240625"/>
                  <a:gd name="connsiteY0" fmla="*/ 555338 h 555337"/>
                  <a:gd name="connsiteX1" fmla="*/ 2287 w 240625"/>
                  <a:gd name="connsiteY1" fmla="*/ 148764 h 555337"/>
                  <a:gd name="connsiteX2" fmla="*/ 9384 w 240625"/>
                  <a:gd name="connsiteY2" fmla="*/ 0 h 555337"/>
                  <a:gd name="connsiteX3" fmla="*/ 203868 w 240625"/>
                  <a:gd name="connsiteY3" fmla="*/ 555338 h 55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625" h="555337">
                    <a:moveTo>
                      <a:pt x="203868" y="555338"/>
                    </a:moveTo>
                    <a:cubicBezTo>
                      <a:pt x="95094" y="448747"/>
                      <a:pt x="18801" y="313359"/>
                      <a:pt x="2287" y="148764"/>
                    </a:cubicBezTo>
                    <a:cubicBezTo>
                      <a:pt x="-2490" y="101268"/>
                      <a:pt x="376" y="51453"/>
                      <a:pt x="9384" y="0"/>
                    </a:cubicBezTo>
                    <a:cubicBezTo>
                      <a:pt x="124710" y="94444"/>
                      <a:pt x="322879" y="303532"/>
                      <a:pt x="203868" y="55533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2" name="任意多边形: 形状 9861">
                <a:extLst>
                  <a:ext uri="{FF2B5EF4-FFF2-40B4-BE49-F238E27FC236}">
                    <a16:creationId xmlns:a16="http://schemas.microsoft.com/office/drawing/2014/main" id="{8400E444-66FD-411C-B924-9422449460C3}"/>
                  </a:ext>
                </a:extLst>
              </p:cNvPr>
              <p:cNvSpPr/>
              <p:nvPr/>
            </p:nvSpPr>
            <p:spPr>
              <a:xfrm>
                <a:off x="8355489" y="3125160"/>
                <a:ext cx="640278" cy="912002"/>
              </a:xfrm>
              <a:custGeom>
                <a:avLst/>
                <a:gdLst>
                  <a:gd name="connsiteX0" fmla="*/ 629267 w 640278"/>
                  <a:gd name="connsiteY0" fmla="*/ 912002 h 912002"/>
                  <a:gd name="connsiteX1" fmla="*/ 626947 w 640278"/>
                  <a:gd name="connsiteY1" fmla="*/ 911729 h 912002"/>
                  <a:gd name="connsiteX2" fmla="*/ 1048 w 640278"/>
                  <a:gd name="connsiteY2" fmla="*/ 422448 h 912002"/>
                  <a:gd name="connsiteX3" fmla="*/ 100133 w 640278"/>
                  <a:gd name="connsiteY3" fmla="*/ 130517 h 912002"/>
                  <a:gd name="connsiteX4" fmla="*/ 212456 w 640278"/>
                  <a:gd name="connsiteY4" fmla="*/ 2771 h 912002"/>
                  <a:gd name="connsiteX5" fmla="*/ 228151 w 640278"/>
                  <a:gd name="connsiteY5" fmla="*/ 3727 h 912002"/>
                  <a:gd name="connsiteX6" fmla="*/ 227196 w 640278"/>
                  <a:gd name="connsiteY6" fmla="*/ 19422 h 912002"/>
                  <a:gd name="connsiteX7" fmla="*/ 23158 w 640278"/>
                  <a:gd name="connsiteY7" fmla="*/ 420401 h 912002"/>
                  <a:gd name="connsiteX8" fmla="*/ 151859 w 640278"/>
                  <a:gd name="connsiteY8" fmla="*/ 696910 h 912002"/>
                  <a:gd name="connsiteX9" fmla="*/ 631451 w 640278"/>
                  <a:gd name="connsiteY9" fmla="*/ 889756 h 912002"/>
                  <a:gd name="connsiteX10" fmla="*/ 640049 w 640278"/>
                  <a:gd name="connsiteY10" fmla="*/ 902995 h 912002"/>
                  <a:gd name="connsiteX11" fmla="*/ 629267 w 640278"/>
                  <a:gd name="connsiteY11" fmla="*/ 912002 h 912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0278" h="912002">
                    <a:moveTo>
                      <a:pt x="629267" y="912002"/>
                    </a:moveTo>
                    <a:cubicBezTo>
                      <a:pt x="628448" y="912002"/>
                      <a:pt x="627766" y="911866"/>
                      <a:pt x="626947" y="911729"/>
                    </a:cubicBezTo>
                    <a:cubicBezTo>
                      <a:pt x="131796" y="808004"/>
                      <a:pt x="20292" y="647640"/>
                      <a:pt x="1048" y="422448"/>
                    </a:cubicBezTo>
                    <a:cubicBezTo>
                      <a:pt x="-6594" y="333190"/>
                      <a:pt x="27662" y="232331"/>
                      <a:pt x="100133" y="130517"/>
                    </a:cubicBezTo>
                    <a:cubicBezTo>
                      <a:pt x="154452" y="54224"/>
                      <a:pt x="210136" y="4818"/>
                      <a:pt x="212456" y="2771"/>
                    </a:cubicBezTo>
                    <a:cubicBezTo>
                      <a:pt x="217097" y="-1323"/>
                      <a:pt x="224057" y="-777"/>
                      <a:pt x="228151" y="3727"/>
                    </a:cubicBezTo>
                    <a:cubicBezTo>
                      <a:pt x="232246" y="8367"/>
                      <a:pt x="231700" y="15327"/>
                      <a:pt x="227196" y="19422"/>
                    </a:cubicBezTo>
                    <a:cubicBezTo>
                      <a:pt x="225012" y="21332"/>
                      <a:pt x="5825" y="216909"/>
                      <a:pt x="23158" y="420401"/>
                    </a:cubicBezTo>
                    <a:cubicBezTo>
                      <a:pt x="33667" y="542960"/>
                      <a:pt x="73383" y="628260"/>
                      <a:pt x="151859" y="696910"/>
                    </a:cubicBezTo>
                    <a:cubicBezTo>
                      <a:pt x="245348" y="778661"/>
                      <a:pt x="402164" y="841715"/>
                      <a:pt x="631451" y="889756"/>
                    </a:cubicBezTo>
                    <a:cubicBezTo>
                      <a:pt x="637456" y="890984"/>
                      <a:pt x="641277" y="896853"/>
                      <a:pt x="640049" y="902995"/>
                    </a:cubicBezTo>
                    <a:cubicBezTo>
                      <a:pt x="639093" y="908454"/>
                      <a:pt x="634453" y="912002"/>
                      <a:pt x="629267" y="9120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3" name="任意多边形: 形状 9862">
                <a:extLst>
                  <a:ext uri="{FF2B5EF4-FFF2-40B4-BE49-F238E27FC236}">
                    <a16:creationId xmlns:a16="http://schemas.microsoft.com/office/drawing/2014/main" id="{784548CB-709B-4E58-A2C1-3A2596F800E0}"/>
                  </a:ext>
                </a:extLst>
              </p:cNvPr>
              <p:cNvSpPr/>
              <p:nvPr/>
            </p:nvSpPr>
            <p:spPr>
              <a:xfrm>
                <a:off x="8440621" y="3212890"/>
                <a:ext cx="169347" cy="80318"/>
              </a:xfrm>
              <a:custGeom>
                <a:avLst/>
                <a:gdLst>
                  <a:gd name="connsiteX0" fmla="*/ 11179 w 169347"/>
                  <a:gd name="connsiteY0" fmla="*/ 80318 h 80318"/>
                  <a:gd name="connsiteX1" fmla="*/ 807 w 169347"/>
                  <a:gd name="connsiteY1" fmla="*/ 73221 h 80318"/>
                  <a:gd name="connsiteX2" fmla="*/ 7085 w 169347"/>
                  <a:gd name="connsiteY2" fmla="*/ 58754 h 80318"/>
                  <a:gd name="connsiteX3" fmla="*/ 154074 w 169347"/>
                  <a:gd name="connsiteY3" fmla="*/ 750 h 80318"/>
                  <a:gd name="connsiteX4" fmla="*/ 168541 w 169347"/>
                  <a:gd name="connsiteY4" fmla="*/ 7029 h 80318"/>
                  <a:gd name="connsiteX5" fmla="*/ 162263 w 169347"/>
                  <a:gd name="connsiteY5" fmla="*/ 21495 h 80318"/>
                  <a:gd name="connsiteX6" fmla="*/ 15274 w 169347"/>
                  <a:gd name="connsiteY6" fmla="*/ 79499 h 80318"/>
                  <a:gd name="connsiteX7" fmla="*/ 11179 w 169347"/>
                  <a:gd name="connsiteY7" fmla="*/ 80318 h 8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347" h="80318">
                    <a:moveTo>
                      <a:pt x="11179" y="80318"/>
                    </a:moveTo>
                    <a:cubicBezTo>
                      <a:pt x="6675" y="80318"/>
                      <a:pt x="2581" y="77589"/>
                      <a:pt x="807" y="73221"/>
                    </a:cubicBezTo>
                    <a:cubicBezTo>
                      <a:pt x="-1514" y="67489"/>
                      <a:pt x="1353" y="61075"/>
                      <a:pt x="7085" y="58754"/>
                    </a:cubicBezTo>
                    <a:lnTo>
                      <a:pt x="154074" y="750"/>
                    </a:lnTo>
                    <a:cubicBezTo>
                      <a:pt x="159806" y="-1433"/>
                      <a:pt x="166221" y="1296"/>
                      <a:pt x="168541" y="7029"/>
                    </a:cubicBezTo>
                    <a:cubicBezTo>
                      <a:pt x="170861" y="12761"/>
                      <a:pt x="167995" y="19175"/>
                      <a:pt x="162263" y="21495"/>
                    </a:cubicBezTo>
                    <a:lnTo>
                      <a:pt x="15274" y="79499"/>
                    </a:lnTo>
                    <a:cubicBezTo>
                      <a:pt x="14045" y="80182"/>
                      <a:pt x="12544" y="80318"/>
                      <a:pt x="11179" y="803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4" name="任意多边形: 形状 9863">
                <a:extLst>
                  <a:ext uri="{FF2B5EF4-FFF2-40B4-BE49-F238E27FC236}">
                    <a16:creationId xmlns:a16="http://schemas.microsoft.com/office/drawing/2014/main" id="{99C5E260-87A3-438B-8D36-E2179910AC9C}"/>
                  </a:ext>
                </a:extLst>
              </p:cNvPr>
              <p:cNvSpPr/>
              <p:nvPr/>
            </p:nvSpPr>
            <p:spPr>
              <a:xfrm>
                <a:off x="8497449" y="4440913"/>
                <a:ext cx="573519" cy="98496"/>
              </a:xfrm>
              <a:custGeom>
                <a:avLst/>
                <a:gdLst>
                  <a:gd name="connsiteX0" fmla="*/ 247102 w 573519"/>
                  <a:gd name="connsiteY0" fmla="*/ 98496 h 98496"/>
                  <a:gd name="connsiteX1" fmla="*/ 7852 w 573519"/>
                  <a:gd name="connsiteY1" fmla="*/ 61783 h 98496"/>
                  <a:gd name="connsiteX2" fmla="*/ 482 w 573519"/>
                  <a:gd name="connsiteY2" fmla="*/ 47862 h 98496"/>
                  <a:gd name="connsiteX3" fmla="*/ 14403 w 573519"/>
                  <a:gd name="connsiteY3" fmla="*/ 40492 h 98496"/>
                  <a:gd name="connsiteX4" fmla="*/ 406510 w 573519"/>
                  <a:gd name="connsiteY4" fmla="*/ 58371 h 98496"/>
                  <a:gd name="connsiteX5" fmla="*/ 556366 w 573519"/>
                  <a:gd name="connsiteY5" fmla="*/ 1731 h 98496"/>
                  <a:gd name="connsiteX6" fmla="*/ 571788 w 573519"/>
                  <a:gd name="connsiteY6" fmla="*/ 5143 h 98496"/>
                  <a:gd name="connsiteX7" fmla="*/ 568376 w 573519"/>
                  <a:gd name="connsiteY7" fmla="*/ 20429 h 98496"/>
                  <a:gd name="connsiteX8" fmla="*/ 412652 w 573519"/>
                  <a:gd name="connsiteY8" fmla="*/ 79798 h 98496"/>
                  <a:gd name="connsiteX9" fmla="*/ 247102 w 573519"/>
                  <a:gd name="connsiteY9" fmla="*/ 98496 h 9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3519" h="98496">
                    <a:moveTo>
                      <a:pt x="247102" y="98496"/>
                    </a:moveTo>
                    <a:cubicBezTo>
                      <a:pt x="177360" y="98496"/>
                      <a:pt x="96427" y="88942"/>
                      <a:pt x="7852" y="61783"/>
                    </a:cubicBezTo>
                    <a:cubicBezTo>
                      <a:pt x="1983" y="60009"/>
                      <a:pt x="-1292" y="53731"/>
                      <a:pt x="482" y="47862"/>
                    </a:cubicBezTo>
                    <a:cubicBezTo>
                      <a:pt x="2256" y="41993"/>
                      <a:pt x="8534" y="38718"/>
                      <a:pt x="14403" y="40492"/>
                    </a:cubicBezTo>
                    <a:cubicBezTo>
                      <a:pt x="181455" y="91808"/>
                      <a:pt x="319846" y="78570"/>
                      <a:pt x="406510" y="58371"/>
                    </a:cubicBezTo>
                    <a:cubicBezTo>
                      <a:pt x="500545" y="36534"/>
                      <a:pt x="555820" y="2004"/>
                      <a:pt x="556366" y="1731"/>
                    </a:cubicBezTo>
                    <a:cubicBezTo>
                      <a:pt x="561552" y="-1544"/>
                      <a:pt x="568376" y="-43"/>
                      <a:pt x="571788" y="5143"/>
                    </a:cubicBezTo>
                    <a:cubicBezTo>
                      <a:pt x="575064" y="10330"/>
                      <a:pt x="573562" y="17154"/>
                      <a:pt x="568376" y="20429"/>
                    </a:cubicBezTo>
                    <a:cubicBezTo>
                      <a:pt x="566056" y="21930"/>
                      <a:pt x="510099" y="57006"/>
                      <a:pt x="412652" y="79798"/>
                    </a:cubicBezTo>
                    <a:cubicBezTo>
                      <a:pt x="369115" y="90034"/>
                      <a:pt x="313022" y="98496"/>
                      <a:pt x="247102" y="9849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5" name="任意多边形: 形状 9864">
                <a:extLst>
                  <a:ext uri="{FF2B5EF4-FFF2-40B4-BE49-F238E27FC236}">
                    <a16:creationId xmlns:a16="http://schemas.microsoft.com/office/drawing/2014/main" id="{4936530C-DCD0-4C0C-A652-D33A78CEC8DF}"/>
                  </a:ext>
                </a:extLst>
              </p:cNvPr>
              <p:cNvSpPr/>
              <p:nvPr/>
            </p:nvSpPr>
            <p:spPr>
              <a:xfrm>
                <a:off x="8136623" y="3695465"/>
                <a:ext cx="303086" cy="70101"/>
              </a:xfrm>
              <a:custGeom>
                <a:avLst/>
                <a:gdLst>
                  <a:gd name="connsiteX0" fmla="*/ 291976 w 303086"/>
                  <a:gd name="connsiteY0" fmla="*/ 70102 h 70101"/>
                  <a:gd name="connsiteX1" fmla="*/ 287063 w 303086"/>
                  <a:gd name="connsiteY1" fmla="*/ 69010 h 70101"/>
                  <a:gd name="connsiteX2" fmla="*/ 12192 w 303086"/>
                  <a:gd name="connsiteY2" fmla="*/ 24654 h 70101"/>
                  <a:gd name="connsiteX3" fmla="*/ 45 w 303086"/>
                  <a:gd name="connsiteY3" fmla="*/ 14554 h 70101"/>
                  <a:gd name="connsiteX4" fmla="*/ 10144 w 303086"/>
                  <a:gd name="connsiteY4" fmla="*/ 2408 h 70101"/>
                  <a:gd name="connsiteX5" fmla="*/ 296889 w 303086"/>
                  <a:gd name="connsiteY5" fmla="*/ 48947 h 70101"/>
                  <a:gd name="connsiteX6" fmla="*/ 301939 w 303086"/>
                  <a:gd name="connsiteY6" fmla="*/ 63824 h 70101"/>
                  <a:gd name="connsiteX7" fmla="*/ 291976 w 303086"/>
                  <a:gd name="connsiteY7" fmla="*/ 70102 h 70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086" h="70101">
                    <a:moveTo>
                      <a:pt x="291976" y="70102"/>
                    </a:moveTo>
                    <a:cubicBezTo>
                      <a:pt x="290338" y="70102"/>
                      <a:pt x="288700" y="69692"/>
                      <a:pt x="287063" y="69010"/>
                    </a:cubicBezTo>
                    <a:cubicBezTo>
                      <a:pt x="285834" y="68464"/>
                      <a:pt x="165186" y="10323"/>
                      <a:pt x="12192" y="24654"/>
                    </a:cubicBezTo>
                    <a:cubicBezTo>
                      <a:pt x="6050" y="25200"/>
                      <a:pt x="591" y="20696"/>
                      <a:pt x="45" y="14554"/>
                    </a:cubicBezTo>
                    <a:cubicBezTo>
                      <a:pt x="-501" y="8413"/>
                      <a:pt x="4003" y="2954"/>
                      <a:pt x="10144" y="2408"/>
                    </a:cubicBezTo>
                    <a:cubicBezTo>
                      <a:pt x="169690" y="-12469"/>
                      <a:pt x="291840" y="46354"/>
                      <a:pt x="296889" y="48947"/>
                    </a:cubicBezTo>
                    <a:cubicBezTo>
                      <a:pt x="302349" y="51677"/>
                      <a:pt x="304669" y="58364"/>
                      <a:pt x="301939" y="63824"/>
                    </a:cubicBezTo>
                    <a:cubicBezTo>
                      <a:pt x="300028" y="67782"/>
                      <a:pt x="296070" y="70102"/>
                      <a:pt x="291976" y="701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66" name="任意多边形: 形状 9865">
                <a:extLst>
                  <a:ext uri="{FF2B5EF4-FFF2-40B4-BE49-F238E27FC236}">
                    <a16:creationId xmlns:a16="http://schemas.microsoft.com/office/drawing/2014/main" id="{57CBB9FA-74D9-49C3-97FA-03C00F6C1B66}"/>
                  </a:ext>
                </a:extLst>
              </p:cNvPr>
              <p:cNvSpPr/>
              <p:nvPr/>
            </p:nvSpPr>
            <p:spPr>
              <a:xfrm>
                <a:off x="8252598" y="3623139"/>
                <a:ext cx="181989" cy="142427"/>
              </a:xfrm>
              <a:custGeom>
                <a:avLst/>
                <a:gdLst>
                  <a:gd name="connsiteX0" fmla="*/ 170815 w 181989"/>
                  <a:gd name="connsiteY0" fmla="*/ 142427 h 142427"/>
                  <a:gd name="connsiteX1" fmla="*/ 162217 w 181989"/>
                  <a:gd name="connsiteY1" fmla="*/ 138333 h 142427"/>
                  <a:gd name="connsiteX2" fmla="*/ 6493 w 181989"/>
                  <a:gd name="connsiteY2" fmla="*/ 21233 h 142427"/>
                  <a:gd name="connsiteX3" fmla="*/ 1034 w 181989"/>
                  <a:gd name="connsiteY3" fmla="*/ 6493 h 142427"/>
                  <a:gd name="connsiteX4" fmla="*/ 15773 w 181989"/>
                  <a:gd name="connsiteY4" fmla="*/ 1034 h 142427"/>
                  <a:gd name="connsiteX5" fmla="*/ 179413 w 181989"/>
                  <a:gd name="connsiteY5" fmla="*/ 124139 h 142427"/>
                  <a:gd name="connsiteX6" fmla="*/ 177912 w 181989"/>
                  <a:gd name="connsiteY6" fmla="*/ 139834 h 142427"/>
                  <a:gd name="connsiteX7" fmla="*/ 170815 w 181989"/>
                  <a:gd name="connsiteY7" fmla="*/ 142427 h 1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1989" h="142427">
                    <a:moveTo>
                      <a:pt x="170815" y="142427"/>
                    </a:moveTo>
                    <a:cubicBezTo>
                      <a:pt x="167676" y="142427"/>
                      <a:pt x="164400" y="141062"/>
                      <a:pt x="162217" y="138333"/>
                    </a:cubicBezTo>
                    <a:cubicBezTo>
                      <a:pt x="101483" y="65043"/>
                      <a:pt x="7448" y="21642"/>
                      <a:pt x="6493" y="21233"/>
                    </a:cubicBezTo>
                    <a:cubicBezTo>
                      <a:pt x="897" y="18640"/>
                      <a:pt x="-1559" y="12089"/>
                      <a:pt x="1034" y="6493"/>
                    </a:cubicBezTo>
                    <a:cubicBezTo>
                      <a:pt x="3627" y="897"/>
                      <a:pt x="10178" y="-1559"/>
                      <a:pt x="15773" y="1034"/>
                    </a:cubicBezTo>
                    <a:cubicBezTo>
                      <a:pt x="19868" y="2808"/>
                      <a:pt x="115268" y="46755"/>
                      <a:pt x="179413" y="124139"/>
                    </a:cubicBezTo>
                    <a:cubicBezTo>
                      <a:pt x="183371" y="128916"/>
                      <a:pt x="182689" y="135876"/>
                      <a:pt x="177912" y="139834"/>
                    </a:cubicBezTo>
                    <a:cubicBezTo>
                      <a:pt x="175865" y="141472"/>
                      <a:pt x="173408" y="142427"/>
                      <a:pt x="170815" y="142427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9867" name="组合 9866">
                <a:extLst>
                  <a:ext uri="{FF2B5EF4-FFF2-40B4-BE49-F238E27FC236}">
                    <a16:creationId xmlns:a16="http://schemas.microsoft.com/office/drawing/2014/main" id="{259356AE-3F16-4A0F-AE90-670FE51B9627}"/>
                  </a:ext>
                </a:extLst>
              </p:cNvPr>
              <p:cNvGrpSpPr/>
              <p:nvPr/>
            </p:nvGrpSpPr>
            <p:grpSpPr>
              <a:xfrm>
                <a:off x="8999960" y="3363223"/>
                <a:ext cx="845440" cy="1140053"/>
                <a:chOff x="8999960" y="3363223"/>
                <a:chExt cx="845440" cy="1140053"/>
              </a:xfrm>
              <a:solidFill>
                <a:schemeClr val="accent1"/>
              </a:solidFill>
            </p:grpSpPr>
            <p:grpSp>
              <p:nvGrpSpPr>
                <p:cNvPr id="9868" name="组合 9867">
                  <a:extLst>
                    <a:ext uri="{FF2B5EF4-FFF2-40B4-BE49-F238E27FC236}">
                      <a16:creationId xmlns:a16="http://schemas.microsoft.com/office/drawing/2014/main" id="{259356AE-3F16-4A0F-AE90-670FE51B9627}"/>
                    </a:ext>
                  </a:extLst>
                </p:cNvPr>
                <p:cNvGrpSpPr/>
                <p:nvPr/>
              </p:nvGrpSpPr>
              <p:grpSpPr>
                <a:xfrm>
                  <a:off x="9298387" y="3363223"/>
                  <a:ext cx="547012" cy="1140053"/>
                  <a:chOff x="9298387" y="3363223"/>
                  <a:chExt cx="547012" cy="1140053"/>
                </a:xfrm>
                <a:solidFill>
                  <a:schemeClr val="accent1"/>
                </a:solidFill>
              </p:grpSpPr>
              <p:sp>
                <p:nvSpPr>
                  <p:cNvPr id="9869" name="任意多边形: 形状 9868">
                    <a:extLst>
                      <a:ext uri="{FF2B5EF4-FFF2-40B4-BE49-F238E27FC236}">
                        <a16:creationId xmlns:a16="http://schemas.microsoft.com/office/drawing/2014/main" id="{5335F29B-33C3-49EE-BE8C-6534D7901862}"/>
                      </a:ext>
                    </a:extLst>
                  </p:cNvPr>
                  <p:cNvSpPr/>
                  <p:nvPr/>
                </p:nvSpPr>
                <p:spPr>
                  <a:xfrm>
                    <a:off x="9298387" y="3983935"/>
                    <a:ext cx="366722" cy="392516"/>
                  </a:xfrm>
                  <a:custGeom>
                    <a:avLst/>
                    <a:gdLst>
                      <a:gd name="connsiteX0" fmla="*/ 0 w 366722"/>
                      <a:gd name="connsiteY0" fmla="*/ 280467 h 392516"/>
                      <a:gd name="connsiteX1" fmla="*/ 0 w 366722"/>
                      <a:gd name="connsiteY1" fmla="*/ 112050 h 392516"/>
                      <a:gd name="connsiteX2" fmla="*/ 112050 w 366722"/>
                      <a:gd name="connsiteY2" fmla="*/ 0 h 392516"/>
                      <a:gd name="connsiteX3" fmla="*/ 254672 w 366722"/>
                      <a:gd name="connsiteY3" fmla="*/ 0 h 392516"/>
                      <a:gd name="connsiteX4" fmla="*/ 366722 w 366722"/>
                      <a:gd name="connsiteY4" fmla="*/ 112050 h 392516"/>
                      <a:gd name="connsiteX5" fmla="*/ 366722 w 366722"/>
                      <a:gd name="connsiteY5" fmla="*/ 280467 h 392516"/>
                      <a:gd name="connsiteX6" fmla="*/ 254672 w 366722"/>
                      <a:gd name="connsiteY6" fmla="*/ 392517 h 392516"/>
                      <a:gd name="connsiteX7" fmla="*/ 112050 w 366722"/>
                      <a:gd name="connsiteY7" fmla="*/ 392517 h 392516"/>
                      <a:gd name="connsiteX8" fmla="*/ 0 w 366722"/>
                      <a:gd name="connsiteY8" fmla="*/ 280467 h 392516"/>
                      <a:gd name="connsiteX9" fmla="*/ 111914 w 366722"/>
                      <a:gd name="connsiteY9" fmla="*/ 57458 h 392516"/>
                      <a:gd name="connsiteX10" fmla="*/ 57458 w 366722"/>
                      <a:gd name="connsiteY10" fmla="*/ 111914 h 392516"/>
                      <a:gd name="connsiteX11" fmla="*/ 57458 w 366722"/>
                      <a:gd name="connsiteY11" fmla="*/ 280330 h 392516"/>
                      <a:gd name="connsiteX12" fmla="*/ 111914 w 366722"/>
                      <a:gd name="connsiteY12" fmla="*/ 334786 h 392516"/>
                      <a:gd name="connsiteX13" fmla="*/ 254536 w 366722"/>
                      <a:gd name="connsiteY13" fmla="*/ 334786 h 392516"/>
                      <a:gd name="connsiteX14" fmla="*/ 308991 w 366722"/>
                      <a:gd name="connsiteY14" fmla="*/ 280330 h 392516"/>
                      <a:gd name="connsiteX15" fmla="*/ 308991 w 366722"/>
                      <a:gd name="connsiteY15" fmla="*/ 111914 h 392516"/>
                      <a:gd name="connsiteX16" fmla="*/ 254536 w 366722"/>
                      <a:gd name="connsiteY16" fmla="*/ 57458 h 392516"/>
                      <a:gd name="connsiteX17" fmla="*/ 111914 w 366722"/>
                      <a:gd name="connsiteY17" fmla="*/ 57458 h 3925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6722" h="392516">
                        <a:moveTo>
                          <a:pt x="0" y="280467"/>
                        </a:moveTo>
                        <a:lnTo>
                          <a:pt x="0" y="112050"/>
                        </a:lnTo>
                        <a:cubicBezTo>
                          <a:pt x="0" y="50361"/>
                          <a:pt x="50225" y="0"/>
                          <a:pt x="112050" y="0"/>
                        </a:cubicBezTo>
                        <a:lnTo>
                          <a:pt x="254672" y="0"/>
                        </a:lnTo>
                        <a:cubicBezTo>
                          <a:pt x="316361" y="0"/>
                          <a:pt x="366722" y="50225"/>
                          <a:pt x="366722" y="112050"/>
                        </a:cubicBezTo>
                        <a:lnTo>
                          <a:pt x="366722" y="280467"/>
                        </a:lnTo>
                        <a:cubicBezTo>
                          <a:pt x="366722" y="342156"/>
                          <a:pt x="316497" y="392517"/>
                          <a:pt x="254672" y="392517"/>
                        </a:cubicBezTo>
                        <a:lnTo>
                          <a:pt x="112050" y="392517"/>
                        </a:lnTo>
                        <a:cubicBezTo>
                          <a:pt x="50225" y="392517"/>
                          <a:pt x="0" y="342292"/>
                          <a:pt x="0" y="280467"/>
                        </a:cubicBezTo>
                        <a:close/>
                        <a:moveTo>
                          <a:pt x="111914" y="57458"/>
                        </a:moveTo>
                        <a:cubicBezTo>
                          <a:pt x="81888" y="57458"/>
                          <a:pt x="57458" y="81888"/>
                          <a:pt x="57458" y="111914"/>
                        </a:cubicBezTo>
                        <a:lnTo>
                          <a:pt x="57458" y="280330"/>
                        </a:lnTo>
                        <a:cubicBezTo>
                          <a:pt x="57458" y="310356"/>
                          <a:pt x="81888" y="334786"/>
                          <a:pt x="111914" y="334786"/>
                        </a:cubicBezTo>
                        <a:lnTo>
                          <a:pt x="254536" y="334786"/>
                        </a:lnTo>
                        <a:cubicBezTo>
                          <a:pt x="284561" y="334786"/>
                          <a:pt x="308991" y="310356"/>
                          <a:pt x="308991" y="280330"/>
                        </a:cubicBezTo>
                        <a:lnTo>
                          <a:pt x="308991" y="111914"/>
                        </a:lnTo>
                        <a:cubicBezTo>
                          <a:pt x="308991" y="81888"/>
                          <a:pt x="284561" y="57458"/>
                          <a:pt x="254536" y="57458"/>
                        </a:cubicBezTo>
                        <a:lnTo>
                          <a:pt x="111914" y="57458"/>
                        </a:lnTo>
                        <a:close/>
                      </a:path>
                    </a:pathLst>
                  </a:custGeom>
                  <a:solidFill>
                    <a:srgbClr val="FD9B15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0" name="任意多边形: 形状 9869">
                    <a:extLst>
                      <a:ext uri="{FF2B5EF4-FFF2-40B4-BE49-F238E27FC236}">
                        <a16:creationId xmlns:a16="http://schemas.microsoft.com/office/drawing/2014/main" id="{CDFE55BF-3A2E-46DE-8346-F37BAD1B8988}"/>
                      </a:ext>
                    </a:extLst>
                  </p:cNvPr>
                  <p:cNvSpPr/>
                  <p:nvPr/>
                </p:nvSpPr>
                <p:spPr>
                  <a:xfrm>
                    <a:off x="9427088" y="3892049"/>
                    <a:ext cx="418311" cy="611226"/>
                  </a:xfrm>
                  <a:custGeom>
                    <a:avLst/>
                    <a:gdLst>
                      <a:gd name="connsiteX0" fmla="*/ 0 w 418311"/>
                      <a:gd name="connsiteY0" fmla="*/ 579802 h 611226"/>
                      <a:gd name="connsiteX1" fmla="*/ 418312 w 418311"/>
                      <a:gd name="connsiteY1" fmla="*/ 579802 h 611226"/>
                      <a:gd name="connsiteX2" fmla="*/ 418312 w 418311"/>
                      <a:gd name="connsiteY2" fmla="*/ 7268 h 611226"/>
                      <a:gd name="connsiteX3" fmla="*/ 0 w 418311"/>
                      <a:gd name="connsiteY3" fmla="*/ 7268 h 611226"/>
                      <a:gd name="connsiteX4" fmla="*/ 0 w 418311"/>
                      <a:gd name="connsiteY4" fmla="*/ 579802 h 6112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8311" h="611226">
                        <a:moveTo>
                          <a:pt x="0" y="579802"/>
                        </a:moveTo>
                        <a:cubicBezTo>
                          <a:pt x="139483" y="621702"/>
                          <a:pt x="278829" y="621702"/>
                          <a:pt x="418312" y="579802"/>
                        </a:cubicBezTo>
                        <a:lnTo>
                          <a:pt x="418312" y="7268"/>
                        </a:lnTo>
                        <a:cubicBezTo>
                          <a:pt x="278829" y="-2423"/>
                          <a:pt x="139483" y="-2423"/>
                          <a:pt x="0" y="7268"/>
                        </a:cubicBezTo>
                        <a:lnTo>
                          <a:pt x="0" y="579802"/>
                        </a:lnTo>
                        <a:close/>
                      </a:path>
                    </a:pathLst>
                  </a:custGeom>
                  <a:solidFill>
                    <a:srgbClr val="FDC228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71" name="任意多边形: 形状 9870">
                    <a:extLst>
                      <a:ext uri="{FF2B5EF4-FFF2-40B4-BE49-F238E27FC236}">
                        <a16:creationId xmlns:a16="http://schemas.microsoft.com/office/drawing/2014/main" id="{B4D25A9A-6A4E-4463-A7F8-96A809B045A8}"/>
                      </a:ext>
                    </a:extLst>
                  </p:cNvPr>
                  <p:cNvSpPr/>
                  <p:nvPr/>
                </p:nvSpPr>
                <p:spPr>
                  <a:xfrm>
                    <a:off x="9610989" y="3363223"/>
                    <a:ext cx="187700" cy="476861"/>
                  </a:xfrm>
                  <a:custGeom>
                    <a:avLst/>
                    <a:gdLst>
                      <a:gd name="connsiteX0" fmla="*/ 121542 w 187700"/>
                      <a:gd name="connsiteY0" fmla="*/ 476862 h 476861"/>
                      <a:gd name="connsiteX1" fmla="*/ 166170 w 187700"/>
                      <a:gd name="connsiteY1" fmla="*/ 310629 h 476861"/>
                      <a:gd name="connsiteX2" fmla="*/ 94109 w 187700"/>
                      <a:gd name="connsiteY2" fmla="*/ 0 h 476861"/>
                      <a:gd name="connsiteX3" fmla="*/ 211 w 187700"/>
                      <a:gd name="connsiteY3" fmla="*/ 161593 h 476861"/>
                      <a:gd name="connsiteX4" fmla="*/ 121542 w 187700"/>
                      <a:gd name="connsiteY4" fmla="*/ 476862 h 476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7700" h="476861">
                        <a:moveTo>
                          <a:pt x="121542" y="476862"/>
                        </a:moveTo>
                        <a:cubicBezTo>
                          <a:pt x="121542" y="476862"/>
                          <a:pt x="233455" y="431823"/>
                          <a:pt x="166170" y="310629"/>
                        </a:cubicBezTo>
                        <a:cubicBezTo>
                          <a:pt x="99022" y="189434"/>
                          <a:pt x="21502" y="94990"/>
                          <a:pt x="94109" y="0"/>
                        </a:cubicBezTo>
                        <a:cubicBezTo>
                          <a:pt x="94109" y="0"/>
                          <a:pt x="7171" y="26341"/>
                          <a:pt x="211" y="161593"/>
                        </a:cubicBezTo>
                        <a:cubicBezTo>
                          <a:pt x="-6750" y="296844"/>
                          <a:pt x="161394" y="389924"/>
                          <a:pt x="121542" y="47686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872" name="任意多边形: 形状 9871">
                  <a:extLst>
                    <a:ext uri="{FF2B5EF4-FFF2-40B4-BE49-F238E27FC236}">
                      <a16:creationId xmlns:a16="http://schemas.microsoft.com/office/drawing/2014/main" id="{B24CB707-C24E-40D7-AB3E-639F2951A899}"/>
                    </a:ext>
                  </a:extLst>
                </p:cNvPr>
                <p:cNvSpPr/>
                <p:nvPr/>
              </p:nvSpPr>
              <p:spPr>
                <a:xfrm>
                  <a:off x="9189340" y="3978453"/>
                  <a:ext cx="210998" cy="113846"/>
                </a:xfrm>
                <a:custGeom>
                  <a:avLst/>
                  <a:gdLst>
                    <a:gd name="connsiteX0" fmla="*/ 0 w 210998"/>
                    <a:gd name="connsiteY0" fmla="*/ 113847 h 113846"/>
                    <a:gd name="connsiteX1" fmla="*/ 109048 w 210998"/>
                    <a:gd name="connsiteY1" fmla="*/ 432 h 113846"/>
                    <a:gd name="connsiteX2" fmla="*/ 210998 w 210998"/>
                    <a:gd name="connsiteY2" fmla="*/ 89144 h 113846"/>
                    <a:gd name="connsiteX3" fmla="*/ 0 w 210998"/>
                    <a:gd name="connsiteY3" fmla="*/ 113847 h 11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0998" h="113846">
                      <a:moveTo>
                        <a:pt x="0" y="113847"/>
                      </a:moveTo>
                      <a:cubicBezTo>
                        <a:pt x="0" y="113847"/>
                        <a:pt x="48451" y="8211"/>
                        <a:pt x="109048" y="432"/>
                      </a:cubicBezTo>
                      <a:cubicBezTo>
                        <a:pt x="169645" y="-7211"/>
                        <a:pt x="210998" y="89144"/>
                        <a:pt x="210998" y="89144"/>
                      </a:cubicBezTo>
                      <a:lnTo>
                        <a:pt x="0" y="113847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73" name="任意多边形: 形状 9872">
                  <a:extLst>
                    <a:ext uri="{FF2B5EF4-FFF2-40B4-BE49-F238E27FC236}">
                      <a16:creationId xmlns:a16="http://schemas.microsoft.com/office/drawing/2014/main" id="{EE23BC11-1753-4372-95D6-0C3B3910FD7C}"/>
                    </a:ext>
                  </a:extLst>
                </p:cNvPr>
                <p:cNvSpPr/>
                <p:nvPr/>
              </p:nvSpPr>
              <p:spPr>
                <a:xfrm>
                  <a:off x="8999960" y="4008319"/>
                  <a:ext cx="480148" cy="374694"/>
                </a:xfrm>
                <a:custGeom>
                  <a:avLst/>
                  <a:gdLst>
                    <a:gd name="connsiteX0" fmla="*/ 380043 w 480148"/>
                    <a:gd name="connsiteY0" fmla="*/ 7416 h 374694"/>
                    <a:gd name="connsiteX1" fmla="*/ 80196 w 480148"/>
                    <a:gd name="connsiteY1" fmla="*/ 90668 h 374694"/>
                    <a:gd name="connsiteX2" fmla="*/ 75828 w 480148"/>
                    <a:gd name="connsiteY2" fmla="*/ 90941 h 374694"/>
                    <a:gd name="connsiteX3" fmla="*/ 22055 w 480148"/>
                    <a:gd name="connsiteY3" fmla="*/ 95036 h 374694"/>
                    <a:gd name="connsiteX4" fmla="*/ 628 w 480148"/>
                    <a:gd name="connsiteY4" fmla="*/ 159591 h 374694"/>
                    <a:gd name="connsiteX5" fmla="*/ 17415 w 480148"/>
                    <a:gd name="connsiteY5" fmla="*/ 270140 h 374694"/>
                    <a:gd name="connsiteX6" fmla="*/ 48123 w 480148"/>
                    <a:gd name="connsiteY6" fmla="*/ 340973 h 374694"/>
                    <a:gd name="connsiteX7" fmla="*/ 110221 w 480148"/>
                    <a:gd name="connsiteY7" fmla="*/ 330464 h 374694"/>
                    <a:gd name="connsiteX8" fmla="*/ 115135 w 480148"/>
                    <a:gd name="connsiteY8" fmla="*/ 332921 h 374694"/>
                    <a:gd name="connsiteX9" fmla="*/ 417029 w 480148"/>
                    <a:gd name="connsiteY9" fmla="*/ 332239 h 374694"/>
                    <a:gd name="connsiteX10" fmla="*/ 380043 w 480148"/>
                    <a:gd name="connsiteY10" fmla="*/ 7416 h 374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80148" h="374694">
                      <a:moveTo>
                        <a:pt x="380043" y="7416"/>
                      </a:moveTo>
                      <a:cubicBezTo>
                        <a:pt x="307981" y="-29434"/>
                        <a:pt x="171910" y="82616"/>
                        <a:pt x="80196" y="90668"/>
                      </a:cubicBezTo>
                      <a:cubicBezTo>
                        <a:pt x="78694" y="90805"/>
                        <a:pt x="77193" y="90941"/>
                        <a:pt x="75828" y="90941"/>
                      </a:cubicBezTo>
                      <a:lnTo>
                        <a:pt x="22055" y="95036"/>
                      </a:lnTo>
                      <a:cubicBezTo>
                        <a:pt x="7588" y="114143"/>
                        <a:pt x="2402" y="135707"/>
                        <a:pt x="628" y="159591"/>
                      </a:cubicBezTo>
                      <a:cubicBezTo>
                        <a:pt x="-2102" y="197123"/>
                        <a:pt x="4176" y="234792"/>
                        <a:pt x="17415" y="270140"/>
                      </a:cubicBezTo>
                      <a:cubicBezTo>
                        <a:pt x="26832" y="295116"/>
                        <a:pt x="38433" y="323777"/>
                        <a:pt x="48123" y="340973"/>
                      </a:cubicBezTo>
                      <a:lnTo>
                        <a:pt x="110221" y="330464"/>
                      </a:lnTo>
                      <a:cubicBezTo>
                        <a:pt x="111859" y="331419"/>
                        <a:pt x="113497" y="332239"/>
                        <a:pt x="115135" y="332921"/>
                      </a:cubicBezTo>
                      <a:cubicBezTo>
                        <a:pt x="115135" y="332921"/>
                        <a:pt x="343056" y="427365"/>
                        <a:pt x="417029" y="332239"/>
                      </a:cubicBezTo>
                      <a:cubicBezTo>
                        <a:pt x="512565" y="209406"/>
                        <a:pt x="499190" y="68286"/>
                        <a:pt x="380043" y="7416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874" name="组合 9873">
              <a:extLst>
                <a:ext uri="{FF2B5EF4-FFF2-40B4-BE49-F238E27FC236}">
                  <a16:creationId xmlns:a16="http://schemas.microsoft.com/office/drawing/2014/main" id="{259356AE-3F16-4A0F-AE90-670FE51B9627}"/>
                </a:ext>
              </a:extLst>
            </p:cNvPr>
            <p:cNvGrpSpPr/>
            <p:nvPr/>
          </p:nvGrpSpPr>
          <p:grpSpPr>
            <a:xfrm flipH="1">
              <a:off x="7623644" y="2505581"/>
              <a:ext cx="939323" cy="2438572"/>
              <a:chOff x="9871124" y="2505581"/>
              <a:chExt cx="939323" cy="2438572"/>
            </a:xfrm>
            <a:solidFill>
              <a:schemeClr val="accent1"/>
            </a:solidFill>
          </p:grpSpPr>
          <p:sp>
            <p:nvSpPr>
              <p:cNvPr id="9875" name="任意多边形: 形状 9874">
                <a:extLst>
                  <a:ext uri="{FF2B5EF4-FFF2-40B4-BE49-F238E27FC236}">
                    <a16:creationId xmlns:a16="http://schemas.microsoft.com/office/drawing/2014/main" id="{8D8221EF-05E5-47BC-8342-EC035391841A}"/>
                  </a:ext>
                </a:extLst>
              </p:cNvPr>
              <p:cNvSpPr/>
              <p:nvPr/>
            </p:nvSpPr>
            <p:spPr>
              <a:xfrm>
                <a:off x="9996757" y="2505581"/>
                <a:ext cx="813690" cy="2018819"/>
              </a:xfrm>
              <a:custGeom>
                <a:avLst/>
                <a:gdLst>
                  <a:gd name="connsiteX0" fmla="*/ 731397 w 813690"/>
                  <a:gd name="connsiteY0" fmla="*/ 1764962 h 2018819"/>
                  <a:gd name="connsiteX1" fmla="*/ 517260 w 813690"/>
                  <a:gd name="connsiteY1" fmla="*/ 1932969 h 2018819"/>
                  <a:gd name="connsiteX2" fmla="*/ 50498 w 813690"/>
                  <a:gd name="connsiteY2" fmla="*/ 1736301 h 2018819"/>
                  <a:gd name="connsiteX3" fmla="*/ 149992 w 813690"/>
                  <a:gd name="connsiteY3" fmla="*/ 857505 h 2018819"/>
                  <a:gd name="connsiteX4" fmla="*/ 0 w 813690"/>
                  <a:gd name="connsiteY4" fmla="*/ 0 h 2018819"/>
                  <a:gd name="connsiteX5" fmla="*/ 739723 w 813690"/>
                  <a:gd name="connsiteY5" fmla="*/ 1128691 h 2018819"/>
                  <a:gd name="connsiteX6" fmla="*/ 789129 w 813690"/>
                  <a:gd name="connsiteY6" fmla="*/ 1300520 h 2018819"/>
                  <a:gd name="connsiteX7" fmla="*/ 731397 w 813690"/>
                  <a:gd name="connsiteY7" fmla="*/ 1764962 h 201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3690" h="2018819">
                    <a:moveTo>
                      <a:pt x="731397" y="1764962"/>
                    </a:moveTo>
                    <a:cubicBezTo>
                      <a:pt x="669845" y="1843848"/>
                      <a:pt x="584818" y="1887931"/>
                      <a:pt x="517260" y="1932969"/>
                    </a:cubicBezTo>
                    <a:cubicBezTo>
                      <a:pt x="354985" y="2041471"/>
                      <a:pt x="25795" y="2110121"/>
                      <a:pt x="50498" y="1736301"/>
                    </a:cubicBezTo>
                    <a:cubicBezTo>
                      <a:pt x="75337" y="1362482"/>
                      <a:pt x="357988" y="1513975"/>
                      <a:pt x="149992" y="857505"/>
                    </a:cubicBezTo>
                    <a:cubicBezTo>
                      <a:pt x="61279" y="577448"/>
                      <a:pt x="0" y="0"/>
                      <a:pt x="0" y="0"/>
                    </a:cubicBezTo>
                    <a:cubicBezTo>
                      <a:pt x="0" y="0"/>
                      <a:pt x="464715" y="325642"/>
                      <a:pt x="739723" y="1128691"/>
                    </a:cubicBezTo>
                    <a:cubicBezTo>
                      <a:pt x="761150" y="1191199"/>
                      <a:pt x="777391" y="1248384"/>
                      <a:pt x="789129" y="1300520"/>
                    </a:cubicBezTo>
                    <a:cubicBezTo>
                      <a:pt x="842492" y="1537586"/>
                      <a:pt x="802367" y="1674203"/>
                      <a:pt x="731397" y="176496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76" name="任意多边形: 形状 9875">
                <a:extLst>
                  <a:ext uri="{FF2B5EF4-FFF2-40B4-BE49-F238E27FC236}">
                    <a16:creationId xmlns:a16="http://schemas.microsoft.com/office/drawing/2014/main" id="{258EF8FA-7DB7-4C6B-8F57-1B0808D4F9CC}"/>
                  </a:ext>
                </a:extLst>
              </p:cNvPr>
              <p:cNvSpPr/>
              <p:nvPr/>
            </p:nvSpPr>
            <p:spPr>
              <a:xfrm>
                <a:off x="10681641" y="3806101"/>
                <a:ext cx="128805" cy="464442"/>
              </a:xfrm>
              <a:custGeom>
                <a:avLst/>
                <a:gdLst>
                  <a:gd name="connsiteX0" fmla="*/ 46512 w 128805"/>
                  <a:gd name="connsiteY0" fmla="*/ 464442 h 464442"/>
                  <a:gd name="connsiteX1" fmla="*/ 104244 w 128805"/>
                  <a:gd name="connsiteY1" fmla="*/ 0 h 464442"/>
                  <a:gd name="connsiteX2" fmla="*/ 46512 w 128805"/>
                  <a:gd name="connsiteY2" fmla="*/ 464442 h 464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805" h="464442">
                    <a:moveTo>
                      <a:pt x="46512" y="464442"/>
                    </a:moveTo>
                    <a:cubicBezTo>
                      <a:pt x="-54347" y="284425"/>
                      <a:pt x="29316" y="106455"/>
                      <a:pt x="104244" y="0"/>
                    </a:cubicBezTo>
                    <a:cubicBezTo>
                      <a:pt x="157607" y="237066"/>
                      <a:pt x="117482" y="373683"/>
                      <a:pt x="46512" y="46444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77" name="任意多边形: 形状 9876">
                <a:extLst>
                  <a:ext uri="{FF2B5EF4-FFF2-40B4-BE49-F238E27FC236}">
                    <a16:creationId xmlns:a16="http://schemas.microsoft.com/office/drawing/2014/main" id="{88ADEB44-8BE0-49BB-8D89-AB823649DA8A}"/>
                  </a:ext>
                </a:extLst>
              </p:cNvPr>
              <p:cNvSpPr/>
              <p:nvPr/>
            </p:nvSpPr>
            <p:spPr>
              <a:xfrm>
                <a:off x="10030875" y="3791325"/>
                <a:ext cx="335096" cy="517432"/>
              </a:xfrm>
              <a:custGeom>
                <a:avLst/>
                <a:gdLst>
                  <a:gd name="connsiteX0" fmla="*/ 15424 w 335096"/>
                  <a:gd name="connsiteY0" fmla="*/ 517432 h 517432"/>
                  <a:gd name="connsiteX1" fmla="*/ 4506 w 335096"/>
                  <a:gd name="connsiteY1" fmla="*/ 508697 h 517432"/>
                  <a:gd name="connsiteX2" fmla="*/ 19246 w 335096"/>
                  <a:gd name="connsiteY2" fmla="*/ 328271 h 517432"/>
                  <a:gd name="connsiteX3" fmla="*/ 318820 w 335096"/>
                  <a:gd name="connsiteY3" fmla="*/ 1264 h 517432"/>
                  <a:gd name="connsiteX4" fmla="*/ 333832 w 335096"/>
                  <a:gd name="connsiteY4" fmla="*/ 6041 h 517432"/>
                  <a:gd name="connsiteX5" fmla="*/ 329056 w 335096"/>
                  <a:gd name="connsiteY5" fmla="*/ 21053 h 517432"/>
                  <a:gd name="connsiteX6" fmla="*/ 40809 w 335096"/>
                  <a:gd name="connsiteY6" fmla="*/ 333593 h 517432"/>
                  <a:gd name="connsiteX7" fmla="*/ 26206 w 335096"/>
                  <a:gd name="connsiteY7" fmla="*/ 503921 h 517432"/>
                  <a:gd name="connsiteX8" fmla="*/ 17608 w 335096"/>
                  <a:gd name="connsiteY8" fmla="*/ 517159 h 517432"/>
                  <a:gd name="connsiteX9" fmla="*/ 15424 w 335096"/>
                  <a:gd name="connsiteY9" fmla="*/ 517432 h 51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5096" h="517432">
                    <a:moveTo>
                      <a:pt x="15424" y="517432"/>
                    </a:moveTo>
                    <a:cubicBezTo>
                      <a:pt x="10238" y="517432"/>
                      <a:pt x="5734" y="513884"/>
                      <a:pt x="4506" y="508697"/>
                    </a:cubicBezTo>
                    <a:cubicBezTo>
                      <a:pt x="3823" y="505558"/>
                      <a:pt x="-11735" y="429402"/>
                      <a:pt x="19246" y="328271"/>
                    </a:cubicBezTo>
                    <a:cubicBezTo>
                      <a:pt x="47770" y="235464"/>
                      <a:pt x="122834" y="103351"/>
                      <a:pt x="318820" y="1264"/>
                    </a:cubicBezTo>
                    <a:cubicBezTo>
                      <a:pt x="324279" y="-1602"/>
                      <a:pt x="330967" y="581"/>
                      <a:pt x="333832" y="6041"/>
                    </a:cubicBezTo>
                    <a:cubicBezTo>
                      <a:pt x="336699" y="11500"/>
                      <a:pt x="334515" y="18188"/>
                      <a:pt x="329056" y="21053"/>
                    </a:cubicBezTo>
                    <a:cubicBezTo>
                      <a:pt x="140440" y="119183"/>
                      <a:pt x="68242" y="245154"/>
                      <a:pt x="40809" y="333593"/>
                    </a:cubicBezTo>
                    <a:cubicBezTo>
                      <a:pt x="11057" y="429402"/>
                      <a:pt x="26070" y="503238"/>
                      <a:pt x="26206" y="503921"/>
                    </a:cubicBezTo>
                    <a:cubicBezTo>
                      <a:pt x="27434" y="509926"/>
                      <a:pt x="23613" y="515794"/>
                      <a:pt x="17608" y="517159"/>
                    </a:cubicBezTo>
                    <a:cubicBezTo>
                      <a:pt x="16925" y="517432"/>
                      <a:pt x="16243" y="517432"/>
                      <a:pt x="15424" y="51743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78" name="任意多边形: 形状 9877">
                <a:extLst>
                  <a:ext uri="{FF2B5EF4-FFF2-40B4-BE49-F238E27FC236}">
                    <a16:creationId xmlns:a16="http://schemas.microsoft.com/office/drawing/2014/main" id="{EEEF9378-5D35-4E53-BBFC-081488D9D109}"/>
                  </a:ext>
                </a:extLst>
              </p:cNvPr>
              <p:cNvSpPr/>
              <p:nvPr/>
            </p:nvSpPr>
            <p:spPr>
              <a:xfrm>
                <a:off x="10202898" y="3725494"/>
                <a:ext cx="81915" cy="176055"/>
              </a:xfrm>
              <a:custGeom>
                <a:avLst/>
                <a:gdLst>
                  <a:gd name="connsiteX0" fmla="*/ 12227 w 81915"/>
                  <a:gd name="connsiteY0" fmla="*/ 176006 h 176055"/>
                  <a:gd name="connsiteX1" fmla="*/ 7587 w 81915"/>
                  <a:gd name="connsiteY1" fmla="*/ 175460 h 176055"/>
                  <a:gd name="connsiteX2" fmla="*/ 626 w 81915"/>
                  <a:gd name="connsiteY2" fmla="*/ 161403 h 176055"/>
                  <a:gd name="connsiteX3" fmla="*/ 60814 w 81915"/>
                  <a:gd name="connsiteY3" fmla="*/ 6088 h 176055"/>
                  <a:gd name="connsiteX4" fmla="*/ 75827 w 81915"/>
                  <a:gd name="connsiteY4" fmla="*/ 1175 h 176055"/>
                  <a:gd name="connsiteX5" fmla="*/ 80740 w 81915"/>
                  <a:gd name="connsiteY5" fmla="*/ 16188 h 176055"/>
                  <a:gd name="connsiteX6" fmla="*/ 21781 w 81915"/>
                  <a:gd name="connsiteY6" fmla="*/ 168500 h 176055"/>
                  <a:gd name="connsiteX7" fmla="*/ 12227 w 81915"/>
                  <a:gd name="connsiteY7" fmla="*/ 176006 h 17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915" h="176055">
                    <a:moveTo>
                      <a:pt x="12227" y="176006"/>
                    </a:moveTo>
                    <a:cubicBezTo>
                      <a:pt x="10726" y="176143"/>
                      <a:pt x="9088" y="176006"/>
                      <a:pt x="7587" y="175460"/>
                    </a:cubicBezTo>
                    <a:cubicBezTo>
                      <a:pt x="1718" y="173550"/>
                      <a:pt x="-1421" y="167135"/>
                      <a:pt x="626" y="161403"/>
                    </a:cubicBezTo>
                    <a:cubicBezTo>
                      <a:pt x="36657" y="53993"/>
                      <a:pt x="59859" y="7999"/>
                      <a:pt x="60814" y="6088"/>
                    </a:cubicBezTo>
                    <a:cubicBezTo>
                      <a:pt x="63544" y="629"/>
                      <a:pt x="70231" y="-1554"/>
                      <a:pt x="75827" y="1175"/>
                    </a:cubicBezTo>
                    <a:cubicBezTo>
                      <a:pt x="81286" y="3905"/>
                      <a:pt x="83470" y="10592"/>
                      <a:pt x="80740" y="16188"/>
                    </a:cubicBezTo>
                    <a:cubicBezTo>
                      <a:pt x="80467" y="16597"/>
                      <a:pt x="57266" y="62864"/>
                      <a:pt x="21781" y="168500"/>
                    </a:cubicBezTo>
                    <a:cubicBezTo>
                      <a:pt x="20280" y="172731"/>
                      <a:pt x="16458" y="175597"/>
                      <a:pt x="12227" y="17600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79" name="任意多边形: 形状 9878">
                <a:extLst>
                  <a:ext uri="{FF2B5EF4-FFF2-40B4-BE49-F238E27FC236}">
                    <a16:creationId xmlns:a16="http://schemas.microsoft.com/office/drawing/2014/main" id="{8B54B7ED-8639-421D-8091-12D288A82346}"/>
                  </a:ext>
                </a:extLst>
              </p:cNvPr>
              <p:cNvSpPr/>
              <p:nvPr/>
            </p:nvSpPr>
            <p:spPr>
              <a:xfrm>
                <a:off x="9919595" y="3105361"/>
                <a:ext cx="319277" cy="747143"/>
              </a:xfrm>
              <a:custGeom>
                <a:avLst/>
                <a:gdLst>
                  <a:gd name="connsiteX0" fmla="*/ 308086 w 319277"/>
                  <a:gd name="connsiteY0" fmla="*/ 747143 h 747143"/>
                  <a:gd name="connsiteX1" fmla="*/ 296895 w 319277"/>
                  <a:gd name="connsiteY1" fmla="*/ 735952 h 747143"/>
                  <a:gd name="connsiteX2" fmla="*/ 1552 w 319277"/>
                  <a:gd name="connsiteY2" fmla="*/ 16838 h 747143"/>
                  <a:gd name="connsiteX3" fmla="*/ 5510 w 319277"/>
                  <a:gd name="connsiteY3" fmla="*/ 1552 h 747143"/>
                  <a:gd name="connsiteX4" fmla="*/ 20796 w 319277"/>
                  <a:gd name="connsiteY4" fmla="*/ 5510 h 747143"/>
                  <a:gd name="connsiteX5" fmla="*/ 319278 w 319277"/>
                  <a:gd name="connsiteY5" fmla="*/ 735952 h 747143"/>
                  <a:gd name="connsiteX6" fmla="*/ 308086 w 319277"/>
                  <a:gd name="connsiteY6" fmla="*/ 747143 h 74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9277" h="747143">
                    <a:moveTo>
                      <a:pt x="308086" y="747143"/>
                    </a:moveTo>
                    <a:cubicBezTo>
                      <a:pt x="301945" y="747143"/>
                      <a:pt x="296895" y="742230"/>
                      <a:pt x="296895" y="735952"/>
                    </a:cubicBezTo>
                    <a:cubicBezTo>
                      <a:pt x="296895" y="517174"/>
                      <a:pt x="4554" y="21751"/>
                      <a:pt x="1552" y="16838"/>
                    </a:cubicBezTo>
                    <a:cubicBezTo>
                      <a:pt x="-1587" y="11515"/>
                      <a:pt x="187" y="4691"/>
                      <a:pt x="5510" y="1552"/>
                    </a:cubicBezTo>
                    <a:cubicBezTo>
                      <a:pt x="10833" y="-1587"/>
                      <a:pt x="17657" y="187"/>
                      <a:pt x="20796" y="5510"/>
                    </a:cubicBezTo>
                    <a:cubicBezTo>
                      <a:pt x="32942" y="26118"/>
                      <a:pt x="319278" y="511169"/>
                      <a:pt x="319278" y="735952"/>
                    </a:cubicBezTo>
                    <a:cubicBezTo>
                      <a:pt x="319278" y="742230"/>
                      <a:pt x="314228" y="747143"/>
                      <a:pt x="308086" y="747143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80" name="任意多边形: 形状 9879">
                <a:extLst>
                  <a:ext uri="{FF2B5EF4-FFF2-40B4-BE49-F238E27FC236}">
                    <a16:creationId xmlns:a16="http://schemas.microsoft.com/office/drawing/2014/main" id="{B06AF34C-01F6-4596-906E-D04F76705E66}"/>
                  </a:ext>
                </a:extLst>
              </p:cNvPr>
              <p:cNvSpPr/>
              <p:nvPr/>
            </p:nvSpPr>
            <p:spPr>
              <a:xfrm>
                <a:off x="9871124" y="3212751"/>
                <a:ext cx="160519" cy="77591"/>
              </a:xfrm>
              <a:custGeom>
                <a:avLst/>
                <a:gdLst>
                  <a:gd name="connsiteX0" fmla="*/ 149653 w 160519"/>
                  <a:gd name="connsiteY0" fmla="*/ 77591 h 77591"/>
                  <a:gd name="connsiteX1" fmla="*/ 142966 w 160519"/>
                  <a:gd name="connsiteY1" fmla="*/ 75408 h 77591"/>
                  <a:gd name="connsiteX2" fmla="*/ 8396 w 160519"/>
                  <a:gd name="connsiteY2" fmla="*/ 21908 h 77591"/>
                  <a:gd name="connsiteX3" fmla="*/ 344 w 160519"/>
                  <a:gd name="connsiteY3" fmla="*/ 8396 h 77591"/>
                  <a:gd name="connsiteX4" fmla="*/ 13855 w 160519"/>
                  <a:gd name="connsiteY4" fmla="*/ 344 h 77591"/>
                  <a:gd name="connsiteX5" fmla="*/ 156068 w 160519"/>
                  <a:gd name="connsiteY5" fmla="*/ 57529 h 77591"/>
                  <a:gd name="connsiteX6" fmla="*/ 158388 w 160519"/>
                  <a:gd name="connsiteY6" fmla="*/ 73088 h 77591"/>
                  <a:gd name="connsiteX7" fmla="*/ 149653 w 160519"/>
                  <a:gd name="connsiteY7" fmla="*/ 77591 h 7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519" h="77591">
                    <a:moveTo>
                      <a:pt x="149653" y="77591"/>
                    </a:moveTo>
                    <a:cubicBezTo>
                      <a:pt x="147333" y="77591"/>
                      <a:pt x="145013" y="76909"/>
                      <a:pt x="142966" y="75408"/>
                    </a:cubicBezTo>
                    <a:cubicBezTo>
                      <a:pt x="105161" y="47156"/>
                      <a:pt x="9352" y="22181"/>
                      <a:pt x="8396" y="21908"/>
                    </a:cubicBezTo>
                    <a:cubicBezTo>
                      <a:pt x="2391" y="20406"/>
                      <a:pt x="-1158" y="14265"/>
                      <a:pt x="344" y="8396"/>
                    </a:cubicBezTo>
                    <a:cubicBezTo>
                      <a:pt x="1845" y="2391"/>
                      <a:pt x="7987" y="-1157"/>
                      <a:pt x="13855" y="344"/>
                    </a:cubicBezTo>
                    <a:cubicBezTo>
                      <a:pt x="17950" y="1436"/>
                      <a:pt x="114851" y="26684"/>
                      <a:pt x="156068" y="57529"/>
                    </a:cubicBezTo>
                    <a:cubicBezTo>
                      <a:pt x="160981" y="61214"/>
                      <a:pt x="161936" y="68174"/>
                      <a:pt x="158388" y="73088"/>
                    </a:cubicBezTo>
                    <a:cubicBezTo>
                      <a:pt x="156477" y="76090"/>
                      <a:pt x="153065" y="77591"/>
                      <a:pt x="149653" y="77591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81" name="任意多边形: 形状 9880">
                <a:extLst>
                  <a:ext uri="{FF2B5EF4-FFF2-40B4-BE49-F238E27FC236}">
                    <a16:creationId xmlns:a16="http://schemas.microsoft.com/office/drawing/2014/main" id="{6C420DD2-3A7A-46F5-9478-68E80952066B}"/>
                  </a:ext>
                </a:extLst>
              </p:cNvPr>
              <p:cNvSpPr/>
              <p:nvPr/>
            </p:nvSpPr>
            <p:spPr>
              <a:xfrm>
                <a:off x="9881547" y="4241957"/>
                <a:ext cx="473051" cy="702196"/>
              </a:xfrm>
              <a:custGeom>
                <a:avLst/>
                <a:gdLst>
                  <a:gd name="connsiteX0" fmla="*/ 3023 w 473051"/>
                  <a:gd name="connsiteY0" fmla="*/ 610811 h 702196"/>
                  <a:gd name="connsiteX1" fmla="*/ 8892 w 473051"/>
                  <a:gd name="connsiteY1" fmla="*/ 667860 h 702196"/>
                  <a:gd name="connsiteX2" fmla="*/ 36324 w 473051"/>
                  <a:gd name="connsiteY2" fmla="*/ 686694 h 702196"/>
                  <a:gd name="connsiteX3" fmla="*/ 44922 w 473051"/>
                  <a:gd name="connsiteY3" fmla="*/ 661445 h 702196"/>
                  <a:gd name="connsiteX4" fmla="*/ 60208 w 473051"/>
                  <a:gd name="connsiteY4" fmla="*/ 479927 h 702196"/>
                  <a:gd name="connsiteX5" fmla="*/ 99242 w 473051"/>
                  <a:gd name="connsiteY5" fmla="*/ 379068 h 702196"/>
                  <a:gd name="connsiteX6" fmla="*/ 83137 w 473051"/>
                  <a:gd name="connsiteY6" fmla="*/ 452903 h 702196"/>
                  <a:gd name="connsiteX7" fmla="*/ 83137 w 473051"/>
                  <a:gd name="connsiteY7" fmla="*/ 571368 h 702196"/>
                  <a:gd name="connsiteX8" fmla="*/ 87504 w 473051"/>
                  <a:gd name="connsiteY8" fmla="*/ 647115 h 702196"/>
                  <a:gd name="connsiteX9" fmla="*/ 87504 w 473051"/>
                  <a:gd name="connsiteY9" fmla="*/ 647115 h 702196"/>
                  <a:gd name="connsiteX10" fmla="*/ 116302 w 473051"/>
                  <a:gd name="connsiteY10" fmla="*/ 668679 h 702196"/>
                  <a:gd name="connsiteX11" fmla="*/ 132270 w 473051"/>
                  <a:gd name="connsiteY11" fmla="*/ 625005 h 702196"/>
                  <a:gd name="connsiteX12" fmla="*/ 142233 w 473051"/>
                  <a:gd name="connsiteY12" fmla="*/ 484976 h 702196"/>
                  <a:gd name="connsiteX13" fmla="*/ 174306 w 473051"/>
                  <a:gd name="connsiteY13" fmla="*/ 402952 h 702196"/>
                  <a:gd name="connsiteX14" fmla="*/ 159839 w 473051"/>
                  <a:gd name="connsiteY14" fmla="*/ 471738 h 702196"/>
                  <a:gd name="connsiteX15" fmla="*/ 156563 w 473051"/>
                  <a:gd name="connsiteY15" fmla="*/ 610128 h 702196"/>
                  <a:gd name="connsiteX16" fmla="*/ 174715 w 473051"/>
                  <a:gd name="connsiteY16" fmla="*/ 623640 h 702196"/>
                  <a:gd name="connsiteX17" fmla="*/ 207061 w 473051"/>
                  <a:gd name="connsiteY17" fmla="*/ 571778 h 702196"/>
                  <a:gd name="connsiteX18" fmla="*/ 222347 w 473051"/>
                  <a:gd name="connsiteY18" fmla="*/ 495485 h 702196"/>
                  <a:gd name="connsiteX19" fmla="*/ 247323 w 473051"/>
                  <a:gd name="connsiteY19" fmla="*/ 416463 h 702196"/>
                  <a:gd name="connsiteX20" fmla="*/ 233538 w 473051"/>
                  <a:gd name="connsiteY20" fmla="*/ 547075 h 702196"/>
                  <a:gd name="connsiteX21" fmla="*/ 255511 w 473051"/>
                  <a:gd name="connsiteY21" fmla="*/ 557857 h 702196"/>
                  <a:gd name="connsiteX22" fmla="*/ 314880 w 473051"/>
                  <a:gd name="connsiteY22" fmla="*/ 404180 h 702196"/>
                  <a:gd name="connsiteX23" fmla="*/ 315699 w 473051"/>
                  <a:gd name="connsiteY23" fmla="*/ 401041 h 702196"/>
                  <a:gd name="connsiteX24" fmla="*/ 316382 w 473051"/>
                  <a:gd name="connsiteY24" fmla="*/ 398175 h 702196"/>
                  <a:gd name="connsiteX25" fmla="*/ 318156 w 473051"/>
                  <a:gd name="connsiteY25" fmla="*/ 390941 h 702196"/>
                  <a:gd name="connsiteX26" fmla="*/ 318156 w 473051"/>
                  <a:gd name="connsiteY26" fmla="*/ 390941 h 702196"/>
                  <a:gd name="connsiteX27" fmla="*/ 341767 w 473051"/>
                  <a:gd name="connsiteY27" fmla="*/ 307825 h 702196"/>
                  <a:gd name="connsiteX28" fmla="*/ 418469 w 473051"/>
                  <a:gd name="connsiteY28" fmla="*/ 222798 h 702196"/>
                  <a:gd name="connsiteX29" fmla="*/ 352412 w 473051"/>
                  <a:gd name="connsiteY29" fmla="*/ 472 h 702196"/>
                  <a:gd name="connsiteX30" fmla="*/ 246913 w 473051"/>
                  <a:gd name="connsiteY30" fmla="*/ 33773 h 702196"/>
                  <a:gd name="connsiteX31" fmla="*/ 174033 w 473051"/>
                  <a:gd name="connsiteY31" fmla="*/ 90821 h 702196"/>
                  <a:gd name="connsiteX32" fmla="*/ 174033 w 473051"/>
                  <a:gd name="connsiteY32" fmla="*/ 90821 h 702196"/>
                  <a:gd name="connsiteX33" fmla="*/ 59935 w 473051"/>
                  <a:gd name="connsiteY33" fmla="*/ 264697 h 702196"/>
                  <a:gd name="connsiteX34" fmla="*/ 4934 w 473051"/>
                  <a:gd name="connsiteY34" fmla="*/ 466279 h 702196"/>
                  <a:gd name="connsiteX35" fmla="*/ 3023 w 473051"/>
                  <a:gd name="connsiteY35" fmla="*/ 610811 h 70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73051" h="702196">
                    <a:moveTo>
                      <a:pt x="3023" y="610811"/>
                    </a:moveTo>
                    <a:cubicBezTo>
                      <a:pt x="4797" y="630601"/>
                      <a:pt x="6571" y="651209"/>
                      <a:pt x="8892" y="667860"/>
                    </a:cubicBezTo>
                    <a:cubicBezTo>
                      <a:pt x="13396" y="699387"/>
                      <a:pt x="20629" y="716583"/>
                      <a:pt x="36324" y="686694"/>
                    </a:cubicBezTo>
                    <a:cubicBezTo>
                      <a:pt x="39873" y="680007"/>
                      <a:pt x="42602" y="671408"/>
                      <a:pt x="44922" y="661445"/>
                    </a:cubicBezTo>
                    <a:cubicBezTo>
                      <a:pt x="58434" y="603714"/>
                      <a:pt x="53930" y="502036"/>
                      <a:pt x="60208" y="479927"/>
                    </a:cubicBezTo>
                    <a:cubicBezTo>
                      <a:pt x="67305" y="454678"/>
                      <a:pt x="96649" y="383162"/>
                      <a:pt x="99242" y="379068"/>
                    </a:cubicBezTo>
                    <a:cubicBezTo>
                      <a:pt x="97877" y="382070"/>
                      <a:pt x="84638" y="425880"/>
                      <a:pt x="83137" y="452903"/>
                    </a:cubicBezTo>
                    <a:cubicBezTo>
                      <a:pt x="81636" y="478289"/>
                      <a:pt x="83137" y="508997"/>
                      <a:pt x="83137" y="571368"/>
                    </a:cubicBezTo>
                    <a:cubicBezTo>
                      <a:pt x="83137" y="598528"/>
                      <a:pt x="84092" y="626643"/>
                      <a:pt x="87504" y="647115"/>
                    </a:cubicBezTo>
                    <a:lnTo>
                      <a:pt x="87504" y="647115"/>
                    </a:lnTo>
                    <a:cubicBezTo>
                      <a:pt x="91872" y="673592"/>
                      <a:pt x="100470" y="686967"/>
                      <a:pt x="116302" y="668679"/>
                    </a:cubicBezTo>
                    <a:cubicBezTo>
                      <a:pt x="124081" y="659671"/>
                      <a:pt x="129131" y="643839"/>
                      <a:pt x="132270" y="625005"/>
                    </a:cubicBezTo>
                    <a:cubicBezTo>
                      <a:pt x="140868" y="576282"/>
                      <a:pt x="137729" y="507495"/>
                      <a:pt x="142233" y="484976"/>
                    </a:cubicBezTo>
                    <a:cubicBezTo>
                      <a:pt x="148238" y="454814"/>
                      <a:pt x="172805" y="405954"/>
                      <a:pt x="174306" y="402952"/>
                    </a:cubicBezTo>
                    <a:cubicBezTo>
                      <a:pt x="165025" y="434069"/>
                      <a:pt x="165025" y="430930"/>
                      <a:pt x="159839" y="471738"/>
                    </a:cubicBezTo>
                    <a:cubicBezTo>
                      <a:pt x="156154" y="500262"/>
                      <a:pt x="149603" y="576008"/>
                      <a:pt x="156563" y="610128"/>
                    </a:cubicBezTo>
                    <a:cubicBezTo>
                      <a:pt x="159566" y="624732"/>
                      <a:pt x="165161" y="631693"/>
                      <a:pt x="174715" y="623640"/>
                    </a:cubicBezTo>
                    <a:cubicBezTo>
                      <a:pt x="189455" y="611084"/>
                      <a:pt x="199828" y="592796"/>
                      <a:pt x="207061" y="571778"/>
                    </a:cubicBezTo>
                    <a:cubicBezTo>
                      <a:pt x="215250" y="548167"/>
                      <a:pt x="219481" y="521280"/>
                      <a:pt x="222347" y="495485"/>
                    </a:cubicBezTo>
                    <a:cubicBezTo>
                      <a:pt x="227533" y="446625"/>
                      <a:pt x="247323" y="416463"/>
                      <a:pt x="247323" y="416463"/>
                    </a:cubicBezTo>
                    <a:cubicBezTo>
                      <a:pt x="236404" y="469417"/>
                      <a:pt x="230399" y="520597"/>
                      <a:pt x="233538" y="547075"/>
                    </a:cubicBezTo>
                    <a:cubicBezTo>
                      <a:pt x="235722" y="565772"/>
                      <a:pt x="242682" y="572051"/>
                      <a:pt x="255511" y="557857"/>
                    </a:cubicBezTo>
                    <a:cubicBezTo>
                      <a:pt x="280760" y="530151"/>
                      <a:pt x="306146" y="438573"/>
                      <a:pt x="314880" y="404180"/>
                    </a:cubicBezTo>
                    <a:cubicBezTo>
                      <a:pt x="315153" y="403088"/>
                      <a:pt x="315426" y="401996"/>
                      <a:pt x="315699" y="401041"/>
                    </a:cubicBezTo>
                    <a:cubicBezTo>
                      <a:pt x="315972" y="399949"/>
                      <a:pt x="316245" y="398994"/>
                      <a:pt x="316382" y="398175"/>
                    </a:cubicBezTo>
                    <a:cubicBezTo>
                      <a:pt x="317610" y="393534"/>
                      <a:pt x="318156" y="390941"/>
                      <a:pt x="318156" y="390941"/>
                    </a:cubicBezTo>
                    <a:lnTo>
                      <a:pt x="318156" y="390941"/>
                    </a:lnTo>
                    <a:cubicBezTo>
                      <a:pt x="325389" y="362281"/>
                      <a:pt x="332077" y="333620"/>
                      <a:pt x="341767" y="307825"/>
                    </a:cubicBezTo>
                    <a:cubicBezTo>
                      <a:pt x="356097" y="269611"/>
                      <a:pt x="377388" y="238084"/>
                      <a:pt x="418469" y="222798"/>
                    </a:cubicBezTo>
                    <a:cubicBezTo>
                      <a:pt x="511548" y="188132"/>
                      <a:pt x="483024" y="11117"/>
                      <a:pt x="352412" y="472"/>
                    </a:cubicBezTo>
                    <a:cubicBezTo>
                      <a:pt x="314334" y="-2668"/>
                      <a:pt x="276802" y="10025"/>
                      <a:pt x="246913" y="33773"/>
                    </a:cubicBezTo>
                    <a:cubicBezTo>
                      <a:pt x="227942" y="48922"/>
                      <a:pt x="201056" y="70076"/>
                      <a:pt x="174033" y="90821"/>
                    </a:cubicBezTo>
                    <a:cubicBezTo>
                      <a:pt x="174033" y="90821"/>
                      <a:pt x="174033" y="90821"/>
                      <a:pt x="174033" y="90821"/>
                    </a:cubicBezTo>
                    <a:cubicBezTo>
                      <a:pt x="171440" y="94097"/>
                      <a:pt x="86549" y="199323"/>
                      <a:pt x="59935" y="264697"/>
                    </a:cubicBezTo>
                    <a:cubicBezTo>
                      <a:pt x="32912" y="331163"/>
                      <a:pt x="9983" y="436253"/>
                      <a:pt x="4934" y="466279"/>
                    </a:cubicBezTo>
                    <a:cubicBezTo>
                      <a:pt x="-116" y="496441"/>
                      <a:pt x="-2163" y="553626"/>
                      <a:pt x="3023" y="61081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2735BDD3-0C04-48B2-B93C-310C4CA39A13}"/>
              </a:ext>
            </a:extLst>
          </p:cNvPr>
          <p:cNvSpPr/>
          <p:nvPr userDrawn="1"/>
        </p:nvSpPr>
        <p:spPr>
          <a:xfrm>
            <a:off x="0" y="3898649"/>
            <a:ext cx="12192000" cy="1484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CCC6BAA-E3F9-4787-BFA2-859361465917}"/>
              </a:ext>
            </a:extLst>
          </p:cNvPr>
          <p:cNvGrpSpPr/>
          <p:nvPr userDrawn="1"/>
        </p:nvGrpSpPr>
        <p:grpSpPr>
          <a:xfrm>
            <a:off x="7797595" y="2235199"/>
            <a:ext cx="3472740" cy="4125574"/>
            <a:chOff x="6936326" y="961410"/>
            <a:chExt cx="4468907" cy="530900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BE053F42-C25F-4A88-AF36-09378B832644}"/>
                </a:ext>
              </a:extLst>
            </p:cNvPr>
            <p:cNvSpPr/>
            <p:nvPr userDrawn="1"/>
          </p:nvSpPr>
          <p:spPr>
            <a:xfrm flipH="1">
              <a:off x="6936326" y="5330858"/>
              <a:ext cx="4468907" cy="870470"/>
            </a:xfrm>
            <a:custGeom>
              <a:avLst/>
              <a:gdLst>
                <a:gd name="connsiteX0" fmla="*/ 4468908 w 4468907"/>
                <a:gd name="connsiteY0" fmla="*/ 435235 h 870470"/>
                <a:gd name="connsiteX1" fmla="*/ 2234454 w 4468907"/>
                <a:gd name="connsiteY1" fmla="*/ 870471 h 870470"/>
                <a:gd name="connsiteX2" fmla="*/ 0 w 4468907"/>
                <a:gd name="connsiteY2" fmla="*/ 435235 h 870470"/>
                <a:gd name="connsiteX3" fmla="*/ 2234454 w 4468907"/>
                <a:gd name="connsiteY3" fmla="*/ 0 h 870470"/>
                <a:gd name="connsiteX4" fmla="*/ 4468908 w 4468907"/>
                <a:gd name="connsiteY4" fmla="*/ 435235 h 87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8907" h="870470">
                  <a:moveTo>
                    <a:pt x="4468908" y="435235"/>
                  </a:moveTo>
                  <a:cubicBezTo>
                    <a:pt x="4468908" y="675609"/>
                    <a:pt x="3468509" y="870471"/>
                    <a:pt x="2234454" y="870471"/>
                  </a:cubicBezTo>
                  <a:cubicBezTo>
                    <a:pt x="1000399" y="870471"/>
                    <a:pt x="0" y="675609"/>
                    <a:pt x="0" y="435235"/>
                  </a:cubicBezTo>
                  <a:cubicBezTo>
                    <a:pt x="0" y="194861"/>
                    <a:pt x="1000399" y="0"/>
                    <a:pt x="2234454" y="0"/>
                  </a:cubicBezTo>
                  <a:cubicBezTo>
                    <a:pt x="3468509" y="0"/>
                    <a:pt x="4468908" y="194861"/>
                    <a:pt x="4468908" y="43523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67000"/>
              </a:schemeClr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D295D10-B7D5-4654-9C05-5AC429EDC883}"/>
                </a:ext>
              </a:extLst>
            </p:cNvPr>
            <p:cNvSpPr/>
            <p:nvPr/>
          </p:nvSpPr>
          <p:spPr>
            <a:xfrm flipH="1">
              <a:off x="8627653" y="1811954"/>
              <a:ext cx="1397214" cy="787286"/>
            </a:xfrm>
            <a:custGeom>
              <a:avLst/>
              <a:gdLst>
                <a:gd name="connsiteX0" fmla="*/ 155446 w 1397214"/>
                <a:gd name="connsiteY0" fmla="*/ 783158 h 787286"/>
                <a:gd name="connsiteX1" fmla="*/ 76696 w 1397214"/>
                <a:gd name="connsiteY1" fmla="*/ 744943 h 787286"/>
                <a:gd name="connsiteX2" fmla="*/ 56224 w 1397214"/>
                <a:gd name="connsiteY2" fmla="*/ 314758 h 787286"/>
                <a:gd name="connsiteX3" fmla="*/ 1192149 w 1397214"/>
                <a:gd name="connsiteY3" fmla="*/ 260029 h 787286"/>
                <a:gd name="connsiteX4" fmla="*/ 1378035 w 1397214"/>
                <a:gd name="connsiteY4" fmla="*/ 603959 h 787286"/>
                <a:gd name="connsiteX5" fmla="*/ 155446 w 1397214"/>
                <a:gd name="connsiteY5" fmla="*/ 783158 h 7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7214" h="787286">
                  <a:moveTo>
                    <a:pt x="155446" y="783158"/>
                  </a:moveTo>
                  <a:cubicBezTo>
                    <a:pt x="125420" y="780701"/>
                    <a:pt x="97305" y="767053"/>
                    <a:pt x="76696" y="744943"/>
                  </a:cubicBezTo>
                  <a:cubicBezTo>
                    <a:pt x="22923" y="687212"/>
                    <a:pt x="-54188" y="553052"/>
                    <a:pt x="56224" y="314758"/>
                  </a:cubicBezTo>
                  <a:cubicBezTo>
                    <a:pt x="261627" y="-129076"/>
                    <a:pt x="1012951" y="-62474"/>
                    <a:pt x="1192149" y="260029"/>
                  </a:cubicBezTo>
                  <a:cubicBezTo>
                    <a:pt x="1319622" y="489452"/>
                    <a:pt x="1446412" y="535037"/>
                    <a:pt x="1378035" y="603959"/>
                  </a:cubicBezTo>
                  <a:cubicBezTo>
                    <a:pt x="1312115" y="670562"/>
                    <a:pt x="529674" y="813320"/>
                    <a:pt x="155446" y="783158"/>
                  </a:cubicBezTo>
                  <a:close/>
                </a:path>
              </a:pathLst>
            </a:custGeom>
            <a:solidFill>
              <a:srgbClr val="F24338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489BBC8-D309-4465-A163-2551B03445BC}"/>
                </a:ext>
              </a:extLst>
            </p:cNvPr>
            <p:cNvGrpSpPr/>
            <p:nvPr/>
          </p:nvGrpSpPr>
          <p:grpSpPr>
            <a:xfrm flipH="1">
              <a:off x="8146280" y="2273838"/>
              <a:ext cx="1972058" cy="3180944"/>
              <a:chOff x="8315753" y="2273838"/>
              <a:chExt cx="1972058" cy="3180944"/>
            </a:xfrm>
            <a:solidFill>
              <a:schemeClr val="accent1"/>
            </a:solidFill>
          </p:grpSpPr>
          <p:grpSp>
            <p:nvGrpSpPr>
              <p:cNvPr id="123" name="组合 122">
                <a:extLst>
                  <a:ext uri="{FF2B5EF4-FFF2-40B4-BE49-F238E27FC236}">
                    <a16:creationId xmlns:a16="http://schemas.microsoft.com/office/drawing/2014/main" id="{D61E9C20-F229-4EC2-BE33-BE7E659CF166}"/>
                  </a:ext>
                </a:extLst>
              </p:cNvPr>
              <p:cNvGrpSpPr/>
              <p:nvPr/>
            </p:nvGrpSpPr>
            <p:grpSpPr>
              <a:xfrm>
                <a:off x="8460884" y="2273838"/>
                <a:ext cx="1627816" cy="3057704"/>
                <a:chOff x="8460884" y="2273838"/>
                <a:chExt cx="1627816" cy="3057704"/>
              </a:xfrm>
              <a:solidFill>
                <a:schemeClr val="accent1"/>
              </a:solidFill>
            </p:grpSpPr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5B07AB9C-D6C1-4C0C-850B-E62DD32EB575}"/>
                    </a:ext>
                  </a:extLst>
                </p:cNvPr>
                <p:cNvSpPr/>
                <p:nvPr/>
              </p:nvSpPr>
              <p:spPr>
                <a:xfrm>
                  <a:off x="8460884" y="2273838"/>
                  <a:ext cx="1627816" cy="3057704"/>
                </a:xfrm>
                <a:custGeom>
                  <a:avLst/>
                  <a:gdLst>
                    <a:gd name="connsiteX0" fmla="*/ 1428053 w 1627816"/>
                    <a:gd name="connsiteY0" fmla="*/ 2987552 h 3057704"/>
                    <a:gd name="connsiteX1" fmla="*/ 1425597 w 1627816"/>
                    <a:gd name="connsiteY1" fmla="*/ 2987825 h 3057704"/>
                    <a:gd name="connsiteX2" fmla="*/ 933176 w 1627816"/>
                    <a:gd name="connsiteY2" fmla="*/ 3045965 h 3057704"/>
                    <a:gd name="connsiteX3" fmla="*/ 904788 w 1627816"/>
                    <a:gd name="connsiteY3" fmla="*/ 3048013 h 3057704"/>
                    <a:gd name="connsiteX4" fmla="*/ 381114 w 1627816"/>
                    <a:gd name="connsiteY4" fmla="*/ 3045283 h 3057704"/>
                    <a:gd name="connsiteX5" fmla="*/ 211332 w 1627816"/>
                    <a:gd name="connsiteY5" fmla="*/ 3021672 h 3057704"/>
                    <a:gd name="connsiteX6" fmla="*/ 21488 w 1627816"/>
                    <a:gd name="connsiteY6" fmla="*/ 2754171 h 3057704"/>
                    <a:gd name="connsiteX7" fmla="*/ 61341 w 1627816"/>
                    <a:gd name="connsiteY7" fmla="*/ 2418566 h 3057704"/>
                    <a:gd name="connsiteX8" fmla="*/ 64753 w 1627816"/>
                    <a:gd name="connsiteY8" fmla="*/ 2372163 h 3057704"/>
                    <a:gd name="connsiteX9" fmla="*/ 76626 w 1627816"/>
                    <a:gd name="connsiteY9" fmla="*/ 2033146 h 3057704"/>
                    <a:gd name="connsiteX10" fmla="*/ 76763 w 1627816"/>
                    <a:gd name="connsiteY10" fmla="*/ 2007215 h 3057704"/>
                    <a:gd name="connsiteX11" fmla="*/ 76899 w 1627816"/>
                    <a:gd name="connsiteY11" fmla="*/ 1995750 h 3057704"/>
                    <a:gd name="connsiteX12" fmla="*/ 76899 w 1627816"/>
                    <a:gd name="connsiteY12" fmla="*/ 1978281 h 3057704"/>
                    <a:gd name="connsiteX13" fmla="*/ 77036 w 1627816"/>
                    <a:gd name="connsiteY13" fmla="*/ 1966680 h 3057704"/>
                    <a:gd name="connsiteX14" fmla="*/ 77036 w 1627816"/>
                    <a:gd name="connsiteY14" fmla="*/ 1943069 h 3057704"/>
                    <a:gd name="connsiteX15" fmla="*/ 77172 w 1627816"/>
                    <a:gd name="connsiteY15" fmla="*/ 1873054 h 3057704"/>
                    <a:gd name="connsiteX16" fmla="*/ 77172 w 1627816"/>
                    <a:gd name="connsiteY16" fmla="*/ 1867049 h 3057704"/>
                    <a:gd name="connsiteX17" fmla="*/ 80721 w 1627816"/>
                    <a:gd name="connsiteY17" fmla="*/ 1656733 h 3057704"/>
                    <a:gd name="connsiteX18" fmla="*/ 81130 w 1627816"/>
                    <a:gd name="connsiteY18" fmla="*/ 1648408 h 3057704"/>
                    <a:gd name="connsiteX19" fmla="*/ 83041 w 1627816"/>
                    <a:gd name="connsiteY19" fmla="*/ 1610466 h 3057704"/>
                    <a:gd name="connsiteX20" fmla="*/ 84679 w 1627816"/>
                    <a:gd name="connsiteY20" fmla="*/ 1574436 h 3057704"/>
                    <a:gd name="connsiteX21" fmla="*/ 87408 w 1627816"/>
                    <a:gd name="connsiteY21" fmla="*/ 1478217 h 3057704"/>
                    <a:gd name="connsiteX22" fmla="*/ 87272 w 1627816"/>
                    <a:gd name="connsiteY22" fmla="*/ 1404108 h 3057704"/>
                    <a:gd name="connsiteX23" fmla="*/ 84406 w 1627816"/>
                    <a:gd name="connsiteY23" fmla="*/ 1331091 h 3057704"/>
                    <a:gd name="connsiteX24" fmla="*/ 82768 w 1627816"/>
                    <a:gd name="connsiteY24" fmla="*/ 1307890 h 3057704"/>
                    <a:gd name="connsiteX25" fmla="*/ 79765 w 1627816"/>
                    <a:gd name="connsiteY25" fmla="*/ 1270631 h 3057704"/>
                    <a:gd name="connsiteX26" fmla="*/ 77718 w 1627816"/>
                    <a:gd name="connsiteY26" fmla="*/ 1247020 h 3057704"/>
                    <a:gd name="connsiteX27" fmla="*/ 76763 w 1627816"/>
                    <a:gd name="connsiteY27" fmla="*/ 1236511 h 3057704"/>
                    <a:gd name="connsiteX28" fmla="*/ 76490 w 1627816"/>
                    <a:gd name="connsiteY28" fmla="*/ 1233918 h 3057704"/>
                    <a:gd name="connsiteX29" fmla="*/ 75125 w 1627816"/>
                    <a:gd name="connsiteY29" fmla="*/ 1219041 h 3057704"/>
                    <a:gd name="connsiteX30" fmla="*/ 73624 w 1627816"/>
                    <a:gd name="connsiteY30" fmla="*/ 1204438 h 3057704"/>
                    <a:gd name="connsiteX31" fmla="*/ 71031 w 1627816"/>
                    <a:gd name="connsiteY31" fmla="*/ 1178370 h 3057704"/>
                    <a:gd name="connsiteX32" fmla="*/ 57519 w 1627816"/>
                    <a:gd name="connsiteY32" fmla="*/ 1050079 h 3057704"/>
                    <a:gd name="connsiteX33" fmla="*/ 52879 w 1627816"/>
                    <a:gd name="connsiteY33" fmla="*/ 1008179 h 3057704"/>
                    <a:gd name="connsiteX34" fmla="*/ 45509 w 1627816"/>
                    <a:gd name="connsiteY34" fmla="*/ 942396 h 3057704"/>
                    <a:gd name="connsiteX35" fmla="*/ 40596 w 1627816"/>
                    <a:gd name="connsiteY35" fmla="*/ 899951 h 3057704"/>
                    <a:gd name="connsiteX36" fmla="*/ 1699 w 1627816"/>
                    <a:gd name="connsiteY36" fmla="*/ 418175 h 3057704"/>
                    <a:gd name="connsiteX37" fmla="*/ 558538 w 1627816"/>
                    <a:gd name="connsiteY37" fmla="*/ 10236 h 3057704"/>
                    <a:gd name="connsiteX38" fmla="*/ 884316 w 1627816"/>
                    <a:gd name="connsiteY38" fmla="*/ 0 h 3057704"/>
                    <a:gd name="connsiteX39" fmla="*/ 1426143 w 1627816"/>
                    <a:gd name="connsiteY39" fmla="*/ 295480 h 3057704"/>
                    <a:gd name="connsiteX40" fmla="*/ 1427371 w 1627816"/>
                    <a:gd name="connsiteY40" fmla="*/ 297117 h 3057704"/>
                    <a:gd name="connsiteX41" fmla="*/ 1465449 w 1627816"/>
                    <a:gd name="connsiteY41" fmla="*/ 404664 h 3057704"/>
                    <a:gd name="connsiteX42" fmla="*/ 1473365 w 1627816"/>
                    <a:gd name="connsiteY42" fmla="*/ 542099 h 3057704"/>
                    <a:gd name="connsiteX43" fmla="*/ 1469134 w 1627816"/>
                    <a:gd name="connsiteY43" fmla="*/ 660701 h 3057704"/>
                    <a:gd name="connsiteX44" fmla="*/ 1459444 w 1627816"/>
                    <a:gd name="connsiteY44" fmla="*/ 802367 h 3057704"/>
                    <a:gd name="connsiteX45" fmla="*/ 1456168 w 1627816"/>
                    <a:gd name="connsiteY45" fmla="*/ 846177 h 3057704"/>
                    <a:gd name="connsiteX46" fmla="*/ 1452756 w 1627816"/>
                    <a:gd name="connsiteY46" fmla="*/ 891762 h 3057704"/>
                    <a:gd name="connsiteX47" fmla="*/ 1450573 w 1627816"/>
                    <a:gd name="connsiteY47" fmla="*/ 921787 h 3057704"/>
                    <a:gd name="connsiteX48" fmla="*/ 1444841 w 1627816"/>
                    <a:gd name="connsiteY48" fmla="*/ 1002584 h 3057704"/>
                    <a:gd name="connsiteX49" fmla="*/ 1443066 w 1627816"/>
                    <a:gd name="connsiteY49" fmla="*/ 1029197 h 3057704"/>
                    <a:gd name="connsiteX50" fmla="*/ 1442111 w 1627816"/>
                    <a:gd name="connsiteY50" fmla="*/ 1046257 h 3057704"/>
                    <a:gd name="connsiteX51" fmla="*/ 1441019 w 1627816"/>
                    <a:gd name="connsiteY51" fmla="*/ 1063590 h 3057704"/>
                    <a:gd name="connsiteX52" fmla="*/ 1441019 w 1627816"/>
                    <a:gd name="connsiteY52" fmla="*/ 1063727 h 3057704"/>
                    <a:gd name="connsiteX53" fmla="*/ 1440064 w 1627816"/>
                    <a:gd name="connsiteY53" fmla="*/ 1079695 h 3057704"/>
                    <a:gd name="connsiteX54" fmla="*/ 1439108 w 1627816"/>
                    <a:gd name="connsiteY54" fmla="*/ 1097164 h 3057704"/>
                    <a:gd name="connsiteX55" fmla="*/ 1437607 w 1627816"/>
                    <a:gd name="connsiteY55" fmla="*/ 1129510 h 3057704"/>
                    <a:gd name="connsiteX56" fmla="*/ 1436515 w 1627816"/>
                    <a:gd name="connsiteY56" fmla="*/ 1156533 h 3057704"/>
                    <a:gd name="connsiteX57" fmla="*/ 1436379 w 1627816"/>
                    <a:gd name="connsiteY57" fmla="*/ 1161447 h 3057704"/>
                    <a:gd name="connsiteX58" fmla="*/ 1435696 w 1627816"/>
                    <a:gd name="connsiteY58" fmla="*/ 1178916 h 3057704"/>
                    <a:gd name="connsiteX59" fmla="*/ 1435560 w 1627816"/>
                    <a:gd name="connsiteY59" fmla="*/ 1181919 h 3057704"/>
                    <a:gd name="connsiteX60" fmla="*/ 1435423 w 1627816"/>
                    <a:gd name="connsiteY60" fmla="*/ 1183420 h 3057704"/>
                    <a:gd name="connsiteX61" fmla="*/ 1434741 w 1627816"/>
                    <a:gd name="connsiteY61" fmla="*/ 1206485 h 3057704"/>
                    <a:gd name="connsiteX62" fmla="*/ 1434059 w 1627816"/>
                    <a:gd name="connsiteY62" fmla="*/ 1234054 h 3057704"/>
                    <a:gd name="connsiteX63" fmla="*/ 1433786 w 1627816"/>
                    <a:gd name="connsiteY63" fmla="*/ 1247020 h 3057704"/>
                    <a:gd name="connsiteX64" fmla="*/ 1433513 w 1627816"/>
                    <a:gd name="connsiteY64" fmla="*/ 1258621 h 3057704"/>
                    <a:gd name="connsiteX65" fmla="*/ 1433513 w 1627816"/>
                    <a:gd name="connsiteY65" fmla="*/ 1264489 h 3057704"/>
                    <a:gd name="connsiteX66" fmla="*/ 1433240 w 1627816"/>
                    <a:gd name="connsiteY66" fmla="*/ 1280594 h 3057704"/>
                    <a:gd name="connsiteX67" fmla="*/ 1433103 w 1627816"/>
                    <a:gd name="connsiteY67" fmla="*/ 1308163 h 3057704"/>
                    <a:gd name="connsiteX68" fmla="*/ 1433103 w 1627816"/>
                    <a:gd name="connsiteY68" fmla="*/ 1323039 h 3057704"/>
                    <a:gd name="connsiteX69" fmla="*/ 1433922 w 1627816"/>
                    <a:gd name="connsiteY69" fmla="*/ 1404382 h 3057704"/>
                    <a:gd name="connsiteX70" fmla="*/ 1434605 w 1627816"/>
                    <a:gd name="connsiteY70" fmla="*/ 1439866 h 3057704"/>
                    <a:gd name="connsiteX71" fmla="*/ 1435560 w 1627816"/>
                    <a:gd name="connsiteY71" fmla="*/ 1478490 h 3057704"/>
                    <a:gd name="connsiteX72" fmla="*/ 1438426 w 1627816"/>
                    <a:gd name="connsiteY72" fmla="*/ 1562153 h 3057704"/>
                    <a:gd name="connsiteX73" fmla="*/ 1438835 w 1627816"/>
                    <a:gd name="connsiteY73" fmla="*/ 1574572 h 3057704"/>
                    <a:gd name="connsiteX74" fmla="*/ 1438972 w 1627816"/>
                    <a:gd name="connsiteY74" fmla="*/ 1579622 h 3057704"/>
                    <a:gd name="connsiteX75" fmla="*/ 1440064 w 1627816"/>
                    <a:gd name="connsiteY75" fmla="*/ 1607601 h 3057704"/>
                    <a:gd name="connsiteX76" fmla="*/ 1441838 w 1627816"/>
                    <a:gd name="connsiteY76" fmla="*/ 1648545 h 3057704"/>
                    <a:gd name="connsiteX77" fmla="*/ 1444704 w 1627816"/>
                    <a:gd name="connsiteY77" fmla="*/ 1695630 h 3057704"/>
                    <a:gd name="connsiteX78" fmla="*/ 1450846 w 1627816"/>
                    <a:gd name="connsiteY78" fmla="*/ 1761414 h 3057704"/>
                    <a:gd name="connsiteX79" fmla="*/ 1452756 w 1627816"/>
                    <a:gd name="connsiteY79" fmla="*/ 1777791 h 3057704"/>
                    <a:gd name="connsiteX80" fmla="*/ 1456032 w 1627816"/>
                    <a:gd name="connsiteY80" fmla="*/ 1804951 h 3057704"/>
                    <a:gd name="connsiteX81" fmla="*/ 1458079 w 1627816"/>
                    <a:gd name="connsiteY81" fmla="*/ 1822284 h 3057704"/>
                    <a:gd name="connsiteX82" fmla="*/ 1459580 w 1627816"/>
                    <a:gd name="connsiteY82" fmla="*/ 1833475 h 3057704"/>
                    <a:gd name="connsiteX83" fmla="*/ 1465449 w 1627816"/>
                    <a:gd name="connsiteY83" fmla="*/ 1876330 h 3057704"/>
                    <a:gd name="connsiteX84" fmla="*/ 1466131 w 1627816"/>
                    <a:gd name="connsiteY84" fmla="*/ 1881243 h 3057704"/>
                    <a:gd name="connsiteX85" fmla="*/ 1469407 w 1627816"/>
                    <a:gd name="connsiteY85" fmla="*/ 1903626 h 3057704"/>
                    <a:gd name="connsiteX86" fmla="*/ 1476094 w 1627816"/>
                    <a:gd name="connsiteY86" fmla="*/ 1947573 h 3057704"/>
                    <a:gd name="connsiteX87" fmla="*/ 1478005 w 1627816"/>
                    <a:gd name="connsiteY87" fmla="*/ 1960265 h 3057704"/>
                    <a:gd name="connsiteX88" fmla="*/ 1490698 w 1627816"/>
                    <a:gd name="connsiteY88" fmla="*/ 2038195 h 3057704"/>
                    <a:gd name="connsiteX89" fmla="*/ 1493155 w 1627816"/>
                    <a:gd name="connsiteY89" fmla="*/ 2052389 h 3057704"/>
                    <a:gd name="connsiteX90" fmla="*/ 1498614 w 1627816"/>
                    <a:gd name="connsiteY90" fmla="*/ 2084053 h 3057704"/>
                    <a:gd name="connsiteX91" fmla="*/ 1518949 w 1627816"/>
                    <a:gd name="connsiteY91" fmla="*/ 2197332 h 3057704"/>
                    <a:gd name="connsiteX92" fmla="*/ 1544744 w 1627816"/>
                    <a:gd name="connsiteY92" fmla="*/ 2332583 h 3057704"/>
                    <a:gd name="connsiteX93" fmla="*/ 1567400 w 1627816"/>
                    <a:gd name="connsiteY93" fmla="*/ 2445453 h 3057704"/>
                    <a:gd name="connsiteX94" fmla="*/ 1622401 w 1627816"/>
                    <a:gd name="connsiteY94" fmla="*/ 2706675 h 3057704"/>
                    <a:gd name="connsiteX95" fmla="*/ 1428053 w 1627816"/>
                    <a:gd name="connsiteY95" fmla="*/ 2987552 h 3057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1627816" h="3057704">
                      <a:moveTo>
                        <a:pt x="1428053" y="2987552"/>
                      </a:moveTo>
                      <a:cubicBezTo>
                        <a:pt x="1427235" y="2987688"/>
                        <a:pt x="1426416" y="2987825"/>
                        <a:pt x="1425597" y="2987825"/>
                      </a:cubicBezTo>
                      <a:cubicBezTo>
                        <a:pt x="1263049" y="3011436"/>
                        <a:pt x="1098317" y="3033273"/>
                        <a:pt x="933176" y="3045965"/>
                      </a:cubicBezTo>
                      <a:cubicBezTo>
                        <a:pt x="923759" y="3046648"/>
                        <a:pt x="914205" y="3047467"/>
                        <a:pt x="904788" y="3048013"/>
                      </a:cubicBezTo>
                      <a:cubicBezTo>
                        <a:pt x="729957" y="3060432"/>
                        <a:pt x="554580" y="3062343"/>
                        <a:pt x="381114" y="3045283"/>
                      </a:cubicBezTo>
                      <a:cubicBezTo>
                        <a:pt x="324202" y="3039687"/>
                        <a:pt x="267426" y="3031908"/>
                        <a:pt x="211332" y="3021672"/>
                      </a:cubicBezTo>
                      <a:cubicBezTo>
                        <a:pt x="85770" y="2998743"/>
                        <a:pt x="1153" y="2880005"/>
                        <a:pt x="21488" y="2754171"/>
                      </a:cubicBezTo>
                      <a:cubicBezTo>
                        <a:pt x="40596" y="2635842"/>
                        <a:pt x="53152" y="2523929"/>
                        <a:pt x="61341" y="2418566"/>
                      </a:cubicBezTo>
                      <a:cubicBezTo>
                        <a:pt x="62569" y="2402871"/>
                        <a:pt x="63797" y="2387448"/>
                        <a:pt x="64753" y="2372163"/>
                      </a:cubicBezTo>
                      <a:cubicBezTo>
                        <a:pt x="73078" y="2249194"/>
                        <a:pt x="75808" y="2136052"/>
                        <a:pt x="76626" y="2033146"/>
                      </a:cubicBezTo>
                      <a:cubicBezTo>
                        <a:pt x="76626" y="2024411"/>
                        <a:pt x="76763" y="2015813"/>
                        <a:pt x="76763" y="2007215"/>
                      </a:cubicBezTo>
                      <a:cubicBezTo>
                        <a:pt x="76763" y="2003393"/>
                        <a:pt x="76899" y="1999435"/>
                        <a:pt x="76899" y="1995750"/>
                      </a:cubicBezTo>
                      <a:cubicBezTo>
                        <a:pt x="76899" y="1989882"/>
                        <a:pt x="76899" y="1984013"/>
                        <a:pt x="76899" y="1978281"/>
                      </a:cubicBezTo>
                      <a:cubicBezTo>
                        <a:pt x="77036" y="1974323"/>
                        <a:pt x="77036" y="1970501"/>
                        <a:pt x="77036" y="1966680"/>
                      </a:cubicBezTo>
                      <a:cubicBezTo>
                        <a:pt x="77036" y="1958627"/>
                        <a:pt x="77036" y="1950848"/>
                        <a:pt x="77036" y="1943069"/>
                      </a:cubicBezTo>
                      <a:cubicBezTo>
                        <a:pt x="77172" y="1919048"/>
                        <a:pt x="77036" y="1895710"/>
                        <a:pt x="77172" y="1873054"/>
                      </a:cubicBezTo>
                      <a:lnTo>
                        <a:pt x="77172" y="1867049"/>
                      </a:lnTo>
                      <a:cubicBezTo>
                        <a:pt x="77172" y="1788573"/>
                        <a:pt x="77582" y="1718286"/>
                        <a:pt x="80721" y="1656733"/>
                      </a:cubicBezTo>
                      <a:cubicBezTo>
                        <a:pt x="80857" y="1653867"/>
                        <a:pt x="80994" y="1651138"/>
                        <a:pt x="81130" y="1648408"/>
                      </a:cubicBezTo>
                      <a:cubicBezTo>
                        <a:pt x="81813" y="1635579"/>
                        <a:pt x="82495" y="1622886"/>
                        <a:pt x="83041" y="1610466"/>
                      </a:cubicBezTo>
                      <a:cubicBezTo>
                        <a:pt x="83587" y="1598320"/>
                        <a:pt x="84133" y="1586309"/>
                        <a:pt x="84679" y="1574436"/>
                      </a:cubicBezTo>
                      <a:cubicBezTo>
                        <a:pt x="86044" y="1541135"/>
                        <a:pt x="86862" y="1508925"/>
                        <a:pt x="87408" y="1478217"/>
                      </a:cubicBezTo>
                      <a:cubicBezTo>
                        <a:pt x="87681" y="1452422"/>
                        <a:pt x="87681" y="1427720"/>
                        <a:pt x="87272" y="1404108"/>
                      </a:cubicBezTo>
                      <a:cubicBezTo>
                        <a:pt x="86726" y="1378041"/>
                        <a:pt x="85907" y="1353611"/>
                        <a:pt x="84406" y="1331091"/>
                      </a:cubicBezTo>
                      <a:cubicBezTo>
                        <a:pt x="83860" y="1323585"/>
                        <a:pt x="83314" y="1315942"/>
                        <a:pt x="82768" y="1307890"/>
                      </a:cubicBezTo>
                      <a:cubicBezTo>
                        <a:pt x="81813" y="1295880"/>
                        <a:pt x="80857" y="1283460"/>
                        <a:pt x="79765" y="1270631"/>
                      </a:cubicBezTo>
                      <a:cubicBezTo>
                        <a:pt x="79083" y="1262851"/>
                        <a:pt x="78401" y="1255072"/>
                        <a:pt x="77718" y="1247020"/>
                      </a:cubicBezTo>
                      <a:cubicBezTo>
                        <a:pt x="77445" y="1243471"/>
                        <a:pt x="77036" y="1240059"/>
                        <a:pt x="76763" y="1236511"/>
                      </a:cubicBezTo>
                      <a:cubicBezTo>
                        <a:pt x="76763" y="1235555"/>
                        <a:pt x="76626" y="1234736"/>
                        <a:pt x="76490" y="1233918"/>
                      </a:cubicBezTo>
                      <a:cubicBezTo>
                        <a:pt x="76080" y="1229004"/>
                        <a:pt x="75534" y="1224091"/>
                        <a:pt x="75125" y="1219041"/>
                      </a:cubicBezTo>
                      <a:cubicBezTo>
                        <a:pt x="74579" y="1214128"/>
                        <a:pt x="74170" y="1209351"/>
                        <a:pt x="73624" y="1204438"/>
                      </a:cubicBezTo>
                      <a:cubicBezTo>
                        <a:pt x="72805" y="1195840"/>
                        <a:pt x="71986" y="1187105"/>
                        <a:pt x="71031" y="1178370"/>
                      </a:cubicBezTo>
                      <a:cubicBezTo>
                        <a:pt x="66936" y="1137290"/>
                        <a:pt x="62296" y="1094162"/>
                        <a:pt x="57519" y="1050079"/>
                      </a:cubicBezTo>
                      <a:cubicBezTo>
                        <a:pt x="56018" y="1036294"/>
                        <a:pt x="54380" y="1022237"/>
                        <a:pt x="52879" y="1008179"/>
                      </a:cubicBezTo>
                      <a:cubicBezTo>
                        <a:pt x="50422" y="986343"/>
                        <a:pt x="47966" y="964369"/>
                        <a:pt x="45509" y="942396"/>
                      </a:cubicBezTo>
                      <a:cubicBezTo>
                        <a:pt x="43871" y="928202"/>
                        <a:pt x="42233" y="914008"/>
                        <a:pt x="40596" y="899951"/>
                      </a:cubicBezTo>
                      <a:cubicBezTo>
                        <a:pt x="16302" y="686905"/>
                        <a:pt x="-6490" y="482867"/>
                        <a:pt x="1699" y="418175"/>
                      </a:cubicBezTo>
                      <a:cubicBezTo>
                        <a:pt x="15756" y="306125"/>
                        <a:pt x="558538" y="10236"/>
                        <a:pt x="558538" y="10236"/>
                      </a:cubicBezTo>
                      <a:lnTo>
                        <a:pt x="884316" y="0"/>
                      </a:lnTo>
                      <a:cubicBezTo>
                        <a:pt x="884316" y="0"/>
                        <a:pt x="1341661" y="184248"/>
                        <a:pt x="1426143" y="295480"/>
                      </a:cubicBezTo>
                      <a:cubicBezTo>
                        <a:pt x="1426552" y="296026"/>
                        <a:pt x="1426962" y="296572"/>
                        <a:pt x="1427371" y="297117"/>
                      </a:cubicBezTo>
                      <a:cubicBezTo>
                        <a:pt x="1446478" y="323322"/>
                        <a:pt x="1458625" y="359762"/>
                        <a:pt x="1465449" y="404664"/>
                      </a:cubicBezTo>
                      <a:cubicBezTo>
                        <a:pt x="1471591" y="444243"/>
                        <a:pt x="1473774" y="490374"/>
                        <a:pt x="1473365" y="542099"/>
                      </a:cubicBezTo>
                      <a:cubicBezTo>
                        <a:pt x="1473092" y="578949"/>
                        <a:pt x="1471591" y="618665"/>
                        <a:pt x="1469134" y="660701"/>
                      </a:cubicBezTo>
                      <a:cubicBezTo>
                        <a:pt x="1466677" y="705330"/>
                        <a:pt x="1463265" y="752688"/>
                        <a:pt x="1459444" y="802367"/>
                      </a:cubicBezTo>
                      <a:cubicBezTo>
                        <a:pt x="1458352" y="816834"/>
                        <a:pt x="1457260" y="831437"/>
                        <a:pt x="1456168" y="846177"/>
                      </a:cubicBezTo>
                      <a:cubicBezTo>
                        <a:pt x="1454940" y="861190"/>
                        <a:pt x="1453848" y="876340"/>
                        <a:pt x="1452756" y="891762"/>
                      </a:cubicBezTo>
                      <a:cubicBezTo>
                        <a:pt x="1452074" y="901725"/>
                        <a:pt x="1451255" y="911688"/>
                        <a:pt x="1450573" y="921787"/>
                      </a:cubicBezTo>
                      <a:cubicBezTo>
                        <a:pt x="1448662" y="948264"/>
                        <a:pt x="1446615" y="975288"/>
                        <a:pt x="1444841" y="1002584"/>
                      </a:cubicBezTo>
                      <a:cubicBezTo>
                        <a:pt x="1444295" y="1011455"/>
                        <a:pt x="1443612" y="1020326"/>
                        <a:pt x="1443066" y="1029197"/>
                      </a:cubicBezTo>
                      <a:cubicBezTo>
                        <a:pt x="1442657" y="1034793"/>
                        <a:pt x="1442384" y="1040525"/>
                        <a:pt x="1442111" y="1046257"/>
                      </a:cubicBezTo>
                      <a:cubicBezTo>
                        <a:pt x="1441701" y="1051990"/>
                        <a:pt x="1441429" y="1057858"/>
                        <a:pt x="1441019" y="1063590"/>
                      </a:cubicBezTo>
                      <a:lnTo>
                        <a:pt x="1441019" y="1063727"/>
                      </a:lnTo>
                      <a:cubicBezTo>
                        <a:pt x="1440746" y="1069050"/>
                        <a:pt x="1440337" y="1074372"/>
                        <a:pt x="1440064" y="1079695"/>
                      </a:cubicBezTo>
                      <a:cubicBezTo>
                        <a:pt x="1439654" y="1085564"/>
                        <a:pt x="1439381" y="1091296"/>
                        <a:pt x="1439108" y="1097164"/>
                      </a:cubicBezTo>
                      <a:cubicBezTo>
                        <a:pt x="1438562" y="1107946"/>
                        <a:pt x="1438017" y="1118592"/>
                        <a:pt x="1437607" y="1129510"/>
                      </a:cubicBezTo>
                      <a:cubicBezTo>
                        <a:pt x="1437198" y="1138518"/>
                        <a:pt x="1436788" y="1147526"/>
                        <a:pt x="1436515" y="1156533"/>
                      </a:cubicBezTo>
                      <a:cubicBezTo>
                        <a:pt x="1436379" y="1158171"/>
                        <a:pt x="1436379" y="1159809"/>
                        <a:pt x="1436379" y="1161447"/>
                      </a:cubicBezTo>
                      <a:cubicBezTo>
                        <a:pt x="1436106" y="1167315"/>
                        <a:pt x="1435833" y="1173047"/>
                        <a:pt x="1435696" y="1178916"/>
                      </a:cubicBezTo>
                      <a:lnTo>
                        <a:pt x="1435560" y="1181919"/>
                      </a:lnTo>
                      <a:lnTo>
                        <a:pt x="1435423" y="1183420"/>
                      </a:lnTo>
                      <a:cubicBezTo>
                        <a:pt x="1435150" y="1191063"/>
                        <a:pt x="1434877" y="1198842"/>
                        <a:pt x="1434741" y="1206485"/>
                      </a:cubicBezTo>
                      <a:cubicBezTo>
                        <a:pt x="1434468" y="1215629"/>
                        <a:pt x="1434195" y="1224910"/>
                        <a:pt x="1434059" y="1234054"/>
                      </a:cubicBezTo>
                      <a:cubicBezTo>
                        <a:pt x="1433922" y="1238285"/>
                        <a:pt x="1433922" y="1242652"/>
                        <a:pt x="1433786" y="1247020"/>
                      </a:cubicBezTo>
                      <a:cubicBezTo>
                        <a:pt x="1433649" y="1250841"/>
                        <a:pt x="1433649" y="1254799"/>
                        <a:pt x="1433513" y="1258621"/>
                      </a:cubicBezTo>
                      <a:cubicBezTo>
                        <a:pt x="1433513" y="1260531"/>
                        <a:pt x="1433513" y="1262442"/>
                        <a:pt x="1433513" y="1264489"/>
                      </a:cubicBezTo>
                      <a:cubicBezTo>
                        <a:pt x="1433376" y="1269812"/>
                        <a:pt x="1433376" y="1275135"/>
                        <a:pt x="1433240" y="1280594"/>
                      </a:cubicBezTo>
                      <a:cubicBezTo>
                        <a:pt x="1433103" y="1289602"/>
                        <a:pt x="1433103" y="1298746"/>
                        <a:pt x="1433103" y="1308163"/>
                      </a:cubicBezTo>
                      <a:lnTo>
                        <a:pt x="1433103" y="1323039"/>
                      </a:lnTo>
                      <a:cubicBezTo>
                        <a:pt x="1433103" y="1348970"/>
                        <a:pt x="1433376" y="1376130"/>
                        <a:pt x="1433922" y="1404382"/>
                      </a:cubicBezTo>
                      <a:cubicBezTo>
                        <a:pt x="1434059" y="1415982"/>
                        <a:pt x="1434332" y="1427856"/>
                        <a:pt x="1434605" y="1439866"/>
                      </a:cubicBezTo>
                      <a:cubicBezTo>
                        <a:pt x="1434877" y="1452559"/>
                        <a:pt x="1435287" y="1465388"/>
                        <a:pt x="1435560" y="1478490"/>
                      </a:cubicBezTo>
                      <a:cubicBezTo>
                        <a:pt x="1436379" y="1505786"/>
                        <a:pt x="1437334" y="1533765"/>
                        <a:pt x="1438426" y="1562153"/>
                      </a:cubicBezTo>
                      <a:cubicBezTo>
                        <a:pt x="1438562" y="1566247"/>
                        <a:pt x="1438699" y="1570478"/>
                        <a:pt x="1438835" y="1574572"/>
                      </a:cubicBezTo>
                      <a:cubicBezTo>
                        <a:pt x="1438972" y="1576346"/>
                        <a:pt x="1438972" y="1577984"/>
                        <a:pt x="1438972" y="1579622"/>
                      </a:cubicBezTo>
                      <a:cubicBezTo>
                        <a:pt x="1439245" y="1588903"/>
                        <a:pt x="1439654" y="1598183"/>
                        <a:pt x="1440064" y="1607601"/>
                      </a:cubicBezTo>
                      <a:cubicBezTo>
                        <a:pt x="1440610" y="1621112"/>
                        <a:pt x="1441292" y="1634897"/>
                        <a:pt x="1441838" y="1648545"/>
                      </a:cubicBezTo>
                      <a:cubicBezTo>
                        <a:pt x="1442520" y="1663284"/>
                        <a:pt x="1443476" y="1678980"/>
                        <a:pt x="1444704" y="1695630"/>
                      </a:cubicBezTo>
                      <a:cubicBezTo>
                        <a:pt x="1446342" y="1716375"/>
                        <a:pt x="1448389" y="1738348"/>
                        <a:pt x="1450846" y="1761414"/>
                      </a:cubicBezTo>
                      <a:cubicBezTo>
                        <a:pt x="1451392" y="1766873"/>
                        <a:pt x="1452074" y="1772332"/>
                        <a:pt x="1452756" y="1777791"/>
                      </a:cubicBezTo>
                      <a:cubicBezTo>
                        <a:pt x="1453712" y="1786662"/>
                        <a:pt x="1454804" y="1795807"/>
                        <a:pt x="1456032" y="1804951"/>
                      </a:cubicBezTo>
                      <a:cubicBezTo>
                        <a:pt x="1456714" y="1810683"/>
                        <a:pt x="1457397" y="1816552"/>
                        <a:pt x="1458079" y="1822284"/>
                      </a:cubicBezTo>
                      <a:cubicBezTo>
                        <a:pt x="1458625" y="1825969"/>
                        <a:pt x="1459034" y="1829654"/>
                        <a:pt x="1459580" y="1833475"/>
                      </a:cubicBezTo>
                      <a:cubicBezTo>
                        <a:pt x="1461355" y="1847396"/>
                        <a:pt x="1463265" y="1861727"/>
                        <a:pt x="1465449" y="1876330"/>
                      </a:cubicBezTo>
                      <a:cubicBezTo>
                        <a:pt x="1465722" y="1877968"/>
                        <a:pt x="1465858" y="1879605"/>
                        <a:pt x="1466131" y="1881243"/>
                      </a:cubicBezTo>
                      <a:cubicBezTo>
                        <a:pt x="1467223" y="1888613"/>
                        <a:pt x="1468315" y="1895983"/>
                        <a:pt x="1469407" y="1903626"/>
                      </a:cubicBezTo>
                      <a:cubicBezTo>
                        <a:pt x="1471454" y="1917956"/>
                        <a:pt x="1473774" y="1932696"/>
                        <a:pt x="1476094" y="1947573"/>
                      </a:cubicBezTo>
                      <a:cubicBezTo>
                        <a:pt x="1476777" y="1951803"/>
                        <a:pt x="1477459" y="1956034"/>
                        <a:pt x="1478005" y="1960265"/>
                      </a:cubicBezTo>
                      <a:cubicBezTo>
                        <a:pt x="1481963" y="1985651"/>
                        <a:pt x="1486194" y="2011582"/>
                        <a:pt x="1490698" y="2038195"/>
                      </a:cubicBezTo>
                      <a:cubicBezTo>
                        <a:pt x="1491517" y="2042836"/>
                        <a:pt x="1492336" y="2047613"/>
                        <a:pt x="1493155" y="2052389"/>
                      </a:cubicBezTo>
                      <a:cubicBezTo>
                        <a:pt x="1494929" y="2062898"/>
                        <a:pt x="1496703" y="2073407"/>
                        <a:pt x="1498614" y="2084053"/>
                      </a:cubicBezTo>
                      <a:cubicBezTo>
                        <a:pt x="1505028" y="2121039"/>
                        <a:pt x="1511852" y="2158844"/>
                        <a:pt x="1518949" y="2197332"/>
                      </a:cubicBezTo>
                      <a:cubicBezTo>
                        <a:pt x="1527275" y="2241824"/>
                        <a:pt x="1535873" y="2286999"/>
                        <a:pt x="1544744" y="2332583"/>
                      </a:cubicBezTo>
                      <a:cubicBezTo>
                        <a:pt x="1552114" y="2370115"/>
                        <a:pt x="1559620" y="2407784"/>
                        <a:pt x="1567400" y="2445453"/>
                      </a:cubicBezTo>
                      <a:cubicBezTo>
                        <a:pt x="1585415" y="2533619"/>
                        <a:pt x="1603976" y="2621649"/>
                        <a:pt x="1622401" y="2706675"/>
                      </a:cubicBezTo>
                      <a:cubicBezTo>
                        <a:pt x="1651199" y="2838515"/>
                        <a:pt x="1562077" y="2967899"/>
                        <a:pt x="1428053" y="298755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1" name="组合 130">
                  <a:extLst>
                    <a:ext uri="{FF2B5EF4-FFF2-40B4-BE49-F238E27FC236}">
                      <a16:creationId xmlns:a16="http://schemas.microsoft.com/office/drawing/2014/main" id="{C21AF380-FC2B-497D-A5F6-824A83B565BD}"/>
                    </a:ext>
                  </a:extLst>
                </p:cNvPr>
                <p:cNvGrpSpPr/>
                <p:nvPr/>
              </p:nvGrpSpPr>
              <p:grpSpPr>
                <a:xfrm>
                  <a:off x="8604522" y="2568908"/>
                  <a:ext cx="1423761" cy="2219850"/>
                  <a:chOff x="8604522" y="2568908"/>
                  <a:chExt cx="1423761" cy="2219850"/>
                </a:xfrm>
                <a:solidFill>
                  <a:srgbClr val="93C3FD"/>
                </a:solidFill>
              </p:grpSpPr>
              <p:sp>
                <p:nvSpPr>
                  <p:cNvPr id="132" name="任意多边形: 形状 131">
                    <a:extLst>
                      <a:ext uri="{FF2B5EF4-FFF2-40B4-BE49-F238E27FC236}">
                        <a16:creationId xmlns:a16="http://schemas.microsoft.com/office/drawing/2014/main" id="{BF60546C-E248-41CF-8C5C-118BE12BF72B}"/>
                      </a:ext>
                    </a:extLst>
                  </p:cNvPr>
                  <p:cNvSpPr/>
                  <p:nvPr/>
                </p:nvSpPr>
                <p:spPr>
                  <a:xfrm>
                    <a:off x="8750419" y="2568908"/>
                    <a:ext cx="1175913" cy="174967"/>
                  </a:xfrm>
                  <a:custGeom>
                    <a:avLst/>
                    <a:gdLst>
                      <a:gd name="connsiteX0" fmla="*/ 1175914 w 1175913"/>
                      <a:gd name="connsiteY0" fmla="*/ 109321 h 174967"/>
                      <a:gd name="connsiteX1" fmla="*/ 542509 w 1175913"/>
                      <a:gd name="connsiteY1" fmla="*/ 174968 h 174967"/>
                      <a:gd name="connsiteX2" fmla="*/ 452159 w 1175913"/>
                      <a:gd name="connsiteY2" fmla="*/ 173603 h 174967"/>
                      <a:gd name="connsiteX3" fmla="*/ 0 w 1175913"/>
                      <a:gd name="connsiteY3" fmla="*/ 125016 h 174967"/>
                      <a:gd name="connsiteX4" fmla="*/ 12693 w 1175913"/>
                      <a:gd name="connsiteY4" fmla="*/ 68922 h 174967"/>
                      <a:gd name="connsiteX5" fmla="*/ 25385 w 1175913"/>
                      <a:gd name="connsiteY5" fmla="*/ 12829 h 174967"/>
                      <a:gd name="connsiteX6" fmla="*/ 25385 w 1175913"/>
                      <a:gd name="connsiteY6" fmla="*/ 12829 h 174967"/>
                      <a:gd name="connsiteX7" fmla="*/ 458574 w 1175913"/>
                      <a:gd name="connsiteY7" fmla="*/ 58686 h 174967"/>
                      <a:gd name="connsiteX8" fmla="*/ 1136471 w 1175913"/>
                      <a:gd name="connsiteY8" fmla="*/ 0 h 174967"/>
                      <a:gd name="connsiteX9" fmla="*/ 1137699 w 1175913"/>
                      <a:gd name="connsiteY9" fmla="*/ 1638 h 174967"/>
                      <a:gd name="connsiteX10" fmla="*/ 1175914 w 1175913"/>
                      <a:gd name="connsiteY10" fmla="*/ 109321 h 174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175913" h="174967">
                        <a:moveTo>
                          <a:pt x="1175914" y="109321"/>
                        </a:moveTo>
                        <a:cubicBezTo>
                          <a:pt x="937892" y="160364"/>
                          <a:pt x="717067" y="174968"/>
                          <a:pt x="542509" y="174968"/>
                        </a:cubicBezTo>
                        <a:cubicBezTo>
                          <a:pt x="510846" y="174968"/>
                          <a:pt x="480683" y="174422"/>
                          <a:pt x="452159" y="173603"/>
                        </a:cubicBezTo>
                        <a:cubicBezTo>
                          <a:pt x="182747" y="165687"/>
                          <a:pt x="7370" y="126654"/>
                          <a:pt x="0" y="125016"/>
                        </a:cubicBezTo>
                        <a:lnTo>
                          <a:pt x="12693" y="68922"/>
                        </a:lnTo>
                        <a:lnTo>
                          <a:pt x="25385" y="12829"/>
                        </a:lnTo>
                        <a:lnTo>
                          <a:pt x="25385" y="12829"/>
                        </a:lnTo>
                        <a:cubicBezTo>
                          <a:pt x="28797" y="13648"/>
                          <a:pt x="200762" y="51453"/>
                          <a:pt x="458574" y="58686"/>
                        </a:cubicBezTo>
                        <a:cubicBezTo>
                          <a:pt x="632722" y="63600"/>
                          <a:pt x="873337" y="54865"/>
                          <a:pt x="1136471" y="0"/>
                        </a:cubicBezTo>
                        <a:cubicBezTo>
                          <a:pt x="1136880" y="546"/>
                          <a:pt x="1137290" y="1092"/>
                          <a:pt x="1137699" y="1638"/>
                        </a:cubicBezTo>
                        <a:cubicBezTo>
                          <a:pt x="1156943" y="27842"/>
                          <a:pt x="1168953" y="64282"/>
                          <a:pt x="1175914" y="1093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" name="任意多边形: 形状 132">
                    <a:extLst>
                      <a:ext uri="{FF2B5EF4-FFF2-40B4-BE49-F238E27FC236}">
                        <a16:creationId xmlns:a16="http://schemas.microsoft.com/office/drawing/2014/main" id="{67ADF8FE-C7A9-4491-BF50-91F4FE4FB323}"/>
                      </a:ext>
                    </a:extLst>
                  </p:cNvPr>
                  <p:cNvSpPr/>
                  <p:nvPr/>
                </p:nvSpPr>
                <p:spPr>
                  <a:xfrm>
                    <a:off x="8732131" y="2815664"/>
                    <a:ext cx="1201981" cy="182610"/>
                  </a:xfrm>
                  <a:custGeom>
                    <a:avLst/>
                    <a:gdLst>
                      <a:gd name="connsiteX0" fmla="*/ 1201981 w 1201981"/>
                      <a:gd name="connsiteY0" fmla="*/ 0 h 182610"/>
                      <a:gd name="connsiteX1" fmla="*/ 1197750 w 1201981"/>
                      <a:gd name="connsiteY1" fmla="*/ 118601 h 182610"/>
                      <a:gd name="connsiteX2" fmla="*/ 573081 w 1201981"/>
                      <a:gd name="connsiteY2" fmla="*/ 182611 h 182610"/>
                      <a:gd name="connsiteX3" fmla="*/ 451477 w 1201981"/>
                      <a:gd name="connsiteY3" fmla="*/ 180290 h 182610"/>
                      <a:gd name="connsiteX4" fmla="*/ 0 w 1201981"/>
                      <a:gd name="connsiteY4" fmla="*/ 127200 h 182610"/>
                      <a:gd name="connsiteX5" fmla="*/ 26477 w 1201981"/>
                      <a:gd name="connsiteY5" fmla="*/ 15286 h 182610"/>
                      <a:gd name="connsiteX6" fmla="*/ 458983 w 1201981"/>
                      <a:gd name="connsiteY6" fmla="*/ 65511 h 182610"/>
                      <a:gd name="connsiteX7" fmla="*/ 1201981 w 1201981"/>
                      <a:gd name="connsiteY7" fmla="*/ 0 h 18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01981" h="182610">
                        <a:moveTo>
                          <a:pt x="1201981" y="0"/>
                        </a:moveTo>
                        <a:cubicBezTo>
                          <a:pt x="1201708" y="36850"/>
                          <a:pt x="1200207" y="76565"/>
                          <a:pt x="1197750" y="118601"/>
                        </a:cubicBezTo>
                        <a:cubicBezTo>
                          <a:pt x="964915" y="168144"/>
                          <a:pt x="747912" y="182611"/>
                          <a:pt x="573081" y="182611"/>
                        </a:cubicBezTo>
                        <a:cubicBezTo>
                          <a:pt x="529816" y="182611"/>
                          <a:pt x="489145" y="181655"/>
                          <a:pt x="451477" y="180290"/>
                        </a:cubicBezTo>
                        <a:cubicBezTo>
                          <a:pt x="182201" y="169781"/>
                          <a:pt x="7370" y="128974"/>
                          <a:pt x="0" y="127200"/>
                        </a:cubicBezTo>
                        <a:lnTo>
                          <a:pt x="26477" y="15286"/>
                        </a:lnTo>
                        <a:cubicBezTo>
                          <a:pt x="28251" y="15695"/>
                          <a:pt x="200080" y="55548"/>
                          <a:pt x="458983" y="65511"/>
                        </a:cubicBezTo>
                        <a:cubicBezTo>
                          <a:pt x="647326" y="72608"/>
                          <a:pt x="913326" y="64692"/>
                          <a:pt x="1201981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" name="任意多边形: 形状 133">
                    <a:extLst>
                      <a:ext uri="{FF2B5EF4-FFF2-40B4-BE49-F238E27FC236}">
                        <a16:creationId xmlns:a16="http://schemas.microsoft.com/office/drawing/2014/main" id="{6CFA359D-9948-41BE-9695-46F349C765AB}"/>
                      </a:ext>
                    </a:extLst>
                  </p:cNvPr>
                  <p:cNvSpPr/>
                  <p:nvPr/>
                </p:nvSpPr>
                <p:spPr>
                  <a:xfrm>
                    <a:off x="8714115" y="3075795"/>
                    <a:ext cx="1206212" cy="177287"/>
                  </a:xfrm>
                  <a:custGeom>
                    <a:avLst/>
                    <a:gdLst>
                      <a:gd name="connsiteX0" fmla="*/ 1206212 w 1206212"/>
                      <a:gd name="connsiteY0" fmla="*/ 0 h 177287"/>
                      <a:gd name="connsiteX1" fmla="*/ 1202937 w 1206212"/>
                      <a:gd name="connsiteY1" fmla="*/ 43810 h 177287"/>
                      <a:gd name="connsiteX2" fmla="*/ 1199525 w 1206212"/>
                      <a:gd name="connsiteY2" fmla="*/ 89395 h 177287"/>
                      <a:gd name="connsiteX3" fmla="*/ 1197341 w 1206212"/>
                      <a:gd name="connsiteY3" fmla="*/ 119420 h 177287"/>
                      <a:gd name="connsiteX4" fmla="*/ 603925 w 1206212"/>
                      <a:gd name="connsiteY4" fmla="*/ 177288 h 177287"/>
                      <a:gd name="connsiteX5" fmla="*/ 450794 w 1206212"/>
                      <a:gd name="connsiteY5" fmla="*/ 173603 h 177287"/>
                      <a:gd name="connsiteX6" fmla="*/ 0 w 1206212"/>
                      <a:gd name="connsiteY6" fmla="*/ 116008 h 177287"/>
                      <a:gd name="connsiteX7" fmla="*/ 27569 w 1206212"/>
                      <a:gd name="connsiteY7" fmla="*/ 4367 h 177287"/>
                      <a:gd name="connsiteX8" fmla="*/ 459529 w 1206212"/>
                      <a:gd name="connsiteY8" fmla="*/ 58823 h 177287"/>
                      <a:gd name="connsiteX9" fmla="*/ 1206212 w 1206212"/>
                      <a:gd name="connsiteY9" fmla="*/ 0 h 17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06212" h="177287">
                        <a:moveTo>
                          <a:pt x="1206212" y="0"/>
                        </a:moveTo>
                        <a:cubicBezTo>
                          <a:pt x="1205120" y="14467"/>
                          <a:pt x="1204028" y="29070"/>
                          <a:pt x="1202937" y="43810"/>
                        </a:cubicBezTo>
                        <a:cubicBezTo>
                          <a:pt x="1201708" y="58823"/>
                          <a:pt x="1200616" y="73972"/>
                          <a:pt x="1199525" y="89395"/>
                        </a:cubicBezTo>
                        <a:cubicBezTo>
                          <a:pt x="1198842" y="99358"/>
                          <a:pt x="1198023" y="109321"/>
                          <a:pt x="1197341" y="119420"/>
                        </a:cubicBezTo>
                        <a:cubicBezTo>
                          <a:pt x="978017" y="163776"/>
                          <a:pt x="772888" y="177288"/>
                          <a:pt x="603925" y="177288"/>
                        </a:cubicBezTo>
                        <a:cubicBezTo>
                          <a:pt x="548787" y="177288"/>
                          <a:pt x="497471" y="175787"/>
                          <a:pt x="450794" y="173603"/>
                        </a:cubicBezTo>
                        <a:cubicBezTo>
                          <a:pt x="181655" y="160364"/>
                          <a:pt x="7233" y="117782"/>
                          <a:pt x="0" y="116008"/>
                        </a:cubicBezTo>
                        <a:lnTo>
                          <a:pt x="27569" y="4367"/>
                        </a:lnTo>
                        <a:cubicBezTo>
                          <a:pt x="29343" y="4777"/>
                          <a:pt x="200762" y="46403"/>
                          <a:pt x="459529" y="58823"/>
                        </a:cubicBezTo>
                        <a:cubicBezTo>
                          <a:pt x="648145" y="67967"/>
                          <a:pt x="915509" y="62645"/>
                          <a:pt x="1206212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" name="任意多边形: 形状 134">
                    <a:extLst>
                      <a:ext uri="{FF2B5EF4-FFF2-40B4-BE49-F238E27FC236}">
                        <a16:creationId xmlns:a16="http://schemas.microsoft.com/office/drawing/2014/main" id="{33EA245E-BB38-455D-9B6E-C5FDEEEACE00}"/>
                      </a:ext>
                    </a:extLst>
                  </p:cNvPr>
                  <p:cNvSpPr/>
                  <p:nvPr/>
                </p:nvSpPr>
                <p:spPr>
                  <a:xfrm>
                    <a:off x="8695827" y="3329375"/>
                    <a:ext cx="1205939" cy="178925"/>
                  </a:xfrm>
                  <a:custGeom>
                    <a:avLst/>
                    <a:gdLst>
                      <a:gd name="connsiteX0" fmla="*/ 1205939 w 1205939"/>
                      <a:gd name="connsiteY0" fmla="*/ 7779 h 178925"/>
                      <a:gd name="connsiteX1" fmla="*/ 1205939 w 1205939"/>
                      <a:gd name="connsiteY1" fmla="*/ 7779 h 178925"/>
                      <a:gd name="connsiteX2" fmla="*/ 1204984 w 1205939"/>
                      <a:gd name="connsiteY2" fmla="*/ 23884 h 178925"/>
                      <a:gd name="connsiteX3" fmla="*/ 1204028 w 1205939"/>
                      <a:gd name="connsiteY3" fmla="*/ 41353 h 178925"/>
                      <a:gd name="connsiteX4" fmla="*/ 1202527 w 1205939"/>
                      <a:gd name="connsiteY4" fmla="*/ 73699 h 178925"/>
                      <a:gd name="connsiteX5" fmla="*/ 1201435 w 1205939"/>
                      <a:gd name="connsiteY5" fmla="*/ 100722 h 178925"/>
                      <a:gd name="connsiteX6" fmla="*/ 1201299 w 1205939"/>
                      <a:gd name="connsiteY6" fmla="*/ 105636 h 178925"/>
                      <a:gd name="connsiteX7" fmla="*/ 1200616 w 1205939"/>
                      <a:gd name="connsiteY7" fmla="*/ 123105 h 178925"/>
                      <a:gd name="connsiteX8" fmla="*/ 1200480 w 1205939"/>
                      <a:gd name="connsiteY8" fmla="*/ 126108 h 178925"/>
                      <a:gd name="connsiteX9" fmla="*/ 634633 w 1205939"/>
                      <a:gd name="connsiteY9" fmla="*/ 178926 h 178925"/>
                      <a:gd name="connsiteX10" fmla="*/ 450112 w 1205939"/>
                      <a:gd name="connsiteY10" fmla="*/ 173466 h 178925"/>
                      <a:gd name="connsiteX11" fmla="*/ 0 w 1205939"/>
                      <a:gd name="connsiteY11" fmla="*/ 111368 h 178925"/>
                      <a:gd name="connsiteX12" fmla="*/ 28661 w 1205939"/>
                      <a:gd name="connsiteY12" fmla="*/ 0 h 178925"/>
                      <a:gd name="connsiteX13" fmla="*/ 28661 w 1205939"/>
                      <a:gd name="connsiteY13" fmla="*/ 0 h 178925"/>
                      <a:gd name="connsiteX14" fmla="*/ 148900 w 1205939"/>
                      <a:gd name="connsiteY14" fmla="*/ 24021 h 178925"/>
                      <a:gd name="connsiteX15" fmla="*/ 459938 w 1205939"/>
                      <a:gd name="connsiteY15" fmla="*/ 58687 h 178925"/>
                      <a:gd name="connsiteX16" fmla="*/ 1205939 w 1205939"/>
                      <a:gd name="connsiteY16" fmla="*/ 7779 h 178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05939" h="178925">
                        <a:moveTo>
                          <a:pt x="1205939" y="7779"/>
                        </a:moveTo>
                        <a:lnTo>
                          <a:pt x="1205939" y="7779"/>
                        </a:lnTo>
                        <a:cubicBezTo>
                          <a:pt x="1205666" y="13239"/>
                          <a:pt x="1205257" y="18561"/>
                          <a:pt x="1204984" y="23884"/>
                        </a:cubicBezTo>
                        <a:cubicBezTo>
                          <a:pt x="1204575" y="29753"/>
                          <a:pt x="1204302" y="35485"/>
                          <a:pt x="1204028" y="41353"/>
                        </a:cubicBezTo>
                        <a:cubicBezTo>
                          <a:pt x="1203483" y="52136"/>
                          <a:pt x="1202937" y="62781"/>
                          <a:pt x="1202527" y="73699"/>
                        </a:cubicBezTo>
                        <a:cubicBezTo>
                          <a:pt x="1202118" y="82707"/>
                          <a:pt x="1201708" y="91715"/>
                          <a:pt x="1201435" y="100722"/>
                        </a:cubicBezTo>
                        <a:cubicBezTo>
                          <a:pt x="1201299" y="102360"/>
                          <a:pt x="1201299" y="103998"/>
                          <a:pt x="1201299" y="105636"/>
                        </a:cubicBezTo>
                        <a:cubicBezTo>
                          <a:pt x="1201026" y="111504"/>
                          <a:pt x="1200753" y="117237"/>
                          <a:pt x="1200616" y="123105"/>
                        </a:cubicBezTo>
                        <a:lnTo>
                          <a:pt x="1200480" y="126108"/>
                        </a:lnTo>
                        <a:cubicBezTo>
                          <a:pt x="992894" y="166233"/>
                          <a:pt x="798136" y="178926"/>
                          <a:pt x="634633" y="178926"/>
                        </a:cubicBezTo>
                        <a:cubicBezTo>
                          <a:pt x="567485" y="178926"/>
                          <a:pt x="505523" y="176878"/>
                          <a:pt x="450112" y="173466"/>
                        </a:cubicBezTo>
                        <a:cubicBezTo>
                          <a:pt x="181246" y="157498"/>
                          <a:pt x="7233" y="113279"/>
                          <a:pt x="0" y="111368"/>
                        </a:cubicBezTo>
                        <a:lnTo>
                          <a:pt x="28661" y="0"/>
                        </a:lnTo>
                        <a:lnTo>
                          <a:pt x="28661" y="0"/>
                        </a:lnTo>
                        <a:cubicBezTo>
                          <a:pt x="30162" y="409"/>
                          <a:pt x="73699" y="11328"/>
                          <a:pt x="148900" y="24021"/>
                        </a:cubicBezTo>
                        <a:cubicBezTo>
                          <a:pt x="224100" y="36713"/>
                          <a:pt x="331101" y="51317"/>
                          <a:pt x="459938" y="58687"/>
                        </a:cubicBezTo>
                        <a:cubicBezTo>
                          <a:pt x="648281" y="69878"/>
                          <a:pt x="915236" y="67148"/>
                          <a:pt x="1205939" y="7779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A3611F93-ED8A-4A89-A8A8-47D39B108B06}"/>
                      </a:ext>
                    </a:extLst>
                  </p:cNvPr>
                  <p:cNvSpPr/>
                  <p:nvPr/>
                </p:nvSpPr>
                <p:spPr>
                  <a:xfrm>
                    <a:off x="8677675" y="3578725"/>
                    <a:ext cx="1217949" cy="185203"/>
                  </a:xfrm>
                  <a:custGeom>
                    <a:avLst/>
                    <a:gdLst>
                      <a:gd name="connsiteX0" fmla="*/ 1217131 w 1217949"/>
                      <a:gd name="connsiteY0" fmla="*/ 98948 h 185203"/>
                      <a:gd name="connsiteX1" fmla="*/ 1216312 w 1217949"/>
                      <a:gd name="connsiteY1" fmla="*/ 17606 h 185203"/>
                      <a:gd name="connsiteX2" fmla="*/ 460348 w 1217949"/>
                      <a:gd name="connsiteY2" fmla="*/ 63054 h 185203"/>
                      <a:gd name="connsiteX3" fmla="*/ 29753 w 1217949"/>
                      <a:gd name="connsiteY3" fmla="*/ 0 h 185203"/>
                      <a:gd name="connsiteX4" fmla="*/ 14876 w 1217949"/>
                      <a:gd name="connsiteY4" fmla="*/ 55548 h 185203"/>
                      <a:gd name="connsiteX5" fmla="*/ 0 w 1217949"/>
                      <a:gd name="connsiteY5" fmla="*/ 111095 h 185203"/>
                      <a:gd name="connsiteX6" fmla="*/ 449429 w 1217949"/>
                      <a:gd name="connsiteY6" fmla="*/ 177697 h 185203"/>
                      <a:gd name="connsiteX7" fmla="*/ 665478 w 1217949"/>
                      <a:gd name="connsiteY7" fmla="*/ 185204 h 185203"/>
                      <a:gd name="connsiteX8" fmla="*/ 1217949 w 1217949"/>
                      <a:gd name="connsiteY8" fmla="*/ 134569 h 185203"/>
                      <a:gd name="connsiteX9" fmla="*/ 1217131 w 1217949"/>
                      <a:gd name="connsiteY9" fmla="*/ 98948 h 185203"/>
                      <a:gd name="connsiteX10" fmla="*/ 29616 w 1217949"/>
                      <a:gd name="connsiteY10" fmla="*/ 0 h 185203"/>
                      <a:gd name="connsiteX11" fmla="*/ 14740 w 1217949"/>
                      <a:gd name="connsiteY11" fmla="*/ 55548 h 185203"/>
                      <a:gd name="connsiteX12" fmla="*/ 29616 w 1217949"/>
                      <a:gd name="connsiteY12" fmla="*/ 0 h 185203"/>
                      <a:gd name="connsiteX13" fmla="*/ 29616 w 1217949"/>
                      <a:gd name="connsiteY13" fmla="*/ 0 h 185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17949" h="185203">
                        <a:moveTo>
                          <a:pt x="1217131" y="98948"/>
                        </a:moveTo>
                        <a:cubicBezTo>
                          <a:pt x="1216585" y="70697"/>
                          <a:pt x="1216312" y="43537"/>
                          <a:pt x="1216312" y="17606"/>
                        </a:cubicBezTo>
                        <a:cubicBezTo>
                          <a:pt x="921241" y="75883"/>
                          <a:pt x="650601" y="76020"/>
                          <a:pt x="460348" y="63054"/>
                        </a:cubicBezTo>
                        <a:cubicBezTo>
                          <a:pt x="202946" y="45448"/>
                          <a:pt x="32892" y="819"/>
                          <a:pt x="29753" y="0"/>
                        </a:cubicBezTo>
                        <a:lnTo>
                          <a:pt x="14876" y="55548"/>
                        </a:lnTo>
                        <a:lnTo>
                          <a:pt x="0" y="111095"/>
                        </a:lnTo>
                        <a:cubicBezTo>
                          <a:pt x="7233" y="113006"/>
                          <a:pt x="180700" y="158999"/>
                          <a:pt x="449429" y="177697"/>
                        </a:cubicBezTo>
                        <a:cubicBezTo>
                          <a:pt x="513439" y="182201"/>
                          <a:pt x="586046" y="185204"/>
                          <a:pt x="665478" y="185204"/>
                        </a:cubicBezTo>
                        <a:cubicBezTo>
                          <a:pt x="827070" y="185204"/>
                          <a:pt x="1016641" y="172784"/>
                          <a:pt x="1217949" y="134569"/>
                        </a:cubicBezTo>
                        <a:cubicBezTo>
                          <a:pt x="1217540" y="122559"/>
                          <a:pt x="1217267" y="110685"/>
                          <a:pt x="1217131" y="98948"/>
                        </a:cubicBezTo>
                        <a:close/>
                        <a:moveTo>
                          <a:pt x="29616" y="0"/>
                        </a:moveTo>
                        <a:lnTo>
                          <a:pt x="14740" y="55548"/>
                        </a:lnTo>
                        <a:lnTo>
                          <a:pt x="29616" y="0"/>
                        </a:lnTo>
                        <a:lnTo>
                          <a:pt x="29616" y="0"/>
                        </a:ln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73AC430F-2B7A-4041-A130-D10A2B9DF1D6}"/>
                      </a:ext>
                    </a:extLst>
                  </p:cNvPr>
                  <p:cNvSpPr/>
                  <p:nvPr/>
                </p:nvSpPr>
                <p:spPr>
                  <a:xfrm>
                    <a:off x="8659250" y="3827938"/>
                    <a:ext cx="1246473" cy="191618"/>
                  </a:xfrm>
                  <a:custGeom>
                    <a:avLst/>
                    <a:gdLst>
                      <a:gd name="connsiteX0" fmla="*/ 1246474 w 1246473"/>
                      <a:gd name="connsiteY0" fmla="*/ 141121 h 191618"/>
                      <a:gd name="connsiteX1" fmla="*/ 696186 w 1246473"/>
                      <a:gd name="connsiteY1" fmla="*/ 191618 h 191618"/>
                      <a:gd name="connsiteX2" fmla="*/ 448747 w 1246473"/>
                      <a:gd name="connsiteY2" fmla="*/ 181928 h 191618"/>
                      <a:gd name="connsiteX3" fmla="*/ 0 w 1246473"/>
                      <a:gd name="connsiteY3" fmla="*/ 110822 h 191618"/>
                      <a:gd name="connsiteX4" fmla="*/ 15422 w 1246473"/>
                      <a:gd name="connsiteY4" fmla="*/ 55411 h 191618"/>
                      <a:gd name="connsiteX5" fmla="*/ 30845 w 1246473"/>
                      <a:gd name="connsiteY5" fmla="*/ 0 h 191618"/>
                      <a:gd name="connsiteX6" fmla="*/ 30845 w 1246473"/>
                      <a:gd name="connsiteY6" fmla="*/ 0 h 191618"/>
                      <a:gd name="connsiteX7" fmla="*/ 460894 w 1246473"/>
                      <a:gd name="connsiteY7" fmla="*/ 67421 h 191618"/>
                      <a:gd name="connsiteX8" fmla="*/ 1240605 w 1246473"/>
                      <a:gd name="connsiteY8" fmla="*/ 25113 h 191618"/>
                      <a:gd name="connsiteX9" fmla="*/ 1241697 w 1246473"/>
                      <a:gd name="connsiteY9" fmla="*/ 53091 h 191618"/>
                      <a:gd name="connsiteX10" fmla="*/ 1243471 w 1246473"/>
                      <a:gd name="connsiteY10" fmla="*/ 94035 h 191618"/>
                      <a:gd name="connsiteX11" fmla="*/ 1246474 w 1246473"/>
                      <a:gd name="connsiteY11" fmla="*/ 141121 h 1916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46473" h="191618">
                        <a:moveTo>
                          <a:pt x="1246474" y="141121"/>
                        </a:moveTo>
                        <a:cubicBezTo>
                          <a:pt x="1047076" y="179062"/>
                          <a:pt x="858597" y="191618"/>
                          <a:pt x="696186" y="191618"/>
                        </a:cubicBezTo>
                        <a:cubicBezTo>
                          <a:pt x="604334" y="191618"/>
                          <a:pt x="520945" y="187524"/>
                          <a:pt x="448747" y="181928"/>
                        </a:cubicBezTo>
                        <a:cubicBezTo>
                          <a:pt x="180290" y="160637"/>
                          <a:pt x="7234" y="112869"/>
                          <a:pt x="0" y="110822"/>
                        </a:cubicBezTo>
                        <a:lnTo>
                          <a:pt x="15422" y="55411"/>
                        </a:lnTo>
                        <a:lnTo>
                          <a:pt x="30845" y="0"/>
                        </a:lnTo>
                        <a:cubicBezTo>
                          <a:pt x="30845" y="0"/>
                          <a:pt x="30845" y="0"/>
                          <a:pt x="30845" y="0"/>
                        </a:cubicBezTo>
                        <a:cubicBezTo>
                          <a:pt x="33574" y="819"/>
                          <a:pt x="203356" y="47222"/>
                          <a:pt x="460894" y="67421"/>
                        </a:cubicBezTo>
                        <a:cubicBezTo>
                          <a:pt x="656060" y="82707"/>
                          <a:pt x="935845" y="85027"/>
                          <a:pt x="1240605" y="25113"/>
                        </a:cubicBezTo>
                        <a:cubicBezTo>
                          <a:pt x="1240878" y="34393"/>
                          <a:pt x="1241288" y="43674"/>
                          <a:pt x="1241697" y="53091"/>
                        </a:cubicBezTo>
                        <a:cubicBezTo>
                          <a:pt x="1242243" y="66602"/>
                          <a:pt x="1242925" y="80387"/>
                          <a:pt x="1243471" y="94035"/>
                        </a:cubicBezTo>
                        <a:cubicBezTo>
                          <a:pt x="1244154" y="108911"/>
                          <a:pt x="1245245" y="124606"/>
                          <a:pt x="1246474" y="1411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4914DF7C-9709-4197-B5C0-29B34FAFEBCF}"/>
                      </a:ext>
                    </a:extLst>
                  </p:cNvPr>
                  <p:cNvSpPr/>
                  <p:nvPr/>
                </p:nvSpPr>
                <p:spPr>
                  <a:xfrm>
                    <a:off x="8641099" y="4077287"/>
                    <a:ext cx="1295879" cy="198442"/>
                  </a:xfrm>
                  <a:custGeom>
                    <a:avLst/>
                    <a:gdLst>
                      <a:gd name="connsiteX0" fmla="*/ 1295880 w 1295879"/>
                      <a:gd name="connsiteY0" fmla="*/ 143850 h 198442"/>
                      <a:gd name="connsiteX1" fmla="*/ 726894 w 1295879"/>
                      <a:gd name="connsiteY1" fmla="*/ 198442 h 198442"/>
                      <a:gd name="connsiteX2" fmla="*/ 448201 w 1295879"/>
                      <a:gd name="connsiteY2" fmla="*/ 186023 h 198442"/>
                      <a:gd name="connsiteX3" fmla="*/ 0 w 1295879"/>
                      <a:gd name="connsiteY3" fmla="*/ 110412 h 198442"/>
                      <a:gd name="connsiteX4" fmla="*/ 32073 w 1295879"/>
                      <a:gd name="connsiteY4" fmla="*/ 0 h 198442"/>
                      <a:gd name="connsiteX5" fmla="*/ 32073 w 1295879"/>
                      <a:gd name="connsiteY5" fmla="*/ 0 h 198442"/>
                      <a:gd name="connsiteX6" fmla="*/ 461440 w 1295879"/>
                      <a:gd name="connsiteY6" fmla="*/ 71789 h 198442"/>
                      <a:gd name="connsiteX7" fmla="*/ 1279502 w 1295879"/>
                      <a:gd name="connsiteY7" fmla="*/ 29889 h 198442"/>
                      <a:gd name="connsiteX8" fmla="*/ 1285371 w 1295879"/>
                      <a:gd name="connsiteY8" fmla="*/ 72744 h 198442"/>
                      <a:gd name="connsiteX9" fmla="*/ 1286053 w 1295879"/>
                      <a:gd name="connsiteY9" fmla="*/ 77657 h 198442"/>
                      <a:gd name="connsiteX10" fmla="*/ 1289329 w 1295879"/>
                      <a:gd name="connsiteY10" fmla="*/ 100040 h 198442"/>
                      <a:gd name="connsiteX11" fmla="*/ 1295880 w 1295879"/>
                      <a:gd name="connsiteY11" fmla="*/ 143850 h 1984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95879" h="198442">
                        <a:moveTo>
                          <a:pt x="1295880" y="143850"/>
                        </a:moveTo>
                        <a:cubicBezTo>
                          <a:pt x="1090613" y="184794"/>
                          <a:pt x="895583" y="198442"/>
                          <a:pt x="726894" y="198442"/>
                        </a:cubicBezTo>
                        <a:cubicBezTo>
                          <a:pt x="622623" y="198442"/>
                          <a:pt x="528451" y="193256"/>
                          <a:pt x="448201" y="186023"/>
                        </a:cubicBezTo>
                        <a:cubicBezTo>
                          <a:pt x="179881" y="162002"/>
                          <a:pt x="7233" y="112596"/>
                          <a:pt x="0" y="110412"/>
                        </a:cubicBezTo>
                        <a:lnTo>
                          <a:pt x="32073" y="0"/>
                        </a:lnTo>
                        <a:lnTo>
                          <a:pt x="32073" y="0"/>
                        </a:lnTo>
                        <a:cubicBezTo>
                          <a:pt x="33711" y="546"/>
                          <a:pt x="203355" y="48996"/>
                          <a:pt x="461440" y="71789"/>
                        </a:cubicBezTo>
                        <a:cubicBezTo>
                          <a:pt x="664386" y="89804"/>
                          <a:pt x="959592" y="94581"/>
                          <a:pt x="1279502" y="29889"/>
                        </a:cubicBezTo>
                        <a:cubicBezTo>
                          <a:pt x="1281276" y="43810"/>
                          <a:pt x="1283187" y="58141"/>
                          <a:pt x="1285371" y="72744"/>
                        </a:cubicBezTo>
                        <a:cubicBezTo>
                          <a:pt x="1285644" y="74382"/>
                          <a:pt x="1285780" y="76020"/>
                          <a:pt x="1286053" y="77657"/>
                        </a:cubicBezTo>
                        <a:cubicBezTo>
                          <a:pt x="1287145" y="85027"/>
                          <a:pt x="1288237" y="92397"/>
                          <a:pt x="1289329" y="100040"/>
                        </a:cubicBezTo>
                        <a:cubicBezTo>
                          <a:pt x="1291239" y="114234"/>
                          <a:pt x="1293559" y="128974"/>
                          <a:pt x="1295880" y="14385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B80D9D3C-B4F4-4C83-8321-B327E9229D85}"/>
                      </a:ext>
                    </a:extLst>
                  </p:cNvPr>
                  <p:cNvSpPr/>
                  <p:nvPr/>
                </p:nvSpPr>
                <p:spPr>
                  <a:xfrm>
                    <a:off x="8622674" y="4326500"/>
                    <a:ext cx="1357159" cy="205539"/>
                  </a:xfrm>
                  <a:custGeom>
                    <a:avLst/>
                    <a:gdLst>
                      <a:gd name="connsiteX0" fmla="*/ 1357159 w 1357159"/>
                      <a:gd name="connsiteY0" fmla="*/ 144123 h 205539"/>
                      <a:gd name="connsiteX1" fmla="*/ 757465 w 1357159"/>
                      <a:gd name="connsiteY1" fmla="*/ 205539 h 205539"/>
                      <a:gd name="connsiteX2" fmla="*/ 447519 w 1357159"/>
                      <a:gd name="connsiteY2" fmla="*/ 190253 h 205539"/>
                      <a:gd name="connsiteX3" fmla="*/ 0 w 1357159"/>
                      <a:gd name="connsiteY3" fmla="*/ 110139 h 205539"/>
                      <a:gd name="connsiteX4" fmla="*/ 33165 w 1357159"/>
                      <a:gd name="connsiteY4" fmla="*/ 0 h 205539"/>
                      <a:gd name="connsiteX5" fmla="*/ 461849 w 1357159"/>
                      <a:gd name="connsiteY5" fmla="*/ 76019 h 205539"/>
                      <a:gd name="connsiteX6" fmla="*/ 1336687 w 1357159"/>
                      <a:gd name="connsiteY6" fmla="*/ 30844 h 205539"/>
                      <a:gd name="connsiteX7" fmla="*/ 1357159 w 1357159"/>
                      <a:gd name="connsiteY7" fmla="*/ 144123 h 2055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57159" h="205539">
                        <a:moveTo>
                          <a:pt x="1357159" y="144123"/>
                        </a:moveTo>
                        <a:cubicBezTo>
                          <a:pt x="1141794" y="190253"/>
                          <a:pt x="935845" y="205539"/>
                          <a:pt x="757465" y="205539"/>
                        </a:cubicBezTo>
                        <a:cubicBezTo>
                          <a:pt x="640775" y="205539"/>
                          <a:pt x="535821" y="198988"/>
                          <a:pt x="447519" y="190253"/>
                        </a:cubicBezTo>
                        <a:cubicBezTo>
                          <a:pt x="179335" y="163503"/>
                          <a:pt x="7234" y="112323"/>
                          <a:pt x="0" y="110139"/>
                        </a:cubicBezTo>
                        <a:lnTo>
                          <a:pt x="33165" y="0"/>
                        </a:lnTo>
                        <a:cubicBezTo>
                          <a:pt x="34802" y="546"/>
                          <a:pt x="204038" y="50634"/>
                          <a:pt x="461849" y="76019"/>
                        </a:cubicBezTo>
                        <a:cubicBezTo>
                          <a:pt x="676533" y="97174"/>
                          <a:pt x="994395" y="104680"/>
                          <a:pt x="1336687" y="30844"/>
                        </a:cubicBezTo>
                        <a:cubicBezTo>
                          <a:pt x="1343238" y="67830"/>
                          <a:pt x="1350062" y="105636"/>
                          <a:pt x="1357159" y="144123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E6EEAA99-CF2F-404B-A0CD-29C1BF8FA13F}"/>
                      </a:ext>
                    </a:extLst>
                  </p:cNvPr>
                  <p:cNvSpPr/>
                  <p:nvPr/>
                </p:nvSpPr>
                <p:spPr>
                  <a:xfrm>
                    <a:off x="8604522" y="4575986"/>
                    <a:ext cx="1423761" cy="212772"/>
                  </a:xfrm>
                  <a:custGeom>
                    <a:avLst/>
                    <a:gdLst>
                      <a:gd name="connsiteX0" fmla="*/ 1423762 w 1423761"/>
                      <a:gd name="connsiteY0" fmla="*/ 142758 h 212772"/>
                      <a:gd name="connsiteX1" fmla="*/ 787764 w 1423761"/>
                      <a:gd name="connsiteY1" fmla="*/ 212773 h 212772"/>
                      <a:gd name="connsiteX2" fmla="*/ 446836 w 1423761"/>
                      <a:gd name="connsiteY2" fmla="*/ 194211 h 212772"/>
                      <a:gd name="connsiteX3" fmla="*/ 0 w 1423761"/>
                      <a:gd name="connsiteY3" fmla="*/ 109730 h 212772"/>
                      <a:gd name="connsiteX4" fmla="*/ 17196 w 1423761"/>
                      <a:gd name="connsiteY4" fmla="*/ 54865 h 212772"/>
                      <a:gd name="connsiteX5" fmla="*/ 34256 w 1423761"/>
                      <a:gd name="connsiteY5" fmla="*/ 0 h 212772"/>
                      <a:gd name="connsiteX6" fmla="*/ 34256 w 1423761"/>
                      <a:gd name="connsiteY6" fmla="*/ 0 h 212772"/>
                      <a:gd name="connsiteX7" fmla="*/ 462395 w 1423761"/>
                      <a:gd name="connsiteY7" fmla="*/ 80387 h 212772"/>
                      <a:gd name="connsiteX8" fmla="*/ 1401106 w 1423761"/>
                      <a:gd name="connsiteY8" fmla="*/ 30025 h 212772"/>
                      <a:gd name="connsiteX9" fmla="*/ 1423762 w 1423761"/>
                      <a:gd name="connsiteY9" fmla="*/ 142758 h 212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23761" h="212772">
                        <a:moveTo>
                          <a:pt x="1423762" y="142758"/>
                        </a:moveTo>
                        <a:cubicBezTo>
                          <a:pt x="1196113" y="195440"/>
                          <a:pt x="977471" y="212773"/>
                          <a:pt x="787764" y="212773"/>
                        </a:cubicBezTo>
                        <a:cubicBezTo>
                          <a:pt x="658517" y="212773"/>
                          <a:pt x="542782" y="204720"/>
                          <a:pt x="446836" y="194211"/>
                        </a:cubicBezTo>
                        <a:cubicBezTo>
                          <a:pt x="178925" y="164868"/>
                          <a:pt x="7233" y="111914"/>
                          <a:pt x="0" y="109730"/>
                        </a:cubicBezTo>
                        <a:lnTo>
                          <a:pt x="17196" y="54865"/>
                        </a:lnTo>
                        <a:lnTo>
                          <a:pt x="34256" y="0"/>
                        </a:lnTo>
                        <a:cubicBezTo>
                          <a:pt x="34256" y="0"/>
                          <a:pt x="34256" y="0"/>
                          <a:pt x="34256" y="0"/>
                        </a:cubicBezTo>
                        <a:cubicBezTo>
                          <a:pt x="36986" y="819"/>
                          <a:pt x="205403" y="52408"/>
                          <a:pt x="462395" y="80387"/>
                        </a:cubicBezTo>
                        <a:cubicBezTo>
                          <a:pt x="690044" y="105090"/>
                          <a:pt x="1034111" y="115599"/>
                          <a:pt x="1401106" y="30025"/>
                        </a:cubicBezTo>
                        <a:cubicBezTo>
                          <a:pt x="1408476" y="67285"/>
                          <a:pt x="1416119" y="105090"/>
                          <a:pt x="1423762" y="142758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1646064B-5FEF-4A28-93EA-167EBA7BA7F6}"/>
                  </a:ext>
                </a:extLst>
              </p:cNvPr>
              <p:cNvSpPr/>
              <p:nvPr/>
            </p:nvSpPr>
            <p:spPr>
              <a:xfrm>
                <a:off x="8315753" y="2333752"/>
                <a:ext cx="837224" cy="3121029"/>
              </a:xfrm>
              <a:custGeom>
                <a:avLst/>
                <a:gdLst>
                  <a:gd name="connsiteX0" fmla="*/ 836191 w 837224"/>
                  <a:gd name="connsiteY0" fmla="*/ 2772869 h 3121029"/>
                  <a:gd name="connsiteX1" fmla="*/ 766722 w 837224"/>
                  <a:gd name="connsiteY1" fmla="*/ 1272678 h 3121029"/>
                  <a:gd name="connsiteX2" fmla="*/ 798113 w 837224"/>
                  <a:gd name="connsiteY2" fmla="*/ 0 h 3121029"/>
                  <a:gd name="connsiteX3" fmla="*/ 653034 w 837224"/>
                  <a:gd name="connsiteY3" fmla="*/ 24976 h 3121029"/>
                  <a:gd name="connsiteX4" fmla="*/ 240318 w 837224"/>
                  <a:gd name="connsiteY4" fmla="*/ 210589 h 3121029"/>
                  <a:gd name="connsiteX5" fmla="*/ 16081 w 837224"/>
                  <a:gd name="connsiteY5" fmla="*/ 2022364 h 3121029"/>
                  <a:gd name="connsiteX6" fmla="*/ 612090 w 837224"/>
                  <a:gd name="connsiteY6" fmla="*/ 3102605 h 3121029"/>
                  <a:gd name="connsiteX7" fmla="*/ 773956 w 837224"/>
                  <a:gd name="connsiteY7" fmla="*/ 3121029 h 3121029"/>
                  <a:gd name="connsiteX8" fmla="*/ 836191 w 837224"/>
                  <a:gd name="connsiteY8" fmla="*/ 2772869 h 31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7224" h="3121029">
                    <a:moveTo>
                      <a:pt x="836191" y="2772869"/>
                    </a:moveTo>
                    <a:cubicBezTo>
                      <a:pt x="847245" y="2298736"/>
                      <a:pt x="766040" y="1746947"/>
                      <a:pt x="766722" y="1272678"/>
                    </a:cubicBezTo>
                    <a:cubicBezTo>
                      <a:pt x="767405" y="847406"/>
                      <a:pt x="798386" y="425272"/>
                      <a:pt x="798113" y="0"/>
                    </a:cubicBezTo>
                    <a:cubicBezTo>
                      <a:pt x="696708" y="7643"/>
                      <a:pt x="653034" y="24976"/>
                      <a:pt x="653034" y="24976"/>
                    </a:cubicBezTo>
                    <a:cubicBezTo>
                      <a:pt x="653034" y="24976"/>
                      <a:pt x="555997" y="107683"/>
                      <a:pt x="240318" y="210589"/>
                    </a:cubicBezTo>
                    <a:cubicBezTo>
                      <a:pt x="-57345" y="307626"/>
                      <a:pt x="-2071" y="1406974"/>
                      <a:pt x="16081" y="2022364"/>
                    </a:cubicBezTo>
                    <a:cubicBezTo>
                      <a:pt x="34096" y="2637753"/>
                      <a:pt x="26999" y="3027814"/>
                      <a:pt x="612090" y="3102605"/>
                    </a:cubicBezTo>
                    <a:cubicBezTo>
                      <a:pt x="667092" y="3109565"/>
                      <a:pt x="721001" y="3115843"/>
                      <a:pt x="773956" y="3121029"/>
                    </a:cubicBezTo>
                    <a:cubicBezTo>
                      <a:pt x="774911" y="2980318"/>
                      <a:pt x="832915" y="2913989"/>
                      <a:pt x="836191" y="2772869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0194EA3D-D32D-4E74-B6DA-D30784D58BC0}"/>
                  </a:ext>
                </a:extLst>
              </p:cNvPr>
              <p:cNvSpPr/>
              <p:nvPr/>
            </p:nvSpPr>
            <p:spPr>
              <a:xfrm>
                <a:off x="8503477" y="3567640"/>
                <a:ext cx="281228" cy="288821"/>
              </a:xfrm>
              <a:custGeom>
                <a:avLst/>
                <a:gdLst>
                  <a:gd name="connsiteX0" fmla="*/ 13697 w 281228"/>
                  <a:gd name="connsiteY0" fmla="*/ 288822 h 288821"/>
                  <a:gd name="connsiteX1" fmla="*/ 322 w 281228"/>
                  <a:gd name="connsiteY1" fmla="*/ 278040 h 288821"/>
                  <a:gd name="connsiteX2" fmla="*/ 10831 w 281228"/>
                  <a:gd name="connsiteY2" fmla="*/ 261799 h 288821"/>
                  <a:gd name="connsiteX3" fmla="*/ 254448 w 281228"/>
                  <a:gd name="connsiteY3" fmla="*/ 9856 h 288821"/>
                  <a:gd name="connsiteX4" fmla="*/ 271372 w 281228"/>
                  <a:gd name="connsiteY4" fmla="*/ 576 h 288821"/>
                  <a:gd name="connsiteX5" fmla="*/ 280652 w 281228"/>
                  <a:gd name="connsiteY5" fmla="*/ 17499 h 288821"/>
                  <a:gd name="connsiteX6" fmla="*/ 16427 w 281228"/>
                  <a:gd name="connsiteY6" fmla="*/ 288549 h 288821"/>
                  <a:gd name="connsiteX7" fmla="*/ 13697 w 281228"/>
                  <a:gd name="connsiteY7" fmla="*/ 288822 h 288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228" h="288821">
                    <a:moveTo>
                      <a:pt x="13697" y="288822"/>
                    </a:moveTo>
                    <a:cubicBezTo>
                      <a:pt x="7419" y="288822"/>
                      <a:pt x="1687" y="284454"/>
                      <a:pt x="322" y="278040"/>
                    </a:cubicBezTo>
                    <a:cubicBezTo>
                      <a:pt x="-1316" y="270670"/>
                      <a:pt x="3461" y="263437"/>
                      <a:pt x="10831" y="261799"/>
                    </a:cubicBezTo>
                    <a:cubicBezTo>
                      <a:pt x="18337" y="260161"/>
                      <a:pt x="193987" y="220172"/>
                      <a:pt x="254448" y="9856"/>
                    </a:cubicBezTo>
                    <a:cubicBezTo>
                      <a:pt x="256495" y="2623"/>
                      <a:pt x="264138" y="-1608"/>
                      <a:pt x="271372" y="576"/>
                    </a:cubicBezTo>
                    <a:cubicBezTo>
                      <a:pt x="278605" y="2623"/>
                      <a:pt x="282836" y="10266"/>
                      <a:pt x="280652" y="17499"/>
                    </a:cubicBezTo>
                    <a:cubicBezTo>
                      <a:pt x="215415" y="244056"/>
                      <a:pt x="24479" y="286911"/>
                      <a:pt x="16427" y="288549"/>
                    </a:cubicBezTo>
                    <a:cubicBezTo>
                      <a:pt x="15608" y="288685"/>
                      <a:pt x="14652" y="288822"/>
                      <a:pt x="13697" y="28882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9A45E746-6361-492C-8B95-2C9AB89FD91B}"/>
                  </a:ext>
                </a:extLst>
              </p:cNvPr>
              <p:cNvSpPr/>
              <p:nvPr/>
            </p:nvSpPr>
            <p:spPr>
              <a:xfrm>
                <a:off x="8961147" y="2494910"/>
                <a:ext cx="77530" cy="2518358"/>
              </a:xfrm>
              <a:custGeom>
                <a:avLst/>
                <a:gdLst>
                  <a:gd name="connsiteX0" fmla="*/ 66873 w 77530"/>
                  <a:gd name="connsiteY0" fmla="*/ 2518359 h 2518358"/>
                  <a:gd name="connsiteX1" fmla="*/ 56091 w 77530"/>
                  <a:gd name="connsiteY1" fmla="*/ 2508123 h 2518358"/>
                  <a:gd name="connsiteX2" fmla="*/ 29614 w 77530"/>
                  <a:gd name="connsiteY2" fmla="*/ 9989 h 2518358"/>
                  <a:gd name="connsiteX3" fmla="*/ 41079 w 77530"/>
                  <a:gd name="connsiteY3" fmla="*/ 26 h 2518358"/>
                  <a:gd name="connsiteX4" fmla="*/ 51042 w 77530"/>
                  <a:gd name="connsiteY4" fmla="*/ 11490 h 2518358"/>
                  <a:gd name="connsiteX5" fmla="*/ 77519 w 77530"/>
                  <a:gd name="connsiteY5" fmla="*/ 2507031 h 2518358"/>
                  <a:gd name="connsiteX6" fmla="*/ 67419 w 77530"/>
                  <a:gd name="connsiteY6" fmla="*/ 2518359 h 2518358"/>
                  <a:gd name="connsiteX7" fmla="*/ 66873 w 77530"/>
                  <a:gd name="connsiteY7" fmla="*/ 2518359 h 251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530" h="2518358">
                    <a:moveTo>
                      <a:pt x="66873" y="2518359"/>
                    </a:moveTo>
                    <a:cubicBezTo>
                      <a:pt x="61141" y="2518359"/>
                      <a:pt x="56501" y="2513855"/>
                      <a:pt x="56091" y="2508123"/>
                    </a:cubicBezTo>
                    <a:cubicBezTo>
                      <a:pt x="9006" y="1659079"/>
                      <a:pt x="-28526" y="829143"/>
                      <a:pt x="29614" y="9989"/>
                    </a:cubicBezTo>
                    <a:cubicBezTo>
                      <a:pt x="30024" y="4120"/>
                      <a:pt x="35210" y="-384"/>
                      <a:pt x="41079" y="26"/>
                    </a:cubicBezTo>
                    <a:cubicBezTo>
                      <a:pt x="46947" y="435"/>
                      <a:pt x="51451" y="5621"/>
                      <a:pt x="51042" y="11490"/>
                    </a:cubicBezTo>
                    <a:cubicBezTo>
                      <a:pt x="-6962" y="829416"/>
                      <a:pt x="30433" y="1658670"/>
                      <a:pt x="77519" y="2507031"/>
                    </a:cubicBezTo>
                    <a:cubicBezTo>
                      <a:pt x="77792" y="2512899"/>
                      <a:pt x="73288" y="2518086"/>
                      <a:pt x="67419" y="2518359"/>
                    </a:cubicBezTo>
                    <a:cubicBezTo>
                      <a:pt x="67283" y="2518359"/>
                      <a:pt x="67010" y="2518359"/>
                      <a:pt x="66873" y="2518359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BE16AEB0-A893-4E38-B7B2-7AB647E6AB42}"/>
                  </a:ext>
                </a:extLst>
              </p:cNvPr>
              <p:cNvSpPr/>
              <p:nvPr/>
            </p:nvSpPr>
            <p:spPr>
              <a:xfrm>
                <a:off x="9540568" y="2357636"/>
                <a:ext cx="747243" cy="3096462"/>
              </a:xfrm>
              <a:custGeom>
                <a:avLst/>
                <a:gdLst>
                  <a:gd name="connsiteX0" fmla="*/ 627062 w 747243"/>
                  <a:gd name="connsiteY0" fmla="*/ 617437 h 3096462"/>
                  <a:gd name="connsiteX1" fmla="*/ 9079 w 747243"/>
                  <a:gd name="connsiteY1" fmla="*/ 682 h 3096462"/>
                  <a:gd name="connsiteX2" fmla="*/ 4166 w 747243"/>
                  <a:gd name="connsiteY2" fmla="*/ 0 h 3096462"/>
                  <a:gd name="connsiteX3" fmla="*/ 4576 w 747243"/>
                  <a:gd name="connsiteY3" fmla="*/ 218095 h 3096462"/>
                  <a:gd name="connsiteX4" fmla="*/ 30234 w 747243"/>
                  <a:gd name="connsiteY4" fmla="*/ 564209 h 3096462"/>
                  <a:gd name="connsiteX5" fmla="*/ 58076 w 747243"/>
                  <a:gd name="connsiteY5" fmla="*/ 2008989 h 3096462"/>
                  <a:gd name="connsiteX6" fmla="*/ 118400 w 747243"/>
                  <a:gd name="connsiteY6" fmla="*/ 3096463 h 3096462"/>
                  <a:gd name="connsiteX7" fmla="*/ 661319 w 747243"/>
                  <a:gd name="connsiteY7" fmla="*/ 2765226 h 3096462"/>
                  <a:gd name="connsiteX8" fmla="*/ 627062 w 747243"/>
                  <a:gd name="connsiteY8" fmla="*/ 617437 h 309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7243" h="3096462">
                    <a:moveTo>
                      <a:pt x="627062" y="617437"/>
                    </a:moveTo>
                    <a:cubicBezTo>
                      <a:pt x="641119" y="179335"/>
                      <a:pt x="430257" y="63736"/>
                      <a:pt x="9079" y="682"/>
                    </a:cubicBezTo>
                    <a:cubicBezTo>
                      <a:pt x="7442" y="409"/>
                      <a:pt x="5804" y="273"/>
                      <a:pt x="4166" y="0"/>
                    </a:cubicBezTo>
                    <a:cubicBezTo>
                      <a:pt x="-2658" y="72335"/>
                      <a:pt x="-65" y="145897"/>
                      <a:pt x="4576" y="218095"/>
                    </a:cubicBezTo>
                    <a:cubicBezTo>
                      <a:pt x="12082" y="333558"/>
                      <a:pt x="25594" y="448474"/>
                      <a:pt x="30234" y="564209"/>
                    </a:cubicBezTo>
                    <a:cubicBezTo>
                      <a:pt x="49614" y="1047076"/>
                      <a:pt x="96973" y="1375175"/>
                      <a:pt x="58076" y="2008989"/>
                    </a:cubicBezTo>
                    <a:cubicBezTo>
                      <a:pt x="28869" y="2485441"/>
                      <a:pt x="105025" y="2735473"/>
                      <a:pt x="118400" y="3096463"/>
                    </a:cubicBezTo>
                    <a:cubicBezTo>
                      <a:pt x="357377" y="3060023"/>
                      <a:pt x="545583" y="2962713"/>
                      <a:pt x="661319" y="2765226"/>
                    </a:cubicBezTo>
                    <a:cubicBezTo>
                      <a:pt x="878868" y="2394818"/>
                      <a:pt x="613004" y="1055402"/>
                      <a:pt x="627062" y="617437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390DD87-8A64-490B-B8AA-FAA60C404938}"/>
                  </a:ext>
                </a:extLst>
              </p:cNvPr>
              <p:cNvSpPr/>
              <p:nvPr/>
            </p:nvSpPr>
            <p:spPr>
              <a:xfrm>
                <a:off x="9785129" y="3349466"/>
                <a:ext cx="346942" cy="492119"/>
              </a:xfrm>
              <a:custGeom>
                <a:avLst/>
                <a:gdLst>
                  <a:gd name="connsiteX0" fmla="*/ 333095 w 346942"/>
                  <a:gd name="connsiteY0" fmla="*/ 492120 h 492119"/>
                  <a:gd name="connsiteX1" fmla="*/ 330092 w 346942"/>
                  <a:gd name="connsiteY1" fmla="*/ 491710 h 492119"/>
                  <a:gd name="connsiteX2" fmla="*/ 83 w 346942"/>
                  <a:gd name="connsiteY2" fmla="*/ 15258 h 492119"/>
                  <a:gd name="connsiteX3" fmla="*/ 12093 w 346942"/>
                  <a:gd name="connsiteY3" fmla="*/ 109 h 492119"/>
                  <a:gd name="connsiteX4" fmla="*/ 27243 w 346942"/>
                  <a:gd name="connsiteY4" fmla="*/ 12119 h 492119"/>
                  <a:gd name="connsiteX5" fmla="*/ 336370 w 346942"/>
                  <a:gd name="connsiteY5" fmla="*/ 465097 h 492119"/>
                  <a:gd name="connsiteX6" fmla="*/ 346606 w 346942"/>
                  <a:gd name="connsiteY6" fmla="*/ 481474 h 492119"/>
                  <a:gd name="connsiteX7" fmla="*/ 333095 w 346942"/>
                  <a:gd name="connsiteY7" fmla="*/ 492120 h 492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942" h="492119">
                    <a:moveTo>
                      <a:pt x="333095" y="492120"/>
                    </a:moveTo>
                    <a:cubicBezTo>
                      <a:pt x="332139" y="492120"/>
                      <a:pt x="331048" y="491983"/>
                      <a:pt x="330092" y="491710"/>
                    </a:cubicBezTo>
                    <a:cubicBezTo>
                      <a:pt x="327226" y="491028"/>
                      <a:pt x="47305" y="422378"/>
                      <a:pt x="83" y="15258"/>
                    </a:cubicBezTo>
                    <a:cubicBezTo>
                      <a:pt x="-736" y="7751"/>
                      <a:pt x="4587" y="1064"/>
                      <a:pt x="12093" y="109"/>
                    </a:cubicBezTo>
                    <a:cubicBezTo>
                      <a:pt x="19600" y="-847"/>
                      <a:pt x="26424" y="4612"/>
                      <a:pt x="27243" y="12119"/>
                    </a:cubicBezTo>
                    <a:cubicBezTo>
                      <a:pt x="72417" y="400268"/>
                      <a:pt x="333641" y="464551"/>
                      <a:pt x="336370" y="465097"/>
                    </a:cubicBezTo>
                    <a:cubicBezTo>
                      <a:pt x="343740" y="466734"/>
                      <a:pt x="348244" y="474104"/>
                      <a:pt x="346606" y="481474"/>
                    </a:cubicBezTo>
                    <a:cubicBezTo>
                      <a:pt x="344968" y="487889"/>
                      <a:pt x="339373" y="492120"/>
                      <a:pt x="333095" y="492120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7556A61-03FB-441C-838A-F2C915374706}"/>
                  </a:ext>
                </a:extLst>
              </p:cNvPr>
              <p:cNvSpPr/>
              <p:nvPr/>
            </p:nvSpPr>
            <p:spPr>
              <a:xfrm>
                <a:off x="9596686" y="2468820"/>
                <a:ext cx="108047" cy="2466517"/>
              </a:xfrm>
              <a:custGeom>
                <a:avLst/>
                <a:gdLst>
                  <a:gd name="connsiteX0" fmla="*/ 94492 w 108047"/>
                  <a:gd name="connsiteY0" fmla="*/ 2466518 h 2466517"/>
                  <a:gd name="connsiteX1" fmla="*/ 83846 w 108047"/>
                  <a:gd name="connsiteY1" fmla="*/ 2457510 h 2466517"/>
                  <a:gd name="connsiteX2" fmla="*/ 79069 w 108047"/>
                  <a:gd name="connsiteY2" fmla="*/ 1705095 h 2466517"/>
                  <a:gd name="connsiteX3" fmla="*/ 83710 w 108047"/>
                  <a:gd name="connsiteY3" fmla="*/ 1110450 h 2466517"/>
                  <a:gd name="connsiteX4" fmla="*/ 47 w 108047"/>
                  <a:gd name="connsiteY4" fmla="*/ 11785 h 2466517"/>
                  <a:gd name="connsiteX5" fmla="*/ 9737 w 108047"/>
                  <a:gd name="connsiteY5" fmla="*/ 47 h 2466517"/>
                  <a:gd name="connsiteX6" fmla="*/ 21475 w 108047"/>
                  <a:gd name="connsiteY6" fmla="*/ 9737 h 2466517"/>
                  <a:gd name="connsiteX7" fmla="*/ 105274 w 108047"/>
                  <a:gd name="connsiteY7" fmla="*/ 1109495 h 2466517"/>
                  <a:gd name="connsiteX8" fmla="*/ 100633 w 108047"/>
                  <a:gd name="connsiteY8" fmla="*/ 1705640 h 2466517"/>
                  <a:gd name="connsiteX9" fmla="*/ 105137 w 108047"/>
                  <a:gd name="connsiteY9" fmla="*/ 2454098 h 2466517"/>
                  <a:gd name="connsiteX10" fmla="*/ 96266 w 108047"/>
                  <a:gd name="connsiteY10" fmla="*/ 2466518 h 2466517"/>
                  <a:gd name="connsiteX11" fmla="*/ 94492 w 108047"/>
                  <a:gd name="connsiteY11" fmla="*/ 2466518 h 246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047" h="2466517">
                    <a:moveTo>
                      <a:pt x="94492" y="2466518"/>
                    </a:moveTo>
                    <a:cubicBezTo>
                      <a:pt x="89305" y="2466518"/>
                      <a:pt x="84801" y="2462833"/>
                      <a:pt x="83846" y="2457510"/>
                    </a:cubicBezTo>
                    <a:cubicBezTo>
                      <a:pt x="64056" y="2337680"/>
                      <a:pt x="71700" y="2015997"/>
                      <a:pt x="79069" y="1705095"/>
                    </a:cubicBezTo>
                    <a:cubicBezTo>
                      <a:pt x="84665" y="1468574"/>
                      <a:pt x="89851" y="1245020"/>
                      <a:pt x="83710" y="1110450"/>
                    </a:cubicBezTo>
                    <a:cubicBezTo>
                      <a:pt x="62965" y="654743"/>
                      <a:pt x="593" y="18199"/>
                      <a:pt x="47" y="11785"/>
                    </a:cubicBezTo>
                    <a:cubicBezTo>
                      <a:pt x="-499" y="5916"/>
                      <a:pt x="3732" y="593"/>
                      <a:pt x="9737" y="47"/>
                    </a:cubicBezTo>
                    <a:cubicBezTo>
                      <a:pt x="15606" y="-499"/>
                      <a:pt x="20929" y="3732"/>
                      <a:pt x="21475" y="9737"/>
                    </a:cubicBezTo>
                    <a:cubicBezTo>
                      <a:pt x="22157" y="16152"/>
                      <a:pt x="84392" y="653105"/>
                      <a:pt x="105274" y="1109495"/>
                    </a:cubicBezTo>
                    <a:cubicBezTo>
                      <a:pt x="111415" y="1244883"/>
                      <a:pt x="106229" y="1468711"/>
                      <a:pt x="100633" y="1705640"/>
                    </a:cubicBezTo>
                    <a:cubicBezTo>
                      <a:pt x="93263" y="2015587"/>
                      <a:pt x="85757" y="2336179"/>
                      <a:pt x="105137" y="2454098"/>
                    </a:cubicBezTo>
                    <a:cubicBezTo>
                      <a:pt x="106092" y="2459967"/>
                      <a:pt x="102135" y="2465562"/>
                      <a:pt x="96266" y="2466518"/>
                    </a:cubicBezTo>
                    <a:cubicBezTo>
                      <a:pt x="95720" y="2466518"/>
                      <a:pt x="95174" y="2466518"/>
                      <a:pt x="94492" y="24665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8300F4A8-E5DE-4E24-8D02-C1E4823138A7}"/>
                </a:ext>
              </a:extLst>
            </p:cNvPr>
            <p:cNvGrpSpPr/>
            <p:nvPr/>
          </p:nvGrpSpPr>
          <p:grpSpPr>
            <a:xfrm flipH="1">
              <a:off x="8460123" y="961410"/>
              <a:ext cx="1372410" cy="2852606"/>
              <a:chOff x="8601558" y="961410"/>
              <a:chExt cx="1372410" cy="2852606"/>
            </a:xfrm>
            <a:solidFill>
              <a:schemeClr val="accent1"/>
            </a:solidFill>
          </p:grpSpPr>
          <p:grpSp>
            <p:nvGrpSpPr>
              <p:cNvPr id="60" name="组合 59">
                <a:extLst>
                  <a:ext uri="{FF2B5EF4-FFF2-40B4-BE49-F238E27FC236}">
                    <a16:creationId xmlns:a16="http://schemas.microsoft.com/office/drawing/2014/main" id="{F66AF66B-657C-4A4B-9421-7A898C80AFC2}"/>
                  </a:ext>
                </a:extLst>
              </p:cNvPr>
              <p:cNvGrpSpPr/>
              <p:nvPr/>
            </p:nvGrpSpPr>
            <p:grpSpPr>
              <a:xfrm>
                <a:off x="8795760" y="961410"/>
                <a:ext cx="745749" cy="564528"/>
                <a:chOff x="8795760" y="961410"/>
                <a:chExt cx="745749" cy="564528"/>
              </a:xfrm>
              <a:solidFill>
                <a:schemeClr val="accent1"/>
              </a:solidFill>
            </p:grpSpPr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01E0880C-BB62-4730-98CF-BC03D315D0EA}"/>
                    </a:ext>
                  </a:extLst>
                </p:cNvPr>
                <p:cNvSpPr/>
                <p:nvPr/>
              </p:nvSpPr>
              <p:spPr>
                <a:xfrm>
                  <a:off x="8823532" y="1014008"/>
                  <a:ext cx="506465" cy="485098"/>
                </a:xfrm>
                <a:custGeom>
                  <a:avLst/>
                  <a:gdLst>
                    <a:gd name="connsiteX0" fmla="*/ 484955 w 506465"/>
                    <a:gd name="connsiteY0" fmla="*/ 339544 h 485098"/>
                    <a:gd name="connsiteX1" fmla="*/ 277915 w 506465"/>
                    <a:gd name="connsiteY1" fmla="*/ 414744 h 485098"/>
                    <a:gd name="connsiteX2" fmla="*/ 134337 w 506465"/>
                    <a:gd name="connsiteY2" fmla="*/ 482711 h 485098"/>
                    <a:gd name="connsiteX3" fmla="*/ 29794 w 506465"/>
                    <a:gd name="connsiteY3" fmla="*/ 399458 h 485098"/>
                    <a:gd name="connsiteX4" fmla="*/ 390920 w 506465"/>
                    <a:gd name="connsiteY4" fmla="*/ 4758 h 485098"/>
                    <a:gd name="connsiteX5" fmla="*/ 506383 w 506465"/>
                    <a:gd name="connsiteY5" fmla="*/ 183820 h 485098"/>
                    <a:gd name="connsiteX6" fmla="*/ 484955 w 506465"/>
                    <a:gd name="connsiteY6" fmla="*/ 339544 h 48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06465" h="485098">
                      <a:moveTo>
                        <a:pt x="484955" y="339544"/>
                      </a:moveTo>
                      <a:lnTo>
                        <a:pt x="277915" y="414744"/>
                      </a:lnTo>
                      <a:cubicBezTo>
                        <a:pt x="277915" y="414744"/>
                        <a:pt x="215816" y="500317"/>
                        <a:pt x="134337" y="482711"/>
                      </a:cubicBezTo>
                      <a:cubicBezTo>
                        <a:pt x="101719" y="475614"/>
                        <a:pt x="65961" y="451867"/>
                        <a:pt x="29794" y="399458"/>
                      </a:cubicBezTo>
                      <a:cubicBezTo>
                        <a:pt x="-96451" y="216166"/>
                        <a:pt x="208037" y="-37961"/>
                        <a:pt x="390920" y="4758"/>
                      </a:cubicBezTo>
                      <a:cubicBezTo>
                        <a:pt x="480724" y="25639"/>
                        <a:pt x="505018" y="106708"/>
                        <a:pt x="506383" y="183820"/>
                      </a:cubicBezTo>
                      <a:cubicBezTo>
                        <a:pt x="508020" y="263797"/>
                        <a:pt x="484955" y="339544"/>
                        <a:pt x="484955" y="339544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rgbClr val="0A2E70"/>
                    </a:solidFill>
                  </a:endParaRPr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E02D5606-06D7-4F8C-AF39-A4C85425D35D}"/>
                    </a:ext>
                  </a:extLst>
                </p:cNvPr>
                <p:cNvSpPr/>
                <p:nvPr/>
              </p:nvSpPr>
              <p:spPr>
                <a:xfrm>
                  <a:off x="8957869" y="1197691"/>
                  <a:ext cx="372251" cy="301414"/>
                </a:xfrm>
                <a:custGeom>
                  <a:avLst/>
                  <a:gdLst>
                    <a:gd name="connsiteX0" fmla="*/ 350618 w 372251"/>
                    <a:gd name="connsiteY0" fmla="*/ 155860 h 301414"/>
                    <a:gd name="connsiteX1" fmla="*/ 143577 w 372251"/>
                    <a:gd name="connsiteY1" fmla="*/ 231061 h 301414"/>
                    <a:gd name="connsiteX2" fmla="*/ 0 w 372251"/>
                    <a:gd name="connsiteY2" fmla="*/ 299028 h 301414"/>
                    <a:gd name="connsiteX3" fmla="*/ 372182 w 372251"/>
                    <a:gd name="connsiteY3" fmla="*/ 0 h 301414"/>
                    <a:gd name="connsiteX4" fmla="*/ 350618 w 372251"/>
                    <a:gd name="connsiteY4" fmla="*/ 155860 h 301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2251" h="301414">
                      <a:moveTo>
                        <a:pt x="350618" y="155860"/>
                      </a:moveTo>
                      <a:lnTo>
                        <a:pt x="143577" y="231061"/>
                      </a:lnTo>
                      <a:cubicBezTo>
                        <a:pt x="143577" y="231061"/>
                        <a:pt x="81479" y="316634"/>
                        <a:pt x="0" y="299028"/>
                      </a:cubicBezTo>
                      <a:cubicBezTo>
                        <a:pt x="0" y="204038"/>
                        <a:pt x="133205" y="30435"/>
                        <a:pt x="372182" y="0"/>
                      </a:cubicBezTo>
                      <a:cubicBezTo>
                        <a:pt x="373683" y="80114"/>
                        <a:pt x="350618" y="155860"/>
                        <a:pt x="350618" y="155860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2603C69D-D36D-42B9-9A4E-4A2B2F86639B}"/>
                    </a:ext>
                  </a:extLst>
                </p:cNvPr>
                <p:cNvSpPr/>
                <p:nvPr/>
              </p:nvSpPr>
              <p:spPr>
                <a:xfrm>
                  <a:off x="9240324" y="961410"/>
                  <a:ext cx="128473" cy="283776"/>
                </a:xfrm>
                <a:custGeom>
                  <a:avLst/>
                  <a:gdLst>
                    <a:gd name="connsiteX0" fmla="*/ 82493 w 128473"/>
                    <a:gd name="connsiteY0" fmla="*/ 283776 h 283776"/>
                    <a:gd name="connsiteX1" fmla="*/ 71165 w 128473"/>
                    <a:gd name="connsiteY1" fmla="*/ 277089 h 283776"/>
                    <a:gd name="connsiteX2" fmla="*/ 7020 w 128473"/>
                    <a:gd name="connsiteY2" fmla="*/ 32789 h 283776"/>
                    <a:gd name="connsiteX3" fmla="*/ 47418 w 128473"/>
                    <a:gd name="connsiteY3" fmla="*/ 1808 h 283776"/>
                    <a:gd name="connsiteX4" fmla="*/ 107469 w 128473"/>
                    <a:gd name="connsiteY4" fmla="*/ 18322 h 283776"/>
                    <a:gd name="connsiteX5" fmla="*/ 94913 w 128473"/>
                    <a:gd name="connsiteY5" fmla="*/ 274905 h 283776"/>
                    <a:gd name="connsiteX6" fmla="*/ 83858 w 128473"/>
                    <a:gd name="connsiteY6" fmla="*/ 283776 h 283776"/>
                    <a:gd name="connsiteX7" fmla="*/ 82493 w 128473"/>
                    <a:gd name="connsiteY7" fmla="*/ 283776 h 283776"/>
                    <a:gd name="connsiteX8" fmla="*/ 64614 w 128473"/>
                    <a:gd name="connsiteY8" fmla="*/ 25828 h 283776"/>
                    <a:gd name="connsiteX9" fmla="*/ 52467 w 128473"/>
                    <a:gd name="connsiteY9" fmla="*/ 27193 h 283776"/>
                    <a:gd name="connsiteX10" fmla="*/ 30631 w 128473"/>
                    <a:gd name="connsiteY10" fmla="*/ 43571 h 283776"/>
                    <a:gd name="connsiteX11" fmla="*/ 79354 w 128473"/>
                    <a:gd name="connsiteY11" fmla="*/ 236417 h 283776"/>
                    <a:gd name="connsiteX12" fmla="*/ 88089 w 128473"/>
                    <a:gd name="connsiteY12" fmla="*/ 35382 h 283776"/>
                    <a:gd name="connsiteX13" fmla="*/ 64614 w 128473"/>
                    <a:gd name="connsiteY13" fmla="*/ 25828 h 28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8473" h="283776">
                      <a:moveTo>
                        <a:pt x="82493" y="283776"/>
                      </a:moveTo>
                      <a:cubicBezTo>
                        <a:pt x="77853" y="283776"/>
                        <a:pt x="73485" y="281319"/>
                        <a:pt x="71165" y="277089"/>
                      </a:cubicBezTo>
                      <a:cubicBezTo>
                        <a:pt x="61202" y="259346"/>
                        <a:pt x="-24780" y="101439"/>
                        <a:pt x="7020" y="32789"/>
                      </a:cubicBezTo>
                      <a:cubicBezTo>
                        <a:pt x="14662" y="16275"/>
                        <a:pt x="28583" y="5493"/>
                        <a:pt x="47418" y="1808"/>
                      </a:cubicBezTo>
                      <a:cubicBezTo>
                        <a:pt x="79354" y="-4607"/>
                        <a:pt x="97779" y="7267"/>
                        <a:pt x="107469" y="18322"/>
                      </a:cubicBezTo>
                      <a:cubicBezTo>
                        <a:pt x="158376" y="75917"/>
                        <a:pt x="101600" y="254706"/>
                        <a:pt x="94913" y="274905"/>
                      </a:cubicBezTo>
                      <a:cubicBezTo>
                        <a:pt x="93275" y="279818"/>
                        <a:pt x="88908" y="283230"/>
                        <a:pt x="83858" y="283776"/>
                      </a:cubicBezTo>
                      <a:cubicBezTo>
                        <a:pt x="83312" y="283640"/>
                        <a:pt x="82902" y="283776"/>
                        <a:pt x="82493" y="283776"/>
                      </a:cubicBezTo>
                      <a:close/>
                      <a:moveTo>
                        <a:pt x="64614" y="25828"/>
                      </a:moveTo>
                      <a:cubicBezTo>
                        <a:pt x="60929" y="25828"/>
                        <a:pt x="56835" y="26238"/>
                        <a:pt x="52467" y="27193"/>
                      </a:cubicBezTo>
                      <a:cubicBezTo>
                        <a:pt x="41685" y="29377"/>
                        <a:pt x="34725" y="34563"/>
                        <a:pt x="30631" y="43571"/>
                      </a:cubicBezTo>
                      <a:cubicBezTo>
                        <a:pt x="12069" y="83833"/>
                        <a:pt x="51239" y="179778"/>
                        <a:pt x="79354" y="236417"/>
                      </a:cubicBezTo>
                      <a:cubicBezTo>
                        <a:pt x="96687" y="173500"/>
                        <a:pt x="117432" y="68547"/>
                        <a:pt x="88089" y="35382"/>
                      </a:cubicBezTo>
                      <a:cubicBezTo>
                        <a:pt x="82357" y="28968"/>
                        <a:pt x="74714" y="25828"/>
                        <a:pt x="64614" y="25828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2A7603A0-09FA-4788-BAD7-41CF1325D178}"/>
                    </a:ext>
                  </a:extLst>
                </p:cNvPr>
                <p:cNvSpPr/>
                <p:nvPr/>
              </p:nvSpPr>
              <p:spPr>
                <a:xfrm>
                  <a:off x="9313329" y="1025395"/>
                  <a:ext cx="228180" cy="220610"/>
                </a:xfrm>
                <a:custGeom>
                  <a:avLst/>
                  <a:gdLst>
                    <a:gd name="connsiteX0" fmla="*/ 13037 w 228180"/>
                    <a:gd name="connsiteY0" fmla="*/ 220611 h 220610"/>
                    <a:gd name="connsiteX1" fmla="*/ 3620 w 228180"/>
                    <a:gd name="connsiteY1" fmla="*/ 216653 h 220610"/>
                    <a:gd name="connsiteX2" fmla="*/ 1026 w 228180"/>
                    <a:gd name="connsiteY2" fmla="*/ 202732 h 220610"/>
                    <a:gd name="connsiteX3" fmla="*/ 159480 w 228180"/>
                    <a:gd name="connsiteY3" fmla="*/ 468 h 220610"/>
                    <a:gd name="connsiteX4" fmla="*/ 215710 w 228180"/>
                    <a:gd name="connsiteY4" fmla="*/ 27355 h 220610"/>
                    <a:gd name="connsiteX5" fmla="*/ 225946 w 228180"/>
                    <a:gd name="connsiteY5" fmla="*/ 77170 h 220610"/>
                    <a:gd name="connsiteX6" fmla="*/ 17540 w 228180"/>
                    <a:gd name="connsiteY6" fmla="*/ 220065 h 220610"/>
                    <a:gd name="connsiteX7" fmla="*/ 13037 w 228180"/>
                    <a:gd name="connsiteY7" fmla="*/ 220611 h 220610"/>
                    <a:gd name="connsiteX8" fmla="*/ 166713 w 228180"/>
                    <a:gd name="connsiteY8" fmla="*/ 25717 h 220610"/>
                    <a:gd name="connsiteX9" fmla="*/ 163028 w 228180"/>
                    <a:gd name="connsiteY9" fmla="*/ 25990 h 220610"/>
                    <a:gd name="connsiteX10" fmla="*/ 38149 w 228180"/>
                    <a:gd name="connsiteY10" fmla="*/ 183761 h 220610"/>
                    <a:gd name="connsiteX11" fmla="*/ 201106 w 228180"/>
                    <a:gd name="connsiteY11" fmla="*/ 69800 h 220610"/>
                    <a:gd name="connsiteX12" fmla="*/ 195238 w 228180"/>
                    <a:gd name="connsiteY12" fmla="*/ 43050 h 220610"/>
                    <a:gd name="connsiteX13" fmla="*/ 166713 w 228180"/>
                    <a:gd name="connsiteY13" fmla="*/ 25717 h 220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28180" h="220610">
                      <a:moveTo>
                        <a:pt x="13037" y="220611"/>
                      </a:moveTo>
                      <a:cubicBezTo>
                        <a:pt x="9488" y="220611"/>
                        <a:pt x="6076" y="219246"/>
                        <a:pt x="3620" y="216653"/>
                      </a:cubicBezTo>
                      <a:cubicBezTo>
                        <a:pt x="71" y="212968"/>
                        <a:pt x="-1021" y="207508"/>
                        <a:pt x="1026" y="202732"/>
                      </a:cubicBezTo>
                      <a:cubicBezTo>
                        <a:pt x="9215" y="183078"/>
                        <a:pt x="83187" y="10567"/>
                        <a:pt x="159480" y="468"/>
                      </a:cubicBezTo>
                      <a:cubicBezTo>
                        <a:pt x="174083" y="-1443"/>
                        <a:pt x="195647" y="1560"/>
                        <a:pt x="215710" y="27355"/>
                      </a:cubicBezTo>
                      <a:cubicBezTo>
                        <a:pt x="227447" y="42504"/>
                        <a:pt x="230995" y="59700"/>
                        <a:pt x="225946" y="77170"/>
                      </a:cubicBezTo>
                      <a:cubicBezTo>
                        <a:pt x="204928" y="149914"/>
                        <a:pt x="36648" y="213104"/>
                        <a:pt x="17540" y="220065"/>
                      </a:cubicBezTo>
                      <a:cubicBezTo>
                        <a:pt x="16039" y="220338"/>
                        <a:pt x="14538" y="220611"/>
                        <a:pt x="13037" y="220611"/>
                      </a:cubicBezTo>
                      <a:close/>
                      <a:moveTo>
                        <a:pt x="166713" y="25717"/>
                      </a:moveTo>
                      <a:cubicBezTo>
                        <a:pt x="165485" y="25717"/>
                        <a:pt x="164257" y="25853"/>
                        <a:pt x="163028" y="25990"/>
                      </a:cubicBezTo>
                      <a:cubicBezTo>
                        <a:pt x="119218" y="31858"/>
                        <a:pt x="66127" y="124938"/>
                        <a:pt x="38149" y="183761"/>
                      </a:cubicBezTo>
                      <a:cubicBezTo>
                        <a:pt x="96426" y="159194"/>
                        <a:pt x="188823" y="112382"/>
                        <a:pt x="201106" y="69800"/>
                      </a:cubicBezTo>
                      <a:cubicBezTo>
                        <a:pt x="203836" y="60246"/>
                        <a:pt x="202062" y="51785"/>
                        <a:pt x="195238" y="43050"/>
                      </a:cubicBezTo>
                      <a:cubicBezTo>
                        <a:pt x="186230" y="31449"/>
                        <a:pt x="176813" y="25717"/>
                        <a:pt x="166713" y="25717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227ACFBA-912E-45B7-B1A4-EB37469B939E}"/>
                    </a:ext>
                  </a:extLst>
                </p:cNvPr>
                <p:cNvSpPr/>
                <p:nvPr/>
              </p:nvSpPr>
              <p:spPr>
                <a:xfrm>
                  <a:off x="8795760" y="1133674"/>
                  <a:ext cx="248140" cy="392264"/>
                </a:xfrm>
                <a:custGeom>
                  <a:avLst/>
                  <a:gdLst>
                    <a:gd name="connsiteX0" fmla="*/ 146414 w 248140"/>
                    <a:gd name="connsiteY0" fmla="*/ 390069 h 392264"/>
                    <a:gd name="connsiteX1" fmla="*/ 18396 w 248140"/>
                    <a:gd name="connsiteY1" fmla="*/ 292622 h 392264"/>
                    <a:gd name="connsiteX2" fmla="*/ 125123 w 248140"/>
                    <a:gd name="connsiteY2" fmla="*/ 1509 h 392264"/>
                    <a:gd name="connsiteX3" fmla="*/ 136588 w 248140"/>
                    <a:gd name="connsiteY3" fmla="*/ 3420 h 392264"/>
                    <a:gd name="connsiteX4" fmla="*/ 134677 w 248140"/>
                    <a:gd name="connsiteY4" fmla="*/ 14885 h 392264"/>
                    <a:gd name="connsiteX5" fmla="*/ 33136 w 248140"/>
                    <a:gd name="connsiteY5" fmla="*/ 285525 h 392264"/>
                    <a:gd name="connsiteX6" fmla="*/ 237174 w 248140"/>
                    <a:gd name="connsiteY6" fmla="*/ 367140 h 392264"/>
                    <a:gd name="connsiteX7" fmla="*/ 247683 w 248140"/>
                    <a:gd name="connsiteY7" fmla="*/ 372190 h 392264"/>
                    <a:gd name="connsiteX8" fmla="*/ 242633 w 248140"/>
                    <a:gd name="connsiteY8" fmla="*/ 382699 h 392264"/>
                    <a:gd name="connsiteX9" fmla="*/ 146414 w 248140"/>
                    <a:gd name="connsiteY9" fmla="*/ 390069 h 392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140" h="392264">
                      <a:moveTo>
                        <a:pt x="146414" y="390069"/>
                      </a:moveTo>
                      <a:cubicBezTo>
                        <a:pt x="101239" y="383381"/>
                        <a:pt x="50332" y="359224"/>
                        <a:pt x="18396" y="292622"/>
                      </a:cubicBezTo>
                      <a:cubicBezTo>
                        <a:pt x="-56941" y="135397"/>
                        <a:pt x="123349" y="2874"/>
                        <a:pt x="125123" y="1509"/>
                      </a:cubicBezTo>
                      <a:cubicBezTo>
                        <a:pt x="128808" y="-1084"/>
                        <a:pt x="133995" y="-265"/>
                        <a:pt x="136588" y="3420"/>
                      </a:cubicBezTo>
                      <a:cubicBezTo>
                        <a:pt x="139317" y="7105"/>
                        <a:pt x="138362" y="12291"/>
                        <a:pt x="134677" y="14885"/>
                      </a:cubicBezTo>
                      <a:cubicBezTo>
                        <a:pt x="132903" y="16113"/>
                        <a:pt x="-36333" y="140856"/>
                        <a:pt x="33136" y="285525"/>
                      </a:cubicBezTo>
                      <a:cubicBezTo>
                        <a:pt x="95098" y="414635"/>
                        <a:pt x="231441" y="369187"/>
                        <a:pt x="237174" y="367140"/>
                      </a:cubicBezTo>
                      <a:cubicBezTo>
                        <a:pt x="241541" y="365639"/>
                        <a:pt x="246181" y="367959"/>
                        <a:pt x="247683" y="372190"/>
                      </a:cubicBezTo>
                      <a:cubicBezTo>
                        <a:pt x="249184" y="376421"/>
                        <a:pt x="246864" y="381197"/>
                        <a:pt x="242633" y="382699"/>
                      </a:cubicBezTo>
                      <a:cubicBezTo>
                        <a:pt x="241950" y="382972"/>
                        <a:pt x="197867" y="397712"/>
                        <a:pt x="146414" y="390069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4B7C8E8-68E5-4364-ACD1-08E91F64BC85}"/>
                  </a:ext>
                </a:extLst>
              </p:cNvPr>
              <p:cNvSpPr/>
              <p:nvPr/>
            </p:nvSpPr>
            <p:spPr>
              <a:xfrm>
                <a:off x="9366456" y="1232903"/>
                <a:ext cx="607512" cy="1237198"/>
              </a:xfrm>
              <a:custGeom>
                <a:avLst/>
                <a:gdLst>
                  <a:gd name="connsiteX0" fmla="*/ 175548 w 607512"/>
                  <a:gd name="connsiteY0" fmla="*/ 310220 h 1237198"/>
                  <a:gd name="connsiteX1" fmla="*/ 144158 w 607512"/>
                  <a:gd name="connsiteY1" fmla="*/ 869106 h 1237198"/>
                  <a:gd name="connsiteX2" fmla="*/ 80285 w 607512"/>
                  <a:gd name="connsiteY2" fmla="*/ 1216721 h 1237198"/>
                  <a:gd name="connsiteX3" fmla="*/ 547866 w 607512"/>
                  <a:gd name="connsiteY3" fmla="*/ 1222590 h 1237198"/>
                  <a:gd name="connsiteX4" fmla="*/ 455606 w 607512"/>
                  <a:gd name="connsiteY4" fmla="*/ 329736 h 1237198"/>
                  <a:gd name="connsiteX5" fmla="*/ 18733 w 607512"/>
                  <a:gd name="connsiteY5" fmla="*/ 0 h 1237198"/>
                  <a:gd name="connsiteX6" fmla="*/ 175548 w 607512"/>
                  <a:gd name="connsiteY6" fmla="*/ 310220 h 123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512" h="1237198">
                    <a:moveTo>
                      <a:pt x="175548" y="310220"/>
                    </a:moveTo>
                    <a:cubicBezTo>
                      <a:pt x="175548" y="310220"/>
                      <a:pt x="256345" y="649509"/>
                      <a:pt x="144158" y="869106"/>
                    </a:cubicBezTo>
                    <a:cubicBezTo>
                      <a:pt x="31971" y="1088703"/>
                      <a:pt x="-80762" y="1148481"/>
                      <a:pt x="80285" y="1216721"/>
                    </a:cubicBezTo>
                    <a:cubicBezTo>
                      <a:pt x="241468" y="1284961"/>
                      <a:pt x="424761" y="1155032"/>
                      <a:pt x="547866" y="1222590"/>
                    </a:cubicBezTo>
                    <a:cubicBezTo>
                      <a:pt x="696357" y="1304205"/>
                      <a:pt x="529851" y="619484"/>
                      <a:pt x="455606" y="329736"/>
                    </a:cubicBezTo>
                    <a:cubicBezTo>
                      <a:pt x="379586" y="33301"/>
                      <a:pt x="18733" y="0"/>
                      <a:pt x="18733" y="0"/>
                    </a:cubicBezTo>
                    <a:lnTo>
                      <a:pt x="175548" y="310220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55C29BED-1BAA-47F3-BA12-DD774C7E5BFB}"/>
                  </a:ext>
                </a:extLst>
              </p:cNvPr>
              <p:cNvSpPr/>
              <p:nvPr/>
            </p:nvSpPr>
            <p:spPr>
              <a:xfrm>
                <a:off x="8987629" y="1228179"/>
                <a:ext cx="806563" cy="558696"/>
              </a:xfrm>
              <a:custGeom>
                <a:avLst/>
                <a:gdLst>
                  <a:gd name="connsiteX0" fmla="*/ 768103 w 806563"/>
                  <a:gd name="connsiteY0" fmla="*/ 558697 h 558696"/>
                  <a:gd name="connsiteX1" fmla="*/ 641722 w 806563"/>
                  <a:gd name="connsiteY1" fmla="*/ 72418 h 558696"/>
                  <a:gd name="connsiteX2" fmla="*/ 24695 w 806563"/>
                  <a:gd name="connsiteY2" fmla="*/ 213539 h 558696"/>
                  <a:gd name="connsiteX3" fmla="*/ 63456 w 806563"/>
                  <a:gd name="connsiteY3" fmla="*/ 510656 h 558696"/>
                  <a:gd name="connsiteX4" fmla="*/ 768103 w 806563"/>
                  <a:gd name="connsiteY4" fmla="*/ 558697 h 558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6563" h="558696">
                    <a:moveTo>
                      <a:pt x="768103" y="558697"/>
                    </a:moveTo>
                    <a:cubicBezTo>
                      <a:pt x="768103" y="558697"/>
                      <a:pt x="912499" y="228005"/>
                      <a:pt x="641722" y="72418"/>
                    </a:cubicBezTo>
                    <a:cubicBezTo>
                      <a:pt x="370945" y="-83169"/>
                      <a:pt x="97576" y="34340"/>
                      <a:pt x="24695" y="213539"/>
                    </a:cubicBezTo>
                    <a:cubicBezTo>
                      <a:pt x="-48185" y="392737"/>
                      <a:pt x="63456" y="510656"/>
                      <a:pt x="63456" y="510656"/>
                    </a:cubicBezTo>
                    <a:lnTo>
                      <a:pt x="768103" y="558697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3" name="组合 62">
                <a:extLst>
                  <a:ext uri="{FF2B5EF4-FFF2-40B4-BE49-F238E27FC236}">
                    <a16:creationId xmlns:a16="http://schemas.microsoft.com/office/drawing/2014/main" id="{DF421669-B25C-4D54-AC90-3225553AC84A}"/>
                  </a:ext>
                </a:extLst>
              </p:cNvPr>
              <p:cNvGrpSpPr/>
              <p:nvPr/>
            </p:nvGrpSpPr>
            <p:grpSpPr>
              <a:xfrm>
                <a:off x="9098444" y="2132035"/>
                <a:ext cx="353893" cy="359906"/>
                <a:chOff x="9098444" y="2132035"/>
                <a:chExt cx="353893" cy="359906"/>
              </a:xfrm>
              <a:solidFill>
                <a:schemeClr val="accent1"/>
              </a:solidFill>
            </p:grpSpPr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73A48018-3BC0-41F2-B011-49157B182CCA}"/>
                    </a:ext>
                  </a:extLst>
                </p:cNvPr>
                <p:cNvSpPr/>
                <p:nvPr/>
              </p:nvSpPr>
              <p:spPr>
                <a:xfrm>
                  <a:off x="9098444" y="2132035"/>
                  <a:ext cx="353893" cy="359906"/>
                </a:xfrm>
                <a:custGeom>
                  <a:avLst/>
                  <a:gdLst>
                    <a:gd name="connsiteX0" fmla="*/ 193120 w 353893"/>
                    <a:gd name="connsiteY0" fmla="*/ 353074 h 359906"/>
                    <a:gd name="connsiteX1" fmla="*/ 326461 w 353893"/>
                    <a:gd name="connsiteY1" fmla="*/ 314314 h 359906"/>
                    <a:gd name="connsiteX2" fmla="*/ 342565 w 353893"/>
                    <a:gd name="connsiteY2" fmla="*/ 174149 h 359906"/>
                    <a:gd name="connsiteX3" fmla="*/ 351983 w 353893"/>
                    <a:gd name="connsiteY3" fmla="*/ 92397 h 359906"/>
                    <a:gd name="connsiteX4" fmla="*/ 353893 w 353893"/>
                    <a:gd name="connsiteY4" fmla="*/ 80387 h 359906"/>
                    <a:gd name="connsiteX5" fmla="*/ 317999 w 353893"/>
                    <a:gd name="connsiteY5" fmla="*/ 76429 h 359906"/>
                    <a:gd name="connsiteX6" fmla="*/ 52954 w 353893"/>
                    <a:gd name="connsiteY6" fmla="*/ 0 h 359906"/>
                    <a:gd name="connsiteX7" fmla="*/ 17060 w 353893"/>
                    <a:gd name="connsiteY7" fmla="*/ 168280 h 359906"/>
                    <a:gd name="connsiteX8" fmla="*/ 0 w 353893"/>
                    <a:gd name="connsiteY8" fmla="*/ 248121 h 359906"/>
                    <a:gd name="connsiteX9" fmla="*/ 193120 w 353893"/>
                    <a:gd name="connsiteY9" fmla="*/ 353074 h 359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3893" h="359906">
                      <a:moveTo>
                        <a:pt x="193120" y="353074"/>
                      </a:moveTo>
                      <a:cubicBezTo>
                        <a:pt x="271186" y="374775"/>
                        <a:pt x="302577" y="340109"/>
                        <a:pt x="326461" y="314314"/>
                      </a:cubicBezTo>
                      <a:lnTo>
                        <a:pt x="342565" y="174149"/>
                      </a:lnTo>
                      <a:lnTo>
                        <a:pt x="351983" y="92397"/>
                      </a:lnTo>
                      <a:lnTo>
                        <a:pt x="353893" y="80387"/>
                      </a:lnTo>
                      <a:lnTo>
                        <a:pt x="317999" y="76429"/>
                      </a:lnTo>
                      <a:lnTo>
                        <a:pt x="52954" y="0"/>
                      </a:lnTo>
                      <a:lnTo>
                        <a:pt x="17060" y="168280"/>
                      </a:lnTo>
                      <a:lnTo>
                        <a:pt x="0" y="248121"/>
                      </a:lnTo>
                      <a:cubicBezTo>
                        <a:pt x="34257" y="280467"/>
                        <a:pt x="79568" y="321547"/>
                        <a:pt x="193120" y="353074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04A35349-D326-4BD6-87D4-D35A9400C10C}"/>
                    </a:ext>
                  </a:extLst>
                </p:cNvPr>
                <p:cNvSpPr/>
                <p:nvPr/>
              </p:nvSpPr>
              <p:spPr>
                <a:xfrm>
                  <a:off x="9114821" y="2132035"/>
                  <a:ext cx="337515" cy="195729"/>
                </a:xfrm>
                <a:custGeom>
                  <a:avLst/>
                  <a:gdLst>
                    <a:gd name="connsiteX0" fmla="*/ 326324 w 337515"/>
                    <a:gd name="connsiteY0" fmla="*/ 174285 h 195729"/>
                    <a:gd name="connsiteX1" fmla="*/ 819 w 337515"/>
                    <a:gd name="connsiteY1" fmla="*/ 168417 h 195729"/>
                    <a:gd name="connsiteX2" fmla="*/ 0 w 337515"/>
                    <a:gd name="connsiteY2" fmla="*/ 168144 h 195729"/>
                    <a:gd name="connsiteX3" fmla="*/ 36577 w 337515"/>
                    <a:gd name="connsiteY3" fmla="*/ 0 h 195729"/>
                    <a:gd name="connsiteX4" fmla="*/ 301621 w 337515"/>
                    <a:gd name="connsiteY4" fmla="*/ 76429 h 195729"/>
                    <a:gd name="connsiteX5" fmla="*/ 337516 w 337515"/>
                    <a:gd name="connsiteY5" fmla="*/ 80387 h 195729"/>
                    <a:gd name="connsiteX6" fmla="*/ 335605 w 337515"/>
                    <a:gd name="connsiteY6" fmla="*/ 92397 h 195729"/>
                    <a:gd name="connsiteX7" fmla="*/ 326324 w 337515"/>
                    <a:gd name="connsiteY7" fmla="*/ 174285 h 195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7515" h="195729">
                      <a:moveTo>
                        <a:pt x="326324" y="174285"/>
                      </a:moveTo>
                      <a:cubicBezTo>
                        <a:pt x="244163" y="211271"/>
                        <a:pt x="82161" y="194484"/>
                        <a:pt x="819" y="168417"/>
                      </a:cubicBezTo>
                      <a:cubicBezTo>
                        <a:pt x="546" y="168417"/>
                        <a:pt x="273" y="168280"/>
                        <a:pt x="0" y="168144"/>
                      </a:cubicBezTo>
                      <a:lnTo>
                        <a:pt x="36577" y="0"/>
                      </a:lnTo>
                      <a:lnTo>
                        <a:pt x="301621" y="76429"/>
                      </a:lnTo>
                      <a:lnTo>
                        <a:pt x="337516" y="80387"/>
                      </a:lnTo>
                      <a:lnTo>
                        <a:pt x="335605" y="92397"/>
                      </a:lnTo>
                      <a:lnTo>
                        <a:pt x="326324" y="174285"/>
                      </a:lnTo>
                      <a:close/>
                    </a:path>
                  </a:pathLst>
                </a:custGeom>
                <a:solidFill>
                  <a:srgbClr val="18181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4" name="组合 63">
                <a:extLst>
                  <a:ext uri="{FF2B5EF4-FFF2-40B4-BE49-F238E27FC236}">
                    <a16:creationId xmlns:a16="http://schemas.microsoft.com/office/drawing/2014/main" id="{51E135C7-671F-4CFC-AB04-3261B1E8ED13}"/>
                  </a:ext>
                </a:extLst>
              </p:cNvPr>
              <p:cNvGrpSpPr/>
              <p:nvPr/>
            </p:nvGrpSpPr>
            <p:grpSpPr>
              <a:xfrm>
                <a:off x="9543410" y="1781729"/>
                <a:ext cx="244717" cy="384248"/>
                <a:chOff x="9543410" y="1781729"/>
                <a:chExt cx="244717" cy="384248"/>
              </a:xfrm>
              <a:solidFill>
                <a:schemeClr val="accent1"/>
              </a:solidFill>
            </p:grpSpPr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14345573-EBEC-44C5-A3F0-AD40EBAF0286}"/>
                    </a:ext>
                  </a:extLst>
                </p:cNvPr>
                <p:cNvSpPr/>
                <p:nvPr/>
              </p:nvSpPr>
              <p:spPr>
                <a:xfrm>
                  <a:off x="9603284" y="1781729"/>
                  <a:ext cx="184843" cy="213542"/>
                </a:xfrm>
                <a:custGeom>
                  <a:avLst/>
                  <a:gdLst>
                    <a:gd name="connsiteX0" fmla="*/ 54319 w 184843"/>
                    <a:gd name="connsiteY0" fmla="*/ 7195 h 213542"/>
                    <a:gd name="connsiteX1" fmla="*/ 180836 w 184843"/>
                    <a:gd name="connsiteY1" fmla="*/ 100547 h 213542"/>
                    <a:gd name="connsiteX2" fmla="*/ 0 w 184843"/>
                    <a:gd name="connsiteY2" fmla="*/ 200314 h 213542"/>
                    <a:gd name="connsiteX3" fmla="*/ 54319 w 184843"/>
                    <a:gd name="connsiteY3" fmla="*/ 7195 h 21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4843" h="213542">
                      <a:moveTo>
                        <a:pt x="54319" y="7195"/>
                      </a:moveTo>
                      <a:cubicBezTo>
                        <a:pt x="54319" y="7195"/>
                        <a:pt x="211681" y="-38526"/>
                        <a:pt x="180836" y="100547"/>
                      </a:cubicBezTo>
                      <a:cubicBezTo>
                        <a:pt x="146853" y="253678"/>
                        <a:pt x="21564" y="210141"/>
                        <a:pt x="0" y="200314"/>
                      </a:cubicBezTo>
                      <a:lnTo>
                        <a:pt x="54319" y="7195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CEF5D179-F949-498E-B3AA-0130190CC784}"/>
                    </a:ext>
                  </a:extLst>
                </p:cNvPr>
                <p:cNvSpPr/>
                <p:nvPr/>
              </p:nvSpPr>
              <p:spPr>
                <a:xfrm>
                  <a:off x="9543410" y="1960343"/>
                  <a:ext cx="213624" cy="205635"/>
                </a:xfrm>
                <a:custGeom>
                  <a:avLst/>
                  <a:gdLst>
                    <a:gd name="connsiteX0" fmla="*/ 1188 w 213624"/>
                    <a:gd name="connsiteY0" fmla="*/ 82980 h 205635"/>
                    <a:gd name="connsiteX1" fmla="*/ 90992 w 213624"/>
                    <a:gd name="connsiteY1" fmla="*/ 204447 h 205635"/>
                    <a:gd name="connsiteX2" fmla="*/ 212459 w 213624"/>
                    <a:gd name="connsiteY2" fmla="*/ 114643 h 205635"/>
                    <a:gd name="connsiteX3" fmla="*/ 146948 w 213624"/>
                    <a:gd name="connsiteY3" fmla="*/ 0 h 205635"/>
                    <a:gd name="connsiteX4" fmla="*/ 146676 w 213624"/>
                    <a:gd name="connsiteY4" fmla="*/ 410 h 205635"/>
                    <a:gd name="connsiteX5" fmla="*/ 136985 w 213624"/>
                    <a:gd name="connsiteY5" fmla="*/ 14467 h 205635"/>
                    <a:gd name="connsiteX6" fmla="*/ 195536 w 213624"/>
                    <a:gd name="connsiteY6" fmla="*/ 112187 h 205635"/>
                    <a:gd name="connsiteX7" fmla="*/ 93585 w 213624"/>
                    <a:gd name="connsiteY7" fmla="*/ 187660 h 205635"/>
                    <a:gd name="connsiteX8" fmla="*/ 18111 w 213624"/>
                    <a:gd name="connsiteY8" fmla="*/ 85710 h 205635"/>
                    <a:gd name="connsiteX9" fmla="*/ 48273 w 213624"/>
                    <a:gd name="connsiteY9" fmla="*/ 31118 h 205635"/>
                    <a:gd name="connsiteX10" fmla="*/ 61375 w 213624"/>
                    <a:gd name="connsiteY10" fmla="*/ 21837 h 205635"/>
                    <a:gd name="connsiteX11" fmla="*/ 49911 w 213624"/>
                    <a:gd name="connsiteY11" fmla="*/ 8871 h 205635"/>
                    <a:gd name="connsiteX12" fmla="*/ 37628 w 213624"/>
                    <a:gd name="connsiteY12" fmla="*/ 17879 h 205635"/>
                    <a:gd name="connsiteX13" fmla="*/ 1188 w 213624"/>
                    <a:gd name="connsiteY13" fmla="*/ 82980 h 205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3624" h="205635">
                      <a:moveTo>
                        <a:pt x="1188" y="82980"/>
                      </a:moveTo>
                      <a:cubicBezTo>
                        <a:pt x="-7547" y="141257"/>
                        <a:pt x="32851" y="195713"/>
                        <a:pt x="90992" y="204447"/>
                      </a:cubicBezTo>
                      <a:cubicBezTo>
                        <a:pt x="149269" y="213182"/>
                        <a:pt x="203724" y="172784"/>
                        <a:pt x="212459" y="114643"/>
                      </a:cubicBezTo>
                      <a:cubicBezTo>
                        <a:pt x="219829" y="64965"/>
                        <a:pt x="191578" y="18152"/>
                        <a:pt x="146948" y="0"/>
                      </a:cubicBezTo>
                      <a:cubicBezTo>
                        <a:pt x="146812" y="137"/>
                        <a:pt x="146812" y="273"/>
                        <a:pt x="146676" y="410"/>
                      </a:cubicBezTo>
                      <a:cubicBezTo>
                        <a:pt x="139169" y="2320"/>
                        <a:pt x="137531" y="8189"/>
                        <a:pt x="136985" y="14467"/>
                      </a:cubicBezTo>
                      <a:cubicBezTo>
                        <a:pt x="176565" y="28524"/>
                        <a:pt x="201950" y="69195"/>
                        <a:pt x="195536" y="112187"/>
                      </a:cubicBezTo>
                      <a:cubicBezTo>
                        <a:pt x="188166" y="161047"/>
                        <a:pt x="142445" y="195030"/>
                        <a:pt x="93585" y="187660"/>
                      </a:cubicBezTo>
                      <a:cubicBezTo>
                        <a:pt x="44725" y="180290"/>
                        <a:pt x="10741" y="134569"/>
                        <a:pt x="18111" y="85710"/>
                      </a:cubicBezTo>
                      <a:cubicBezTo>
                        <a:pt x="21387" y="63600"/>
                        <a:pt x="32578" y="44629"/>
                        <a:pt x="48273" y="31118"/>
                      </a:cubicBezTo>
                      <a:cubicBezTo>
                        <a:pt x="52368" y="27706"/>
                        <a:pt x="56735" y="24430"/>
                        <a:pt x="61375" y="21837"/>
                      </a:cubicBezTo>
                      <a:cubicBezTo>
                        <a:pt x="57281" y="18152"/>
                        <a:pt x="53323" y="13785"/>
                        <a:pt x="49911" y="8871"/>
                      </a:cubicBezTo>
                      <a:cubicBezTo>
                        <a:pt x="45680" y="11464"/>
                        <a:pt x="41586" y="14467"/>
                        <a:pt x="37628" y="17879"/>
                      </a:cubicBezTo>
                      <a:cubicBezTo>
                        <a:pt x="18521" y="33574"/>
                        <a:pt x="5146" y="56366"/>
                        <a:pt x="1188" y="8298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75F2760E-BD90-4B91-84DB-DB544BA29D29}"/>
                    </a:ext>
                  </a:extLst>
                </p:cNvPr>
                <p:cNvSpPr/>
                <p:nvPr/>
              </p:nvSpPr>
              <p:spPr>
                <a:xfrm>
                  <a:off x="9667827" y="1833472"/>
                  <a:ext cx="81708" cy="103195"/>
                </a:xfrm>
                <a:custGeom>
                  <a:avLst/>
                  <a:gdLst>
                    <a:gd name="connsiteX0" fmla="*/ 7382 w 81708"/>
                    <a:gd name="connsiteY0" fmla="*/ 103123 h 103195"/>
                    <a:gd name="connsiteX1" fmla="*/ 6427 w 81708"/>
                    <a:gd name="connsiteY1" fmla="*/ 102987 h 103195"/>
                    <a:gd name="connsiteX2" fmla="*/ 285 w 81708"/>
                    <a:gd name="connsiteY2" fmla="*/ 92614 h 103195"/>
                    <a:gd name="connsiteX3" fmla="*/ 69617 w 81708"/>
                    <a:gd name="connsiteY3" fmla="*/ 763 h 103195"/>
                    <a:gd name="connsiteX4" fmla="*/ 80945 w 81708"/>
                    <a:gd name="connsiteY4" fmla="*/ 4994 h 103195"/>
                    <a:gd name="connsiteX5" fmla="*/ 76714 w 81708"/>
                    <a:gd name="connsiteY5" fmla="*/ 16322 h 103195"/>
                    <a:gd name="connsiteX6" fmla="*/ 16799 w 81708"/>
                    <a:gd name="connsiteY6" fmla="*/ 96982 h 103195"/>
                    <a:gd name="connsiteX7" fmla="*/ 7382 w 81708"/>
                    <a:gd name="connsiteY7" fmla="*/ 103123 h 103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708" h="103195">
                      <a:moveTo>
                        <a:pt x="7382" y="103123"/>
                      </a:moveTo>
                      <a:cubicBezTo>
                        <a:pt x="7109" y="103123"/>
                        <a:pt x="6836" y="102987"/>
                        <a:pt x="6427" y="102987"/>
                      </a:cubicBezTo>
                      <a:cubicBezTo>
                        <a:pt x="1923" y="101759"/>
                        <a:pt x="-943" y="97118"/>
                        <a:pt x="285" y="92614"/>
                      </a:cubicBezTo>
                      <a:cubicBezTo>
                        <a:pt x="17755" y="25057"/>
                        <a:pt x="67434" y="1719"/>
                        <a:pt x="69617" y="763"/>
                      </a:cubicBezTo>
                      <a:cubicBezTo>
                        <a:pt x="73848" y="-1147"/>
                        <a:pt x="79034" y="627"/>
                        <a:pt x="80945" y="4994"/>
                      </a:cubicBezTo>
                      <a:cubicBezTo>
                        <a:pt x="82856" y="9225"/>
                        <a:pt x="81082" y="14275"/>
                        <a:pt x="76714" y="16322"/>
                      </a:cubicBezTo>
                      <a:cubicBezTo>
                        <a:pt x="74803" y="17141"/>
                        <a:pt x="32222" y="37613"/>
                        <a:pt x="16799" y="96982"/>
                      </a:cubicBezTo>
                      <a:cubicBezTo>
                        <a:pt x="15844" y="101076"/>
                        <a:pt x="11750" y="103669"/>
                        <a:pt x="7382" y="103123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250AE47D-A351-4953-9E61-E42B13396655}"/>
                    </a:ext>
                  </a:extLst>
                </p:cNvPr>
                <p:cNvSpPr/>
                <p:nvPr/>
              </p:nvSpPr>
              <p:spPr>
                <a:xfrm>
                  <a:off x="9691314" y="1869993"/>
                  <a:ext cx="50120" cy="38297"/>
                </a:xfrm>
                <a:custGeom>
                  <a:avLst/>
                  <a:gdLst>
                    <a:gd name="connsiteX0" fmla="*/ 40262 w 50120"/>
                    <a:gd name="connsiteY0" fmla="*/ 38214 h 38297"/>
                    <a:gd name="connsiteX1" fmla="*/ 34256 w 50120"/>
                    <a:gd name="connsiteY1" fmla="*/ 34256 h 38297"/>
                    <a:gd name="connsiteX2" fmla="*/ 8462 w 50120"/>
                    <a:gd name="connsiteY2" fmla="*/ 17060 h 38297"/>
                    <a:gd name="connsiteX3" fmla="*/ 0 w 50120"/>
                    <a:gd name="connsiteY3" fmla="*/ 8462 h 38297"/>
                    <a:gd name="connsiteX4" fmla="*/ 8598 w 50120"/>
                    <a:gd name="connsiteY4" fmla="*/ 0 h 38297"/>
                    <a:gd name="connsiteX5" fmla="*/ 48860 w 50120"/>
                    <a:gd name="connsiteY5" fmla="*/ 25385 h 38297"/>
                    <a:gd name="connsiteX6" fmla="*/ 45994 w 50120"/>
                    <a:gd name="connsiteY6" fmla="*/ 37123 h 38297"/>
                    <a:gd name="connsiteX7" fmla="*/ 40262 w 50120"/>
                    <a:gd name="connsiteY7" fmla="*/ 38214 h 38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120" h="38297">
                      <a:moveTo>
                        <a:pt x="40262" y="38214"/>
                      </a:moveTo>
                      <a:cubicBezTo>
                        <a:pt x="37805" y="37805"/>
                        <a:pt x="35621" y="36440"/>
                        <a:pt x="34256" y="34256"/>
                      </a:cubicBezTo>
                      <a:cubicBezTo>
                        <a:pt x="33984" y="33847"/>
                        <a:pt x="23475" y="17196"/>
                        <a:pt x="8462" y="17060"/>
                      </a:cubicBezTo>
                      <a:cubicBezTo>
                        <a:pt x="3821" y="17060"/>
                        <a:pt x="0" y="13102"/>
                        <a:pt x="0" y="8462"/>
                      </a:cubicBezTo>
                      <a:cubicBezTo>
                        <a:pt x="0" y="3685"/>
                        <a:pt x="3958" y="0"/>
                        <a:pt x="8598" y="0"/>
                      </a:cubicBezTo>
                      <a:cubicBezTo>
                        <a:pt x="33165" y="273"/>
                        <a:pt x="48177" y="24430"/>
                        <a:pt x="48860" y="25385"/>
                      </a:cubicBezTo>
                      <a:cubicBezTo>
                        <a:pt x="51316" y="29480"/>
                        <a:pt x="50088" y="34666"/>
                        <a:pt x="45994" y="37123"/>
                      </a:cubicBezTo>
                      <a:cubicBezTo>
                        <a:pt x="44220" y="38078"/>
                        <a:pt x="42172" y="38487"/>
                        <a:pt x="40262" y="38214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D3AF0EF-F46E-4FC9-AAD5-E2ED58546BC9}"/>
                  </a:ext>
                </a:extLst>
              </p:cNvPr>
              <p:cNvSpPr/>
              <p:nvPr/>
            </p:nvSpPr>
            <p:spPr>
              <a:xfrm>
                <a:off x="9047717" y="1410092"/>
                <a:ext cx="705369" cy="854835"/>
              </a:xfrm>
              <a:custGeom>
                <a:avLst/>
                <a:gdLst>
                  <a:gd name="connsiteX0" fmla="*/ 696278 w 705369"/>
                  <a:gd name="connsiteY0" fmla="*/ 359861 h 854835"/>
                  <a:gd name="connsiteX1" fmla="*/ 652605 w 705369"/>
                  <a:gd name="connsiteY1" fmla="*/ 519270 h 854835"/>
                  <a:gd name="connsiteX2" fmla="*/ 625036 w 705369"/>
                  <a:gd name="connsiteY2" fmla="*/ 585463 h 854835"/>
                  <a:gd name="connsiteX3" fmla="*/ 376369 w 705369"/>
                  <a:gd name="connsiteY3" fmla="*/ 852691 h 854835"/>
                  <a:gd name="connsiteX4" fmla="*/ 36942 w 705369"/>
                  <a:gd name="connsiteY4" fmla="*/ 641420 h 854835"/>
                  <a:gd name="connsiteX5" fmla="*/ 7736 w 705369"/>
                  <a:gd name="connsiteY5" fmla="*/ 543836 h 854835"/>
                  <a:gd name="connsiteX6" fmla="*/ 5552 w 705369"/>
                  <a:gd name="connsiteY6" fmla="*/ 527595 h 854835"/>
                  <a:gd name="connsiteX7" fmla="*/ 28344 w 705369"/>
                  <a:gd name="connsiteY7" fmla="*/ 113241 h 854835"/>
                  <a:gd name="connsiteX8" fmla="*/ 482687 w 705369"/>
                  <a:gd name="connsiteY8" fmla="*/ 21254 h 854835"/>
                  <a:gd name="connsiteX9" fmla="*/ 696278 w 705369"/>
                  <a:gd name="connsiteY9" fmla="*/ 359861 h 85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5369" h="854835">
                    <a:moveTo>
                      <a:pt x="696278" y="359861"/>
                    </a:moveTo>
                    <a:cubicBezTo>
                      <a:pt x="686452" y="415136"/>
                      <a:pt x="671439" y="468909"/>
                      <a:pt x="652605" y="519270"/>
                    </a:cubicBezTo>
                    <a:cubicBezTo>
                      <a:pt x="644143" y="542062"/>
                      <a:pt x="634862" y="564172"/>
                      <a:pt x="625036" y="585463"/>
                    </a:cubicBezTo>
                    <a:cubicBezTo>
                      <a:pt x="555704" y="735318"/>
                      <a:pt x="455937" y="843410"/>
                      <a:pt x="376369" y="852691"/>
                    </a:cubicBezTo>
                    <a:cubicBezTo>
                      <a:pt x="250261" y="867567"/>
                      <a:pt x="107093" y="805878"/>
                      <a:pt x="36942" y="641420"/>
                    </a:cubicBezTo>
                    <a:cubicBezTo>
                      <a:pt x="25478" y="614533"/>
                      <a:pt x="13468" y="582187"/>
                      <a:pt x="7736" y="543836"/>
                    </a:cubicBezTo>
                    <a:cubicBezTo>
                      <a:pt x="6917" y="538514"/>
                      <a:pt x="6234" y="533054"/>
                      <a:pt x="5552" y="527595"/>
                    </a:cubicBezTo>
                    <a:cubicBezTo>
                      <a:pt x="-15057" y="356722"/>
                      <a:pt x="28344" y="113241"/>
                      <a:pt x="28344" y="113241"/>
                    </a:cubicBezTo>
                    <a:cubicBezTo>
                      <a:pt x="131660" y="-40981"/>
                      <a:pt x="353849" y="99"/>
                      <a:pt x="482687" y="21254"/>
                    </a:cubicBezTo>
                    <a:cubicBezTo>
                      <a:pt x="611797" y="42545"/>
                      <a:pt x="741180" y="106690"/>
                      <a:pt x="696278" y="35986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BEB9BD0A-A862-471A-977B-EBCF9327A96C}"/>
                  </a:ext>
                </a:extLst>
              </p:cNvPr>
              <p:cNvSpPr/>
              <p:nvPr/>
            </p:nvSpPr>
            <p:spPr>
              <a:xfrm>
                <a:off x="9341788" y="2142135"/>
                <a:ext cx="105478" cy="33708"/>
              </a:xfrm>
              <a:custGeom>
                <a:avLst/>
                <a:gdLst>
                  <a:gd name="connsiteX0" fmla="*/ 47495 w 105478"/>
                  <a:gd name="connsiteY0" fmla="*/ 32345 h 33708"/>
                  <a:gd name="connsiteX1" fmla="*/ 3275 w 105478"/>
                  <a:gd name="connsiteY1" fmla="*/ 15285 h 33708"/>
                  <a:gd name="connsiteX2" fmla="*/ 1774 w 105478"/>
                  <a:gd name="connsiteY2" fmla="*/ 3275 h 33708"/>
                  <a:gd name="connsiteX3" fmla="*/ 13784 w 105478"/>
                  <a:gd name="connsiteY3" fmla="*/ 1774 h 33708"/>
                  <a:gd name="connsiteX4" fmla="*/ 52681 w 105478"/>
                  <a:gd name="connsiteY4" fmla="*/ 15695 h 33708"/>
                  <a:gd name="connsiteX5" fmla="*/ 94035 w 105478"/>
                  <a:gd name="connsiteY5" fmla="*/ 12965 h 33708"/>
                  <a:gd name="connsiteX6" fmla="*/ 104953 w 105478"/>
                  <a:gd name="connsiteY6" fmla="*/ 18152 h 33708"/>
                  <a:gd name="connsiteX7" fmla="*/ 99767 w 105478"/>
                  <a:gd name="connsiteY7" fmla="*/ 29070 h 33708"/>
                  <a:gd name="connsiteX8" fmla="*/ 50634 w 105478"/>
                  <a:gd name="connsiteY8" fmla="*/ 32755 h 33708"/>
                  <a:gd name="connsiteX9" fmla="*/ 47495 w 105478"/>
                  <a:gd name="connsiteY9" fmla="*/ 32345 h 3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478" h="33708">
                    <a:moveTo>
                      <a:pt x="47495" y="32345"/>
                    </a:moveTo>
                    <a:cubicBezTo>
                      <a:pt x="20062" y="28251"/>
                      <a:pt x="3958" y="15831"/>
                      <a:pt x="3275" y="15285"/>
                    </a:cubicBezTo>
                    <a:cubicBezTo>
                      <a:pt x="-410" y="12419"/>
                      <a:pt x="-1092" y="6960"/>
                      <a:pt x="1774" y="3275"/>
                    </a:cubicBezTo>
                    <a:cubicBezTo>
                      <a:pt x="4640" y="-410"/>
                      <a:pt x="9963" y="-1092"/>
                      <a:pt x="13784" y="1774"/>
                    </a:cubicBezTo>
                    <a:cubicBezTo>
                      <a:pt x="14057" y="2047"/>
                      <a:pt x="28524" y="12829"/>
                      <a:pt x="52681" y="15695"/>
                    </a:cubicBezTo>
                    <a:cubicBezTo>
                      <a:pt x="77248" y="18697"/>
                      <a:pt x="93762" y="12965"/>
                      <a:pt x="94035" y="12965"/>
                    </a:cubicBezTo>
                    <a:cubicBezTo>
                      <a:pt x="98538" y="11464"/>
                      <a:pt x="103315" y="13784"/>
                      <a:pt x="104953" y="18152"/>
                    </a:cubicBezTo>
                    <a:cubicBezTo>
                      <a:pt x="106591" y="22519"/>
                      <a:pt x="104271" y="27432"/>
                      <a:pt x="99767" y="29070"/>
                    </a:cubicBezTo>
                    <a:cubicBezTo>
                      <a:pt x="98948" y="29343"/>
                      <a:pt x="79568" y="36167"/>
                      <a:pt x="50634" y="32755"/>
                    </a:cubicBezTo>
                    <a:cubicBezTo>
                      <a:pt x="49542" y="32618"/>
                      <a:pt x="48450" y="32482"/>
                      <a:pt x="47495" y="32345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7" name="组合 66">
                <a:extLst>
                  <a:ext uri="{FF2B5EF4-FFF2-40B4-BE49-F238E27FC236}">
                    <a16:creationId xmlns:a16="http://schemas.microsoft.com/office/drawing/2014/main" id="{07EFF4B1-6BD8-4046-B8E3-8DAB0A2A30F8}"/>
                  </a:ext>
                </a:extLst>
              </p:cNvPr>
              <p:cNvGrpSpPr/>
              <p:nvPr/>
            </p:nvGrpSpPr>
            <p:grpSpPr>
              <a:xfrm>
                <a:off x="8748645" y="1933663"/>
                <a:ext cx="951923" cy="1880353"/>
                <a:chOff x="8748645" y="1933663"/>
                <a:chExt cx="951923" cy="1880353"/>
              </a:xfrm>
              <a:solidFill>
                <a:schemeClr val="accent1"/>
              </a:solidFill>
            </p:grpSpPr>
            <p:grpSp>
              <p:nvGrpSpPr>
                <p:cNvPr id="89" name="组合 88">
                  <a:extLst>
                    <a:ext uri="{FF2B5EF4-FFF2-40B4-BE49-F238E27FC236}">
                      <a16:creationId xmlns:a16="http://schemas.microsoft.com/office/drawing/2014/main" id="{01388F99-20AA-4052-8B4D-D58490CFB267}"/>
                    </a:ext>
                  </a:extLst>
                </p:cNvPr>
                <p:cNvGrpSpPr/>
                <p:nvPr/>
              </p:nvGrpSpPr>
              <p:grpSpPr>
                <a:xfrm>
                  <a:off x="8864819" y="3528566"/>
                  <a:ext cx="473587" cy="285450"/>
                  <a:chOff x="8864819" y="3528566"/>
                  <a:chExt cx="473587" cy="285450"/>
                </a:xfrm>
                <a:solidFill>
                  <a:srgbClr val="1C55D1"/>
                </a:solidFill>
              </p:grpSpPr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CB45F667-B229-4F17-A3A7-A9A99B603D80}"/>
                      </a:ext>
                    </a:extLst>
                  </p:cNvPr>
                  <p:cNvSpPr/>
                  <p:nvPr/>
                </p:nvSpPr>
                <p:spPr>
                  <a:xfrm>
                    <a:off x="8864819" y="3665010"/>
                    <a:ext cx="57510" cy="149006"/>
                  </a:xfrm>
                  <a:custGeom>
                    <a:avLst/>
                    <a:gdLst>
                      <a:gd name="connsiteX0" fmla="*/ 44463 w 57510"/>
                      <a:gd name="connsiteY0" fmla="*/ 149007 h 149006"/>
                      <a:gd name="connsiteX1" fmla="*/ 32180 w 57510"/>
                      <a:gd name="connsiteY1" fmla="*/ 139999 h 149006"/>
                      <a:gd name="connsiteX2" fmla="*/ 243 w 57510"/>
                      <a:gd name="connsiteY2" fmla="*/ 15529 h 149006"/>
                      <a:gd name="connsiteX3" fmla="*/ 10480 w 57510"/>
                      <a:gd name="connsiteY3" fmla="*/ 243 h 149006"/>
                      <a:gd name="connsiteX4" fmla="*/ 25765 w 57510"/>
                      <a:gd name="connsiteY4" fmla="*/ 10479 h 149006"/>
                      <a:gd name="connsiteX5" fmla="*/ 56883 w 57510"/>
                      <a:gd name="connsiteY5" fmla="*/ 131947 h 149006"/>
                      <a:gd name="connsiteX6" fmla="*/ 48557 w 57510"/>
                      <a:gd name="connsiteY6" fmla="*/ 148325 h 149006"/>
                      <a:gd name="connsiteX7" fmla="*/ 44463 w 57510"/>
                      <a:gd name="connsiteY7" fmla="*/ 149007 h 1490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10" h="149006">
                        <a:moveTo>
                          <a:pt x="44463" y="149007"/>
                        </a:moveTo>
                        <a:cubicBezTo>
                          <a:pt x="39004" y="149007"/>
                          <a:pt x="33954" y="145458"/>
                          <a:pt x="32180" y="139999"/>
                        </a:cubicBezTo>
                        <a:cubicBezTo>
                          <a:pt x="13618" y="82814"/>
                          <a:pt x="789" y="18259"/>
                          <a:pt x="243" y="15529"/>
                        </a:cubicBezTo>
                        <a:cubicBezTo>
                          <a:pt x="-1121" y="8432"/>
                          <a:pt x="3382" y="1608"/>
                          <a:pt x="10480" y="243"/>
                        </a:cubicBezTo>
                        <a:cubicBezTo>
                          <a:pt x="17440" y="-1121"/>
                          <a:pt x="24400" y="3383"/>
                          <a:pt x="25765" y="10479"/>
                        </a:cubicBezTo>
                        <a:cubicBezTo>
                          <a:pt x="25902" y="11162"/>
                          <a:pt x="38867" y="76263"/>
                          <a:pt x="56883" y="131947"/>
                        </a:cubicBezTo>
                        <a:cubicBezTo>
                          <a:pt x="59066" y="138771"/>
                          <a:pt x="55381" y="146141"/>
                          <a:pt x="48557" y="148325"/>
                        </a:cubicBezTo>
                        <a:cubicBezTo>
                          <a:pt x="47193" y="148870"/>
                          <a:pt x="45828" y="149007"/>
                          <a:pt x="44463" y="14900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08E1B71B-FCE3-4A13-B269-F3F5CE5DA1E3}"/>
                      </a:ext>
                    </a:extLst>
                  </p:cNvPr>
                  <p:cNvSpPr/>
                  <p:nvPr/>
                </p:nvSpPr>
                <p:spPr>
                  <a:xfrm>
                    <a:off x="8932468" y="3642309"/>
                    <a:ext cx="59123" cy="148506"/>
                  </a:xfrm>
                  <a:custGeom>
                    <a:avLst/>
                    <a:gdLst>
                      <a:gd name="connsiteX0" fmla="*/ 46146 w 59123"/>
                      <a:gd name="connsiteY0" fmla="*/ 148506 h 148506"/>
                      <a:gd name="connsiteX1" fmla="*/ 33863 w 59123"/>
                      <a:gd name="connsiteY1" fmla="*/ 139635 h 148506"/>
                      <a:gd name="connsiteX2" fmla="*/ 289 w 59123"/>
                      <a:gd name="connsiteY2" fmla="*/ 15711 h 148506"/>
                      <a:gd name="connsiteX3" fmla="*/ 10252 w 59123"/>
                      <a:gd name="connsiteY3" fmla="*/ 289 h 148506"/>
                      <a:gd name="connsiteX4" fmla="*/ 25674 w 59123"/>
                      <a:gd name="connsiteY4" fmla="*/ 10252 h 148506"/>
                      <a:gd name="connsiteX5" fmla="*/ 58429 w 59123"/>
                      <a:gd name="connsiteY5" fmla="*/ 131173 h 148506"/>
                      <a:gd name="connsiteX6" fmla="*/ 50241 w 59123"/>
                      <a:gd name="connsiteY6" fmla="*/ 147687 h 148506"/>
                      <a:gd name="connsiteX7" fmla="*/ 46146 w 59123"/>
                      <a:gd name="connsiteY7" fmla="*/ 148506 h 1485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123" h="148506">
                        <a:moveTo>
                          <a:pt x="46146" y="148506"/>
                        </a:moveTo>
                        <a:cubicBezTo>
                          <a:pt x="40687" y="148506"/>
                          <a:pt x="35637" y="145094"/>
                          <a:pt x="33863" y="139635"/>
                        </a:cubicBezTo>
                        <a:cubicBezTo>
                          <a:pt x="14483" y="82723"/>
                          <a:pt x="835" y="18441"/>
                          <a:pt x="289" y="15711"/>
                        </a:cubicBezTo>
                        <a:cubicBezTo>
                          <a:pt x="-1212" y="8751"/>
                          <a:pt x="3291" y="1790"/>
                          <a:pt x="10252" y="289"/>
                        </a:cubicBezTo>
                        <a:cubicBezTo>
                          <a:pt x="17212" y="-1212"/>
                          <a:pt x="24173" y="3291"/>
                          <a:pt x="25674" y="10252"/>
                        </a:cubicBezTo>
                        <a:cubicBezTo>
                          <a:pt x="25811" y="10934"/>
                          <a:pt x="39595" y="75762"/>
                          <a:pt x="58429" y="131173"/>
                        </a:cubicBezTo>
                        <a:cubicBezTo>
                          <a:pt x="60750" y="137997"/>
                          <a:pt x="57065" y="145367"/>
                          <a:pt x="50241" y="147687"/>
                        </a:cubicBezTo>
                        <a:cubicBezTo>
                          <a:pt x="49012" y="148233"/>
                          <a:pt x="47511" y="148506"/>
                          <a:pt x="46146" y="148506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" name="任意多边形: 形状 106">
                    <a:extLst>
                      <a:ext uri="{FF2B5EF4-FFF2-40B4-BE49-F238E27FC236}">
                        <a16:creationId xmlns:a16="http://schemas.microsoft.com/office/drawing/2014/main" id="{D8AF87CF-32F5-4F7E-A1FA-300433584559}"/>
                      </a:ext>
                    </a:extLst>
                  </p:cNvPr>
                  <p:cNvSpPr/>
                  <p:nvPr/>
                </p:nvSpPr>
                <p:spPr>
                  <a:xfrm>
                    <a:off x="9000114" y="3619647"/>
                    <a:ext cx="60757" cy="147830"/>
                  </a:xfrm>
                  <a:custGeom>
                    <a:avLst/>
                    <a:gdLst>
                      <a:gd name="connsiteX0" fmla="*/ 47832 w 60757"/>
                      <a:gd name="connsiteY0" fmla="*/ 147830 h 147830"/>
                      <a:gd name="connsiteX1" fmla="*/ 35549 w 60757"/>
                      <a:gd name="connsiteY1" fmla="*/ 139232 h 147830"/>
                      <a:gd name="connsiteX2" fmla="*/ 337 w 60757"/>
                      <a:gd name="connsiteY2" fmla="*/ 15854 h 147830"/>
                      <a:gd name="connsiteX3" fmla="*/ 10163 w 60757"/>
                      <a:gd name="connsiteY3" fmla="*/ 295 h 147830"/>
                      <a:gd name="connsiteX4" fmla="*/ 25722 w 60757"/>
                      <a:gd name="connsiteY4" fmla="*/ 10122 h 147830"/>
                      <a:gd name="connsiteX5" fmla="*/ 59979 w 60757"/>
                      <a:gd name="connsiteY5" fmla="*/ 130634 h 147830"/>
                      <a:gd name="connsiteX6" fmla="*/ 52063 w 60757"/>
                      <a:gd name="connsiteY6" fmla="*/ 147148 h 147830"/>
                      <a:gd name="connsiteX7" fmla="*/ 47832 w 60757"/>
                      <a:gd name="connsiteY7" fmla="*/ 147830 h 147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0757" h="147830">
                        <a:moveTo>
                          <a:pt x="47832" y="147830"/>
                        </a:moveTo>
                        <a:cubicBezTo>
                          <a:pt x="42509" y="147830"/>
                          <a:pt x="37460" y="144555"/>
                          <a:pt x="35549" y="139232"/>
                        </a:cubicBezTo>
                        <a:cubicBezTo>
                          <a:pt x="15486" y="82593"/>
                          <a:pt x="1019" y="18447"/>
                          <a:pt x="337" y="15854"/>
                        </a:cubicBezTo>
                        <a:cubicBezTo>
                          <a:pt x="-1301" y="8893"/>
                          <a:pt x="3203" y="1933"/>
                          <a:pt x="10163" y="295"/>
                        </a:cubicBezTo>
                        <a:cubicBezTo>
                          <a:pt x="17124" y="-1206"/>
                          <a:pt x="24084" y="3161"/>
                          <a:pt x="25722" y="10122"/>
                        </a:cubicBezTo>
                        <a:cubicBezTo>
                          <a:pt x="25859" y="10804"/>
                          <a:pt x="40462" y="75496"/>
                          <a:pt x="59979" y="130634"/>
                        </a:cubicBezTo>
                        <a:cubicBezTo>
                          <a:pt x="62435" y="137458"/>
                          <a:pt x="58887" y="144828"/>
                          <a:pt x="52063" y="147148"/>
                        </a:cubicBezTo>
                        <a:cubicBezTo>
                          <a:pt x="50835" y="147694"/>
                          <a:pt x="49333" y="147830"/>
                          <a:pt x="47832" y="14783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EEEEEEBF-A9EF-4F30-8DCF-F4B5ED42AF30}"/>
                      </a:ext>
                    </a:extLst>
                  </p:cNvPr>
                  <p:cNvSpPr/>
                  <p:nvPr/>
                </p:nvSpPr>
                <p:spPr>
                  <a:xfrm>
                    <a:off x="9067930" y="3596798"/>
                    <a:ext cx="62291" cy="147477"/>
                  </a:xfrm>
                  <a:custGeom>
                    <a:avLst/>
                    <a:gdLst>
                      <a:gd name="connsiteX0" fmla="*/ 49348 w 62291"/>
                      <a:gd name="connsiteY0" fmla="*/ 147478 h 147477"/>
                      <a:gd name="connsiteX1" fmla="*/ 37202 w 62291"/>
                      <a:gd name="connsiteY1" fmla="*/ 139016 h 147477"/>
                      <a:gd name="connsiteX2" fmla="*/ 352 w 62291"/>
                      <a:gd name="connsiteY2" fmla="*/ 16047 h 147477"/>
                      <a:gd name="connsiteX3" fmla="*/ 9905 w 62291"/>
                      <a:gd name="connsiteY3" fmla="*/ 352 h 147477"/>
                      <a:gd name="connsiteX4" fmla="*/ 25601 w 62291"/>
                      <a:gd name="connsiteY4" fmla="*/ 9905 h 147477"/>
                      <a:gd name="connsiteX5" fmla="*/ 61495 w 62291"/>
                      <a:gd name="connsiteY5" fmla="*/ 129871 h 147477"/>
                      <a:gd name="connsiteX6" fmla="*/ 53852 w 62291"/>
                      <a:gd name="connsiteY6" fmla="*/ 146522 h 147477"/>
                      <a:gd name="connsiteX7" fmla="*/ 49348 w 62291"/>
                      <a:gd name="connsiteY7" fmla="*/ 147478 h 147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2291" h="147477">
                        <a:moveTo>
                          <a:pt x="49348" y="147478"/>
                        </a:moveTo>
                        <a:cubicBezTo>
                          <a:pt x="44026" y="147478"/>
                          <a:pt x="39112" y="144202"/>
                          <a:pt x="37202" y="139016"/>
                        </a:cubicBezTo>
                        <a:cubicBezTo>
                          <a:pt x="16456" y="82649"/>
                          <a:pt x="1034" y="18777"/>
                          <a:pt x="352" y="16047"/>
                        </a:cubicBezTo>
                        <a:cubicBezTo>
                          <a:pt x="-1286" y="9087"/>
                          <a:pt x="2945" y="2126"/>
                          <a:pt x="9905" y="352"/>
                        </a:cubicBezTo>
                        <a:cubicBezTo>
                          <a:pt x="16866" y="-1286"/>
                          <a:pt x="23827" y="2945"/>
                          <a:pt x="25601" y="9905"/>
                        </a:cubicBezTo>
                        <a:cubicBezTo>
                          <a:pt x="25737" y="10588"/>
                          <a:pt x="41296" y="75007"/>
                          <a:pt x="61495" y="129871"/>
                        </a:cubicBezTo>
                        <a:cubicBezTo>
                          <a:pt x="63952" y="136559"/>
                          <a:pt x="60540" y="144066"/>
                          <a:pt x="53852" y="146522"/>
                        </a:cubicBezTo>
                        <a:cubicBezTo>
                          <a:pt x="52351" y="147205"/>
                          <a:pt x="50850" y="147478"/>
                          <a:pt x="49348" y="14747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4497C26D-E8AB-43C1-B1EF-5F58F096FF56}"/>
                      </a:ext>
                    </a:extLst>
                  </p:cNvPr>
                  <p:cNvSpPr/>
                  <p:nvPr/>
                </p:nvSpPr>
                <p:spPr>
                  <a:xfrm>
                    <a:off x="9135708" y="3573953"/>
                    <a:ext cx="64054" cy="146984"/>
                  </a:xfrm>
                  <a:custGeom>
                    <a:avLst/>
                    <a:gdLst>
                      <a:gd name="connsiteX0" fmla="*/ 51038 w 64054"/>
                      <a:gd name="connsiteY0" fmla="*/ 146984 h 146984"/>
                      <a:gd name="connsiteX1" fmla="*/ 38892 w 64054"/>
                      <a:gd name="connsiteY1" fmla="*/ 138659 h 146984"/>
                      <a:gd name="connsiteX2" fmla="*/ 404 w 64054"/>
                      <a:gd name="connsiteY2" fmla="*/ 16236 h 146984"/>
                      <a:gd name="connsiteX3" fmla="*/ 9821 w 64054"/>
                      <a:gd name="connsiteY3" fmla="*/ 404 h 146984"/>
                      <a:gd name="connsiteX4" fmla="*/ 25653 w 64054"/>
                      <a:gd name="connsiteY4" fmla="*/ 9821 h 146984"/>
                      <a:gd name="connsiteX5" fmla="*/ 63185 w 64054"/>
                      <a:gd name="connsiteY5" fmla="*/ 129378 h 146984"/>
                      <a:gd name="connsiteX6" fmla="*/ 55679 w 64054"/>
                      <a:gd name="connsiteY6" fmla="*/ 146165 h 146984"/>
                      <a:gd name="connsiteX7" fmla="*/ 51038 w 64054"/>
                      <a:gd name="connsiteY7" fmla="*/ 146984 h 146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4054" h="146984">
                        <a:moveTo>
                          <a:pt x="51038" y="146984"/>
                        </a:moveTo>
                        <a:cubicBezTo>
                          <a:pt x="45852" y="146984"/>
                          <a:pt x="40939" y="143845"/>
                          <a:pt x="38892" y="138659"/>
                        </a:cubicBezTo>
                        <a:cubicBezTo>
                          <a:pt x="17328" y="82565"/>
                          <a:pt x="1087" y="18829"/>
                          <a:pt x="404" y="16236"/>
                        </a:cubicBezTo>
                        <a:cubicBezTo>
                          <a:pt x="-1370" y="9276"/>
                          <a:pt x="2861" y="2179"/>
                          <a:pt x="9821" y="404"/>
                        </a:cubicBezTo>
                        <a:cubicBezTo>
                          <a:pt x="16782" y="-1370"/>
                          <a:pt x="23879" y="2861"/>
                          <a:pt x="25653" y="9821"/>
                        </a:cubicBezTo>
                        <a:cubicBezTo>
                          <a:pt x="25790" y="10504"/>
                          <a:pt x="42167" y="74786"/>
                          <a:pt x="63185" y="129378"/>
                        </a:cubicBezTo>
                        <a:cubicBezTo>
                          <a:pt x="65778" y="136066"/>
                          <a:pt x="62366" y="143572"/>
                          <a:pt x="55679" y="146165"/>
                        </a:cubicBezTo>
                        <a:cubicBezTo>
                          <a:pt x="54041" y="146711"/>
                          <a:pt x="52540" y="146984"/>
                          <a:pt x="51038" y="14698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7BEB147E-AC79-4075-BC09-B10E623EE0F6}"/>
                      </a:ext>
                    </a:extLst>
                  </p:cNvPr>
                  <p:cNvSpPr/>
                  <p:nvPr/>
                </p:nvSpPr>
                <p:spPr>
                  <a:xfrm>
                    <a:off x="9203619" y="3551242"/>
                    <a:ext cx="65432" cy="146493"/>
                  </a:xfrm>
                  <a:custGeom>
                    <a:avLst/>
                    <a:gdLst>
                      <a:gd name="connsiteX0" fmla="*/ 52459 w 65432"/>
                      <a:gd name="connsiteY0" fmla="*/ 146494 h 146493"/>
                      <a:gd name="connsiteX1" fmla="*/ 40449 w 65432"/>
                      <a:gd name="connsiteY1" fmla="*/ 138305 h 146493"/>
                      <a:gd name="connsiteX2" fmla="*/ 460 w 65432"/>
                      <a:gd name="connsiteY2" fmla="*/ 16292 h 146493"/>
                      <a:gd name="connsiteX3" fmla="*/ 9604 w 65432"/>
                      <a:gd name="connsiteY3" fmla="*/ 460 h 146493"/>
                      <a:gd name="connsiteX4" fmla="*/ 25436 w 65432"/>
                      <a:gd name="connsiteY4" fmla="*/ 9604 h 146493"/>
                      <a:gd name="connsiteX5" fmla="*/ 64469 w 65432"/>
                      <a:gd name="connsiteY5" fmla="*/ 128615 h 146493"/>
                      <a:gd name="connsiteX6" fmla="*/ 57236 w 65432"/>
                      <a:gd name="connsiteY6" fmla="*/ 145539 h 146493"/>
                      <a:gd name="connsiteX7" fmla="*/ 52459 w 65432"/>
                      <a:gd name="connsiteY7" fmla="*/ 146494 h 146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5432" h="146493">
                        <a:moveTo>
                          <a:pt x="52459" y="146494"/>
                        </a:moveTo>
                        <a:cubicBezTo>
                          <a:pt x="47273" y="146494"/>
                          <a:pt x="42359" y="143355"/>
                          <a:pt x="40449" y="138305"/>
                        </a:cubicBezTo>
                        <a:cubicBezTo>
                          <a:pt x="18203" y="82485"/>
                          <a:pt x="1143" y="19021"/>
                          <a:pt x="460" y="16292"/>
                        </a:cubicBezTo>
                        <a:cubicBezTo>
                          <a:pt x="-1451" y="9331"/>
                          <a:pt x="2780" y="2234"/>
                          <a:pt x="9604" y="460"/>
                        </a:cubicBezTo>
                        <a:cubicBezTo>
                          <a:pt x="16565" y="-1451"/>
                          <a:pt x="23662" y="2780"/>
                          <a:pt x="25436" y="9604"/>
                        </a:cubicBezTo>
                        <a:cubicBezTo>
                          <a:pt x="25572" y="10287"/>
                          <a:pt x="42769" y="74296"/>
                          <a:pt x="64469" y="128615"/>
                        </a:cubicBezTo>
                        <a:cubicBezTo>
                          <a:pt x="67199" y="135302"/>
                          <a:pt x="63923" y="142809"/>
                          <a:pt x="57236" y="145539"/>
                        </a:cubicBezTo>
                        <a:cubicBezTo>
                          <a:pt x="55598" y="146221"/>
                          <a:pt x="53960" y="146494"/>
                          <a:pt x="52459" y="14649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9C66FAC9-F2B4-4B4F-B92C-00A31F8011DF}"/>
                      </a:ext>
                    </a:extLst>
                  </p:cNvPr>
                  <p:cNvSpPr/>
                  <p:nvPr/>
                </p:nvSpPr>
                <p:spPr>
                  <a:xfrm>
                    <a:off x="9271294" y="3528566"/>
                    <a:ext cx="67112" cy="145967"/>
                  </a:xfrm>
                  <a:custGeom>
                    <a:avLst/>
                    <a:gdLst>
                      <a:gd name="connsiteX0" fmla="*/ 54117 w 67112"/>
                      <a:gd name="connsiteY0" fmla="*/ 145968 h 145967"/>
                      <a:gd name="connsiteX1" fmla="*/ 42106 w 67112"/>
                      <a:gd name="connsiteY1" fmla="*/ 137915 h 145967"/>
                      <a:gd name="connsiteX2" fmla="*/ 480 w 67112"/>
                      <a:gd name="connsiteY2" fmla="*/ 16448 h 145967"/>
                      <a:gd name="connsiteX3" fmla="*/ 9487 w 67112"/>
                      <a:gd name="connsiteY3" fmla="*/ 480 h 145967"/>
                      <a:gd name="connsiteX4" fmla="*/ 25456 w 67112"/>
                      <a:gd name="connsiteY4" fmla="*/ 9487 h 145967"/>
                      <a:gd name="connsiteX5" fmla="*/ 66127 w 67112"/>
                      <a:gd name="connsiteY5" fmla="*/ 128089 h 145967"/>
                      <a:gd name="connsiteX6" fmla="*/ 59166 w 67112"/>
                      <a:gd name="connsiteY6" fmla="*/ 145012 h 145967"/>
                      <a:gd name="connsiteX7" fmla="*/ 54117 w 67112"/>
                      <a:gd name="connsiteY7" fmla="*/ 145968 h 145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7112" h="145967">
                        <a:moveTo>
                          <a:pt x="54117" y="145968"/>
                        </a:moveTo>
                        <a:cubicBezTo>
                          <a:pt x="49067" y="145968"/>
                          <a:pt x="44154" y="142965"/>
                          <a:pt x="42106" y="137915"/>
                        </a:cubicBezTo>
                        <a:cubicBezTo>
                          <a:pt x="19041" y="82368"/>
                          <a:pt x="1162" y="19041"/>
                          <a:pt x="480" y="16448"/>
                        </a:cubicBezTo>
                        <a:cubicBezTo>
                          <a:pt x="-1431" y="9487"/>
                          <a:pt x="2527" y="2390"/>
                          <a:pt x="9487" y="480"/>
                        </a:cubicBezTo>
                        <a:cubicBezTo>
                          <a:pt x="16448" y="-1431"/>
                          <a:pt x="23545" y="2527"/>
                          <a:pt x="25456" y="9487"/>
                        </a:cubicBezTo>
                        <a:cubicBezTo>
                          <a:pt x="25592" y="10170"/>
                          <a:pt x="43744" y="73906"/>
                          <a:pt x="66127" y="128089"/>
                        </a:cubicBezTo>
                        <a:cubicBezTo>
                          <a:pt x="68856" y="134776"/>
                          <a:pt x="65717" y="142283"/>
                          <a:pt x="59166" y="145012"/>
                        </a:cubicBezTo>
                        <a:cubicBezTo>
                          <a:pt x="57392" y="145558"/>
                          <a:pt x="55754" y="145968"/>
                          <a:pt x="54117" y="14596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DD8BF15D-4926-4E4C-943B-D7D940AD05A7}"/>
                    </a:ext>
                  </a:extLst>
                </p:cNvPr>
                <p:cNvSpPr/>
                <p:nvPr/>
              </p:nvSpPr>
              <p:spPr>
                <a:xfrm>
                  <a:off x="8905450" y="1933663"/>
                  <a:ext cx="795118" cy="611786"/>
                </a:xfrm>
                <a:custGeom>
                  <a:avLst/>
                  <a:gdLst>
                    <a:gd name="connsiteX0" fmla="*/ 793507 w 795118"/>
                    <a:gd name="connsiteY0" fmla="*/ 356552 h 611786"/>
                    <a:gd name="connsiteX1" fmla="*/ 773035 w 795118"/>
                    <a:gd name="connsiteY1" fmla="*/ 455773 h 611786"/>
                    <a:gd name="connsiteX2" fmla="*/ 763072 w 795118"/>
                    <a:gd name="connsiteY2" fmla="*/ 479520 h 611786"/>
                    <a:gd name="connsiteX3" fmla="*/ 763072 w 795118"/>
                    <a:gd name="connsiteY3" fmla="*/ 479520 h 611786"/>
                    <a:gd name="connsiteX4" fmla="*/ 674906 w 795118"/>
                    <a:gd name="connsiteY4" fmla="*/ 578878 h 611786"/>
                    <a:gd name="connsiteX5" fmla="*/ 235576 w 795118"/>
                    <a:gd name="connsiteY5" fmla="*/ 559361 h 611786"/>
                    <a:gd name="connsiteX6" fmla="*/ 235576 w 795118"/>
                    <a:gd name="connsiteY6" fmla="*/ 559361 h 611786"/>
                    <a:gd name="connsiteX7" fmla="*/ 194768 w 795118"/>
                    <a:gd name="connsiteY7" fmla="*/ 539435 h 611786"/>
                    <a:gd name="connsiteX8" fmla="*/ 158737 w 795118"/>
                    <a:gd name="connsiteY8" fmla="*/ 518827 h 611786"/>
                    <a:gd name="connsiteX9" fmla="*/ 3423 w 795118"/>
                    <a:gd name="connsiteY9" fmla="*/ 289267 h 611786"/>
                    <a:gd name="connsiteX10" fmla="*/ 1103 w 795118"/>
                    <a:gd name="connsiteY10" fmla="*/ 267703 h 611786"/>
                    <a:gd name="connsiteX11" fmla="*/ 17071 w 795118"/>
                    <a:gd name="connsiteY11" fmla="*/ 115528 h 611786"/>
                    <a:gd name="connsiteX12" fmla="*/ 19255 w 795118"/>
                    <a:gd name="connsiteY12" fmla="*/ 107612 h 611786"/>
                    <a:gd name="connsiteX13" fmla="*/ 44231 w 795118"/>
                    <a:gd name="connsiteY13" fmla="*/ 39099 h 611786"/>
                    <a:gd name="connsiteX14" fmla="*/ 167745 w 795118"/>
                    <a:gd name="connsiteY14" fmla="*/ 5252 h 611786"/>
                    <a:gd name="connsiteX15" fmla="*/ 252909 w 795118"/>
                    <a:gd name="connsiteY15" fmla="*/ 475 h 611786"/>
                    <a:gd name="connsiteX16" fmla="*/ 351857 w 795118"/>
                    <a:gd name="connsiteY16" fmla="*/ 23267 h 611786"/>
                    <a:gd name="connsiteX17" fmla="*/ 756657 w 795118"/>
                    <a:gd name="connsiteY17" fmla="*/ 83728 h 611786"/>
                    <a:gd name="connsiteX18" fmla="*/ 778358 w 795118"/>
                    <a:gd name="connsiteY18" fmla="*/ 166026 h 611786"/>
                    <a:gd name="connsiteX19" fmla="*/ 782725 w 795118"/>
                    <a:gd name="connsiteY19" fmla="*/ 187999 h 611786"/>
                    <a:gd name="connsiteX20" fmla="*/ 792279 w 795118"/>
                    <a:gd name="connsiteY20" fmla="*/ 256512 h 611786"/>
                    <a:gd name="connsiteX21" fmla="*/ 793507 w 795118"/>
                    <a:gd name="connsiteY21" fmla="*/ 356552 h 611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5118" h="611786">
                      <a:moveTo>
                        <a:pt x="793507" y="356552"/>
                      </a:moveTo>
                      <a:cubicBezTo>
                        <a:pt x="790914" y="390399"/>
                        <a:pt x="784499" y="424246"/>
                        <a:pt x="773035" y="455773"/>
                      </a:cubicBezTo>
                      <a:cubicBezTo>
                        <a:pt x="770169" y="463825"/>
                        <a:pt x="766757" y="471741"/>
                        <a:pt x="763072" y="479520"/>
                      </a:cubicBezTo>
                      <a:lnTo>
                        <a:pt x="763072" y="479520"/>
                      </a:lnTo>
                      <a:cubicBezTo>
                        <a:pt x="744511" y="518827"/>
                        <a:pt x="716396" y="553629"/>
                        <a:pt x="674906" y="578878"/>
                      </a:cubicBezTo>
                      <a:cubicBezTo>
                        <a:pt x="674906" y="578878"/>
                        <a:pt x="473188" y="664588"/>
                        <a:pt x="235576" y="559361"/>
                      </a:cubicBezTo>
                      <a:cubicBezTo>
                        <a:pt x="235576" y="559361"/>
                        <a:pt x="235576" y="559361"/>
                        <a:pt x="235576" y="559361"/>
                      </a:cubicBezTo>
                      <a:cubicBezTo>
                        <a:pt x="222064" y="553356"/>
                        <a:pt x="208416" y="546805"/>
                        <a:pt x="194768" y="539435"/>
                      </a:cubicBezTo>
                      <a:cubicBezTo>
                        <a:pt x="182758" y="533157"/>
                        <a:pt x="170748" y="526197"/>
                        <a:pt x="158737" y="518827"/>
                      </a:cubicBezTo>
                      <a:cubicBezTo>
                        <a:pt x="55558" y="455636"/>
                        <a:pt x="14614" y="370336"/>
                        <a:pt x="3423" y="289267"/>
                      </a:cubicBezTo>
                      <a:cubicBezTo>
                        <a:pt x="2468" y="282034"/>
                        <a:pt x="1649" y="274937"/>
                        <a:pt x="1103" y="267703"/>
                      </a:cubicBezTo>
                      <a:cubicBezTo>
                        <a:pt x="-3265" y="210518"/>
                        <a:pt x="6016" y="156608"/>
                        <a:pt x="17071" y="115528"/>
                      </a:cubicBezTo>
                      <a:cubicBezTo>
                        <a:pt x="17753" y="112798"/>
                        <a:pt x="18572" y="110205"/>
                        <a:pt x="19255" y="107612"/>
                      </a:cubicBezTo>
                      <a:cubicBezTo>
                        <a:pt x="31265" y="65712"/>
                        <a:pt x="44231" y="39099"/>
                        <a:pt x="44231" y="39099"/>
                      </a:cubicBezTo>
                      <a:cubicBezTo>
                        <a:pt x="44231" y="39099"/>
                        <a:pt x="97594" y="15897"/>
                        <a:pt x="167745" y="5252"/>
                      </a:cubicBezTo>
                      <a:cubicBezTo>
                        <a:pt x="194359" y="1157"/>
                        <a:pt x="223429" y="-1026"/>
                        <a:pt x="252909" y="475"/>
                      </a:cubicBezTo>
                      <a:cubicBezTo>
                        <a:pt x="286346" y="2249"/>
                        <a:pt x="320330" y="8800"/>
                        <a:pt x="351857" y="23267"/>
                      </a:cubicBezTo>
                      <a:cubicBezTo>
                        <a:pt x="577186" y="126037"/>
                        <a:pt x="691283" y="171894"/>
                        <a:pt x="756657" y="83728"/>
                      </a:cubicBezTo>
                      <a:cubicBezTo>
                        <a:pt x="756657" y="83728"/>
                        <a:pt x="767985" y="116620"/>
                        <a:pt x="778358" y="166026"/>
                      </a:cubicBezTo>
                      <a:cubicBezTo>
                        <a:pt x="779859" y="172986"/>
                        <a:pt x="781224" y="180356"/>
                        <a:pt x="782725" y="187999"/>
                      </a:cubicBezTo>
                      <a:cubicBezTo>
                        <a:pt x="786546" y="209017"/>
                        <a:pt x="789958" y="232082"/>
                        <a:pt x="792279" y="256512"/>
                      </a:cubicBezTo>
                      <a:cubicBezTo>
                        <a:pt x="795281" y="288585"/>
                        <a:pt x="796236" y="322568"/>
                        <a:pt x="793507" y="356552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220ADB17-84B7-4D57-9BF7-D6585CD11E03}"/>
                    </a:ext>
                  </a:extLst>
                </p:cNvPr>
                <p:cNvSpPr/>
                <p:nvPr/>
              </p:nvSpPr>
              <p:spPr>
                <a:xfrm>
                  <a:off x="8921019" y="2035169"/>
                  <a:ext cx="767155" cy="178207"/>
                </a:xfrm>
                <a:custGeom>
                  <a:avLst/>
                  <a:gdLst>
                    <a:gd name="connsiteX0" fmla="*/ 767155 w 767155"/>
                    <a:gd name="connsiteY0" fmla="*/ 86629 h 178207"/>
                    <a:gd name="connsiteX1" fmla="*/ 757056 w 767155"/>
                    <a:gd name="connsiteY1" fmla="*/ 100687 h 178207"/>
                    <a:gd name="connsiteX2" fmla="*/ 568986 w 767155"/>
                    <a:gd name="connsiteY2" fmla="*/ 178208 h 178207"/>
                    <a:gd name="connsiteX3" fmla="*/ 549333 w 767155"/>
                    <a:gd name="connsiteY3" fmla="*/ 177662 h 178207"/>
                    <a:gd name="connsiteX4" fmla="*/ 293569 w 767155"/>
                    <a:gd name="connsiteY4" fmla="*/ 90860 h 178207"/>
                    <a:gd name="connsiteX5" fmla="*/ 3003 w 767155"/>
                    <a:gd name="connsiteY5" fmla="*/ 21392 h 178207"/>
                    <a:gd name="connsiteX6" fmla="*/ 1501 w 767155"/>
                    <a:gd name="connsiteY6" fmla="*/ 14159 h 178207"/>
                    <a:gd name="connsiteX7" fmla="*/ 0 w 767155"/>
                    <a:gd name="connsiteY7" fmla="*/ 6925 h 178207"/>
                    <a:gd name="connsiteX8" fmla="*/ 3685 w 767155"/>
                    <a:gd name="connsiteY8" fmla="*/ 6243 h 178207"/>
                    <a:gd name="connsiteX9" fmla="*/ 300529 w 767155"/>
                    <a:gd name="connsiteY9" fmla="*/ 77895 h 178207"/>
                    <a:gd name="connsiteX10" fmla="*/ 550015 w 767155"/>
                    <a:gd name="connsiteY10" fmla="*/ 162922 h 178207"/>
                    <a:gd name="connsiteX11" fmla="*/ 745045 w 767155"/>
                    <a:gd name="connsiteY11" fmla="*/ 92089 h 178207"/>
                    <a:gd name="connsiteX12" fmla="*/ 762925 w 767155"/>
                    <a:gd name="connsiteY12" fmla="*/ 64793 h 178207"/>
                    <a:gd name="connsiteX13" fmla="*/ 767155 w 767155"/>
                    <a:gd name="connsiteY13" fmla="*/ 86629 h 17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67155" h="178207">
                      <a:moveTo>
                        <a:pt x="767155" y="86629"/>
                      </a:moveTo>
                      <a:cubicBezTo>
                        <a:pt x="764153" y="91270"/>
                        <a:pt x="760741" y="96047"/>
                        <a:pt x="757056" y="100687"/>
                      </a:cubicBezTo>
                      <a:cubicBezTo>
                        <a:pt x="728531" y="136718"/>
                        <a:pt x="673121" y="178208"/>
                        <a:pt x="568986" y="178208"/>
                      </a:cubicBezTo>
                      <a:cubicBezTo>
                        <a:pt x="562571" y="178208"/>
                        <a:pt x="556020" y="178071"/>
                        <a:pt x="549333" y="177662"/>
                      </a:cubicBezTo>
                      <a:cubicBezTo>
                        <a:pt x="448338" y="172885"/>
                        <a:pt x="369725" y="131122"/>
                        <a:pt x="293569" y="90860"/>
                      </a:cubicBezTo>
                      <a:cubicBezTo>
                        <a:pt x="202673" y="42819"/>
                        <a:pt x="116827" y="-2629"/>
                        <a:pt x="3003" y="21392"/>
                      </a:cubicBezTo>
                      <a:lnTo>
                        <a:pt x="1501" y="14159"/>
                      </a:lnTo>
                      <a:lnTo>
                        <a:pt x="0" y="6925"/>
                      </a:lnTo>
                      <a:cubicBezTo>
                        <a:pt x="1228" y="6652"/>
                        <a:pt x="2457" y="6379"/>
                        <a:pt x="3685" y="6243"/>
                      </a:cubicBezTo>
                      <a:cubicBezTo>
                        <a:pt x="120921" y="-17095"/>
                        <a:pt x="208269" y="29035"/>
                        <a:pt x="300529" y="77895"/>
                      </a:cubicBezTo>
                      <a:cubicBezTo>
                        <a:pt x="375184" y="117338"/>
                        <a:pt x="452432" y="158282"/>
                        <a:pt x="550015" y="162922"/>
                      </a:cubicBezTo>
                      <a:cubicBezTo>
                        <a:pt x="638454" y="167153"/>
                        <a:pt x="704101" y="143269"/>
                        <a:pt x="745045" y="92089"/>
                      </a:cubicBezTo>
                      <a:cubicBezTo>
                        <a:pt x="752415" y="82945"/>
                        <a:pt x="758284" y="73527"/>
                        <a:pt x="762925" y="64793"/>
                      </a:cubicBezTo>
                      <a:cubicBezTo>
                        <a:pt x="764426" y="71753"/>
                        <a:pt x="765790" y="78987"/>
                        <a:pt x="767155" y="86629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25EDB1AB-C267-42F1-B1F7-5339960E011C}"/>
                    </a:ext>
                  </a:extLst>
                </p:cNvPr>
                <p:cNvSpPr/>
                <p:nvPr/>
              </p:nvSpPr>
              <p:spPr>
                <a:xfrm>
                  <a:off x="9006320" y="2366098"/>
                  <a:ext cx="672165" cy="98265"/>
                </a:xfrm>
                <a:custGeom>
                  <a:avLst/>
                  <a:gdLst>
                    <a:gd name="connsiteX0" fmla="*/ 672165 w 672165"/>
                    <a:gd name="connsiteY0" fmla="*/ 23475 h 98265"/>
                    <a:gd name="connsiteX1" fmla="*/ 662202 w 672165"/>
                    <a:gd name="connsiteY1" fmla="*/ 47222 h 98265"/>
                    <a:gd name="connsiteX2" fmla="*/ 662202 w 672165"/>
                    <a:gd name="connsiteY2" fmla="*/ 47222 h 98265"/>
                    <a:gd name="connsiteX3" fmla="*/ 526950 w 672165"/>
                    <a:gd name="connsiteY3" fmla="*/ 91578 h 98265"/>
                    <a:gd name="connsiteX4" fmla="*/ 431005 w 672165"/>
                    <a:gd name="connsiteY4" fmla="*/ 98266 h 98265"/>
                    <a:gd name="connsiteX5" fmla="*/ 287018 w 672165"/>
                    <a:gd name="connsiteY5" fmla="*/ 86938 h 98265"/>
                    <a:gd name="connsiteX6" fmla="*/ 0 w 672165"/>
                    <a:gd name="connsiteY6" fmla="*/ 13921 h 98265"/>
                    <a:gd name="connsiteX7" fmla="*/ 5323 w 672165"/>
                    <a:gd name="connsiteY7" fmla="*/ 0 h 98265"/>
                    <a:gd name="connsiteX8" fmla="*/ 289475 w 672165"/>
                    <a:gd name="connsiteY8" fmla="*/ 72198 h 98265"/>
                    <a:gd name="connsiteX9" fmla="*/ 672165 w 672165"/>
                    <a:gd name="connsiteY9" fmla="*/ 23475 h 9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2165" h="98265">
                      <a:moveTo>
                        <a:pt x="672165" y="23475"/>
                      </a:moveTo>
                      <a:cubicBezTo>
                        <a:pt x="669299" y="31527"/>
                        <a:pt x="665887" y="39443"/>
                        <a:pt x="662202" y="47222"/>
                      </a:cubicBezTo>
                      <a:lnTo>
                        <a:pt x="662202" y="47222"/>
                      </a:lnTo>
                      <a:cubicBezTo>
                        <a:pt x="624534" y="68923"/>
                        <a:pt x="579222" y="83662"/>
                        <a:pt x="526950" y="91578"/>
                      </a:cubicBezTo>
                      <a:cubicBezTo>
                        <a:pt x="497198" y="96082"/>
                        <a:pt x="465261" y="98266"/>
                        <a:pt x="431005" y="98266"/>
                      </a:cubicBezTo>
                      <a:cubicBezTo>
                        <a:pt x="386512" y="98266"/>
                        <a:pt x="338471" y="94444"/>
                        <a:pt x="287018" y="86938"/>
                      </a:cubicBezTo>
                      <a:cubicBezTo>
                        <a:pt x="132932" y="64146"/>
                        <a:pt x="1228" y="14467"/>
                        <a:pt x="0" y="13921"/>
                      </a:cubicBezTo>
                      <a:lnTo>
                        <a:pt x="5323" y="0"/>
                      </a:lnTo>
                      <a:cubicBezTo>
                        <a:pt x="6688" y="546"/>
                        <a:pt x="137026" y="49815"/>
                        <a:pt x="289475" y="72198"/>
                      </a:cubicBezTo>
                      <a:cubicBezTo>
                        <a:pt x="410942" y="90077"/>
                        <a:pt x="568031" y="93898"/>
                        <a:pt x="672165" y="23475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6C5D3BAC-90BD-4016-B5FC-A83F5246E02E}"/>
                    </a:ext>
                  </a:extLst>
                </p:cNvPr>
                <p:cNvSpPr/>
                <p:nvPr/>
              </p:nvSpPr>
              <p:spPr>
                <a:xfrm>
                  <a:off x="8748647" y="2296357"/>
                  <a:ext cx="573760" cy="1430858"/>
                </a:xfrm>
                <a:custGeom>
                  <a:avLst/>
                  <a:gdLst>
                    <a:gd name="connsiteX0" fmla="*/ 573761 w 573760"/>
                    <a:gd name="connsiteY0" fmla="*/ 1281686 h 1430858"/>
                    <a:gd name="connsiteX1" fmla="*/ 117098 w 573760"/>
                    <a:gd name="connsiteY1" fmla="*/ 1430859 h 1430858"/>
                    <a:gd name="connsiteX2" fmla="*/ 101676 w 573760"/>
                    <a:gd name="connsiteY2" fmla="*/ 1358933 h 1430858"/>
                    <a:gd name="connsiteX3" fmla="*/ 94988 w 573760"/>
                    <a:gd name="connsiteY3" fmla="*/ 1325905 h 1430858"/>
                    <a:gd name="connsiteX4" fmla="*/ 73288 w 573760"/>
                    <a:gd name="connsiteY4" fmla="*/ 1212627 h 1430858"/>
                    <a:gd name="connsiteX5" fmla="*/ 67283 w 573760"/>
                    <a:gd name="connsiteY5" fmla="*/ 1179325 h 1430858"/>
                    <a:gd name="connsiteX6" fmla="*/ 48176 w 573760"/>
                    <a:gd name="connsiteY6" fmla="*/ 1065228 h 1430858"/>
                    <a:gd name="connsiteX7" fmla="*/ 42989 w 573760"/>
                    <a:gd name="connsiteY7" fmla="*/ 1031517 h 1430858"/>
                    <a:gd name="connsiteX8" fmla="*/ 26748 w 573760"/>
                    <a:gd name="connsiteY8" fmla="*/ 916465 h 1430858"/>
                    <a:gd name="connsiteX9" fmla="*/ 22517 w 573760"/>
                    <a:gd name="connsiteY9" fmla="*/ 882208 h 1430858"/>
                    <a:gd name="connsiteX10" fmla="*/ 10234 w 573760"/>
                    <a:gd name="connsiteY10" fmla="*/ 765654 h 1430858"/>
                    <a:gd name="connsiteX11" fmla="*/ 7368 w 573760"/>
                    <a:gd name="connsiteY11" fmla="*/ 730988 h 1430858"/>
                    <a:gd name="connsiteX12" fmla="*/ 817 w 573760"/>
                    <a:gd name="connsiteY12" fmla="*/ 612387 h 1430858"/>
                    <a:gd name="connsiteX13" fmla="*/ 135 w 573760"/>
                    <a:gd name="connsiteY13" fmla="*/ 577311 h 1430858"/>
                    <a:gd name="connsiteX14" fmla="*/ 3820 w 573760"/>
                    <a:gd name="connsiteY14" fmla="*/ 455161 h 1430858"/>
                    <a:gd name="connsiteX15" fmla="*/ 7505 w 573760"/>
                    <a:gd name="connsiteY15" fmla="*/ 418994 h 1430858"/>
                    <a:gd name="connsiteX16" fmla="*/ 10917 w 573760"/>
                    <a:gd name="connsiteY16" fmla="*/ 394155 h 1430858"/>
                    <a:gd name="connsiteX17" fmla="*/ 35210 w 573760"/>
                    <a:gd name="connsiteY17" fmla="*/ 291522 h 1430858"/>
                    <a:gd name="connsiteX18" fmla="*/ 48585 w 573760"/>
                    <a:gd name="connsiteY18" fmla="*/ 254263 h 1430858"/>
                    <a:gd name="connsiteX19" fmla="*/ 299163 w 573760"/>
                    <a:gd name="connsiteY19" fmla="*/ 0 h 1430858"/>
                    <a:gd name="connsiteX20" fmla="*/ 476178 w 573760"/>
                    <a:gd name="connsiteY20" fmla="*/ 143577 h 1430858"/>
                    <a:gd name="connsiteX21" fmla="*/ 418992 w 573760"/>
                    <a:gd name="connsiteY21" fmla="*/ 242389 h 1430858"/>
                    <a:gd name="connsiteX22" fmla="*/ 410258 w 573760"/>
                    <a:gd name="connsiteY22" fmla="*/ 275144 h 1430858"/>
                    <a:gd name="connsiteX23" fmla="*/ 397292 w 573760"/>
                    <a:gd name="connsiteY23" fmla="*/ 374502 h 1430858"/>
                    <a:gd name="connsiteX24" fmla="*/ 396064 w 573760"/>
                    <a:gd name="connsiteY24" fmla="*/ 408212 h 1430858"/>
                    <a:gd name="connsiteX25" fmla="*/ 399203 w 573760"/>
                    <a:gd name="connsiteY25" fmla="*/ 511801 h 1430858"/>
                    <a:gd name="connsiteX26" fmla="*/ 401932 w 573760"/>
                    <a:gd name="connsiteY26" fmla="*/ 545375 h 1430858"/>
                    <a:gd name="connsiteX27" fmla="*/ 414762 w 573760"/>
                    <a:gd name="connsiteY27" fmla="*/ 650055 h 1430858"/>
                    <a:gd name="connsiteX28" fmla="*/ 419948 w 573760"/>
                    <a:gd name="connsiteY28" fmla="*/ 683629 h 1430858"/>
                    <a:gd name="connsiteX29" fmla="*/ 439192 w 573760"/>
                    <a:gd name="connsiteY29" fmla="*/ 788310 h 1430858"/>
                    <a:gd name="connsiteX30" fmla="*/ 446152 w 573760"/>
                    <a:gd name="connsiteY30" fmla="*/ 821474 h 1430858"/>
                    <a:gd name="connsiteX31" fmla="*/ 470173 w 573760"/>
                    <a:gd name="connsiteY31" fmla="*/ 925609 h 1430858"/>
                    <a:gd name="connsiteX32" fmla="*/ 478361 w 573760"/>
                    <a:gd name="connsiteY32" fmla="*/ 958091 h 1430858"/>
                    <a:gd name="connsiteX33" fmla="*/ 505794 w 573760"/>
                    <a:gd name="connsiteY33" fmla="*/ 1060861 h 1430858"/>
                    <a:gd name="connsiteX34" fmla="*/ 514938 w 573760"/>
                    <a:gd name="connsiteY34" fmla="*/ 1093070 h 1430858"/>
                    <a:gd name="connsiteX35" fmla="*/ 545237 w 573760"/>
                    <a:gd name="connsiteY35" fmla="*/ 1193929 h 1430858"/>
                    <a:gd name="connsiteX36" fmla="*/ 555336 w 573760"/>
                    <a:gd name="connsiteY36" fmla="*/ 1225729 h 1430858"/>
                    <a:gd name="connsiteX37" fmla="*/ 573761 w 573760"/>
                    <a:gd name="connsiteY37" fmla="*/ 1281686 h 1430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73760" h="1430858">
                      <a:moveTo>
                        <a:pt x="573761" y="1281686"/>
                      </a:moveTo>
                      <a:lnTo>
                        <a:pt x="117098" y="1430859"/>
                      </a:lnTo>
                      <a:cubicBezTo>
                        <a:pt x="117098" y="1430859"/>
                        <a:pt x="111093" y="1404245"/>
                        <a:pt x="101676" y="1358933"/>
                      </a:cubicBezTo>
                      <a:cubicBezTo>
                        <a:pt x="99629" y="1348834"/>
                        <a:pt x="97309" y="1337779"/>
                        <a:pt x="94988" y="1325905"/>
                      </a:cubicBezTo>
                      <a:cubicBezTo>
                        <a:pt x="88574" y="1293832"/>
                        <a:pt x="81067" y="1255481"/>
                        <a:pt x="73288" y="1212627"/>
                      </a:cubicBezTo>
                      <a:cubicBezTo>
                        <a:pt x="71377" y="1201845"/>
                        <a:pt x="69330" y="1190653"/>
                        <a:pt x="67283" y="1179325"/>
                      </a:cubicBezTo>
                      <a:cubicBezTo>
                        <a:pt x="61005" y="1143568"/>
                        <a:pt x="54454" y="1105217"/>
                        <a:pt x="48176" y="1065228"/>
                      </a:cubicBezTo>
                      <a:cubicBezTo>
                        <a:pt x="46401" y="1054173"/>
                        <a:pt x="44627" y="1042982"/>
                        <a:pt x="42989" y="1031517"/>
                      </a:cubicBezTo>
                      <a:cubicBezTo>
                        <a:pt x="37257" y="994122"/>
                        <a:pt x="31798" y="955498"/>
                        <a:pt x="26748" y="916465"/>
                      </a:cubicBezTo>
                      <a:cubicBezTo>
                        <a:pt x="25247" y="905137"/>
                        <a:pt x="23882" y="893672"/>
                        <a:pt x="22517" y="882208"/>
                      </a:cubicBezTo>
                      <a:cubicBezTo>
                        <a:pt x="17877" y="843448"/>
                        <a:pt x="13646" y="804414"/>
                        <a:pt x="10234" y="765654"/>
                      </a:cubicBezTo>
                      <a:cubicBezTo>
                        <a:pt x="9142" y="754053"/>
                        <a:pt x="8187" y="742452"/>
                        <a:pt x="7368" y="730988"/>
                      </a:cubicBezTo>
                      <a:cubicBezTo>
                        <a:pt x="4229" y="690590"/>
                        <a:pt x="1909" y="650874"/>
                        <a:pt x="817" y="612387"/>
                      </a:cubicBezTo>
                      <a:cubicBezTo>
                        <a:pt x="544" y="600513"/>
                        <a:pt x="271" y="588776"/>
                        <a:pt x="135" y="577311"/>
                      </a:cubicBezTo>
                      <a:cubicBezTo>
                        <a:pt x="-411" y="534184"/>
                        <a:pt x="681" y="493103"/>
                        <a:pt x="3820" y="455161"/>
                      </a:cubicBezTo>
                      <a:cubicBezTo>
                        <a:pt x="4775" y="442742"/>
                        <a:pt x="6003" y="430732"/>
                        <a:pt x="7505" y="418994"/>
                      </a:cubicBezTo>
                      <a:cubicBezTo>
                        <a:pt x="8460" y="410532"/>
                        <a:pt x="9688" y="402207"/>
                        <a:pt x="10917" y="394155"/>
                      </a:cubicBezTo>
                      <a:cubicBezTo>
                        <a:pt x="16922" y="356623"/>
                        <a:pt x="25111" y="322503"/>
                        <a:pt x="35210" y="291522"/>
                      </a:cubicBezTo>
                      <a:cubicBezTo>
                        <a:pt x="39304" y="278556"/>
                        <a:pt x="43808" y="266136"/>
                        <a:pt x="48585" y="254263"/>
                      </a:cubicBezTo>
                      <a:cubicBezTo>
                        <a:pt x="133066" y="41899"/>
                        <a:pt x="299163" y="0"/>
                        <a:pt x="299163" y="0"/>
                      </a:cubicBezTo>
                      <a:cubicBezTo>
                        <a:pt x="422131" y="12147"/>
                        <a:pt x="476178" y="143577"/>
                        <a:pt x="476178" y="143577"/>
                      </a:cubicBezTo>
                      <a:cubicBezTo>
                        <a:pt x="450383" y="168144"/>
                        <a:pt x="431822" y="201854"/>
                        <a:pt x="418992" y="242389"/>
                      </a:cubicBezTo>
                      <a:cubicBezTo>
                        <a:pt x="415717" y="252898"/>
                        <a:pt x="412714" y="263816"/>
                        <a:pt x="410258" y="275144"/>
                      </a:cubicBezTo>
                      <a:cubicBezTo>
                        <a:pt x="403434" y="305579"/>
                        <a:pt x="399339" y="339017"/>
                        <a:pt x="397292" y="374502"/>
                      </a:cubicBezTo>
                      <a:cubicBezTo>
                        <a:pt x="396610" y="385557"/>
                        <a:pt x="396337" y="396748"/>
                        <a:pt x="396064" y="408212"/>
                      </a:cubicBezTo>
                      <a:cubicBezTo>
                        <a:pt x="395518" y="441377"/>
                        <a:pt x="396610" y="476180"/>
                        <a:pt x="399203" y="511801"/>
                      </a:cubicBezTo>
                      <a:cubicBezTo>
                        <a:pt x="400022" y="522992"/>
                        <a:pt x="400977" y="534184"/>
                        <a:pt x="401932" y="545375"/>
                      </a:cubicBezTo>
                      <a:cubicBezTo>
                        <a:pt x="405071" y="579768"/>
                        <a:pt x="409439" y="614843"/>
                        <a:pt x="414762" y="650055"/>
                      </a:cubicBezTo>
                      <a:cubicBezTo>
                        <a:pt x="416399" y="661247"/>
                        <a:pt x="418174" y="672438"/>
                        <a:pt x="419948" y="683629"/>
                      </a:cubicBezTo>
                      <a:cubicBezTo>
                        <a:pt x="425680" y="718705"/>
                        <a:pt x="432094" y="753644"/>
                        <a:pt x="439192" y="788310"/>
                      </a:cubicBezTo>
                      <a:cubicBezTo>
                        <a:pt x="441375" y="799501"/>
                        <a:pt x="443695" y="810556"/>
                        <a:pt x="446152" y="821474"/>
                      </a:cubicBezTo>
                      <a:cubicBezTo>
                        <a:pt x="453795" y="857096"/>
                        <a:pt x="461847" y="891898"/>
                        <a:pt x="470173" y="925609"/>
                      </a:cubicBezTo>
                      <a:cubicBezTo>
                        <a:pt x="472902" y="936527"/>
                        <a:pt x="475495" y="947446"/>
                        <a:pt x="478361" y="958091"/>
                      </a:cubicBezTo>
                      <a:cubicBezTo>
                        <a:pt x="487505" y="994258"/>
                        <a:pt x="496786" y="1028788"/>
                        <a:pt x="505794" y="1060861"/>
                      </a:cubicBezTo>
                      <a:cubicBezTo>
                        <a:pt x="508933" y="1071916"/>
                        <a:pt x="511935" y="1082697"/>
                        <a:pt x="514938" y="1093070"/>
                      </a:cubicBezTo>
                      <a:cubicBezTo>
                        <a:pt x="525993" y="1131557"/>
                        <a:pt x="536365" y="1165541"/>
                        <a:pt x="545237" y="1193929"/>
                      </a:cubicBezTo>
                      <a:cubicBezTo>
                        <a:pt x="548922" y="1205530"/>
                        <a:pt x="552334" y="1216175"/>
                        <a:pt x="555336" y="1225729"/>
                      </a:cubicBezTo>
                      <a:cubicBezTo>
                        <a:pt x="566528" y="1261350"/>
                        <a:pt x="573761" y="1281686"/>
                        <a:pt x="573761" y="1281686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4" name="组合 93">
                  <a:extLst>
                    <a:ext uri="{FF2B5EF4-FFF2-40B4-BE49-F238E27FC236}">
                      <a16:creationId xmlns:a16="http://schemas.microsoft.com/office/drawing/2014/main" id="{414C0C32-2131-474F-80D6-E0FA1E6E6FCE}"/>
                    </a:ext>
                  </a:extLst>
                </p:cNvPr>
                <p:cNvGrpSpPr/>
                <p:nvPr/>
              </p:nvGrpSpPr>
              <p:grpSpPr>
                <a:xfrm>
                  <a:off x="8748645" y="2528972"/>
                  <a:ext cx="555065" cy="1126318"/>
                  <a:chOff x="8748645" y="2528972"/>
                  <a:chExt cx="555065" cy="1126318"/>
                </a:xfrm>
                <a:solidFill>
                  <a:srgbClr val="1C55D1"/>
                </a:solidFill>
              </p:grpSpPr>
              <p:sp>
                <p:nvSpPr>
                  <p:cNvPr id="97" name="任意多边形: 形状 96">
                    <a:extLst>
                      <a:ext uri="{FF2B5EF4-FFF2-40B4-BE49-F238E27FC236}">
                        <a16:creationId xmlns:a16="http://schemas.microsoft.com/office/drawing/2014/main" id="{3728A75A-2F87-4A7B-ACDD-35AE2D4D3340}"/>
                      </a:ext>
                    </a:extLst>
                  </p:cNvPr>
                  <p:cNvSpPr/>
                  <p:nvPr/>
                </p:nvSpPr>
                <p:spPr>
                  <a:xfrm>
                    <a:off x="8783584" y="2528972"/>
                    <a:ext cx="383782" cy="59043"/>
                  </a:xfrm>
                  <a:custGeom>
                    <a:avLst/>
                    <a:gdLst>
                      <a:gd name="connsiteX0" fmla="*/ 383782 w 383782"/>
                      <a:gd name="connsiteY0" fmla="*/ 10047 h 59043"/>
                      <a:gd name="connsiteX1" fmla="*/ 375048 w 383782"/>
                      <a:gd name="connsiteY1" fmla="*/ 42802 h 59043"/>
                      <a:gd name="connsiteX2" fmla="*/ 0 w 383782"/>
                      <a:gd name="connsiteY2" fmla="*/ 59043 h 59043"/>
                      <a:gd name="connsiteX3" fmla="*/ 13375 w 383782"/>
                      <a:gd name="connsiteY3" fmla="*/ 21784 h 59043"/>
                      <a:gd name="connsiteX4" fmla="*/ 215093 w 383782"/>
                      <a:gd name="connsiteY4" fmla="*/ 84 h 59043"/>
                      <a:gd name="connsiteX5" fmla="*/ 383782 w 383782"/>
                      <a:gd name="connsiteY5" fmla="*/ 10047 h 590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83782" h="59043">
                        <a:moveTo>
                          <a:pt x="383782" y="10047"/>
                        </a:moveTo>
                        <a:cubicBezTo>
                          <a:pt x="380507" y="20556"/>
                          <a:pt x="377504" y="31474"/>
                          <a:pt x="375048" y="42802"/>
                        </a:cubicBezTo>
                        <a:cubicBezTo>
                          <a:pt x="294251" y="32839"/>
                          <a:pt x="147398" y="23558"/>
                          <a:pt x="0" y="59043"/>
                        </a:cubicBezTo>
                        <a:cubicBezTo>
                          <a:pt x="4094" y="46078"/>
                          <a:pt x="8598" y="33658"/>
                          <a:pt x="13375" y="21784"/>
                        </a:cubicBezTo>
                        <a:cubicBezTo>
                          <a:pt x="86665" y="5952"/>
                          <a:pt x="156952" y="630"/>
                          <a:pt x="215093" y="84"/>
                        </a:cubicBezTo>
                        <a:cubicBezTo>
                          <a:pt x="283606" y="-735"/>
                          <a:pt x="342565" y="4588"/>
                          <a:pt x="383782" y="1004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8" name="任意多边形: 形状 97">
                    <a:extLst>
                      <a:ext uri="{FF2B5EF4-FFF2-40B4-BE49-F238E27FC236}">
                        <a16:creationId xmlns:a16="http://schemas.microsoft.com/office/drawing/2014/main" id="{32FB8954-D67C-4D85-8FDD-A302CBA28148}"/>
                      </a:ext>
                    </a:extLst>
                  </p:cNvPr>
                  <p:cNvSpPr/>
                  <p:nvPr/>
                </p:nvSpPr>
                <p:spPr>
                  <a:xfrm>
                    <a:off x="8752057" y="2669833"/>
                    <a:ext cx="393609" cy="81821"/>
                  </a:xfrm>
                  <a:custGeom>
                    <a:avLst/>
                    <a:gdLst>
                      <a:gd name="connsiteX0" fmla="*/ 393609 w 393609"/>
                      <a:gd name="connsiteY0" fmla="*/ 1298 h 81821"/>
                      <a:gd name="connsiteX1" fmla="*/ 392381 w 393609"/>
                      <a:gd name="connsiteY1" fmla="*/ 35009 h 81821"/>
                      <a:gd name="connsiteX2" fmla="*/ 0 w 393609"/>
                      <a:gd name="connsiteY2" fmla="*/ 81822 h 81821"/>
                      <a:gd name="connsiteX3" fmla="*/ 3685 w 393609"/>
                      <a:gd name="connsiteY3" fmla="*/ 45654 h 81821"/>
                      <a:gd name="connsiteX4" fmla="*/ 269685 w 393609"/>
                      <a:gd name="connsiteY4" fmla="*/ 1571 h 81821"/>
                      <a:gd name="connsiteX5" fmla="*/ 393609 w 393609"/>
                      <a:gd name="connsiteY5" fmla="*/ 1298 h 818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93609" h="81821">
                        <a:moveTo>
                          <a:pt x="393609" y="1298"/>
                        </a:moveTo>
                        <a:cubicBezTo>
                          <a:pt x="392927" y="12353"/>
                          <a:pt x="392654" y="23545"/>
                          <a:pt x="392381" y="35009"/>
                        </a:cubicBezTo>
                        <a:cubicBezTo>
                          <a:pt x="295889" y="30915"/>
                          <a:pt x="144396" y="34736"/>
                          <a:pt x="0" y="81822"/>
                        </a:cubicBezTo>
                        <a:cubicBezTo>
                          <a:pt x="955" y="69402"/>
                          <a:pt x="2184" y="57392"/>
                          <a:pt x="3685" y="45654"/>
                        </a:cubicBezTo>
                        <a:cubicBezTo>
                          <a:pt x="99358" y="16175"/>
                          <a:pt x="194757" y="5120"/>
                          <a:pt x="269685" y="1571"/>
                        </a:cubicBezTo>
                        <a:cubicBezTo>
                          <a:pt x="316361" y="-749"/>
                          <a:pt x="358534" y="-203"/>
                          <a:pt x="393609" y="129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99" name="任意多边形: 形状 98">
                    <a:extLst>
                      <a:ext uri="{FF2B5EF4-FFF2-40B4-BE49-F238E27FC236}">
                        <a16:creationId xmlns:a16="http://schemas.microsoft.com/office/drawing/2014/main" id="{93B479A4-CEB3-4B99-B4B7-1974A9259311}"/>
                      </a:ext>
                    </a:extLst>
                  </p:cNvPr>
                  <p:cNvSpPr/>
                  <p:nvPr/>
                </p:nvSpPr>
                <p:spPr>
                  <a:xfrm>
                    <a:off x="8748645" y="2808431"/>
                    <a:ext cx="401797" cy="100449"/>
                  </a:xfrm>
                  <a:custGeom>
                    <a:avLst/>
                    <a:gdLst>
                      <a:gd name="connsiteX0" fmla="*/ 401798 w 401797"/>
                      <a:gd name="connsiteY0" fmla="*/ 33574 h 100449"/>
                      <a:gd name="connsiteX1" fmla="*/ 682 w 401797"/>
                      <a:gd name="connsiteY1" fmla="*/ 100449 h 100449"/>
                      <a:gd name="connsiteX2" fmla="*/ 0 w 401797"/>
                      <a:gd name="connsiteY2" fmla="*/ 65374 h 100449"/>
                      <a:gd name="connsiteX3" fmla="*/ 296435 w 401797"/>
                      <a:gd name="connsiteY3" fmla="*/ 5186 h 100449"/>
                      <a:gd name="connsiteX4" fmla="*/ 399205 w 401797"/>
                      <a:gd name="connsiteY4" fmla="*/ 0 h 100449"/>
                      <a:gd name="connsiteX5" fmla="*/ 401798 w 401797"/>
                      <a:gd name="connsiteY5" fmla="*/ 33574 h 100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01797" h="100449">
                        <a:moveTo>
                          <a:pt x="401798" y="33574"/>
                        </a:moveTo>
                        <a:cubicBezTo>
                          <a:pt x="298755" y="35348"/>
                          <a:pt x="144123" y="48177"/>
                          <a:pt x="682" y="100449"/>
                        </a:cubicBezTo>
                        <a:cubicBezTo>
                          <a:pt x="410" y="88576"/>
                          <a:pt x="137" y="76838"/>
                          <a:pt x="0" y="65374"/>
                        </a:cubicBezTo>
                        <a:cubicBezTo>
                          <a:pt x="105636" y="28388"/>
                          <a:pt x="213592" y="12147"/>
                          <a:pt x="296435" y="5186"/>
                        </a:cubicBezTo>
                        <a:cubicBezTo>
                          <a:pt x="334104" y="2047"/>
                          <a:pt x="368770" y="546"/>
                          <a:pt x="399205" y="0"/>
                        </a:cubicBezTo>
                        <a:cubicBezTo>
                          <a:pt x="399751" y="11055"/>
                          <a:pt x="400706" y="22246"/>
                          <a:pt x="401798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0" name="任意多边形: 形状 99">
                    <a:extLst>
                      <a:ext uri="{FF2B5EF4-FFF2-40B4-BE49-F238E27FC236}">
                        <a16:creationId xmlns:a16="http://schemas.microsoft.com/office/drawing/2014/main" id="{23F73D67-4E4E-45D9-AFBE-74509D266AB9}"/>
                      </a:ext>
                    </a:extLst>
                  </p:cNvPr>
                  <p:cNvSpPr/>
                  <p:nvPr/>
                </p:nvSpPr>
                <p:spPr>
                  <a:xfrm>
                    <a:off x="8756015" y="2946549"/>
                    <a:ext cx="412443" cy="115598"/>
                  </a:xfrm>
                  <a:custGeom>
                    <a:avLst/>
                    <a:gdLst>
                      <a:gd name="connsiteX0" fmla="*/ 412443 w 412443"/>
                      <a:gd name="connsiteY0" fmla="*/ 33574 h 115598"/>
                      <a:gd name="connsiteX1" fmla="*/ 2866 w 412443"/>
                      <a:gd name="connsiteY1" fmla="*/ 115599 h 115598"/>
                      <a:gd name="connsiteX2" fmla="*/ 0 w 412443"/>
                      <a:gd name="connsiteY2" fmla="*/ 80933 h 115598"/>
                      <a:gd name="connsiteX3" fmla="*/ 407257 w 412443"/>
                      <a:gd name="connsiteY3" fmla="*/ 0 h 115598"/>
                      <a:gd name="connsiteX4" fmla="*/ 412443 w 412443"/>
                      <a:gd name="connsiteY4" fmla="*/ 33574 h 1155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443" h="115598">
                        <a:moveTo>
                          <a:pt x="412443" y="33574"/>
                        </a:moveTo>
                        <a:cubicBezTo>
                          <a:pt x="306125" y="40671"/>
                          <a:pt x="147808" y="60734"/>
                          <a:pt x="2866" y="115599"/>
                        </a:cubicBezTo>
                        <a:cubicBezTo>
                          <a:pt x="1774" y="103998"/>
                          <a:pt x="819" y="92397"/>
                          <a:pt x="0" y="80933"/>
                        </a:cubicBezTo>
                        <a:cubicBezTo>
                          <a:pt x="145761" y="26886"/>
                          <a:pt x="301075" y="7097"/>
                          <a:pt x="407257" y="0"/>
                        </a:cubicBezTo>
                        <a:cubicBezTo>
                          <a:pt x="408758" y="11191"/>
                          <a:pt x="410533" y="22383"/>
                          <a:pt x="412443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0FBE3552-E3C1-4B14-A451-5E155F9A2E0E}"/>
                      </a:ext>
                    </a:extLst>
                  </p:cNvPr>
                  <p:cNvSpPr/>
                  <p:nvPr/>
                </p:nvSpPr>
                <p:spPr>
                  <a:xfrm>
                    <a:off x="8771028" y="3084803"/>
                    <a:ext cx="423498" cy="128154"/>
                  </a:xfrm>
                  <a:custGeom>
                    <a:avLst/>
                    <a:gdLst>
                      <a:gd name="connsiteX0" fmla="*/ 423498 w 423498"/>
                      <a:gd name="connsiteY0" fmla="*/ 33165 h 128154"/>
                      <a:gd name="connsiteX1" fmla="*/ 4231 w 423498"/>
                      <a:gd name="connsiteY1" fmla="*/ 128155 h 128154"/>
                      <a:gd name="connsiteX2" fmla="*/ 0 w 423498"/>
                      <a:gd name="connsiteY2" fmla="*/ 93898 h 128154"/>
                      <a:gd name="connsiteX3" fmla="*/ 416537 w 423498"/>
                      <a:gd name="connsiteY3" fmla="*/ 0 h 128154"/>
                      <a:gd name="connsiteX4" fmla="*/ 423498 w 423498"/>
                      <a:gd name="connsiteY4" fmla="*/ 33165 h 1281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498" h="128154">
                        <a:moveTo>
                          <a:pt x="423498" y="33165"/>
                        </a:moveTo>
                        <a:cubicBezTo>
                          <a:pt x="315406" y="45448"/>
                          <a:pt x="152312" y="71925"/>
                          <a:pt x="4231" y="128155"/>
                        </a:cubicBezTo>
                        <a:cubicBezTo>
                          <a:pt x="2730" y="116827"/>
                          <a:pt x="1365" y="105363"/>
                          <a:pt x="0" y="93898"/>
                        </a:cubicBezTo>
                        <a:cubicBezTo>
                          <a:pt x="148627" y="38351"/>
                          <a:pt x="308718" y="12147"/>
                          <a:pt x="416537" y="0"/>
                        </a:cubicBezTo>
                        <a:cubicBezTo>
                          <a:pt x="418858" y="11191"/>
                          <a:pt x="421178" y="22246"/>
                          <a:pt x="423498" y="33165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" name="任意多边形: 形状 101">
                    <a:extLst>
                      <a:ext uri="{FF2B5EF4-FFF2-40B4-BE49-F238E27FC236}">
                        <a16:creationId xmlns:a16="http://schemas.microsoft.com/office/drawing/2014/main" id="{A9A0037A-B1FC-4D8A-97DE-588AD462AE55}"/>
                      </a:ext>
                    </a:extLst>
                  </p:cNvPr>
                  <p:cNvSpPr/>
                  <p:nvPr/>
                </p:nvSpPr>
                <p:spPr>
                  <a:xfrm>
                    <a:off x="8791500" y="3222102"/>
                    <a:ext cx="435098" cy="139619"/>
                  </a:xfrm>
                  <a:custGeom>
                    <a:avLst/>
                    <a:gdLst>
                      <a:gd name="connsiteX0" fmla="*/ 435099 w 435098"/>
                      <a:gd name="connsiteY0" fmla="*/ 32619 h 139619"/>
                      <a:gd name="connsiteX1" fmla="*/ 5186 w 435098"/>
                      <a:gd name="connsiteY1" fmla="*/ 139619 h 139619"/>
                      <a:gd name="connsiteX2" fmla="*/ 0 w 435098"/>
                      <a:gd name="connsiteY2" fmla="*/ 105909 h 139619"/>
                      <a:gd name="connsiteX3" fmla="*/ 427046 w 435098"/>
                      <a:gd name="connsiteY3" fmla="*/ 0 h 139619"/>
                      <a:gd name="connsiteX4" fmla="*/ 435099 w 435098"/>
                      <a:gd name="connsiteY4" fmla="*/ 32619 h 139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35098" h="139619">
                        <a:moveTo>
                          <a:pt x="435099" y="32619"/>
                        </a:moveTo>
                        <a:cubicBezTo>
                          <a:pt x="326733" y="49679"/>
                          <a:pt x="157771" y="82844"/>
                          <a:pt x="5186" y="139619"/>
                        </a:cubicBezTo>
                        <a:cubicBezTo>
                          <a:pt x="3412" y="128565"/>
                          <a:pt x="1638" y="117373"/>
                          <a:pt x="0" y="105909"/>
                        </a:cubicBezTo>
                        <a:cubicBezTo>
                          <a:pt x="152039" y="50088"/>
                          <a:pt x="318545" y="17333"/>
                          <a:pt x="427046" y="0"/>
                        </a:cubicBezTo>
                        <a:cubicBezTo>
                          <a:pt x="429640" y="11055"/>
                          <a:pt x="432369" y="21973"/>
                          <a:pt x="435099" y="3261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" name="任意多边形: 形状 102">
                    <a:extLst>
                      <a:ext uri="{FF2B5EF4-FFF2-40B4-BE49-F238E27FC236}">
                        <a16:creationId xmlns:a16="http://schemas.microsoft.com/office/drawing/2014/main" id="{ACE71C82-29F9-4FDC-A88C-F237F312E2D0}"/>
                      </a:ext>
                    </a:extLst>
                  </p:cNvPr>
                  <p:cNvSpPr/>
                  <p:nvPr/>
                </p:nvSpPr>
                <p:spPr>
                  <a:xfrm>
                    <a:off x="8815930" y="3357354"/>
                    <a:ext cx="447382" cy="151629"/>
                  </a:xfrm>
                  <a:custGeom>
                    <a:avLst/>
                    <a:gdLst>
                      <a:gd name="connsiteX0" fmla="*/ 447382 w 447382"/>
                      <a:gd name="connsiteY0" fmla="*/ 32209 h 151629"/>
                      <a:gd name="connsiteX1" fmla="*/ 6005 w 447382"/>
                      <a:gd name="connsiteY1" fmla="*/ 151630 h 151629"/>
                      <a:gd name="connsiteX2" fmla="*/ 0 w 447382"/>
                      <a:gd name="connsiteY2" fmla="*/ 118328 h 151629"/>
                      <a:gd name="connsiteX3" fmla="*/ 438238 w 447382"/>
                      <a:gd name="connsiteY3" fmla="*/ 0 h 151629"/>
                      <a:gd name="connsiteX4" fmla="*/ 447382 w 447382"/>
                      <a:gd name="connsiteY4" fmla="*/ 32209 h 151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7382" h="151629">
                        <a:moveTo>
                          <a:pt x="447382" y="32209"/>
                        </a:moveTo>
                        <a:cubicBezTo>
                          <a:pt x="340245" y="54046"/>
                          <a:pt x="164459" y="94444"/>
                          <a:pt x="6005" y="151630"/>
                        </a:cubicBezTo>
                        <a:cubicBezTo>
                          <a:pt x="4094" y="140848"/>
                          <a:pt x="2047" y="129656"/>
                          <a:pt x="0" y="118328"/>
                        </a:cubicBezTo>
                        <a:cubicBezTo>
                          <a:pt x="157771" y="61826"/>
                          <a:pt x="330965" y="21973"/>
                          <a:pt x="438238" y="0"/>
                        </a:cubicBezTo>
                        <a:cubicBezTo>
                          <a:pt x="441241" y="11055"/>
                          <a:pt x="444380" y="21837"/>
                          <a:pt x="447382" y="3220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" name="任意多边形: 形状 103">
                    <a:extLst>
                      <a:ext uri="{FF2B5EF4-FFF2-40B4-BE49-F238E27FC236}">
                        <a16:creationId xmlns:a16="http://schemas.microsoft.com/office/drawing/2014/main" id="{E2B9A7FE-9CA5-40BB-844B-625AF742F54B}"/>
                      </a:ext>
                    </a:extLst>
                  </p:cNvPr>
                  <p:cNvSpPr/>
                  <p:nvPr/>
                </p:nvSpPr>
                <p:spPr>
                  <a:xfrm>
                    <a:off x="8843499" y="3490422"/>
                    <a:ext cx="460211" cy="164868"/>
                  </a:xfrm>
                  <a:custGeom>
                    <a:avLst/>
                    <a:gdLst>
                      <a:gd name="connsiteX0" fmla="*/ 460211 w 460211"/>
                      <a:gd name="connsiteY0" fmla="*/ 31800 h 164868"/>
                      <a:gd name="connsiteX1" fmla="*/ 6687 w 460211"/>
                      <a:gd name="connsiteY1" fmla="*/ 164868 h 164868"/>
                      <a:gd name="connsiteX2" fmla="*/ 0 w 460211"/>
                      <a:gd name="connsiteY2" fmla="*/ 131840 h 164868"/>
                      <a:gd name="connsiteX3" fmla="*/ 450112 w 460211"/>
                      <a:gd name="connsiteY3" fmla="*/ 0 h 164868"/>
                      <a:gd name="connsiteX4" fmla="*/ 460211 w 460211"/>
                      <a:gd name="connsiteY4" fmla="*/ 31800 h 164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0211" h="164868">
                        <a:moveTo>
                          <a:pt x="460211" y="31800"/>
                        </a:moveTo>
                        <a:cubicBezTo>
                          <a:pt x="356350" y="57868"/>
                          <a:pt x="172647" y="106864"/>
                          <a:pt x="6687" y="164868"/>
                        </a:cubicBezTo>
                        <a:cubicBezTo>
                          <a:pt x="4640" y="154769"/>
                          <a:pt x="2320" y="143714"/>
                          <a:pt x="0" y="131840"/>
                        </a:cubicBezTo>
                        <a:cubicBezTo>
                          <a:pt x="165005" y="74518"/>
                          <a:pt x="346250" y="26204"/>
                          <a:pt x="450112" y="0"/>
                        </a:cubicBezTo>
                        <a:cubicBezTo>
                          <a:pt x="453797" y="11601"/>
                          <a:pt x="457209" y="22246"/>
                          <a:pt x="460211" y="3180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1EBBF52D-0050-4F23-A79B-3C079BD88C95}"/>
                    </a:ext>
                  </a:extLst>
                </p:cNvPr>
                <p:cNvSpPr/>
                <p:nvPr/>
              </p:nvSpPr>
              <p:spPr>
                <a:xfrm>
                  <a:off x="9001406" y="1933936"/>
                  <a:ext cx="224267" cy="559458"/>
                </a:xfrm>
                <a:custGeom>
                  <a:avLst/>
                  <a:gdLst>
                    <a:gd name="connsiteX0" fmla="*/ 139756 w 224267"/>
                    <a:gd name="connsiteY0" fmla="*/ 559361 h 559458"/>
                    <a:gd name="connsiteX1" fmla="*/ 139756 w 224267"/>
                    <a:gd name="connsiteY1" fmla="*/ 559361 h 559458"/>
                    <a:gd name="connsiteX2" fmla="*/ 129247 w 224267"/>
                    <a:gd name="connsiteY2" fmla="*/ 558133 h 559458"/>
                    <a:gd name="connsiteX3" fmla="*/ 98812 w 224267"/>
                    <a:gd name="connsiteY3" fmla="*/ 539572 h 559458"/>
                    <a:gd name="connsiteX4" fmla="*/ 0 w 224267"/>
                    <a:gd name="connsiteY4" fmla="*/ 120577 h 559458"/>
                    <a:gd name="connsiteX5" fmla="*/ 71789 w 224267"/>
                    <a:gd name="connsiteY5" fmla="*/ 5252 h 559458"/>
                    <a:gd name="connsiteX6" fmla="*/ 156952 w 224267"/>
                    <a:gd name="connsiteY6" fmla="*/ 475 h 559458"/>
                    <a:gd name="connsiteX7" fmla="*/ 208678 w 224267"/>
                    <a:gd name="connsiteY7" fmla="*/ 318474 h 559458"/>
                    <a:gd name="connsiteX8" fmla="*/ 139756 w 224267"/>
                    <a:gd name="connsiteY8" fmla="*/ 559361 h 559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4267" h="559458">
                      <a:moveTo>
                        <a:pt x="139756" y="559361"/>
                      </a:moveTo>
                      <a:cubicBezTo>
                        <a:pt x="139756" y="559361"/>
                        <a:pt x="139756" y="559361"/>
                        <a:pt x="139756" y="559361"/>
                      </a:cubicBezTo>
                      <a:cubicBezTo>
                        <a:pt x="136344" y="559225"/>
                        <a:pt x="132795" y="558815"/>
                        <a:pt x="129247" y="558133"/>
                      </a:cubicBezTo>
                      <a:cubicBezTo>
                        <a:pt x="118328" y="556086"/>
                        <a:pt x="108229" y="549535"/>
                        <a:pt x="98812" y="539572"/>
                      </a:cubicBezTo>
                      <a:cubicBezTo>
                        <a:pt x="20336" y="454817"/>
                        <a:pt x="0" y="120577"/>
                        <a:pt x="0" y="120577"/>
                      </a:cubicBezTo>
                      <a:cubicBezTo>
                        <a:pt x="0" y="120577"/>
                        <a:pt x="29480" y="47834"/>
                        <a:pt x="71789" y="5252"/>
                      </a:cubicBezTo>
                      <a:cubicBezTo>
                        <a:pt x="98402" y="1157"/>
                        <a:pt x="127472" y="-1026"/>
                        <a:pt x="156952" y="475"/>
                      </a:cubicBezTo>
                      <a:cubicBezTo>
                        <a:pt x="163094" y="63256"/>
                        <a:pt x="184248" y="263336"/>
                        <a:pt x="208678" y="318474"/>
                      </a:cubicBezTo>
                      <a:cubicBezTo>
                        <a:pt x="237066" y="381664"/>
                        <a:pt x="233518" y="564275"/>
                        <a:pt x="139756" y="559361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052D1977-ECF5-47DF-838B-683AB31F4DA3}"/>
                    </a:ext>
                  </a:extLst>
                </p:cNvPr>
                <p:cNvSpPr/>
                <p:nvPr/>
              </p:nvSpPr>
              <p:spPr>
                <a:xfrm>
                  <a:off x="8906553" y="2190448"/>
                  <a:ext cx="794016" cy="147291"/>
                </a:xfrm>
                <a:custGeom>
                  <a:avLst/>
                  <a:gdLst>
                    <a:gd name="connsiteX0" fmla="*/ 792404 w 794016"/>
                    <a:gd name="connsiteY0" fmla="*/ 99767 h 147291"/>
                    <a:gd name="connsiteX1" fmla="*/ 198579 w 794016"/>
                    <a:gd name="connsiteY1" fmla="*/ 70151 h 147291"/>
                    <a:gd name="connsiteX2" fmla="*/ 2320 w 794016"/>
                    <a:gd name="connsiteY2" fmla="*/ 32755 h 147291"/>
                    <a:gd name="connsiteX3" fmla="*/ 0 w 794016"/>
                    <a:gd name="connsiteY3" fmla="*/ 11191 h 147291"/>
                    <a:gd name="connsiteX4" fmla="*/ 397567 w 794016"/>
                    <a:gd name="connsiteY4" fmla="*/ 82843 h 147291"/>
                    <a:gd name="connsiteX5" fmla="*/ 791176 w 794016"/>
                    <a:gd name="connsiteY5" fmla="*/ 0 h 147291"/>
                    <a:gd name="connsiteX6" fmla="*/ 792404 w 794016"/>
                    <a:gd name="connsiteY6" fmla="*/ 99767 h 147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4016" h="147291">
                      <a:moveTo>
                        <a:pt x="792404" y="99767"/>
                      </a:moveTo>
                      <a:cubicBezTo>
                        <a:pt x="677624" y="188752"/>
                        <a:pt x="427183" y="137572"/>
                        <a:pt x="198579" y="70151"/>
                      </a:cubicBezTo>
                      <a:cubicBezTo>
                        <a:pt x="120512" y="47086"/>
                        <a:pt x="55411" y="36304"/>
                        <a:pt x="2320" y="32755"/>
                      </a:cubicBezTo>
                      <a:cubicBezTo>
                        <a:pt x="1365" y="25522"/>
                        <a:pt x="546" y="18288"/>
                        <a:pt x="0" y="11191"/>
                      </a:cubicBezTo>
                      <a:cubicBezTo>
                        <a:pt x="99358" y="17469"/>
                        <a:pt x="232562" y="45311"/>
                        <a:pt x="397567" y="82843"/>
                      </a:cubicBezTo>
                      <a:cubicBezTo>
                        <a:pt x="642139" y="138391"/>
                        <a:pt x="753644" y="44629"/>
                        <a:pt x="791176" y="0"/>
                      </a:cubicBezTo>
                      <a:cubicBezTo>
                        <a:pt x="794178" y="31800"/>
                        <a:pt x="795134" y="65783"/>
                        <a:pt x="792404" y="99767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E496FF5-C11C-4363-A5A6-93CC31CC0C86}"/>
                  </a:ext>
                </a:extLst>
              </p:cNvPr>
              <p:cNvSpPr/>
              <p:nvPr/>
            </p:nvSpPr>
            <p:spPr>
              <a:xfrm>
                <a:off x="9532171" y="1797340"/>
                <a:ext cx="83396" cy="87709"/>
              </a:xfrm>
              <a:custGeom>
                <a:avLst/>
                <a:gdLst>
                  <a:gd name="connsiteX0" fmla="*/ 962 w 83396"/>
                  <a:gd name="connsiteY0" fmla="*/ 40034 h 87709"/>
                  <a:gd name="connsiteX1" fmla="*/ 18432 w 83396"/>
                  <a:gd name="connsiteY1" fmla="*/ 87529 h 87709"/>
                  <a:gd name="connsiteX2" fmla="*/ 49685 w 83396"/>
                  <a:gd name="connsiteY2" fmla="*/ 47677 h 87709"/>
                  <a:gd name="connsiteX3" fmla="*/ 49140 w 83396"/>
                  <a:gd name="connsiteY3" fmla="*/ 21473 h 87709"/>
                  <a:gd name="connsiteX4" fmla="*/ 83396 w 83396"/>
                  <a:gd name="connsiteY4" fmla="*/ 12465 h 87709"/>
                  <a:gd name="connsiteX5" fmla="*/ 37539 w 83396"/>
                  <a:gd name="connsiteY5" fmla="*/ 2229 h 87709"/>
                  <a:gd name="connsiteX6" fmla="*/ 32080 w 83396"/>
                  <a:gd name="connsiteY6" fmla="*/ 182 h 87709"/>
                  <a:gd name="connsiteX7" fmla="*/ 962 w 83396"/>
                  <a:gd name="connsiteY7" fmla="*/ 40034 h 87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396" h="87709">
                    <a:moveTo>
                      <a:pt x="962" y="40034"/>
                    </a:moveTo>
                    <a:cubicBezTo>
                      <a:pt x="-2859" y="64191"/>
                      <a:pt x="5057" y="85482"/>
                      <a:pt x="18432" y="87529"/>
                    </a:cubicBezTo>
                    <a:cubicBezTo>
                      <a:pt x="31943" y="89713"/>
                      <a:pt x="46001" y="71834"/>
                      <a:pt x="49685" y="47677"/>
                    </a:cubicBezTo>
                    <a:cubicBezTo>
                      <a:pt x="51187" y="38123"/>
                      <a:pt x="50777" y="29116"/>
                      <a:pt x="49140" y="21473"/>
                    </a:cubicBezTo>
                    <a:cubicBezTo>
                      <a:pt x="73160" y="26249"/>
                      <a:pt x="83396" y="12465"/>
                      <a:pt x="83396" y="12465"/>
                    </a:cubicBezTo>
                    <a:cubicBezTo>
                      <a:pt x="67428" y="12192"/>
                      <a:pt x="47092" y="5641"/>
                      <a:pt x="37539" y="2229"/>
                    </a:cubicBezTo>
                    <a:cubicBezTo>
                      <a:pt x="34127" y="1001"/>
                      <a:pt x="32080" y="182"/>
                      <a:pt x="32080" y="182"/>
                    </a:cubicBezTo>
                    <a:cubicBezTo>
                      <a:pt x="18841" y="-2002"/>
                      <a:pt x="4784" y="15740"/>
                      <a:pt x="962" y="40034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3F4FF122-4129-4E0B-80DF-4B18988E4927}"/>
                  </a:ext>
                </a:extLst>
              </p:cNvPr>
              <p:cNvSpPr/>
              <p:nvPr/>
            </p:nvSpPr>
            <p:spPr>
              <a:xfrm>
                <a:off x="9564387" y="1797385"/>
                <a:ext cx="5459" cy="2047"/>
              </a:xfrm>
              <a:custGeom>
                <a:avLst/>
                <a:gdLst>
                  <a:gd name="connsiteX0" fmla="*/ 0 w 5459"/>
                  <a:gd name="connsiteY0" fmla="*/ 0 h 2047"/>
                  <a:gd name="connsiteX1" fmla="*/ 5459 w 5459"/>
                  <a:gd name="connsiteY1" fmla="*/ 2047 h 2047"/>
                  <a:gd name="connsiteX2" fmla="*/ 0 w 5459"/>
                  <a:gd name="connsiteY2" fmla="*/ 0 h 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9" h="2047">
                    <a:moveTo>
                      <a:pt x="0" y="0"/>
                    </a:moveTo>
                    <a:cubicBezTo>
                      <a:pt x="0" y="0"/>
                      <a:pt x="2047" y="819"/>
                      <a:pt x="5459" y="2047"/>
                    </a:cubicBezTo>
                    <a:cubicBezTo>
                      <a:pt x="3821" y="1092"/>
                      <a:pt x="2047" y="273"/>
                      <a:pt x="0" y="0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406735C-4C8C-40B9-8D6A-B2547BF83A1C}"/>
                  </a:ext>
                </a:extLst>
              </p:cNvPr>
              <p:cNvSpPr/>
              <p:nvPr/>
            </p:nvSpPr>
            <p:spPr>
              <a:xfrm>
                <a:off x="9546489" y="1913582"/>
                <a:ext cx="153831" cy="81987"/>
              </a:xfrm>
              <a:custGeom>
                <a:avLst/>
                <a:gdLst>
                  <a:gd name="connsiteX0" fmla="*/ 153832 w 153831"/>
                  <a:gd name="connsiteY0" fmla="*/ 15780 h 81987"/>
                  <a:gd name="connsiteX1" fmla="*/ 126263 w 153831"/>
                  <a:gd name="connsiteY1" fmla="*/ 81973 h 81987"/>
                  <a:gd name="connsiteX2" fmla="*/ 91733 w 153831"/>
                  <a:gd name="connsiteY2" fmla="*/ 79653 h 81987"/>
                  <a:gd name="connsiteX3" fmla="*/ 155 w 153831"/>
                  <a:gd name="connsiteY3" fmla="*/ 27244 h 81987"/>
                  <a:gd name="connsiteX4" fmla="*/ 102652 w 153831"/>
                  <a:gd name="connsiteY4" fmla="*/ 2405 h 81987"/>
                  <a:gd name="connsiteX5" fmla="*/ 153832 w 153831"/>
                  <a:gd name="connsiteY5" fmla="*/ 15780 h 81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831" h="81987">
                    <a:moveTo>
                      <a:pt x="153832" y="15780"/>
                    </a:moveTo>
                    <a:cubicBezTo>
                      <a:pt x="145370" y="38572"/>
                      <a:pt x="136090" y="60682"/>
                      <a:pt x="126263" y="81973"/>
                    </a:cubicBezTo>
                    <a:cubicBezTo>
                      <a:pt x="115481" y="82109"/>
                      <a:pt x="103744" y="81290"/>
                      <a:pt x="91733" y="79653"/>
                    </a:cubicBezTo>
                    <a:cubicBezTo>
                      <a:pt x="38097" y="72146"/>
                      <a:pt x="-2847" y="48672"/>
                      <a:pt x="155" y="27244"/>
                    </a:cubicBezTo>
                    <a:cubicBezTo>
                      <a:pt x="3158" y="5953"/>
                      <a:pt x="49152" y="-5238"/>
                      <a:pt x="102652" y="2405"/>
                    </a:cubicBezTo>
                    <a:cubicBezTo>
                      <a:pt x="121896" y="4998"/>
                      <a:pt x="139365" y="9775"/>
                      <a:pt x="153832" y="15780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606950BD-6A96-4ECE-A050-D2E0431D9D69}"/>
                  </a:ext>
                </a:extLst>
              </p:cNvPr>
              <p:cNvSpPr/>
              <p:nvPr/>
            </p:nvSpPr>
            <p:spPr>
              <a:xfrm>
                <a:off x="9110969" y="1843570"/>
                <a:ext cx="196306" cy="82870"/>
              </a:xfrm>
              <a:custGeom>
                <a:avLst/>
                <a:gdLst>
                  <a:gd name="connsiteX0" fmla="*/ 196153 w 196306"/>
                  <a:gd name="connsiteY0" fmla="*/ 55356 h 82870"/>
                  <a:gd name="connsiteX1" fmla="*/ 92564 w 196306"/>
                  <a:gd name="connsiteY1" fmla="*/ 80469 h 82870"/>
                  <a:gd name="connsiteX2" fmla="*/ 168 w 196306"/>
                  <a:gd name="connsiteY2" fmla="*/ 27514 h 82870"/>
                  <a:gd name="connsiteX3" fmla="*/ 103756 w 196306"/>
                  <a:gd name="connsiteY3" fmla="*/ 2402 h 82870"/>
                  <a:gd name="connsiteX4" fmla="*/ 196153 w 196306"/>
                  <a:gd name="connsiteY4" fmla="*/ 55356 h 8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306" h="82870">
                    <a:moveTo>
                      <a:pt x="196153" y="55356"/>
                    </a:moveTo>
                    <a:cubicBezTo>
                      <a:pt x="193151" y="76920"/>
                      <a:pt x="146747" y="88112"/>
                      <a:pt x="92564" y="80469"/>
                    </a:cubicBezTo>
                    <a:cubicBezTo>
                      <a:pt x="38382" y="72826"/>
                      <a:pt x="-2972" y="49078"/>
                      <a:pt x="168" y="27514"/>
                    </a:cubicBezTo>
                    <a:cubicBezTo>
                      <a:pt x="3170" y="5951"/>
                      <a:pt x="49573" y="-5241"/>
                      <a:pt x="103756" y="2402"/>
                    </a:cubicBezTo>
                    <a:cubicBezTo>
                      <a:pt x="157802" y="10045"/>
                      <a:pt x="199156" y="33793"/>
                      <a:pt x="196153" y="55356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2" name="组合 71">
                <a:extLst>
                  <a:ext uri="{FF2B5EF4-FFF2-40B4-BE49-F238E27FC236}">
                    <a16:creationId xmlns:a16="http://schemas.microsoft.com/office/drawing/2014/main" id="{A8DFC856-F5A1-4D5D-8CC8-D8B22B27CFBF}"/>
                  </a:ext>
                </a:extLst>
              </p:cNvPr>
              <p:cNvGrpSpPr/>
              <p:nvPr/>
            </p:nvGrpSpPr>
            <p:grpSpPr>
              <a:xfrm>
                <a:off x="8922544" y="1681687"/>
                <a:ext cx="180561" cy="272377"/>
                <a:chOff x="8922544" y="1681687"/>
                <a:chExt cx="180561" cy="272377"/>
              </a:xfrm>
              <a:solidFill>
                <a:schemeClr val="accent1"/>
              </a:solidFill>
            </p:grpSpPr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62B9470E-56A2-49AD-B0A1-83133FA2FAA2}"/>
                    </a:ext>
                  </a:extLst>
                </p:cNvPr>
                <p:cNvSpPr/>
                <p:nvPr/>
              </p:nvSpPr>
              <p:spPr>
                <a:xfrm>
                  <a:off x="8922544" y="1681687"/>
                  <a:ext cx="161567" cy="256529"/>
                </a:xfrm>
                <a:custGeom>
                  <a:avLst/>
                  <a:gdLst>
                    <a:gd name="connsiteX0" fmla="*/ 161023 w 161567"/>
                    <a:gd name="connsiteY0" fmla="*/ 80896 h 256529"/>
                    <a:gd name="connsiteX1" fmla="*/ 138640 w 161567"/>
                    <a:gd name="connsiteY1" fmla="*/ 28078 h 256529"/>
                    <a:gd name="connsiteX2" fmla="*/ 14580 w 161567"/>
                    <a:gd name="connsiteY2" fmla="*/ 35585 h 256529"/>
                    <a:gd name="connsiteX3" fmla="*/ 136184 w 161567"/>
                    <a:gd name="connsiteY3" fmla="*/ 254908 h 256529"/>
                    <a:gd name="connsiteX4" fmla="*/ 161023 w 161567"/>
                    <a:gd name="connsiteY4" fmla="*/ 80896 h 256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567" h="256529">
                      <a:moveTo>
                        <a:pt x="161023" y="80896"/>
                      </a:moveTo>
                      <a:cubicBezTo>
                        <a:pt x="163889" y="60424"/>
                        <a:pt x="155291" y="40225"/>
                        <a:pt x="138640" y="28078"/>
                      </a:cubicBezTo>
                      <a:cubicBezTo>
                        <a:pt x="97287" y="-1947"/>
                        <a:pt x="42012" y="-19007"/>
                        <a:pt x="14580" y="35585"/>
                      </a:cubicBezTo>
                      <a:cubicBezTo>
                        <a:pt x="-36327" y="136989"/>
                        <a:pt x="56206" y="272924"/>
                        <a:pt x="136184" y="254908"/>
                      </a:cubicBezTo>
                      <a:lnTo>
                        <a:pt x="161023" y="80896"/>
                      </a:ln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59C7D097-A834-41E1-8FE5-02202DA22E98}"/>
                    </a:ext>
                  </a:extLst>
                </p:cNvPr>
                <p:cNvSpPr/>
                <p:nvPr/>
              </p:nvSpPr>
              <p:spPr>
                <a:xfrm>
                  <a:off x="9053405" y="1915252"/>
                  <a:ext cx="49700" cy="38812"/>
                </a:xfrm>
                <a:custGeom>
                  <a:avLst/>
                  <a:gdLst>
                    <a:gd name="connsiteX0" fmla="*/ 46949 w 49700"/>
                    <a:gd name="connsiteY0" fmla="*/ 14792 h 38812"/>
                    <a:gd name="connsiteX1" fmla="*/ 42309 w 49700"/>
                    <a:gd name="connsiteY1" fmla="*/ 18886 h 38812"/>
                    <a:gd name="connsiteX2" fmla="*/ 28252 w 49700"/>
                    <a:gd name="connsiteY2" fmla="*/ 28576 h 38812"/>
                    <a:gd name="connsiteX3" fmla="*/ 2184 w 49700"/>
                    <a:gd name="connsiteY3" fmla="*/ 38812 h 38812"/>
                    <a:gd name="connsiteX4" fmla="*/ 0 w 49700"/>
                    <a:gd name="connsiteY4" fmla="*/ 22435 h 38812"/>
                    <a:gd name="connsiteX5" fmla="*/ 18561 w 49700"/>
                    <a:gd name="connsiteY5" fmla="*/ 15747 h 38812"/>
                    <a:gd name="connsiteX6" fmla="*/ 33301 w 49700"/>
                    <a:gd name="connsiteY6" fmla="*/ 6603 h 38812"/>
                    <a:gd name="connsiteX7" fmla="*/ 38897 w 49700"/>
                    <a:gd name="connsiteY7" fmla="*/ 1826 h 38812"/>
                    <a:gd name="connsiteX8" fmla="*/ 48314 w 49700"/>
                    <a:gd name="connsiteY8" fmla="*/ 3191 h 38812"/>
                    <a:gd name="connsiteX9" fmla="*/ 46949 w 49700"/>
                    <a:gd name="connsiteY9" fmla="*/ 14792 h 38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9700" h="38812">
                      <a:moveTo>
                        <a:pt x="46949" y="14792"/>
                      </a:moveTo>
                      <a:cubicBezTo>
                        <a:pt x="45448" y="16293"/>
                        <a:pt x="43810" y="17658"/>
                        <a:pt x="42309" y="18886"/>
                      </a:cubicBezTo>
                      <a:cubicBezTo>
                        <a:pt x="37669" y="22708"/>
                        <a:pt x="33028" y="25847"/>
                        <a:pt x="28252" y="28576"/>
                      </a:cubicBezTo>
                      <a:cubicBezTo>
                        <a:pt x="19517" y="33490"/>
                        <a:pt x="10645" y="36765"/>
                        <a:pt x="2184" y="38812"/>
                      </a:cubicBezTo>
                      <a:cubicBezTo>
                        <a:pt x="1365" y="33490"/>
                        <a:pt x="682" y="28031"/>
                        <a:pt x="0" y="22435"/>
                      </a:cubicBezTo>
                      <a:cubicBezTo>
                        <a:pt x="6142" y="20934"/>
                        <a:pt x="12283" y="18886"/>
                        <a:pt x="18561" y="15747"/>
                      </a:cubicBezTo>
                      <a:cubicBezTo>
                        <a:pt x="23611" y="13427"/>
                        <a:pt x="28525" y="10425"/>
                        <a:pt x="33301" y="6603"/>
                      </a:cubicBezTo>
                      <a:cubicBezTo>
                        <a:pt x="35212" y="5102"/>
                        <a:pt x="37123" y="3464"/>
                        <a:pt x="38897" y="1826"/>
                      </a:cubicBezTo>
                      <a:cubicBezTo>
                        <a:pt x="41900" y="-1040"/>
                        <a:pt x="46130" y="-494"/>
                        <a:pt x="48314" y="3191"/>
                      </a:cubicBezTo>
                      <a:cubicBezTo>
                        <a:pt x="50634" y="6876"/>
                        <a:pt x="49952" y="12062"/>
                        <a:pt x="46949" y="14792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E3C55930-84DF-46FC-9F80-72A74299D21C}"/>
                    </a:ext>
                  </a:extLst>
                </p:cNvPr>
                <p:cNvSpPr/>
                <p:nvPr/>
              </p:nvSpPr>
              <p:spPr>
                <a:xfrm>
                  <a:off x="8970398" y="1737034"/>
                  <a:ext cx="62453" cy="129277"/>
                </a:xfrm>
                <a:custGeom>
                  <a:avLst/>
                  <a:gdLst>
                    <a:gd name="connsiteX0" fmla="*/ 52572 w 62453"/>
                    <a:gd name="connsiteY0" fmla="*/ 129137 h 129277"/>
                    <a:gd name="connsiteX1" fmla="*/ 45338 w 62453"/>
                    <a:gd name="connsiteY1" fmla="*/ 120539 h 129277"/>
                    <a:gd name="connsiteX2" fmla="*/ 3166 w 62453"/>
                    <a:gd name="connsiteY2" fmla="*/ 15176 h 129277"/>
                    <a:gd name="connsiteX3" fmla="*/ 1938 w 62453"/>
                    <a:gd name="connsiteY3" fmla="*/ 3166 h 129277"/>
                    <a:gd name="connsiteX4" fmla="*/ 13948 w 62453"/>
                    <a:gd name="connsiteY4" fmla="*/ 1938 h 129277"/>
                    <a:gd name="connsiteX5" fmla="*/ 62398 w 62453"/>
                    <a:gd name="connsiteY5" fmla="*/ 120948 h 129277"/>
                    <a:gd name="connsiteX6" fmla="*/ 53664 w 62453"/>
                    <a:gd name="connsiteY6" fmla="*/ 129274 h 129277"/>
                    <a:gd name="connsiteX7" fmla="*/ 52572 w 62453"/>
                    <a:gd name="connsiteY7" fmla="*/ 129137 h 129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453" h="129277">
                      <a:moveTo>
                        <a:pt x="52572" y="129137"/>
                      </a:moveTo>
                      <a:cubicBezTo>
                        <a:pt x="48341" y="128455"/>
                        <a:pt x="45202" y="124770"/>
                        <a:pt x="45338" y="120539"/>
                      </a:cubicBezTo>
                      <a:cubicBezTo>
                        <a:pt x="46976" y="52162"/>
                        <a:pt x="3575" y="15586"/>
                        <a:pt x="3166" y="15176"/>
                      </a:cubicBezTo>
                      <a:cubicBezTo>
                        <a:pt x="-519" y="12174"/>
                        <a:pt x="-1065" y="6851"/>
                        <a:pt x="1938" y="3166"/>
                      </a:cubicBezTo>
                      <a:cubicBezTo>
                        <a:pt x="4940" y="-519"/>
                        <a:pt x="10263" y="-1065"/>
                        <a:pt x="13948" y="1938"/>
                      </a:cubicBezTo>
                      <a:cubicBezTo>
                        <a:pt x="15995" y="3575"/>
                        <a:pt x="64309" y="43837"/>
                        <a:pt x="62398" y="120948"/>
                      </a:cubicBezTo>
                      <a:cubicBezTo>
                        <a:pt x="62262" y="125725"/>
                        <a:pt x="58304" y="129410"/>
                        <a:pt x="53664" y="129274"/>
                      </a:cubicBezTo>
                      <a:cubicBezTo>
                        <a:pt x="53254" y="129274"/>
                        <a:pt x="52845" y="129274"/>
                        <a:pt x="52572" y="129137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8DE9226B-E43E-4985-BE39-985266C32029}"/>
                    </a:ext>
                  </a:extLst>
                </p:cNvPr>
                <p:cNvSpPr/>
                <p:nvPr/>
              </p:nvSpPr>
              <p:spPr>
                <a:xfrm>
                  <a:off x="8961072" y="1787704"/>
                  <a:ext cx="61237" cy="30629"/>
                </a:xfrm>
                <a:custGeom>
                  <a:avLst/>
                  <a:gdLst>
                    <a:gd name="connsiteX0" fmla="*/ 7306 w 61237"/>
                    <a:gd name="connsiteY0" fmla="*/ 30563 h 30629"/>
                    <a:gd name="connsiteX1" fmla="*/ 2119 w 61237"/>
                    <a:gd name="connsiteY1" fmla="*/ 27697 h 30629"/>
                    <a:gd name="connsiteX2" fmla="*/ 2938 w 61237"/>
                    <a:gd name="connsiteY2" fmla="*/ 15687 h 30629"/>
                    <a:gd name="connsiteX3" fmla="*/ 54937 w 61237"/>
                    <a:gd name="connsiteY3" fmla="*/ 1493 h 30629"/>
                    <a:gd name="connsiteX4" fmla="*/ 60943 w 61237"/>
                    <a:gd name="connsiteY4" fmla="*/ 12002 h 30629"/>
                    <a:gd name="connsiteX5" fmla="*/ 50434 w 61237"/>
                    <a:gd name="connsiteY5" fmla="*/ 18007 h 30629"/>
                    <a:gd name="connsiteX6" fmla="*/ 13993 w 61237"/>
                    <a:gd name="connsiteY6" fmla="*/ 28652 h 30629"/>
                    <a:gd name="connsiteX7" fmla="*/ 7306 w 61237"/>
                    <a:gd name="connsiteY7" fmla="*/ 30563 h 30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1237" h="30629">
                      <a:moveTo>
                        <a:pt x="7306" y="30563"/>
                      </a:moveTo>
                      <a:cubicBezTo>
                        <a:pt x="5395" y="30290"/>
                        <a:pt x="3484" y="29335"/>
                        <a:pt x="2119" y="27697"/>
                      </a:cubicBezTo>
                      <a:cubicBezTo>
                        <a:pt x="-1020" y="24148"/>
                        <a:pt x="-610" y="18689"/>
                        <a:pt x="2938" y="15687"/>
                      </a:cubicBezTo>
                      <a:cubicBezTo>
                        <a:pt x="3894" y="14868"/>
                        <a:pt x="27914" y="-5604"/>
                        <a:pt x="54937" y="1493"/>
                      </a:cubicBezTo>
                      <a:cubicBezTo>
                        <a:pt x="59441" y="2721"/>
                        <a:pt x="62171" y="7361"/>
                        <a:pt x="60943" y="12002"/>
                      </a:cubicBezTo>
                      <a:cubicBezTo>
                        <a:pt x="59714" y="16505"/>
                        <a:pt x="55074" y="19235"/>
                        <a:pt x="50434" y="18007"/>
                      </a:cubicBezTo>
                      <a:cubicBezTo>
                        <a:pt x="32282" y="13230"/>
                        <a:pt x="14266" y="28516"/>
                        <a:pt x="13993" y="28652"/>
                      </a:cubicBezTo>
                      <a:cubicBezTo>
                        <a:pt x="12219" y="30290"/>
                        <a:pt x="9763" y="30836"/>
                        <a:pt x="7306" y="30563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D747EF5E-D6BE-4FC2-A9A6-B94BBD8DEAD7}"/>
                  </a:ext>
                </a:extLst>
              </p:cNvPr>
              <p:cNvSpPr/>
              <p:nvPr/>
            </p:nvSpPr>
            <p:spPr>
              <a:xfrm>
                <a:off x="9420549" y="1817040"/>
                <a:ext cx="67277" cy="154894"/>
              </a:xfrm>
              <a:custGeom>
                <a:avLst/>
                <a:gdLst>
                  <a:gd name="connsiteX0" fmla="*/ 7358 w 67277"/>
                  <a:gd name="connsiteY0" fmla="*/ 154767 h 154894"/>
                  <a:gd name="connsiteX1" fmla="*/ 125 w 67277"/>
                  <a:gd name="connsiteY1" fmla="*/ 147669 h 154894"/>
                  <a:gd name="connsiteX2" fmla="*/ 5174 w 67277"/>
                  <a:gd name="connsiteY2" fmla="*/ 138525 h 154894"/>
                  <a:gd name="connsiteX3" fmla="*/ 49940 w 67277"/>
                  <a:gd name="connsiteY3" fmla="*/ 110274 h 154894"/>
                  <a:gd name="connsiteX4" fmla="*/ 31242 w 67277"/>
                  <a:gd name="connsiteY4" fmla="*/ 10097 h 154894"/>
                  <a:gd name="connsiteX5" fmla="*/ 38066 w 67277"/>
                  <a:gd name="connsiteY5" fmla="*/ 134 h 154894"/>
                  <a:gd name="connsiteX6" fmla="*/ 38066 w 67277"/>
                  <a:gd name="connsiteY6" fmla="*/ 134 h 154894"/>
                  <a:gd name="connsiteX7" fmla="*/ 48029 w 67277"/>
                  <a:gd name="connsiteY7" fmla="*/ 6958 h 154894"/>
                  <a:gd name="connsiteX8" fmla="*/ 67000 w 67277"/>
                  <a:gd name="connsiteY8" fmla="*/ 108500 h 154894"/>
                  <a:gd name="connsiteX9" fmla="*/ 12271 w 67277"/>
                  <a:gd name="connsiteY9" fmla="*/ 154084 h 154894"/>
                  <a:gd name="connsiteX10" fmla="*/ 7358 w 67277"/>
                  <a:gd name="connsiteY10" fmla="*/ 154767 h 154894"/>
                  <a:gd name="connsiteX11" fmla="*/ 50213 w 67277"/>
                  <a:gd name="connsiteY11" fmla="*/ 111639 h 154894"/>
                  <a:gd name="connsiteX12" fmla="*/ 50213 w 67277"/>
                  <a:gd name="connsiteY12" fmla="*/ 111639 h 154894"/>
                  <a:gd name="connsiteX13" fmla="*/ 50213 w 67277"/>
                  <a:gd name="connsiteY13" fmla="*/ 111639 h 15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277" h="154894">
                    <a:moveTo>
                      <a:pt x="7358" y="154767"/>
                    </a:moveTo>
                    <a:cubicBezTo>
                      <a:pt x="3946" y="154221"/>
                      <a:pt x="807" y="151627"/>
                      <a:pt x="125" y="147669"/>
                    </a:cubicBezTo>
                    <a:cubicBezTo>
                      <a:pt x="-558" y="143848"/>
                      <a:pt x="1626" y="140163"/>
                      <a:pt x="5174" y="138525"/>
                    </a:cubicBezTo>
                    <a:cubicBezTo>
                      <a:pt x="26192" y="128562"/>
                      <a:pt x="46528" y="115733"/>
                      <a:pt x="49940" y="110274"/>
                    </a:cubicBezTo>
                    <a:cubicBezTo>
                      <a:pt x="47074" y="94715"/>
                      <a:pt x="35473" y="32753"/>
                      <a:pt x="31242" y="10097"/>
                    </a:cubicBezTo>
                    <a:cubicBezTo>
                      <a:pt x="30423" y="5457"/>
                      <a:pt x="33426" y="953"/>
                      <a:pt x="38066" y="134"/>
                    </a:cubicBezTo>
                    <a:lnTo>
                      <a:pt x="38066" y="134"/>
                    </a:lnTo>
                    <a:cubicBezTo>
                      <a:pt x="42706" y="-684"/>
                      <a:pt x="47210" y="2318"/>
                      <a:pt x="48029" y="6958"/>
                    </a:cubicBezTo>
                    <a:cubicBezTo>
                      <a:pt x="52396" y="30297"/>
                      <a:pt x="64543" y="95534"/>
                      <a:pt x="67000" y="108500"/>
                    </a:cubicBezTo>
                    <a:cubicBezTo>
                      <a:pt x="67819" y="113004"/>
                      <a:pt x="70412" y="126515"/>
                      <a:pt x="12271" y="154084"/>
                    </a:cubicBezTo>
                    <a:cubicBezTo>
                      <a:pt x="10634" y="154903"/>
                      <a:pt x="8859" y="155039"/>
                      <a:pt x="7358" y="154767"/>
                    </a:cubicBezTo>
                    <a:close/>
                    <a:moveTo>
                      <a:pt x="50213" y="111639"/>
                    </a:moveTo>
                    <a:lnTo>
                      <a:pt x="50213" y="111639"/>
                    </a:lnTo>
                    <a:lnTo>
                      <a:pt x="50213" y="111639"/>
                    </a:ln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871AC29C-7BFD-493D-99B6-3AB0E169F2E9}"/>
                  </a:ext>
                </a:extLst>
              </p:cNvPr>
              <p:cNvSpPr/>
              <p:nvPr/>
            </p:nvSpPr>
            <p:spPr>
              <a:xfrm>
                <a:off x="9248572" y="1754940"/>
                <a:ext cx="71607" cy="90897"/>
              </a:xfrm>
              <a:custGeom>
                <a:avLst/>
                <a:gdLst>
                  <a:gd name="connsiteX0" fmla="*/ 70833 w 71607"/>
                  <a:gd name="connsiteY0" fmla="*/ 50361 h 90897"/>
                  <a:gd name="connsiteX1" fmla="*/ 40262 w 71607"/>
                  <a:gd name="connsiteY1" fmla="*/ 90759 h 90897"/>
                  <a:gd name="connsiteX2" fmla="*/ 21973 w 71607"/>
                  <a:gd name="connsiteY2" fmla="*/ 43401 h 90897"/>
                  <a:gd name="connsiteX3" fmla="*/ 30162 w 71607"/>
                  <a:gd name="connsiteY3" fmla="*/ 18561 h 90897"/>
                  <a:gd name="connsiteX4" fmla="*/ 0 w 71607"/>
                  <a:gd name="connsiteY4" fmla="*/ 0 h 90897"/>
                  <a:gd name="connsiteX5" fmla="*/ 46813 w 71607"/>
                  <a:gd name="connsiteY5" fmla="*/ 3548 h 90897"/>
                  <a:gd name="connsiteX6" fmla="*/ 52681 w 71607"/>
                  <a:gd name="connsiteY6" fmla="*/ 3139 h 90897"/>
                  <a:gd name="connsiteX7" fmla="*/ 70833 w 71607"/>
                  <a:gd name="connsiteY7" fmla="*/ 50361 h 90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607" h="90897">
                    <a:moveTo>
                      <a:pt x="70833" y="50361"/>
                    </a:moveTo>
                    <a:cubicBezTo>
                      <a:pt x="67421" y="74518"/>
                      <a:pt x="53637" y="92670"/>
                      <a:pt x="40262" y="90759"/>
                    </a:cubicBezTo>
                    <a:cubicBezTo>
                      <a:pt x="26750" y="88849"/>
                      <a:pt x="18561" y="67694"/>
                      <a:pt x="21973" y="43401"/>
                    </a:cubicBezTo>
                    <a:cubicBezTo>
                      <a:pt x="23338" y="33847"/>
                      <a:pt x="26341" y="25385"/>
                      <a:pt x="30162" y="18561"/>
                    </a:cubicBezTo>
                    <a:cubicBezTo>
                      <a:pt x="5869" y="16105"/>
                      <a:pt x="0" y="0"/>
                      <a:pt x="0" y="0"/>
                    </a:cubicBezTo>
                    <a:cubicBezTo>
                      <a:pt x="15286" y="4367"/>
                      <a:pt x="36713" y="4094"/>
                      <a:pt x="46813" y="3548"/>
                    </a:cubicBezTo>
                    <a:cubicBezTo>
                      <a:pt x="50361" y="3275"/>
                      <a:pt x="52681" y="3139"/>
                      <a:pt x="52681" y="3139"/>
                    </a:cubicBezTo>
                    <a:cubicBezTo>
                      <a:pt x="66056" y="5050"/>
                      <a:pt x="74245" y="26204"/>
                      <a:pt x="70833" y="50361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4EED1392-C31D-4EF8-97FB-661C9764E974}"/>
                  </a:ext>
                </a:extLst>
              </p:cNvPr>
              <p:cNvSpPr/>
              <p:nvPr/>
            </p:nvSpPr>
            <p:spPr>
              <a:xfrm>
                <a:off x="9295248" y="1757942"/>
                <a:ext cx="5868" cy="545"/>
              </a:xfrm>
              <a:custGeom>
                <a:avLst/>
                <a:gdLst>
                  <a:gd name="connsiteX0" fmla="*/ 5869 w 5868"/>
                  <a:gd name="connsiteY0" fmla="*/ 136 h 545"/>
                  <a:gd name="connsiteX1" fmla="*/ 0 w 5868"/>
                  <a:gd name="connsiteY1" fmla="*/ 546 h 545"/>
                  <a:gd name="connsiteX2" fmla="*/ 5869 w 5868"/>
                  <a:gd name="connsiteY2" fmla="*/ 136 h 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8" h="545">
                    <a:moveTo>
                      <a:pt x="5869" y="136"/>
                    </a:moveTo>
                    <a:cubicBezTo>
                      <a:pt x="5869" y="136"/>
                      <a:pt x="3685" y="273"/>
                      <a:pt x="0" y="546"/>
                    </a:cubicBezTo>
                    <a:cubicBezTo>
                      <a:pt x="1911" y="0"/>
                      <a:pt x="3958" y="-136"/>
                      <a:pt x="5869" y="136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B629BF50-9342-439E-AA8B-D963A9D839C1}"/>
                  </a:ext>
                </a:extLst>
              </p:cNvPr>
              <p:cNvSpPr/>
              <p:nvPr/>
            </p:nvSpPr>
            <p:spPr>
              <a:xfrm>
                <a:off x="9542605" y="1676245"/>
                <a:ext cx="125015" cy="126092"/>
              </a:xfrm>
              <a:custGeom>
                <a:avLst/>
                <a:gdLst>
                  <a:gd name="connsiteX0" fmla="*/ 114043 w 125015"/>
                  <a:gd name="connsiteY0" fmla="*/ 122505 h 126092"/>
                  <a:gd name="connsiteX1" fmla="*/ 95755 w 125015"/>
                  <a:gd name="connsiteY1" fmla="*/ 93298 h 126092"/>
                  <a:gd name="connsiteX2" fmla="*/ 72553 w 125015"/>
                  <a:gd name="connsiteY2" fmla="*/ 68595 h 126092"/>
                  <a:gd name="connsiteX3" fmla="*/ 45530 w 125015"/>
                  <a:gd name="connsiteY3" fmla="*/ 50307 h 126092"/>
                  <a:gd name="connsiteX4" fmla="*/ 16050 w 125015"/>
                  <a:gd name="connsiteY4" fmla="*/ 39798 h 126092"/>
                  <a:gd name="connsiteX5" fmla="*/ 15095 w 125015"/>
                  <a:gd name="connsiteY5" fmla="*/ 39525 h 126092"/>
                  <a:gd name="connsiteX6" fmla="*/ 628 w 125015"/>
                  <a:gd name="connsiteY6" fmla="*/ 15095 h 126092"/>
                  <a:gd name="connsiteX7" fmla="*/ 25058 w 125015"/>
                  <a:gd name="connsiteY7" fmla="*/ 628 h 126092"/>
                  <a:gd name="connsiteX8" fmla="*/ 28743 w 125015"/>
                  <a:gd name="connsiteY8" fmla="*/ 1993 h 126092"/>
                  <a:gd name="connsiteX9" fmla="*/ 63682 w 125015"/>
                  <a:gd name="connsiteY9" fmla="*/ 23147 h 126092"/>
                  <a:gd name="connsiteX10" fmla="*/ 91387 w 125015"/>
                  <a:gd name="connsiteY10" fmla="*/ 51399 h 126092"/>
                  <a:gd name="connsiteX11" fmla="*/ 111586 w 125015"/>
                  <a:gd name="connsiteY11" fmla="*/ 83881 h 126092"/>
                  <a:gd name="connsiteX12" fmla="*/ 124825 w 125015"/>
                  <a:gd name="connsiteY12" fmla="*/ 119229 h 126092"/>
                  <a:gd name="connsiteX13" fmla="*/ 120867 w 125015"/>
                  <a:gd name="connsiteY13" fmla="*/ 125917 h 126092"/>
                  <a:gd name="connsiteX14" fmla="*/ 114589 w 125015"/>
                  <a:gd name="connsiteY14" fmla="*/ 122914 h 126092"/>
                  <a:gd name="connsiteX15" fmla="*/ 114043 w 125015"/>
                  <a:gd name="connsiteY15" fmla="*/ 122505 h 126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5015" h="126092">
                    <a:moveTo>
                      <a:pt x="114043" y="122505"/>
                    </a:moveTo>
                    <a:cubicBezTo>
                      <a:pt x="109130" y="112405"/>
                      <a:pt x="102715" y="102306"/>
                      <a:pt x="95755" y="93298"/>
                    </a:cubicBezTo>
                    <a:cubicBezTo>
                      <a:pt x="88794" y="84154"/>
                      <a:pt x="80878" y="75829"/>
                      <a:pt x="72553" y="68595"/>
                    </a:cubicBezTo>
                    <a:cubicBezTo>
                      <a:pt x="64228" y="61225"/>
                      <a:pt x="55084" y="55084"/>
                      <a:pt x="45530" y="50307"/>
                    </a:cubicBezTo>
                    <a:cubicBezTo>
                      <a:pt x="36113" y="45121"/>
                      <a:pt x="26013" y="42254"/>
                      <a:pt x="16050" y="39798"/>
                    </a:cubicBezTo>
                    <a:lnTo>
                      <a:pt x="15095" y="39525"/>
                    </a:lnTo>
                    <a:cubicBezTo>
                      <a:pt x="4313" y="36795"/>
                      <a:pt x="-2102" y="25877"/>
                      <a:pt x="628" y="15095"/>
                    </a:cubicBezTo>
                    <a:cubicBezTo>
                      <a:pt x="3358" y="4313"/>
                      <a:pt x="14276" y="-2102"/>
                      <a:pt x="25058" y="628"/>
                    </a:cubicBezTo>
                    <a:cubicBezTo>
                      <a:pt x="26286" y="901"/>
                      <a:pt x="27515" y="1447"/>
                      <a:pt x="28743" y="1993"/>
                    </a:cubicBezTo>
                    <a:cubicBezTo>
                      <a:pt x="41299" y="7861"/>
                      <a:pt x="53309" y="14412"/>
                      <a:pt x="63682" y="23147"/>
                    </a:cubicBezTo>
                    <a:cubicBezTo>
                      <a:pt x="74191" y="31473"/>
                      <a:pt x="83472" y="41026"/>
                      <a:pt x="91387" y="51399"/>
                    </a:cubicBezTo>
                    <a:cubicBezTo>
                      <a:pt x="99303" y="61635"/>
                      <a:pt x="105991" y="72553"/>
                      <a:pt x="111586" y="83881"/>
                    </a:cubicBezTo>
                    <a:cubicBezTo>
                      <a:pt x="117046" y="95345"/>
                      <a:pt x="121549" y="106810"/>
                      <a:pt x="124825" y="119229"/>
                    </a:cubicBezTo>
                    <a:cubicBezTo>
                      <a:pt x="125644" y="122232"/>
                      <a:pt x="123733" y="125234"/>
                      <a:pt x="120867" y="125917"/>
                    </a:cubicBezTo>
                    <a:cubicBezTo>
                      <a:pt x="118274" y="126599"/>
                      <a:pt x="115681" y="125234"/>
                      <a:pt x="114589" y="122914"/>
                    </a:cubicBezTo>
                    <a:lnTo>
                      <a:pt x="114043" y="122505"/>
                    </a:ln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B4BC00AD-8CD8-4D2C-A8EB-2D8FA0797FB1}"/>
                  </a:ext>
                </a:extLst>
              </p:cNvPr>
              <p:cNvSpPr/>
              <p:nvPr/>
            </p:nvSpPr>
            <p:spPr>
              <a:xfrm>
                <a:off x="9195225" y="1642578"/>
                <a:ext cx="171987" cy="91771"/>
              </a:xfrm>
              <a:custGeom>
                <a:avLst/>
                <a:gdLst>
                  <a:gd name="connsiteX0" fmla="*/ 1075 w 171987"/>
                  <a:gd name="connsiteY0" fmla="*/ 82883 h 91771"/>
                  <a:gd name="connsiteX1" fmla="*/ 29873 w 171987"/>
                  <a:gd name="connsiteY1" fmla="*/ 51219 h 91771"/>
                  <a:gd name="connsiteX2" fmla="*/ 64812 w 171987"/>
                  <a:gd name="connsiteY2" fmla="*/ 25561 h 91771"/>
                  <a:gd name="connsiteX3" fmla="*/ 105483 w 171987"/>
                  <a:gd name="connsiteY3" fmla="*/ 7546 h 91771"/>
                  <a:gd name="connsiteX4" fmla="*/ 150658 w 171987"/>
                  <a:gd name="connsiteY4" fmla="*/ 39 h 91771"/>
                  <a:gd name="connsiteX5" fmla="*/ 171949 w 171987"/>
                  <a:gd name="connsiteY5" fmla="*/ 18737 h 91771"/>
                  <a:gd name="connsiteX6" fmla="*/ 153251 w 171987"/>
                  <a:gd name="connsiteY6" fmla="*/ 40028 h 91771"/>
                  <a:gd name="connsiteX7" fmla="*/ 149975 w 171987"/>
                  <a:gd name="connsiteY7" fmla="*/ 40028 h 91771"/>
                  <a:gd name="connsiteX8" fmla="*/ 148747 w 171987"/>
                  <a:gd name="connsiteY8" fmla="*/ 39891 h 91771"/>
                  <a:gd name="connsiteX9" fmla="*/ 112443 w 171987"/>
                  <a:gd name="connsiteY9" fmla="*/ 39482 h 91771"/>
                  <a:gd name="connsiteX10" fmla="*/ 75867 w 171987"/>
                  <a:gd name="connsiteY10" fmla="*/ 48490 h 91771"/>
                  <a:gd name="connsiteX11" fmla="*/ 40928 w 171987"/>
                  <a:gd name="connsiteY11" fmla="*/ 65823 h 91771"/>
                  <a:gd name="connsiteX12" fmla="*/ 9674 w 171987"/>
                  <a:gd name="connsiteY12" fmla="*/ 89980 h 91771"/>
                  <a:gd name="connsiteX13" fmla="*/ 9401 w 171987"/>
                  <a:gd name="connsiteY13" fmla="*/ 90253 h 91771"/>
                  <a:gd name="connsiteX14" fmla="*/ 1621 w 171987"/>
                  <a:gd name="connsiteY14" fmla="*/ 90116 h 91771"/>
                  <a:gd name="connsiteX15" fmla="*/ 1075 w 171987"/>
                  <a:gd name="connsiteY15" fmla="*/ 82883 h 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987" h="91771">
                    <a:moveTo>
                      <a:pt x="1075" y="82883"/>
                    </a:moveTo>
                    <a:cubicBezTo>
                      <a:pt x="9674" y="71145"/>
                      <a:pt x="19227" y="60909"/>
                      <a:pt x="29873" y="51219"/>
                    </a:cubicBezTo>
                    <a:cubicBezTo>
                      <a:pt x="40518" y="41666"/>
                      <a:pt x="52119" y="33067"/>
                      <a:pt x="64812" y="25561"/>
                    </a:cubicBezTo>
                    <a:cubicBezTo>
                      <a:pt x="77368" y="17918"/>
                      <a:pt x="91152" y="11913"/>
                      <a:pt x="105483" y="7546"/>
                    </a:cubicBezTo>
                    <a:cubicBezTo>
                      <a:pt x="119950" y="2769"/>
                      <a:pt x="135235" y="995"/>
                      <a:pt x="150658" y="39"/>
                    </a:cubicBezTo>
                    <a:cubicBezTo>
                      <a:pt x="161713" y="-643"/>
                      <a:pt x="171266" y="7682"/>
                      <a:pt x="171949" y="18737"/>
                    </a:cubicBezTo>
                    <a:cubicBezTo>
                      <a:pt x="172631" y="29792"/>
                      <a:pt x="164306" y="39345"/>
                      <a:pt x="153251" y="40028"/>
                    </a:cubicBezTo>
                    <a:cubicBezTo>
                      <a:pt x="152159" y="40164"/>
                      <a:pt x="151067" y="40028"/>
                      <a:pt x="149975" y="40028"/>
                    </a:cubicBezTo>
                    <a:lnTo>
                      <a:pt x="148747" y="39891"/>
                    </a:lnTo>
                    <a:cubicBezTo>
                      <a:pt x="136873" y="38663"/>
                      <a:pt x="124590" y="37708"/>
                      <a:pt x="112443" y="39482"/>
                    </a:cubicBezTo>
                    <a:cubicBezTo>
                      <a:pt x="100160" y="40983"/>
                      <a:pt x="87877" y="43849"/>
                      <a:pt x="75867" y="48490"/>
                    </a:cubicBezTo>
                    <a:cubicBezTo>
                      <a:pt x="63856" y="52993"/>
                      <a:pt x="52119" y="58726"/>
                      <a:pt x="40928" y="65823"/>
                    </a:cubicBezTo>
                    <a:cubicBezTo>
                      <a:pt x="29873" y="72783"/>
                      <a:pt x="18954" y="80972"/>
                      <a:pt x="9674" y="89980"/>
                    </a:cubicBezTo>
                    <a:lnTo>
                      <a:pt x="9401" y="90253"/>
                    </a:lnTo>
                    <a:cubicBezTo>
                      <a:pt x="7217" y="92300"/>
                      <a:pt x="3668" y="92300"/>
                      <a:pt x="1621" y="90116"/>
                    </a:cubicBezTo>
                    <a:cubicBezTo>
                      <a:pt x="-289" y="87932"/>
                      <a:pt x="-562" y="84930"/>
                      <a:pt x="1075" y="82883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0F10A876-4EC9-4BD5-AC39-65781D576904}"/>
                  </a:ext>
                </a:extLst>
              </p:cNvPr>
              <p:cNvSpPr/>
              <p:nvPr/>
            </p:nvSpPr>
            <p:spPr>
              <a:xfrm>
                <a:off x="9184933" y="1374210"/>
                <a:ext cx="615925" cy="336071"/>
              </a:xfrm>
              <a:custGeom>
                <a:avLst/>
                <a:gdLst>
                  <a:gd name="connsiteX0" fmla="*/ 1677 w 615925"/>
                  <a:gd name="connsiteY0" fmla="*/ 130015 h 336071"/>
                  <a:gd name="connsiteX1" fmla="*/ 530401 w 615925"/>
                  <a:gd name="connsiteY1" fmla="*/ 335691 h 336071"/>
                  <a:gd name="connsiteX2" fmla="*/ 259625 w 615925"/>
                  <a:gd name="connsiteY2" fmla="*/ 1451 h 336071"/>
                  <a:gd name="connsiteX3" fmla="*/ 1677 w 615925"/>
                  <a:gd name="connsiteY3" fmla="*/ 130015 h 33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5925" h="336071">
                    <a:moveTo>
                      <a:pt x="1677" y="130015"/>
                    </a:moveTo>
                    <a:cubicBezTo>
                      <a:pt x="1677" y="130015"/>
                      <a:pt x="160131" y="346337"/>
                      <a:pt x="530401" y="335691"/>
                    </a:cubicBezTo>
                    <a:cubicBezTo>
                      <a:pt x="729663" y="329959"/>
                      <a:pt x="556606" y="18921"/>
                      <a:pt x="259625" y="1451"/>
                    </a:cubicBezTo>
                    <a:cubicBezTo>
                      <a:pt x="-37220" y="-16018"/>
                      <a:pt x="1677" y="130015"/>
                      <a:pt x="1677" y="130015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DBBF36CC-EC49-4F8A-8C8B-EB3B4BD88F0F}"/>
                  </a:ext>
                </a:extLst>
              </p:cNvPr>
              <p:cNvSpPr/>
              <p:nvPr/>
            </p:nvSpPr>
            <p:spPr>
              <a:xfrm>
                <a:off x="9700321" y="1643370"/>
                <a:ext cx="53600" cy="285855"/>
              </a:xfrm>
              <a:custGeom>
                <a:avLst/>
                <a:gdLst>
                  <a:gd name="connsiteX0" fmla="*/ 15968 w 53600"/>
                  <a:gd name="connsiteY0" fmla="*/ 32684 h 285855"/>
                  <a:gd name="connsiteX1" fmla="*/ 0 w 53600"/>
                  <a:gd name="connsiteY1" fmla="*/ 285855 h 285855"/>
                  <a:gd name="connsiteX2" fmla="*/ 49269 w 53600"/>
                  <a:gd name="connsiteY2" fmla="*/ 44831 h 285855"/>
                  <a:gd name="connsiteX3" fmla="*/ 15968 w 53600"/>
                  <a:gd name="connsiteY3" fmla="*/ 32684 h 28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00" h="285855">
                    <a:moveTo>
                      <a:pt x="15968" y="32684"/>
                    </a:moveTo>
                    <a:cubicBezTo>
                      <a:pt x="15968" y="32684"/>
                      <a:pt x="38215" y="197689"/>
                      <a:pt x="0" y="285855"/>
                    </a:cubicBezTo>
                    <a:cubicBezTo>
                      <a:pt x="0" y="285855"/>
                      <a:pt x="71652" y="138184"/>
                      <a:pt x="49269" y="44831"/>
                    </a:cubicBezTo>
                    <a:cubicBezTo>
                      <a:pt x="27023" y="-48385"/>
                      <a:pt x="15968" y="32684"/>
                      <a:pt x="15968" y="32684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811B5A2D-4F51-487D-B5FB-F9F48E2D899A}"/>
                  </a:ext>
                </a:extLst>
              </p:cNvPr>
              <p:cNvSpPr/>
              <p:nvPr/>
            </p:nvSpPr>
            <p:spPr>
              <a:xfrm>
                <a:off x="8601558" y="1244747"/>
                <a:ext cx="925024" cy="1274848"/>
              </a:xfrm>
              <a:custGeom>
                <a:avLst/>
                <a:gdLst>
                  <a:gd name="connsiteX0" fmla="*/ 684273 w 925024"/>
                  <a:gd name="connsiteY0" fmla="*/ 260161 h 1274848"/>
                  <a:gd name="connsiteX1" fmla="*/ 550932 w 925024"/>
                  <a:gd name="connsiteY1" fmla="*/ 803898 h 1274848"/>
                  <a:gd name="connsiteX2" fmla="*/ 483101 w 925024"/>
                  <a:gd name="connsiteY2" fmla="*/ 1258241 h 1274848"/>
                  <a:gd name="connsiteX3" fmla="*/ 42407 w 925024"/>
                  <a:gd name="connsiteY3" fmla="*/ 1269569 h 1274848"/>
                  <a:gd name="connsiteX4" fmla="*/ 42407 w 925024"/>
                  <a:gd name="connsiteY4" fmla="*/ 1269569 h 1274848"/>
                  <a:gd name="connsiteX5" fmla="*/ 37630 w 925024"/>
                  <a:gd name="connsiteY5" fmla="*/ 1271479 h 1274848"/>
                  <a:gd name="connsiteX6" fmla="*/ 26575 w 925024"/>
                  <a:gd name="connsiteY6" fmla="*/ 1274618 h 1274848"/>
                  <a:gd name="connsiteX7" fmla="*/ 4738 w 925024"/>
                  <a:gd name="connsiteY7" fmla="*/ 1183723 h 1274848"/>
                  <a:gd name="connsiteX8" fmla="*/ 20706 w 925024"/>
                  <a:gd name="connsiteY8" fmla="*/ 1112071 h 1274848"/>
                  <a:gd name="connsiteX9" fmla="*/ 192672 w 925024"/>
                  <a:gd name="connsiteY9" fmla="*/ 643807 h 1274848"/>
                  <a:gd name="connsiteX10" fmla="*/ 360679 w 925024"/>
                  <a:gd name="connsiteY10" fmla="*/ 286911 h 1274848"/>
                  <a:gd name="connsiteX11" fmla="*/ 410903 w 925024"/>
                  <a:gd name="connsiteY11" fmla="*/ 197244 h 1274848"/>
                  <a:gd name="connsiteX12" fmla="*/ 925024 w 925024"/>
                  <a:gd name="connsiteY12" fmla="*/ 9583 h 1274848"/>
                  <a:gd name="connsiteX13" fmla="*/ 684273 w 925024"/>
                  <a:gd name="connsiteY13" fmla="*/ 260161 h 1274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25024" h="1274848">
                    <a:moveTo>
                      <a:pt x="684273" y="260161"/>
                    </a:moveTo>
                    <a:cubicBezTo>
                      <a:pt x="684273" y="260161"/>
                      <a:pt x="507804" y="560963"/>
                      <a:pt x="550932" y="803898"/>
                    </a:cubicBezTo>
                    <a:cubicBezTo>
                      <a:pt x="594060" y="1046696"/>
                      <a:pt x="657114" y="1240089"/>
                      <a:pt x="483101" y="1258241"/>
                    </a:cubicBezTo>
                    <a:cubicBezTo>
                      <a:pt x="310863" y="1276256"/>
                      <a:pt x="196629" y="1208562"/>
                      <a:pt x="42407" y="1269569"/>
                    </a:cubicBezTo>
                    <a:lnTo>
                      <a:pt x="42407" y="1269569"/>
                    </a:lnTo>
                    <a:cubicBezTo>
                      <a:pt x="40769" y="1270251"/>
                      <a:pt x="39268" y="1270933"/>
                      <a:pt x="37630" y="1271479"/>
                    </a:cubicBezTo>
                    <a:cubicBezTo>
                      <a:pt x="33536" y="1273117"/>
                      <a:pt x="29987" y="1274209"/>
                      <a:pt x="26575" y="1274618"/>
                    </a:cubicBezTo>
                    <a:cubicBezTo>
                      <a:pt x="-175" y="1278030"/>
                      <a:pt x="-5225" y="1243228"/>
                      <a:pt x="4738" y="1183723"/>
                    </a:cubicBezTo>
                    <a:cubicBezTo>
                      <a:pt x="8287" y="1162705"/>
                      <a:pt x="13746" y="1138548"/>
                      <a:pt x="20706" y="1112071"/>
                    </a:cubicBezTo>
                    <a:cubicBezTo>
                      <a:pt x="53189" y="988965"/>
                      <a:pt x="120064" y="812906"/>
                      <a:pt x="192672" y="643807"/>
                    </a:cubicBezTo>
                    <a:cubicBezTo>
                      <a:pt x="249720" y="510875"/>
                      <a:pt x="310317" y="382311"/>
                      <a:pt x="360679" y="286911"/>
                    </a:cubicBezTo>
                    <a:cubicBezTo>
                      <a:pt x="378967" y="252109"/>
                      <a:pt x="396027" y="221810"/>
                      <a:pt x="410903" y="197244"/>
                    </a:cubicBezTo>
                    <a:cubicBezTo>
                      <a:pt x="570176" y="-64116"/>
                      <a:pt x="925024" y="9583"/>
                      <a:pt x="925024" y="9583"/>
                    </a:cubicBezTo>
                    <a:lnTo>
                      <a:pt x="684273" y="260161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559336CD-E98C-4624-8890-CB51A28526E9}"/>
                  </a:ext>
                </a:extLst>
              </p:cNvPr>
              <p:cNvSpPr/>
              <p:nvPr/>
            </p:nvSpPr>
            <p:spPr>
              <a:xfrm>
                <a:off x="8604588" y="1530461"/>
                <a:ext cx="369058" cy="988631"/>
              </a:xfrm>
              <a:custGeom>
                <a:avLst/>
                <a:gdLst>
                  <a:gd name="connsiteX0" fmla="*/ 368021 w 369058"/>
                  <a:gd name="connsiteY0" fmla="*/ 12252 h 988631"/>
                  <a:gd name="connsiteX1" fmla="*/ 189505 w 369058"/>
                  <a:gd name="connsiteY1" fmla="*/ 357820 h 988631"/>
                  <a:gd name="connsiteX2" fmla="*/ 31461 w 369058"/>
                  <a:gd name="connsiteY2" fmla="*/ 734232 h 988631"/>
                  <a:gd name="connsiteX3" fmla="*/ 17676 w 369058"/>
                  <a:gd name="connsiteY3" fmla="*/ 826083 h 988631"/>
                  <a:gd name="connsiteX4" fmla="*/ 39377 w 369058"/>
                  <a:gd name="connsiteY4" fmla="*/ 983582 h 988631"/>
                  <a:gd name="connsiteX5" fmla="*/ 34600 w 369058"/>
                  <a:gd name="connsiteY5" fmla="*/ 985492 h 988631"/>
                  <a:gd name="connsiteX6" fmla="*/ 23545 w 369058"/>
                  <a:gd name="connsiteY6" fmla="*/ 988631 h 988631"/>
                  <a:gd name="connsiteX7" fmla="*/ 1708 w 369058"/>
                  <a:gd name="connsiteY7" fmla="*/ 897736 h 988631"/>
                  <a:gd name="connsiteX8" fmla="*/ 15493 w 369058"/>
                  <a:gd name="connsiteY8" fmla="*/ 730547 h 988631"/>
                  <a:gd name="connsiteX9" fmla="*/ 353691 w 369058"/>
                  <a:gd name="connsiteY9" fmla="*/ 4336 h 988631"/>
                  <a:gd name="connsiteX10" fmla="*/ 357512 w 369058"/>
                  <a:gd name="connsiteY10" fmla="*/ 788 h 988631"/>
                  <a:gd name="connsiteX11" fmla="*/ 364882 w 369058"/>
                  <a:gd name="connsiteY11" fmla="*/ 1061 h 988631"/>
                  <a:gd name="connsiteX12" fmla="*/ 368021 w 369058"/>
                  <a:gd name="connsiteY12" fmla="*/ 12252 h 988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9058" h="988631">
                    <a:moveTo>
                      <a:pt x="368021" y="12252"/>
                    </a:moveTo>
                    <a:cubicBezTo>
                      <a:pt x="366383" y="15255"/>
                      <a:pt x="276579" y="180532"/>
                      <a:pt x="189505" y="357820"/>
                    </a:cubicBezTo>
                    <a:cubicBezTo>
                      <a:pt x="118399" y="502489"/>
                      <a:pt x="49340" y="655210"/>
                      <a:pt x="31461" y="734232"/>
                    </a:cubicBezTo>
                    <a:cubicBezTo>
                      <a:pt x="23682" y="768352"/>
                      <a:pt x="19451" y="798924"/>
                      <a:pt x="17676" y="826083"/>
                    </a:cubicBezTo>
                    <a:cubicBezTo>
                      <a:pt x="11808" y="912885"/>
                      <a:pt x="30642" y="964747"/>
                      <a:pt x="39377" y="983582"/>
                    </a:cubicBezTo>
                    <a:cubicBezTo>
                      <a:pt x="37739" y="984264"/>
                      <a:pt x="36238" y="984946"/>
                      <a:pt x="34600" y="985492"/>
                    </a:cubicBezTo>
                    <a:cubicBezTo>
                      <a:pt x="30506" y="987130"/>
                      <a:pt x="26957" y="988222"/>
                      <a:pt x="23545" y="988631"/>
                    </a:cubicBezTo>
                    <a:cubicBezTo>
                      <a:pt x="16585" y="973346"/>
                      <a:pt x="5803" y="943320"/>
                      <a:pt x="1708" y="897736"/>
                    </a:cubicBezTo>
                    <a:cubicBezTo>
                      <a:pt x="-2113" y="855563"/>
                      <a:pt x="-339" y="800152"/>
                      <a:pt x="15493" y="730547"/>
                    </a:cubicBezTo>
                    <a:cubicBezTo>
                      <a:pt x="55891" y="552168"/>
                      <a:pt x="341680" y="26582"/>
                      <a:pt x="353691" y="4336"/>
                    </a:cubicBezTo>
                    <a:cubicBezTo>
                      <a:pt x="354646" y="2698"/>
                      <a:pt x="356011" y="1470"/>
                      <a:pt x="357512" y="788"/>
                    </a:cubicBezTo>
                    <a:cubicBezTo>
                      <a:pt x="359832" y="-304"/>
                      <a:pt x="362425" y="-304"/>
                      <a:pt x="364882" y="1061"/>
                    </a:cubicBezTo>
                    <a:cubicBezTo>
                      <a:pt x="368840" y="3244"/>
                      <a:pt x="370205" y="8294"/>
                      <a:pt x="368021" y="12252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CFCC3DB8-8558-4887-A185-DF01570280AE}"/>
                  </a:ext>
                </a:extLst>
              </p:cNvPr>
              <p:cNvSpPr/>
              <p:nvPr/>
            </p:nvSpPr>
            <p:spPr>
              <a:xfrm>
                <a:off x="9155219" y="1669913"/>
                <a:ext cx="296708" cy="296708"/>
              </a:xfrm>
              <a:custGeom>
                <a:avLst/>
                <a:gdLst>
                  <a:gd name="connsiteX0" fmla="*/ 148354 w 296708"/>
                  <a:gd name="connsiteY0" fmla="*/ 296708 h 296708"/>
                  <a:gd name="connsiteX1" fmla="*/ 0 w 296708"/>
                  <a:gd name="connsiteY1" fmla="*/ 148354 h 296708"/>
                  <a:gd name="connsiteX2" fmla="*/ 148354 w 296708"/>
                  <a:gd name="connsiteY2" fmla="*/ 0 h 296708"/>
                  <a:gd name="connsiteX3" fmla="*/ 296708 w 296708"/>
                  <a:gd name="connsiteY3" fmla="*/ 148354 h 296708"/>
                  <a:gd name="connsiteX4" fmla="*/ 148354 w 296708"/>
                  <a:gd name="connsiteY4" fmla="*/ 296708 h 296708"/>
                  <a:gd name="connsiteX5" fmla="*/ 148354 w 296708"/>
                  <a:gd name="connsiteY5" fmla="*/ 18015 h 296708"/>
                  <a:gd name="connsiteX6" fmla="*/ 18015 w 296708"/>
                  <a:gd name="connsiteY6" fmla="*/ 148354 h 296708"/>
                  <a:gd name="connsiteX7" fmla="*/ 148354 w 296708"/>
                  <a:gd name="connsiteY7" fmla="*/ 278693 h 296708"/>
                  <a:gd name="connsiteX8" fmla="*/ 278693 w 296708"/>
                  <a:gd name="connsiteY8" fmla="*/ 148354 h 296708"/>
                  <a:gd name="connsiteX9" fmla="*/ 148354 w 296708"/>
                  <a:gd name="connsiteY9" fmla="*/ 18015 h 29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8" h="296708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242"/>
                      <a:pt x="230106" y="296708"/>
                      <a:pt x="148354" y="296708"/>
                    </a:cubicBezTo>
                    <a:close/>
                    <a:moveTo>
                      <a:pt x="148354" y="18015"/>
                    </a:moveTo>
                    <a:cubicBezTo>
                      <a:pt x="76429" y="18015"/>
                      <a:pt x="18015" y="76565"/>
                      <a:pt x="18015" y="148354"/>
                    </a:cubicBezTo>
                    <a:cubicBezTo>
                      <a:pt x="18015" y="220279"/>
                      <a:pt x="76565" y="278693"/>
                      <a:pt x="148354" y="278693"/>
                    </a:cubicBezTo>
                    <a:cubicBezTo>
                      <a:pt x="220279" y="278693"/>
                      <a:pt x="278693" y="220143"/>
                      <a:pt x="278693" y="148354"/>
                    </a:cubicBezTo>
                    <a:cubicBezTo>
                      <a:pt x="278829" y="76565"/>
                      <a:pt x="220279" y="18015"/>
                      <a:pt x="148354" y="180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B534FAAB-E30F-4957-895E-3435DAC0ACA2}"/>
                  </a:ext>
                </a:extLst>
              </p:cNvPr>
              <p:cNvSpPr/>
              <p:nvPr/>
            </p:nvSpPr>
            <p:spPr>
              <a:xfrm>
                <a:off x="9483864" y="1736652"/>
                <a:ext cx="296707" cy="296707"/>
              </a:xfrm>
              <a:custGeom>
                <a:avLst/>
                <a:gdLst>
                  <a:gd name="connsiteX0" fmla="*/ 148354 w 296707"/>
                  <a:gd name="connsiteY0" fmla="*/ 296708 h 296707"/>
                  <a:gd name="connsiteX1" fmla="*/ 0 w 296707"/>
                  <a:gd name="connsiteY1" fmla="*/ 148354 h 296707"/>
                  <a:gd name="connsiteX2" fmla="*/ 148354 w 296707"/>
                  <a:gd name="connsiteY2" fmla="*/ 0 h 296707"/>
                  <a:gd name="connsiteX3" fmla="*/ 296708 w 296707"/>
                  <a:gd name="connsiteY3" fmla="*/ 148354 h 296707"/>
                  <a:gd name="connsiteX4" fmla="*/ 148354 w 296707"/>
                  <a:gd name="connsiteY4" fmla="*/ 296708 h 296707"/>
                  <a:gd name="connsiteX5" fmla="*/ 148354 w 296707"/>
                  <a:gd name="connsiteY5" fmla="*/ 17879 h 296707"/>
                  <a:gd name="connsiteX6" fmla="*/ 18015 w 296707"/>
                  <a:gd name="connsiteY6" fmla="*/ 148217 h 296707"/>
                  <a:gd name="connsiteX7" fmla="*/ 148354 w 296707"/>
                  <a:gd name="connsiteY7" fmla="*/ 278556 h 296707"/>
                  <a:gd name="connsiteX8" fmla="*/ 278693 w 296707"/>
                  <a:gd name="connsiteY8" fmla="*/ 148217 h 296707"/>
                  <a:gd name="connsiteX9" fmla="*/ 148354 w 296707"/>
                  <a:gd name="connsiteY9" fmla="*/ 17879 h 296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7" h="296707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106"/>
                      <a:pt x="230242" y="296708"/>
                      <a:pt x="148354" y="296708"/>
                    </a:cubicBezTo>
                    <a:close/>
                    <a:moveTo>
                      <a:pt x="148354" y="17879"/>
                    </a:moveTo>
                    <a:cubicBezTo>
                      <a:pt x="76429" y="17879"/>
                      <a:pt x="18015" y="76429"/>
                      <a:pt x="18015" y="148217"/>
                    </a:cubicBezTo>
                    <a:cubicBezTo>
                      <a:pt x="18015" y="220006"/>
                      <a:pt x="76565" y="278556"/>
                      <a:pt x="148354" y="278556"/>
                    </a:cubicBezTo>
                    <a:cubicBezTo>
                      <a:pt x="220279" y="278556"/>
                      <a:pt x="278693" y="220006"/>
                      <a:pt x="278693" y="148217"/>
                    </a:cubicBezTo>
                    <a:cubicBezTo>
                      <a:pt x="278693" y="76429"/>
                      <a:pt x="220279" y="17879"/>
                      <a:pt x="148354" y="1787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FAC1E93C-8B50-436A-90D7-9088647AD8EE}"/>
                  </a:ext>
                </a:extLst>
              </p:cNvPr>
              <p:cNvSpPr/>
              <p:nvPr/>
            </p:nvSpPr>
            <p:spPr>
              <a:xfrm>
                <a:off x="9440054" y="1812562"/>
                <a:ext cx="67421" cy="33956"/>
              </a:xfrm>
              <a:custGeom>
                <a:avLst/>
                <a:gdLst>
                  <a:gd name="connsiteX0" fmla="*/ 52272 w 67421"/>
                  <a:gd name="connsiteY0" fmla="*/ 33956 h 33956"/>
                  <a:gd name="connsiteX1" fmla="*/ 6142 w 67421"/>
                  <a:gd name="connsiteY1" fmla="*/ 20308 h 33956"/>
                  <a:gd name="connsiteX2" fmla="*/ 0 w 67421"/>
                  <a:gd name="connsiteY2" fmla="*/ 3521 h 33956"/>
                  <a:gd name="connsiteX3" fmla="*/ 67421 w 67421"/>
                  <a:gd name="connsiteY3" fmla="*/ 24266 h 33956"/>
                  <a:gd name="connsiteX4" fmla="*/ 52272 w 67421"/>
                  <a:gd name="connsiteY4" fmla="*/ 33956 h 3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21" h="33956">
                    <a:moveTo>
                      <a:pt x="52272" y="33956"/>
                    </a:moveTo>
                    <a:cubicBezTo>
                      <a:pt x="36440" y="9663"/>
                      <a:pt x="7370" y="19899"/>
                      <a:pt x="6142" y="20308"/>
                    </a:cubicBezTo>
                    <a:lnTo>
                      <a:pt x="0" y="3521"/>
                    </a:lnTo>
                    <a:cubicBezTo>
                      <a:pt x="15149" y="-1938"/>
                      <a:pt x="48587" y="-4804"/>
                      <a:pt x="67421" y="24266"/>
                    </a:cubicBezTo>
                    <a:lnTo>
                      <a:pt x="52272" y="33956"/>
                    </a:ln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F5FFFF3-A97F-47C1-A32B-2D9751BA106A}"/>
                </a:ext>
              </a:extLst>
            </p:cNvPr>
            <p:cNvSpPr/>
            <p:nvPr/>
          </p:nvSpPr>
          <p:spPr>
            <a:xfrm flipH="1">
              <a:off x="8031150" y="4341786"/>
              <a:ext cx="2161047" cy="1112786"/>
            </a:xfrm>
            <a:custGeom>
              <a:avLst/>
              <a:gdLst>
                <a:gd name="connsiteX0" fmla="*/ 1486269 w 2161047"/>
                <a:gd name="connsiteY0" fmla="*/ 911961 h 1112786"/>
                <a:gd name="connsiteX1" fmla="*/ 1290011 w 2161047"/>
                <a:gd name="connsiteY1" fmla="*/ 1061953 h 1112786"/>
                <a:gd name="connsiteX2" fmla="*/ 211408 w 2161047"/>
                <a:gd name="connsiteY2" fmla="*/ 894901 h 1112786"/>
                <a:gd name="connsiteX3" fmla="*/ 251124 w 2161047"/>
                <a:gd name="connsiteY3" fmla="*/ 504977 h 1112786"/>
                <a:gd name="connsiteX4" fmla="*/ 245664 w 2161047"/>
                <a:gd name="connsiteY4" fmla="*/ 455434 h 1112786"/>
                <a:gd name="connsiteX5" fmla="*/ 0 w 2161047"/>
                <a:gd name="connsiteY5" fmla="*/ 0 h 1112786"/>
                <a:gd name="connsiteX6" fmla="*/ 666569 w 2161047"/>
                <a:gd name="connsiteY6" fmla="*/ 413535 h 1112786"/>
                <a:gd name="connsiteX7" fmla="*/ 666706 w 2161047"/>
                <a:gd name="connsiteY7" fmla="*/ 413535 h 1112786"/>
                <a:gd name="connsiteX8" fmla="*/ 874019 w 2161047"/>
                <a:gd name="connsiteY8" fmla="*/ 535548 h 1112786"/>
                <a:gd name="connsiteX9" fmla="*/ 1161310 w 2161047"/>
                <a:gd name="connsiteY9" fmla="*/ 571715 h 1112786"/>
                <a:gd name="connsiteX10" fmla="*/ 1550415 w 2161047"/>
                <a:gd name="connsiteY10" fmla="*/ 446427 h 1112786"/>
                <a:gd name="connsiteX11" fmla="*/ 2145469 w 2161047"/>
                <a:gd name="connsiteY11" fmla="*/ 175923 h 1112786"/>
                <a:gd name="connsiteX12" fmla="*/ 1486269 w 2161047"/>
                <a:gd name="connsiteY12" fmla="*/ 911961 h 1112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1047" h="1112786">
                  <a:moveTo>
                    <a:pt x="1486269" y="911961"/>
                  </a:moveTo>
                  <a:cubicBezTo>
                    <a:pt x="1444780" y="941713"/>
                    <a:pt x="1388277" y="1030698"/>
                    <a:pt x="1290011" y="1061953"/>
                  </a:cubicBezTo>
                  <a:cubicBezTo>
                    <a:pt x="732080" y="1239513"/>
                    <a:pt x="211408" y="894901"/>
                    <a:pt x="211408" y="894901"/>
                  </a:cubicBezTo>
                  <a:cubicBezTo>
                    <a:pt x="180427" y="742043"/>
                    <a:pt x="199671" y="568440"/>
                    <a:pt x="251124" y="504977"/>
                  </a:cubicBezTo>
                  <a:cubicBezTo>
                    <a:pt x="234882" y="482458"/>
                    <a:pt x="245664" y="455434"/>
                    <a:pt x="245664" y="455434"/>
                  </a:cubicBezTo>
                  <a:lnTo>
                    <a:pt x="0" y="0"/>
                  </a:lnTo>
                  <a:cubicBezTo>
                    <a:pt x="6005" y="3685"/>
                    <a:pt x="385420" y="243617"/>
                    <a:pt x="666569" y="413535"/>
                  </a:cubicBezTo>
                  <a:cubicBezTo>
                    <a:pt x="666569" y="413535"/>
                    <a:pt x="666569" y="413535"/>
                    <a:pt x="666706" y="413535"/>
                  </a:cubicBezTo>
                  <a:cubicBezTo>
                    <a:pt x="747775" y="462531"/>
                    <a:pt x="820519" y="505659"/>
                    <a:pt x="874019" y="535548"/>
                  </a:cubicBezTo>
                  <a:cubicBezTo>
                    <a:pt x="955498" y="581269"/>
                    <a:pt x="1059496" y="585773"/>
                    <a:pt x="1161310" y="571715"/>
                  </a:cubicBezTo>
                  <a:cubicBezTo>
                    <a:pt x="1359889" y="544283"/>
                    <a:pt x="1550415" y="446427"/>
                    <a:pt x="1550415" y="446427"/>
                  </a:cubicBezTo>
                  <a:cubicBezTo>
                    <a:pt x="1550415" y="446427"/>
                    <a:pt x="2025639" y="166233"/>
                    <a:pt x="2145469" y="175923"/>
                  </a:cubicBezTo>
                  <a:cubicBezTo>
                    <a:pt x="2238549" y="183293"/>
                    <a:pt x="1901306" y="697414"/>
                    <a:pt x="1486269" y="911961"/>
                  </a:cubicBezTo>
                  <a:close/>
                </a:path>
              </a:pathLst>
            </a:custGeom>
            <a:solidFill>
              <a:srgbClr val="1C55D1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0640183B-F44D-4369-80BE-7E83D1F45249}"/>
                </a:ext>
              </a:extLst>
            </p:cNvPr>
            <p:cNvGrpSpPr/>
            <p:nvPr/>
          </p:nvGrpSpPr>
          <p:grpSpPr>
            <a:xfrm flipH="1">
              <a:off x="7297246" y="4341678"/>
              <a:ext cx="3527814" cy="1799430"/>
              <a:chOff x="7609031" y="4341678"/>
              <a:chExt cx="3527814" cy="1799430"/>
            </a:xfrm>
            <a:solidFill>
              <a:schemeClr val="accent1"/>
            </a:solidFill>
          </p:grpSpPr>
          <p:grpSp>
            <p:nvGrpSpPr>
              <p:cNvPr id="48" name="组合 47">
                <a:extLst>
                  <a:ext uri="{FF2B5EF4-FFF2-40B4-BE49-F238E27FC236}">
                    <a16:creationId xmlns:a16="http://schemas.microsoft.com/office/drawing/2014/main" id="{671CD839-3A16-40CB-92E2-FD70BD2AC76E}"/>
                  </a:ext>
                </a:extLst>
              </p:cNvPr>
              <p:cNvGrpSpPr/>
              <p:nvPr/>
            </p:nvGrpSpPr>
            <p:grpSpPr>
              <a:xfrm>
                <a:off x="7609031" y="5391036"/>
                <a:ext cx="1068371" cy="750072"/>
                <a:chOff x="7609031" y="5391036"/>
                <a:chExt cx="1068371" cy="750072"/>
              </a:xfrm>
              <a:solidFill>
                <a:schemeClr val="accent1"/>
              </a:solidFill>
            </p:grpSpPr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F81E1AFE-E336-4320-A882-33C9F9DA60B0}"/>
                    </a:ext>
                  </a:extLst>
                </p:cNvPr>
                <p:cNvSpPr/>
                <p:nvPr/>
              </p:nvSpPr>
              <p:spPr>
                <a:xfrm>
                  <a:off x="7609031" y="5391036"/>
                  <a:ext cx="1068371" cy="750072"/>
                </a:xfrm>
                <a:custGeom>
                  <a:avLst/>
                  <a:gdLst>
                    <a:gd name="connsiteX0" fmla="*/ 1068371 w 1068371"/>
                    <a:gd name="connsiteY0" fmla="*/ 323468 h 750072"/>
                    <a:gd name="connsiteX1" fmla="*/ 989486 w 1068371"/>
                    <a:gd name="connsiteY1" fmla="*/ 339163 h 750072"/>
                    <a:gd name="connsiteX2" fmla="*/ 943492 w 1068371"/>
                    <a:gd name="connsiteY2" fmla="*/ 348717 h 750072"/>
                    <a:gd name="connsiteX3" fmla="*/ 871157 w 1068371"/>
                    <a:gd name="connsiteY3" fmla="*/ 364412 h 750072"/>
                    <a:gd name="connsiteX4" fmla="*/ 825300 w 1068371"/>
                    <a:gd name="connsiteY4" fmla="*/ 374648 h 750072"/>
                    <a:gd name="connsiteX5" fmla="*/ 266413 w 1068371"/>
                    <a:gd name="connsiteY5" fmla="*/ 553300 h 750072"/>
                    <a:gd name="connsiteX6" fmla="*/ 245123 w 1068371"/>
                    <a:gd name="connsiteY6" fmla="*/ 567222 h 750072"/>
                    <a:gd name="connsiteX7" fmla="*/ 24161 w 1068371"/>
                    <a:gd name="connsiteY7" fmla="*/ 747648 h 750072"/>
                    <a:gd name="connsiteX8" fmla="*/ 36717 w 1068371"/>
                    <a:gd name="connsiteY8" fmla="*/ 595473 h 750072"/>
                    <a:gd name="connsiteX9" fmla="*/ 142489 w 1068371"/>
                    <a:gd name="connsiteY9" fmla="*/ 448347 h 750072"/>
                    <a:gd name="connsiteX10" fmla="*/ 185890 w 1068371"/>
                    <a:gd name="connsiteY10" fmla="*/ 400989 h 750072"/>
                    <a:gd name="connsiteX11" fmla="*/ 440972 w 1068371"/>
                    <a:gd name="connsiteY11" fmla="*/ 202000 h 750072"/>
                    <a:gd name="connsiteX12" fmla="*/ 452982 w 1068371"/>
                    <a:gd name="connsiteY12" fmla="*/ 191355 h 750072"/>
                    <a:gd name="connsiteX13" fmla="*/ 625629 w 1068371"/>
                    <a:gd name="connsiteY13" fmla="*/ 8881 h 750072"/>
                    <a:gd name="connsiteX14" fmla="*/ 786267 w 1068371"/>
                    <a:gd name="connsiteY14" fmla="*/ 14203 h 750072"/>
                    <a:gd name="connsiteX15" fmla="*/ 815473 w 1068371"/>
                    <a:gd name="connsiteY15" fmla="*/ 22802 h 750072"/>
                    <a:gd name="connsiteX16" fmla="*/ 857509 w 1068371"/>
                    <a:gd name="connsiteY16" fmla="*/ 37678 h 750072"/>
                    <a:gd name="connsiteX17" fmla="*/ 910327 w 1068371"/>
                    <a:gd name="connsiteY17" fmla="*/ 60334 h 750072"/>
                    <a:gd name="connsiteX18" fmla="*/ 952226 w 1068371"/>
                    <a:gd name="connsiteY18" fmla="*/ 81079 h 750072"/>
                    <a:gd name="connsiteX19" fmla="*/ 999858 w 1068371"/>
                    <a:gd name="connsiteY19" fmla="*/ 107966 h 750072"/>
                    <a:gd name="connsiteX20" fmla="*/ 1068371 w 1068371"/>
                    <a:gd name="connsiteY20" fmla="*/ 323468 h 75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68371" h="750072">
                      <a:moveTo>
                        <a:pt x="1068371" y="323468"/>
                      </a:moveTo>
                      <a:cubicBezTo>
                        <a:pt x="1068371" y="323468"/>
                        <a:pt x="1038346" y="329063"/>
                        <a:pt x="989486" y="339163"/>
                      </a:cubicBezTo>
                      <a:cubicBezTo>
                        <a:pt x="975565" y="342029"/>
                        <a:pt x="960142" y="345168"/>
                        <a:pt x="943492" y="348717"/>
                      </a:cubicBezTo>
                      <a:cubicBezTo>
                        <a:pt x="921382" y="353357"/>
                        <a:pt x="897089" y="358680"/>
                        <a:pt x="871157" y="364412"/>
                      </a:cubicBezTo>
                      <a:cubicBezTo>
                        <a:pt x="856417" y="367688"/>
                        <a:pt x="841132" y="371100"/>
                        <a:pt x="825300" y="374648"/>
                      </a:cubicBezTo>
                      <a:cubicBezTo>
                        <a:pt x="629724" y="419277"/>
                        <a:pt x="370684" y="486971"/>
                        <a:pt x="266413" y="553300"/>
                      </a:cubicBezTo>
                      <a:cubicBezTo>
                        <a:pt x="259044" y="557941"/>
                        <a:pt x="251947" y="562581"/>
                        <a:pt x="245123" y="567222"/>
                      </a:cubicBezTo>
                      <a:cubicBezTo>
                        <a:pt x="86260" y="674085"/>
                        <a:pt x="53641" y="766346"/>
                        <a:pt x="24161" y="747648"/>
                      </a:cubicBezTo>
                      <a:cubicBezTo>
                        <a:pt x="-6683" y="728132"/>
                        <a:pt x="-13507" y="648154"/>
                        <a:pt x="36717" y="595473"/>
                      </a:cubicBezTo>
                      <a:cubicBezTo>
                        <a:pt x="71520" y="559033"/>
                        <a:pt x="95813" y="505805"/>
                        <a:pt x="142489" y="448347"/>
                      </a:cubicBezTo>
                      <a:cubicBezTo>
                        <a:pt x="155046" y="432788"/>
                        <a:pt x="169376" y="416957"/>
                        <a:pt x="185890" y="400989"/>
                      </a:cubicBezTo>
                      <a:cubicBezTo>
                        <a:pt x="258907" y="330701"/>
                        <a:pt x="375734" y="257957"/>
                        <a:pt x="440972" y="202000"/>
                      </a:cubicBezTo>
                      <a:cubicBezTo>
                        <a:pt x="445203" y="198452"/>
                        <a:pt x="449160" y="194904"/>
                        <a:pt x="452982" y="191355"/>
                      </a:cubicBezTo>
                      <a:cubicBezTo>
                        <a:pt x="506619" y="141813"/>
                        <a:pt x="527637" y="39862"/>
                        <a:pt x="625629" y="8881"/>
                      </a:cubicBezTo>
                      <a:cubicBezTo>
                        <a:pt x="673534" y="-6269"/>
                        <a:pt x="730856" y="-400"/>
                        <a:pt x="786267" y="14203"/>
                      </a:cubicBezTo>
                      <a:cubicBezTo>
                        <a:pt x="796093" y="16797"/>
                        <a:pt x="805920" y="19663"/>
                        <a:pt x="815473" y="22802"/>
                      </a:cubicBezTo>
                      <a:cubicBezTo>
                        <a:pt x="829940" y="27442"/>
                        <a:pt x="843998" y="32492"/>
                        <a:pt x="857509" y="37678"/>
                      </a:cubicBezTo>
                      <a:cubicBezTo>
                        <a:pt x="876207" y="45048"/>
                        <a:pt x="894086" y="52691"/>
                        <a:pt x="910327" y="60334"/>
                      </a:cubicBezTo>
                      <a:cubicBezTo>
                        <a:pt x="925886" y="67567"/>
                        <a:pt x="940080" y="74665"/>
                        <a:pt x="952226" y="81079"/>
                      </a:cubicBezTo>
                      <a:cubicBezTo>
                        <a:pt x="981706" y="96501"/>
                        <a:pt x="999858" y="107966"/>
                        <a:pt x="999858" y="107966"/>
                      </a:cubicBezTo>
                      <a:lnTo>
                        <a:pt x="1068371" y="32346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B64D539A-3FF2-41AB-A16A-7B24733AA2A7}"/>
                    </a:ext>
                  </a:extLst>
                </p:cNvPr>
                <p:cNvSpPr/>
                <p:nvPr/>
              </p:nvSpPr>
              <p:spPr>
                <a:xfrm>
                  <a:off x="8050139" y="5391144"/>
                  <a:ext cx="345158" cy="206708"/>
                </a:xfrm>
                <a:custGeom>
                  <a:avLst/>
                  <a:gdLst>
                    <a:gd name="connsiteX0" fmla="*/ 345158 w 345158"/>
                    <a:gd name="connsiteY0" fmla="*/ 14232 h 206708"/>
                    <a:gd name="connsiteX1" fmla="*/ 0 w 345158"/>
                    <a:gd name="connsiteY1" fmla="*/ 201892 h 206708"/>
                    <a:gd name="connsiteX2" fmla="*/ 12010 w 345158"/>
                    <a:gd name="connsiteY2" fmla="*/ 191247 h 206708"/>
                    <a:gd name="connsiteX3" fmla="*/ 184658 w 345158"/>
                    <a:gd name="connsiteY3" fmla="*/ 8773 h 206708"/>
                    <a:gd name="connsiteX4" fmla="*/ 345158 w 345158"/>
                    <a:gd name="connsiteY4" fmla="*/ 14232 h 206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5158" h="206708">
                      <a:moveTo>
                        <a:pt x="345158" y="14232"/>
                      </a:moveTo>
                      <a:cubicBezTo>
                        <a:pt x="287291" y="89979"/>
                        <a:pt x="153813" y="234921"/>
                        <a:pt x="0" y="201892"/>
                      </a:cubicBezTo>
                      <a:cubicBezTo>
                        <a:pt x="4231" y="198344"/>
                        <a:pt x="8189" y="194795"/>
                        <a:pt x="12010" y="191247"/>
                      </a:cubicBezTo>
                      <a:cubicBezTo>
                        <a:pt x="65647" y="141704"/>
                        <a:pt x="86665" y="39754"/>
                        <a:pt x="184658" y="8773"/>
                      </a:cubicBezTo>
                      <a:cubicBezTo>
                        <a:pt x="232426" y="-6240"/>
                        <a:pt x="289884" y="-372"/>
                        <a:pt x="345158" y="14232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4FA4E7E5-5A55-407E-83DD-EC680447E02A}"/>
                    </a:ext>
                  </a:extLst>
                </p:cNvPr>
                <p:cNvSpPr/>
                <p:nvPr/>
              </p:nvSpPr>
              <p:spPr>
                <a:xfrm>
                  <a:off x="7609168" y="5839247"/>
                  <a:ext cx="245122" cy="301725"/>
                </a:xfrm>
                <a:custGeom>
                  <a:avLst/>
                  <a:gdLst>
                    <a:gd name="connsiteX0" fmla="*/ 245123 w 245122"/>
                    <a:gd name="connsiteY0" fmla="*/ 118874 h 301725"/>
                    <a:gd name="connsiteX1" fmla="*/ 24161 w 245122"/>
                    <a:gd name="connsiteY1" fmla="*/ 299301 h 301725"/>
                    <a:gd name="connsiteX2" fmla="*/ 36717 w 245122"/>
                    <a:gd name="connsiteY2" fmla="*/ 147126 h 301725"/>
                    <a:gd name="connsiteX3" fmla="*/ 142489 w 245122"/>
                    <a:gd name="connsiteY3" fmla="*/ 0 h 301725"/>
                    <a:gd name="connsiteX4" fmla="*/ 245123 w 245122"/>
                    <a:gd name="connsiteY4" fmla="*/ 118874 h 301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122" h="301725">
                      <a:moveTo>
                        <a:pt x="245123" y="118874"/>
                      </a:moveTo>
                      <a:cubicBezTo>
                        <a:pt x="86260" y="225738"/>
                        <a:pt x="53641" y="317999"/>
                        <a:pt x="24161" y="299301"/>
                      </a:cubicBezTo>
                      <a:cubicBezTo>
                        <a:pt x="-6683" y="279784"/>
                        <a:pt x="-13507" y="199807"/>
                        <a:pt x="36717" y="147126"/>
                      </a:cubicBezTo>
                      <a:cubicBezTo>
                        <a:pt x="71520" y="110685"/>
                        <a:pt x="95813" y="57458"/>
                        <a:pt x="142489" y="0"/>
                      </a:cubicBezTo>
                      <a:cubicBezTo>
                        <a:pt x="181796" y="27978"/>
                        <a:pt x="223695" y="67557"/>
                        <a:pt x="245123" y="118874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E75219FE-6FE8-4768-A678-39CF26488A89}"/>
                    </a:ext>
                  </a:extLst>
                </p:cNvPr>
                <p:cNvSpPr/>
                <p:nvPr/>
              </p:nvSpPr>
              <p:spPr>
                <a:xfrm>
                  <a:off x="8509908" y="5451506"/>
                  <a:ext cx="88608" cy="288246"/>
                </a:xfrm>
                <a:custGeom>
                  <a:avLst/>
                  <a:gdLst>
                    <a:gd name="connsiteX0" fmla="*/ 88609 w 88608"/>
                    <a:gd name="connsiteY0" fmla="*/ 278693 h 288246"/>
                    <a:gd name="connsiteX1" fmla="*/ 42615 w 88608"/>
                    <a:gd name="connsiteY1" fmla="*/ 288246 h 288246"/>
                    <a:gd name="connsiteX2" fmla="*/ 33 w 88608"/>
                    <a:gd name="connsiteY2" fmla="*/ 97447 h 288246"/>
                    <a:gd name="connsiteX3" fmla="*/ 9450 w 88608"/>
                    <a:gd name="connsiteY3" fmla="*/ 0 h 288246"/>
                    <a:gd name="connsiteX4" fmla="*/ 51349 w 88608"/>
                    <a:gd name="connsiteY4" fmla="*/ 20745 h 288246"/>
                    <a:gd name="connsiteX5" fmla="*/ 44798 w 88608"/>
                    <a:gd name="connsiteY5" fmla="*/ 98402 h 288246"/>
                    <a:gd name="connsiteX6" fmla="*/ 88609 w 88608"/>
                    <a:gd name="connsiteY6" fmla="*/ 278693 h 288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8608" h="288246">
                      <a:moveTo>
                        <a:pt x="88609" y="278693"/>
                      </a:moveTo>
                      <a:cubicBezTo>
                        <a:pt x="74688" y="281559"/>
                        <a:pt x="59265" y="284698"/>
                        <a:pt x="42615" y="288246"/>
                      </a:cubicBezTo>
                      <a:cubicBezTo>
                        <a:pt x="13681" y="235428"/>
                        <a:pt x="-786" y="171010"/>
                        <a:pt x="33" y="97447"/>
                      </a:cubicBezTo>
                      <a:cubicBezTo>
                        <a:pt x="442" y="60324"/>
                        <a:pt x="4810" y="26477"/>
                        <a:pt x="9450" y="0"/>
                      </a:cubicBezTo>
                      <a:cubicBezTo>
                        <a:pt x="25009" y="7233"/>
                        <a:pt x="39203" y="14330"/>
                        <a:pt x="51349" y="20745"/>
                      </a:cubicBezTo>
                      <a:cubicBezTo>
                        <a:pt x="47937" y="43128"/>
                        <a:pt x="45071" y="69741"/>
                        <a:pt x="44798" y="98402"/>
                      </a:cubicBezTo>
                      <a:cubicBezTo>
                        <a:pt x="44252" y="156270"/>
                        <a:pt x="53806" y="222599"/>
                        <a:pt x="88609" y="278693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CED3E0A7-605B-455B-8620-ED81ABF6D893}"/>
                    </a:ext>
                  </a:extLst>
                </p:cNvPr>
                <p:cNvSpPr/>
                <p:nvPr/>
              </p:nvSpPr>
              <p:spPr>
                <a:xfrm>
                  <a:off x="8392708" y="5413974"/>
                  <a:ext cx="87616" cy="351709"/>
                </a:xfrm>
                <a:custGeom>
                  <a:avLst/>
                  <a:gdLst>
                    <a:gd name="connsiteX0" fmla="*/ 73969 w 87616"/>
                    <a:gd name="connsiteY0" fmla="*/ 14876 h 351709"/>
                    <a:gd name="connsiteX1" fmla="*/ 31933 w 87616"/>
                    <a:gd name="connsiteY1" fmla="*/ 0 h 351709"/>
                    <a:gd name="connsiteX2" fmla="*/ 3136 w 87616"/>
                    <a:gd name="connsiteY2" fmla="*/ 126654 h 351709"/>
                    <a:gd name="connsiteX3" fmla="*/ 41760 w 87616"/>
                    <a:gd name="connsiteY3" fmla="*/ 351709 h 351709"/>
                    <a:gd name="connsiteX4" fmla="*/ 87617 w 87616"/>
                    <a:gd name="connsiteY4" fmla="*/ 341473 h 351709"/>
                    <a:gd name="connsiteX5" fmla="*/ 73969 w 87616"/>
                    <a:gd name="connsiteY5" fmla="*/ 14876 h 351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616" h="351709">
                      <a:moveTo>
                        <a:pt x="73969" y="14876"/>
                      </a:moveTo>
                      <a:cubicBezTo>
                        <a:pt x="60321" y="9690"/>
                        <a:pt x="46263" y="4640"/>
                        <a:pt x="31933" y="0"/>
                      </a:cubicBezTo>
                      <a:cubicBezTo>
                        <a:pt x="22516" y="27159"/>
                        <a:pt x="9141" y="72880"/>
                        <a:pt x="3136" y="126654"/>
                      </a:cubicBezTo>
                      <a:cubicBezTo>
                        <a:pt x="-6691" y="213865"/>
                        <a:pt x="6684" y="290293"/>
                        <a:pt x="41760" y="351709"/>
                      </a:cubicBezTo>
                      <a:cubicBezTo>
                        <a:pt x="57455" y="348161"/>
                        <a:pt x="72741" y="344749"/>
                        <a:pt x="87617" y="341473"/>
                      </a:cubicBezTo>
                      <a:cubicBezTo>
                        <a:pt x="13235" y="227513"/>
                        <a:pt x="54043" y="73153"/>
                        <a:pt x="73969" y="1487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F7737853-F4E0-401F-A693-DB7C5463A190}"/>
                  </a:ext>
                </a:extLst>
              </p:cNvPr>
              <p:cNvSpPr/>
              <p:nvPr/>
            </p:nvSpPr>
            <p:spPr>
              <a:xfrm>
                <a:off x="8605771" y="4341678"/>
                <a:ext cx="2531074" cy="1422905"/>
              </a:xfrm>
              <a:custGeom>
                <a:avLst/>
                <a:gdLst>
                  <a:gd name="connsiteX0" fmla="*/ 2417044 w 2531074"/>
                  <a:gd name="connsiteY0" fmla="*/ 546029 h 1422905"/>
                  <a:gd name="connsiteX1" fmla="*/ 1232941 w 2531074"/>
                  <a:gd name="connsiteY1" fmla="*/ 1215328 h 1422905"/>
                  <a:gd name="connsiteX2" fmla="*/ 779827 w 2531074"/>
                  <a:gd name="connsiteY2" fmla="*/ 1337204 h 1422905"/>
                  <a:gd name="connsiteX3" fmla="*/ 516693 w 2531074"/>
                  <a:gd name="connsiteY3" fmla="*/ 1390432 h 1422905"/>
                  <a:gd name="connsiteX4" fmla="*/ 121037 w 2531074"/>
                  <a:gd name="connsiteY4" fmla="*/ 1418683 h 1422905"/>
                  <a:gd name="connsiteX5" fmla="*/ 19086 w 2531074"/>
                  <a:gd name="connsiteY5" fmla="*/ 1071341 h 1422905"/>
                  <a:gd name="connsiteX6" fmla="*/ 619736 w 2531074"/>
                  <a:gd name="connsiteY6" fmla="*/ 864027 h 1422905"/>
                  <a:gd name="connsiteX7" fmla="*/ 767134 w 2531074"/>
                  <a:gd name="connsiteY7" fmla="*/ 778454 h 1422905"/>
                  <a:gd name="connsiteX8" fmla="*/ 797569 w 2531074"/>
                  <a:gd name="connsiteY8" fmla="*/ 756617 h 1422905"/>
                  <a:gd name="connsiteX9" fmla="*/ 1798788 w 2531074"/>
                  <a:gd name="connsiteY9" fmla="*/ 116389 h 1422905"/>
                  <a:gd name="connsiteX10" fmla="*/ 2316867 w 2531074"/>
                  <a:gd name="connsiteY10" fmla="*/ 20170 h 1422905"/>
                  <a:gd name="connsiteX11" fmla="*/ 2413359 w 2531074"/>
                  <a:gd name="connsiteY11" fmla="*/ 71760 h 1422905"/>
                  <a:gd name="connsiteX12" fmla="*/ 2417044 w 2531074"/>
                  <a:gd name="connsiteY12" fmla="*/ 546029 h 142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31074" h="1422905">
                    <a:moveTo>
                      <a:pt x="2417044" y="546029"/>
                    </a:moveTo>
                    <a:cubicBezTo>
                      <a:pt x="2207547" y="801792"/>
                      <a:pt x="1736690" y="1063425"/>
                      <a:pt x="1232941" y="1215328"/>
                    </a:cubicBezTo>
                    <a:cubicBezTo>
                      <a:pt x="1058110" y="1268009"/>
                      <a:pt x="907982" y="1307588"/>
                      <a:pt x="779827" y="1337204"/>
                    </a:cubicBezTo>
                    <a:cubicBezTo>
                      <a:pt x="678968" y="1360679"/>
                      <a:pt x="591621" y="1377739"/>
                      <a:pt x="516693" y="1390432"/>
                    </a:cubicBezTo>
                    <a:cubicBezTo>
                      <a:pt x="227355" y="1439018"/>
                      <a:pt x="121037" y="1418683"/>
                      <a:pt x="121037" y="1418683"/>
                    </a:cubicBezTo>
                    <a:cubicBezTo>
                      <a:pt x="121037" y="1418683"/>
                      <a:pt x="-57479" y="1361225"/>
                      <a:pt x="19086" y="1071341"/>
                    </a:cubicBezTo>
                    <a:cubicBezTo>
                      <a:pt x="19086" y="1071341"/>
                      <a:pt x="357557" y="993547"/>
                      <a:pt x="619736" y="864027"/>
                    </a:cubicBezTo>
                    <a:cubicBezTo>
                      <a:pt x="673236" y="837550"/>
                      <a:pt x="723461" y="809026"/>
                      <a:pt x="767134" y="778454"/>
                    </a:cubicBezTo>
                    <a:cubicBezTo>
                      <a:pt x="777370" y="771357"/>
                      <a:pt x="787470" y="763987"/>
                      <a:pt x="797569" y="756617"/>
                    </a:cubicBezTo>
                    <a:cubicBezTo>
                      <a:pt x="1041323" y="578101"/>
                      <a:pt x="1249592" y="335576"/>
                      <a:pt x="1798788" y="116389"/>
                    </a:cubicBezTo>
                    <a:cubicBezTo>
                      <a:pt x="1798788" y="116389"/>
                      <a:pt x="2086079" y="-58033"/>
                      <a:pt x="2316867" y="20170"/>
                    </a:cubicBezTo>
                    <a:cubicBezTo>
                      <a:pt x="2351260" y="31771"/>
                      <a:pt x="2383879" y="48558"/>
                      <a:pt x="2413359" y="71760"/>
                    </a:cubicBezTo>
                    <a:cubicBezTo>
                      <a:pt x="2580683" y="203463"/>
                      <a:pt x="2558437" y="373381"/>
                      <a:pt x="2417044" y="546029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EA7C303C-0E3E-43D7-A696-27041C560D09}"/>
                  </a:ext>
                </a:extLst>
              </p:cNvPr>
              <p:cNvSpPr/>
              <p:nvPr/>
            </p:nvSpPr>
            <p:spPr>
              <a:xfrm>
                <a:off x="9225370" y="5098159"/>
                <a:ext cx="771522" cy="395383"/>
              </a:xfrm>
              <a:custGeom>
                <a:avLst/>
                <a:gdLst>
                  <a:gd name="connsiteX0" fmla="*/ 771523 w 771522"/>
                  <a:gd name="connsiteY0" fmla="*/ 380371 h 395383"/>
                  <a:gd name="connsiteX1" fmla="*/ 662338 w 771522"/>
                  <a:gd name="connsiteY1" fmla="*/ 395383 h 395383"/>
                  <a:gd name="connsiteX2" fmla="*/ 0 w 771522"/>
                  <a:gd name="connsiteY2" fmla="*/ 107410 h 395383"/>
                  <a:gd name="connsiteX3" fmla="*/ 147399 w 771522"/>
                  <a:gd name="connsiteY3" fmla="*/ 21837 h 395383"/>
                  <a:gd name="connsiteX4" fmla="*/ 177834 w 771522"/>
                  <a:gd name="connsiteY4" fmla="*/ 0 h 395383"/>
                  <a:gd name="connsiteX5" fmla="*/ 771523 w 771522"/>
                  <a:gd name="connsiteY5" fmla="*/ 380371 h 39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1522" h="395383">
                    <a:moveTo>
                      <a:pt x="771523" y="380371"/>
                    </a:moveTo>
                    <a:lnTo>
                      <a:pt x="662338" y="395383"/>
                    </a:lnTo>
                    <a:lnTo>
                      <a:pt x="0" y="107410"/>
                    </a:lnTo>
                    <a:cubicBezTo>
                      <a:pt x="53500" y="80933"/>
                      <a:pt x="103725" y="52409"/>
                      <a:pt x="147399" y="21837"/>
                    </a:cubicBezTo>
                    <a:cubicBezTo>
                      <a:pt x="157635" y="14740"/>
                      <a:pt x="167734" y="7370"/>
                      <a:pt x="177834" y="0"/>
                    </a:cubicBezTo>
                    <a:lnTo>
                      <a:pt x="771523" y="380371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75C3C5F-A725-451C-8564-AB3F0097CF07}"/>
                  </a:ext>
                </a:extLst>
              </p:cNvPr>
              <p:cNvSpPr/>
              <p:nvPr/>
            </p:nvSpPr>
            <p:spPr>
              <a:xfrm>
                <a:off x="8659387" y="5437176"/>
                <a:ext cx="726211" cy="294933"/>
              </a:xfrm>
              <a:custGeom>
                <a:avLst/>
                <a:gdLst>
                  <a:gd name="connsiteX0" fmla="*/ 726211 w 726211"/>
                  <a:gd name="connsiteY0" fmla="*/ 241706 h 294933"/>
                  <a:gd name="connsiteX1" fmla="*/ 463077 w 726211"/>
                  <a:gd name="connsiteY1" fmla="*/ 294934 h 294933"/>
                  <a:gd name="connsiteX2" fmla="*/ 0 w 726211"/>
                  <a:gd name="connsiteY2" fmla="*/ 130884 h 294933"/>
                  <a:gd name="connsiteX3" fmla="*/ 16378 w 726211"/>
                  <a:gd name="connsiteY3" fmla="*/ 0 h 294933"/>
                  <a:gd name="connsiteX4" fmla="*/ 726211 w 726211"/>
                  <a:gd name="connsiteY4" fmla="*/ 241706 h 29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6211" h="294933">
                    <a:moveTo>
                      <a:pt x="726211" y="241706"/>
                    </a:moveTo>
                    <a:cubicBezTo>
                      <a:pt x="625352" y="265181"/>
                      <a:pt x="538005" y="282241"/>
                      <a:pt x="463077" y="294934"/>
                    </a:cubicBezTo>
                    <a:cubicBezTo>
                      <a:pt x="252352" y="237748"/>
                      <a:pt x="0" y="130884"/>
                      <a:pt x="0" y="130884"/>
                    </a:cubicBezTo>
                    <a:lnTo>
                      <a:pt x="16378" y="0"/>
                    </a:lnTo>
                    <a:lnTo>
                      <a:pt x="726211" y="24170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F1A2F96-B7C7-4D68-8B40-A4B8F5B07CA7}"/>
                  </a:ext>
                </a:extLst>
              </p:cNvPr>
              <p:cNvSpPr/>
              <p:nvPr/>
            </p:nvSpPr>
            <p:spPr>
              <a:xfrm>
                <a:off x="10891471" y="4361848"/>
                <a:ext cx="245375" cy="525858"/>
              </a:xfrm>
              <a:custGeom>
                <a:avLst/>
                <a:gdLst>
                  <a:gd name="connsiteX0" fmla="*/ 131344 w 245375"/>
                  <a:gd name="connsiteY0" fmla="*/ 525858 h 525858"/>
                  <a:gd name="connsiteX1" fmla="*/ 31167 w 245375"/>
                  <a:gd name="connsiteY1" fmla="*/ 0 h 525858"/>
                  <a:gd name="connsiteX2" fmla="*/ 127659 w 245375"/>
                  <a:gd name="connsiteY2" fmla="*/ 51590 h 525858"/>
                  <a:gd name="connsiteX3" fmla="*/ 131344 w 245375"/>
                  <a:gd name="connsiteY3" fmla="*/ 525858 h 52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375" h="525858">
                    <a:moveTo>
                      <a:pt x="131344" y="525858"/>
                    </a:moveTo>
                    <a:cubicBezTo>
                      <a:pt x="-41576" y="293569"/>
                      <a:pt x="-7184" y="98948"/>
                      <a:pt x="31167" y="0"/>
                    </a:cubicBezTo>
                    <a:cubicBezTo>
                      <a:pt x="65560" y="11601"/>
                      <a:pt x="98179" y="28524"/>
                      <a:pt x="127659" y="51590"/>
                    </a:cubicBezTo>
                    <a:cubicBezTo>
                      <a:pt x="294983" y="183293"/>
                      <a:pt x="272738" y="353211"/>
                      <a:pt x="131344" y="525858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015C710F-643B-4798-802D-2257C5300D61}"/>
                  </a:ext>
                </a:extLst>
              </p:cNvPr>
              <p:cNvSpPr/>
              <p:nvPr/>
            </p:nvSpPr>
            <p:spPr>
              <a:xfrm>
                <a:off x="8648605" y="4518655"/>
                <a:ext cx="1756737" cy="980755"/>
              </a:xfrm>
              <a:custGeom>
                <a:avLst/>
                <a:gdLst>
                  <a:gd name="connsiteX0" fmla="*/ 4913 w 1756737"/>
                  <a:gd name="connsiteY0" fmla="*/ 980756 h 980755"/>
                  <a:gd name="connsiteX1" fmla="*/ 973923 w 1756737"/>
                  <a:gd name="connsiteY1" fmla="*/ 585236 h 980755"/>
                  <a:gd name="connsiteX2" fmla="*/ 1724837 w 1756737"/>
                  <a:gd name="connsiteY2" fmla="*/ 146043 h 980755"/>
                  <a:gd name="connsiteX3" fmla="*/ 1750632 w 1756737"/>
                  <a:gd name="connsiteY3" fmla="*/ 46412 h 980755"/>
                  <a:gd name="connsiteX4" fmla="*/ 1639946 w 1756737"/>
                  <a:gd name="connsiteY4" fmla="*/ 9 h 980755"/>
                  <a:gd name="connsiteX5" fmla="*/ 1626844 w 1756737"/>
                  <a:gd name="connsiteY5" fmla="*/ 13111 h 980755"/>
                  <a:gd name="connsiteX6" fmla="*/ 1626844 w 1756737"/>
                  <a:gd name="connsiteY6" fmla="*/ 13111 h 980755"/>
                  <a:gd name="connsiteX7" fmla="*/ 1638991 w 1756737"/>
                  <a:gd name="connsiteY7" fmla="*/ 25394 h 980755"/>
                  <a:gd name="connsiteX8" fmla="*/ 1728113 w 1756737"/>
                  <a:gd name="connsiteY8" fmla="*/ 58150 h 980755"/>
                  <a:gd name="connsiteX9" fmla="*/ 1704638 w 1756737"/>
                  <a:gd name="connsiteY9" fmla="*/ 130893 h 980755"/>
                  <a:gd name="connsiteX10" fmla="*/ 962595 w 1756737"/>
                  <a:gd name="connsiteY10" fmla="*/ 562717 h 980755"/>
                  <a:gd name="connsiteX11" fmla="*/ 0 w 1756737"/>
                  <a:gd name="connsiteY11" fmla="*/ 956053 h 980755"/>
                  <a:gd name="connsiteX12" fmla="*/ 4913 w 1756737"/>
                  <a:gd name="connsiteY12" fmla="*/ 980756 h 98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56737" h="980755">
                    <a:moveTo>
                      <a:pt x="4913" y="980756"/>
                    </a:moveTo>
                    <a:cubicBezTo>
                      <a:pt x="181109" y="946226"/>
                      <a:pt x="543328" y="798418"/>
                      <a:pt x="973923" y="585236"/>
                    </a:cubicBezTo>
                    <a:cubicBezTo>
                      <a:pt x="1296016" y="425827"/>
                      <a:pt x="1668334" y="220424"/>
                      <a:pt x="1724837" y="146043"/>
                    </a:cubicBezTo>
                    <a:cubicBezTo>
                      <a:pt x="1755409" y="105918"/>
                      <a:pt x="1764007" y="72344"/>
                      <a:pt x="1750632" y="46412"/>
                    </a:cubicBezTo>
                    <a:cubicBezTo>
                      <a:pt x="1730569" y="7516"/>
                      <a:pt x="1668471" y="964"/>
                      <a:pt x="1639946" y="9"/>
                    </a:cubicBezTo>
                    <a:cubicBezTo>
                      <a:pt x="1632576" y="-264"/>
                      <a:pt x="1626571" y="5741"/>
                      <a:pt x="1626844" y="13111"/>
                    </a:cubicBezTo>
                    <a:lnTo>
                      <a:pt x="1626844" y="13111"/>
                    </a:lnTo>
                    <a:cubicBezTo>
                      <a:pt x="1626981" y="19799"/>
                      <a:pt x="1632303" y="25121"/>
                      <a:pt x="1638991" y="25394"/>
                    </a:cubicBezTo>
                    <a:cubicBezTo>
                      <a:pt x="1666969" y="26350"/>
                      <a:pt x="1715420" y="33310"/>
                      <a:pt x="1728113" y="58150"/>
                    </a:cubicBezTo>
                    <a:cubicBezTo>
                      <a:pt x="1738758" y="78758"/>
                      <a:pt x="1721152" y="109057"/>
                      <a:pt x="1704638" y="130893"/>
                    </a:cubicBezTo>
                    <a:cubicBezTo>
                      <a:pt x="1659054" y="190808"/>
                      <a:pt x="1347060" y="372464"/>
                      <a:pt x="962595" y="562717"/>
                    </a:cubicBezTo>
                    <a:cubicBezTo>
                      <a:pt x="631631" y="726493"/>
                      <a:pt x="204993" y="915928"/>
                      <a:pt x="0" y="956053"/>
                    </a:cubicBezTo>
                    <a:lnTo>
                      <a:pt x="4913" y="98075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0E93D83F-1562-4238-977E-82A0A3049E08}"/>
                  </a:ext>
                </a:extLst>
              </p:cNvPr>
              <p:cNvSpPr/>
              <p:nvPr/>
            </p:nvSpPr>
            <p:spPr>
              <a:xfrm>
                <a:off x="8569432" y="5368672"/>
                <a:ext cx="251547" cy="440796"/>
              </a:xfrm>
              <a:custGeom>
                <a:avLst/>
                <a:gdLst>
                  <a:gd name="connsiteX0" fmla="*/ 122164 w 251547"/>
                  <a:gd name="connsiteY0" fmla="*/ 8180 h 440796"/>
                  <a:gd name="connsiteX1" fmla="*/ 251547 w 251547"/>
                  <a:gd name="connsiteY1" fmla="*/ 415436 h 440796"/>
                  <a:gd name="connsiteX2" fmla="*/ 108516 w 251547"/>
                  <a:gd name="connsiteY2" fmla="*/ 424581 h 440796"/>
                  <a:gd name="connsiteX3" fmla="*/ 11615 w 251547"/>
                  <a:gd name="connsiteY3" fmla="*/ 21691 h 440796"/>
                  <a:gd name="connsiteX4" fmla="*/ 122164 w 251547"/>
                  <a:gd name="connsiteY4" fmla="*/ 8180 h 4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1547" h="440796">
                    <a:moveTo>
                      <a:pt x="122164" y="8180"/>
                    </a:moveTo>
                    <a:cubicBezTo>
                      <a:pt x="135266" y="162948"/>
                      <a:pt x="169113" y="304478"/>
                      <a:pt x="251547" y="415436"/>
                    </a:cubicBezTo>
                    <a:cubicBezTo>
                      <a:pt x="251547" y="415436"/>
                      <a:pt x="174845" y="465798"/>
                      <a:pt x="108516" y="424581"/>
                    </a:cubicBezTo>
                    <a:cubicBezTo>
                      <a:pt x="57882" y="393054"/>
                      <a:pt x="-32059" y="148481"/>
                      <a:pt x="11615" y="21691"/>
                    </a:cubicBezTo>
                    <a:cubicBezTo>
                      <a:pt x="55971" y="-282"/>
                      <a:pt x="93913" y="-6970"/>
                      <a:pt x="122164" y="818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171B9B67-DA41-495E-8C5E-A3C17728F21D}"/>
                </a:ext>
              </a:extLst>
            </p:cNvPr>
            <p:cNvGrpSpPr/>
            <p:nvPr/>
          </p:nvGrpSpPr>
          <p:grpSpPr>
            <a:xfrm flipH="1">
              <a:off x="7487257" y="4270432"/>
              <a:ext cx="3442205" cy="1999987"/>
              <a:chOff x="7504629" y="4270432"/>
              <a:chExt cx="3442205" cy="1999987"/>
            </a:xfrm>
            <a:solidFill>
              <a:schemeClr val="accent1"/>
            </a:solidFill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9D814E8A-FABB-43F9-932B-6B4B89827D5C}"/>
                  </a:ext>
                </a:extLst>
              </p:cNvPr>
              <p:cNvGrpSpPr/>
              <p:nvPr/>
            </p:nvGrpSpPr>
            <p:grpSpPr>
              <a:xfrm>
                <a:off x="9904496" y="5478534"/>
                <a:ext cx="1042339" cy="791884"/>
                <a:chOff x="9904496" y="5478534"/>
                <a:chExt cx="1042339" cy="791884"/>
              </a:xfrm>
              <a:solidFill>
                <a:schemeClr val="accent1"/>
              </a:solidFill>
            </p:grpSpPr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45903D5A-C22D-4E3E-AB1A-0E9B176D5CF8}"/>
                    </a:ext>
                  </a:extLst>
                </p:cNvPr>
                <p:cNvSpPr/>
                <p:nvPr/>
              </p:nvSpPr>
              <p:spPr>
                <a:xfrm>
                  <a:off x="9904496" y="5478651"/>
                  <a:ext cx="1042339" cy="791768"/>
                </a:xfrm>
                <a:custGeom>
                  <a:avLst/>
                  <a:gdLst>
                    <a:gd name="connsiteX0" fmla="*/ 0 w 1042339"/>
                    <a:gd name="connsiteY0" fmla="*/ 298361 h 791768"/>
                    <a:gd name="connsiteX1" fmla="*/ 77657 w 1042339"/>
                    <a:gd name="connsiteY1" fmla="*/ 319106 h 791768"/>
                    <a:gd name="connsiteX2" fmla="*/ 122832 w 1042339"/>
                    <a:gd name="connsiteY2" fmla="*/ 331662 h 791768"/>
                    <a:gd name="connsiteX3" fmla="*/ 193938 w 1042339"/>
                    <a:gd name="connsiteY3" fmla="*/ 351997 h 791768"/>
                    <a:gd name="connsiteX4" fmla="*/ 238977 w 1042339"/>
                    <a:gd name="connsiteY4" fmla="*/ 365236 h 791768"/>
                    <a:gd name="connsiteX5" fmla="*/ 785034 w 1042339"/>
                    <a:gd name="connsiteY5" fmla="*/ 580056 h 791768"/>
                    <a:gd name="connsiteX6" fmla="*/ 805370 w 1042339"/>
                    <a:gd name="connsiteY6" fmla="*/ 595341 h 791768"/>
                    <a:gd name="connsiteX7" fmla="*/ 1014048 w 1042339"/>
                    <a:gd name="connsiteY7" fmla="*/ 789826 h 791768"/>
                    <a:gd name="connsiteX8" fmla="*/ 1011455 w 1042339"/>
                    <a:gd name="connsiteY8" fmla="*/ 637241 h 791768"/>
                    <a:gd name="connsiteX9" fmla="*/ 915510 w 1042339"/>
                    <a:gd name="connsiteY9" fmla="*/ 483565 h 791768"/>
                    <a:gd name="connsiteX10" fmla="*/ 875248 w 1042339"/>
                    <a:gd name="connsiteY10" fmla="*/ 433476 h 791768"/>
                    <a:gd name="connsiteX11" fmla="*/ 633678 w 1042339"/>
                    <a:gd name="connsiteY11" fmla="*/ 218247 h 791768"/>
                    <a:gd name="connsiteX12" fmla="*/ 622486 w 1042339"/>
                    <a:gd name="connsiteY12" fmla="*/ 206919 h 791768"/>
                    <a:gd name="connsiteX13" fmla="*/ 462122 w 1042339"/>
                    <a:gd name="connsiteY13" fmla="*/ 13527 h 791768"/>
                    <a:gd name="connsiteX14" fmla="*/ 301485 w 1042339"/>
                    <a:gd name="connsiteY14" fmla="*/ 8340 h 791768"/>
                    <a:gd name="connsiteX15" fmla="*/ 271732 w 1042339"/>
                    <a:gd name="connsiteY15" fmla="*/ 14891 h 791768"/>
                    <a:gd name="connsiteX16" fmla="*/ 228741 w 1042339"/>
                    <a:gd name="connsiteY16" fmla="*/ 27038 h 791768"/>
                    <a:gd name="connsiteX17" fmla="*/ 174558 w 1042339"/>
                    <a:gd name="connsiteY17" fmla="*/ 46145 h 791768"/>
                    <a:gd name="connsiteX18" fmla="*/ 131431 w 1042339"/>
                    <a:gd name="connsiteY18" fmla="*/ 64161 h 791768"/>
                    <a:gd name="connsiteX19" fmla="*/ 82161 w 1042339"/>
                    <a:gd name="connsiteY19" fmla="*/ 87908 h 791768"/>
                    <a:gd name="connsiteX20" fmla="*/ 0 w 1042339"/>
                    <a:gd name="connsiteY20" fmla="*/ 298361 h 791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42339" h="791768">
                      <a:moveTo>
                        <a:pt x="0" y="298361"/>
                      </a:moveTo>
                      <a:cubicBezTo>
                        <a:pt x="0" y="298361"/>
                        <a:pt x="29616" y="306004"/>
                        <a:pt x="77657" y="319106"/>
                      </a:cubicBezTo>
                      <a:cubicBezTo>
                        <a:pt x="91305" y="322791"/>
                        <a:pt x="106455" y="327022"/>
                        <a:pt x="122832" y="331662"/>
                      </a:cubicBezTo>
                      <a:cubicBezTo>
                        <a:pt x="144533" y="337803"/>
                        <a:pt x="168417" y="344627"/>
                        <a:pt x="193938" y="351997"/>
                      </a:cubicBezTo>
                      <a:cubicBezTo>
                        <a:pt x="208405" y="356228"/>
                        <a:pt x="223555" y="360596"/>
                        <a:pt x="238977" y="365236"/>
                      </a:cubicBezTo>
                      <a:cubicBezTo>
                        <a:pt x="431278" y="422558"/>
                        <a:pt x="685267" y="507039"/>
                        <a:pt x="785034" y="580056"/>
                      </a:cubicBezTo>
                      <a:cubicBezTo>
                        <a:pt x="791995" y="585242"/>
                        <a:pt x="798819" y="590292"/>
                        <a:pt x="805370" y="595341"/>
                      </a:cubicBezTo>
                      <a:cubicBezTo>
                        <a:pt x="956999" y="712305"/>
                        <a:pt x="983340" y="806613"/>
                        <a:pt x="1014048" y="789826"/>
                      </a:cubicBezTo>
                      <a:cubicBezTo>
                        <a:pt x="1045985" y="772356"/>
                        <a:pt x="1058131" y="692925"/>
                        <a:pt x="1011455" y="637241"/>
                      </a:cubicBezTo>
                      <a:cubicBezTo>
                        <a:pt x="979109" y="598617"/>
                        <a:pt x="958364" y="544025"/>
                        <a:pt x="915510" y="483565"/>
                      </a:cubicBezTo>
                      <a:cubicBezTo>
                        <a:pt x="903909" y="467187"/>
                        <a:pt x="890807" y="450536"/>
                        <a:pt x="875248" y="433476"/>
                      </a:cubicBezTo>
                      <a:cubicBezTo>
                        <a:pt x="807008" y="358549"/>
                        <a:pt x="695230" y="278298"/>
                        <a:pt x="633678" y="218247"/>
                      </a:cubicBezTo>
                      <a:cubicBezTo>
                        <a:pt x="629720" y="214426"/>
                        <a:pt x="626035" y="210604"/>
                        <a:pt x="622486" y="206919"/>
                      </a:cubicBezTo>
                      <a:cubicBezTo>
                        <a:pt x="572125" y="153965"/>
                        <a:pt x="557931" y="50922"/>
                        <a:pt x="462122" y="13527"/>
                      </a:cubicBezTo>
                      <a:cubicBezTo>
                        <a:pt x="415309" y="-4625"/>
                        <a:pt x="357715" y="-2578"/>
                        <a:pt x="301485" y="8340"/>
                      </a:cubicBezTo>
                      <a:cubicBezTo>
                        <a:pt x="291522" y="10251"/>
                        <a:pt x="281559" y="12571"/>
                        <a:pt x="271732" y="14891"/>
                      </a:cubicBezTo>
                      <a:cubicBezTo>
                        <a:pt x="256992" y="18576"/>
                        <a:pt x="242662" y="22671"/>
                        <a:pt x="228741" y="27038"/>
                      </a:cubicBezTo>
                      <a:cubicBezTo>
                        <a:pt x="209497" y="33180"/>
                        <a:pt x="191345" y="39731"/>
                        <a:pt x="174558" y="46145"/>
                      </a:cubicBezTo>
                      <a:cubicBezTo>
                        <a:pt x="158590" y="52287"/>
                        <a:pt x="143987" y="58565"/>
                        <a:pt x="131431" y="64161"/>
                      </a:cubicBezTo>
                      <a:cubicBezTo>
                        <a:pt x="100995" y="77672"/>
                        <a:pt x="82161" y="87908"/>
                        <a:pt x="82161" y="87908"/>
                      </a:cubicBezTo>
                      <a:lnTo>
                        <a:pt x="0" y="2983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29EB376-309F-4B68-9879-25F944E27B46}"/>
                    </a:ext>
                  </a:extLst>
                </p:cNvPr>
                <p:cNvSpPr/>
                <p:nvPr/>
              </p:nvSpPr>
              <p:spPr>
                <a:xfrm>
                  <a:off x="10206117" y="5478534"/>
                  <a:ext cx="332192" cy="220538"/>
                </a:xfrm>
                <a:custGeom>
                  <a:avLst/>
                  <a:gdLst>
                    <a:gd name="connsiteX0" fmla="*/ 0 w 332192"/>
                    <a:gd name="connsiteY0" fmla="*/ 8457 h 220538"/>
                    <a:gd name="connsiteX1" fmla="*/ 332193 w 332192"/>
                    <a:gd name="connsiteY1" fmla="*/ 218227 h 220538"/>
                    <a:gd name="connsiteX2" fmla="*/ 321001 w 332192"/>
                    <a:gd name="connsiteY2" fmla="*/ 206899 h 220538"/>
                    <a:gd name="connsiteX3" fmla="*/ 160637 w 332192"/>
                    <a:gd name="connsiteY3" fmla="*/ 13506 h 220538"/>
                    <a:gd name="connsiteX4" fmla="*/ 0 w 332192"/>
                    <a:gd name="connsiteY4" fmla="*/ 8457 h 220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192" h="220538">
                      <a:moveTo>
                        <a:pt x="0" y="8457"/>
                      </a:moveTo>
                      <a:cubicBezTo>
                        <a:pt x="52818" y="87888"/>
                        <a:pt x="176469" y="241155"/>
                        <a:pt x="332193" y="218227"/>
                      </a:cubicBezTo>
                      <a:cubicBezTo>
                        <a:pt x="328235" y="214405"/>
                        <a:pt x="324550" y="210584"/>
                        <a:pt x="321001" y="206899"/>
                      </a:cubicBezTo>
                      <a:cubicBezTo>
                        <a:pt x="270640" y="153945"/>
                        <a:pt x="256446" y="50902"/>
                        <a:pt x="160637" y="13506"/>
                      </a:cubicBezTo>
                      <a:cubicBezTo>
                        <a:pt x="113824" y="-4645"/>
                        <a:pt x="56093" y="-2598"/>
                        <a:pt x="0" y="845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0AFFD5E-35B5-47E9-BB61-516FCE84947D}"/>
                    </a:ext>
                  </a:extLst>
                </p:cNvPr>
                <p:cNvSpPr/>
                <p:nvPr/>
              </p:nvSpPr>
              <p:spPr>
                <a:xfrm>
                  <a:off x="10709866" y="5962079"/>
                  <a:ext cx="236969" cy="308204"/>
                </a:xfrm>
                <a:custGeom>
                  <a:avLst/>
                  <a:gdLst>
                    <a:gd name="connsiteX0" fmla="*/ 0 w 236969"/>
                    <a:gd name="connsiteY0" fmla="*/ 111777 h 308204"/>
                    <a:gd name="connsiteX1" fmla="*/ 208678 w 236969"/>
                    <a:gd name="connsiteY1" fmla="*/ 306262 h 308204"/>
                    <a:gd name="connsiteX2" fmla="*/ 206085 w 236969"/>
                    <a:gd name="connsiteY2" fmla="*/ 153677 h 308204"/>
                    <a:gd name="connsiteX3" fmla="*/ 110140 w 236969"/>
                    <a:gd name="connsiteY3" fmla="*/ 0 h 308204"/>
                    <a:gd name="connsiteX4" fmla="*/ 0 w 236969"/>
                    <a:gd name="connsiteY4" fmla="*/ 111777 h 308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6969" h="308204">
                      <a:moveTo>
                        <a:pt x="0" y="111777"/>
                      </a:moveTo>
                      <a:cubicBezTo>
                        <a:pt x="151629" y="228741"/>
                        <a:pt x="177970" y="323048"/>
                        <a:pt x="208678" y="306262"/>
                      </a:cubicBezTo>
                      <a:cubicBezTo>
                        <a:pt x="240615" y="288792"/>
                        <a:pt x="252761" y="209361"/>
                        <a:pt x="206085" y="153677"/>
                      </a:cubicBezTo>
                      <a:cubicBezTo>
                        <a:pt x="173739" y="115053"/>
                        <a:pt x="152994" y="60461"/>
                        <a:pt x="110140" y="0"/>
                      </a:cubicBezTo>
                      <a:cubicBezTo>
                        <a:pt x="69059" y="25249"/>
                        <a:pt x="24703" y="61962"/>
                        <a:pt x="0" y="11177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4C015A77-6081-4D52-8D9C-BE3872D8F50F}"/>
                    </a:ext>
                  </a:extLst>
                </p:cNvPr>
                <p:cNvSpPr/>
                <p:nvPr/>
              </p:nvSpPr>
              <p:spPr>
                <a:xfrm>
                  <a:off x="9982153" y="5524796"/>
                  <a:ext cx="100917" cy="285516"/>
                </a:xfrm>
                <a:custGeom>
                  <a:avLst/>
                  <a:gdLst>
                    <a:gd name="connsiteX0" fmla="*/ 0 w 100917"/>
                    <a:gd name="connsiteY0" fmla="*/ 272960 h 285516"/>
                    <a:gd name="connsiteX1" fmla="*/ 45175 w 100917"/>
                    <a:gd name="connsiteY1" fmla="*/ 285517 h 285516"/>
                    <a:gd name="connsiteX2" fmla="*/ 100176 w 100917"/>
                    <a:gd name="connsiteY2" fmla="*/ 97856 h 285516"/>
                    <a:gd name="connsiteX3" fmla="*/ 97037 w 100917"/>
                    <a:gd name="connsiteY3" fmla="*/ 0 h 285516"/>
                    <a:gd name="connsiteX4" fmla="*/ 53910 w 100917"/>
                    <a:gd name="connsiteY4" fmla="*/ 18015 h 285516"/>
                    <a:gd name="connsiteX5" fmla="*/ 55411 w 100917"/>
                    <a:gd name="connsiteY5" fmla="*/ 95946 h 285516"/>
                    <a:gd name="connsiteX6" fmla="*/ 0 w 100917"/>
                    <a:gd name="connsiteY6" fmla="*/ 272960 h 285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917" h="285516">
                      <a:moveTo>
                        <a:pt x="0" y="272960"/>
                      </a:moveTo>
                      <a:cubicBezTo>
                        <a:pt x="13648" y="276646"/>
                        <a:pt x="28797" y="280877"/>
                        <a:pt x="45175" y="285517"/>
                      </a:cubicBezTo>
                      <a:cubicBezTo>
                        <a:pt x="77521" y="234610"/>
                        <a:pt x="96219" y="171283"/>
                        <a:pt x="100176" y="97856"/>
                      </a:cubicBezTo>
                      <a:cubicBezTo>
                        <a:pt x="102087" y="60734"/>
                        <a:pt x="100040" y="26750"/>
                        <a:pt x="97037" y="0"/>
                      </a:cubicBezTo>
                      <a:cubicBezTo>
                        <a:pt x="81069" y="6142"/>
                        <a:pt x="66466" y="12420"/>
                        <a:pt x="53910" y="18015"/>
                      </a:cubicBezTo>
                      <a:cubicBezTo>
                        <a:pt x="55957" y="40535"/>
                        <a:pt x="56912" y="67285"/>
                        <a:pt x="55411" y="95946"/>
                      </a:cubicBezTo>
                      <a:cubicBezTo>
                        <a:pt x="52272" y="153677"/>
                        <a:pt x="38351" y="219324"/>
                        <a:pt x="0" y="272960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47647474-CC70-4EC7-A152-A4E49293AAA7}"/>
                    </a:ext>
                  </a:extLst>
                </p:cNvPr>
                <p:cNvSpPr/>
                <p:nvPr/>
              </p:nvSpPr>
              <p:spPr>
                <a:xfrm>
                  <a:off x="10098434" y="5493542"/>
                  <a:ext cx="98828" cy="350344"/>
                </a:xfrm>
                <a:custGeom>
                  <a:avLst/>
                  <a:gdLst>
                    <a:gd name="connsiteX0" fmla="*/ 0 w 98828"/>
                    <a:gd name="connsiteY0" fmla="*/ 337106 h 350344"/>
                    <a:gd name="connsiteX1" fmla="*/ 45039 w 98828"/>
                    <a:gd name="connsiteY1" fmla="*/ 350345 h 350344"/>
                    <a:gd name="connsiteX2" fmla="*/ 98266 w 98828"/>
                    <a:gd name="connsiteY2" fmla="*/ 128292 h 350344"/>
                    <a:gd name="connsiteX3" fmla="*/ 77794 w 98828"/>
                    <a:gd name="connsiteY3" fmla="*/ 0 h 350344"/>
                    <a:gd name="connsiteX4" fmla="*/ 34802 w 98828"/>
                    <a:gd name="connsiteY4" fmla="*/ 12147 h 350344"/>
                    <a:gd name="connsiteX5" fmla="*/ 0 w 98828"/>
                    <a:gd name="connsiteY5" fmla="*/ 337106 h 350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8828" h="350344">
                      <a:moveTo>
                        <a:pt x="0" y="337106"/>
                      </a:moveTo>
                      <a:cubicBezTo>
                        <a:pt x="14467" y="341337"/>
                        <a:pt x="29616" y="345705"/>
                        <a:pt x="45039" y="350345"/>
                      </a:cubicBezTo>
                      <a:cubicBezTo>
                        <a:pt x="84072" y="291385"/>
                        <a:pt x="102360" y="215912"/>
                        <a:pt x="98266" y="128292"/>
                      </a:cubicBezTo>
                      <a:cubicBezTo>
                        <a:pt x="95809" y="74245"/>
                        <a:pt x="85437" y="27705"/>
                        <a:pt x="77794" y="0"/>
                      </a:cubicBezTo>
                      <a:cubicBezTo>
                        <a:pt x="63054" y="3685"/>
                        <a:pt x="48723" y="7779"/>
                        <a:pt x="34802" y="12147"/>
                      </a:cubicBezTo>
                      <a:cubicBezTo>
                        <a:pt x="50907" y="71652"/>
                        <a:pt x="81615" y="228332"/>
                        <a:pt x="0" y="33710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D1DDF3BB-1B8D-4CA3-9775-4533BD8520AD}"/>
                  </a:ext>
                </a:extLst>
              </p:cNvPr>
              <p:cNvSpPr/>
              <p:nvPr/>
            </p:nvSpPr>
            <p:spPr>
              <a:xfrm>
                <a:off x="7504629" y="4270432"/>
                <a:ext cx="2467043" cy="1554166"/>
              </a:xfrm>
              <a:custGeom>
                <a:avLst/>
                <a:gdLst>
                  <a:gd name="connsiteX0" fmla="*/ 2455824 w 2467043"/>
                  <a:gd name="connsiteY0" fmla="*/ 1213148 h 1554166"/>
                  <a:gd name="connsiteX1" fmla="*/ 2331354 w 2467043"/>
                  <a:gd name="connsiteY1" fmla="*/ 1553120 h 1554166"/>
                  <a:gd name="connsiteX2" fmla="*/ 1235145 w 2467043"/>
                  <a:gd name="connsiteY2" fmla="*/ 1277430 h 1554166"/>
                  <a:gd name="connsiteX3" fmla="*/ 117918 w 2467043"/>
                  <a:gd name="connsiteY3" fmla="*/ 559680 h 1554166"/>
                  <a:gd name="connsiteX4" fmla="*/ 131975 w 2467043"/>
                  <a:gd name="connsiteY4" fmla="*/ 59071 h 1554166"/>
                  <a:gd name="connsiteX5" fmla="*/ 271731 w 2467043"/>
                  <a:gd name="connsiteY5" fmla="*/ 5434 h 1554166"/>
                  <a:gd name="connsiteX6" fmla="*/ 769884 w 2467043"/>
                  <a:gd name="connsiteY6" fmla="*/ 123217 h 1554166"/>
                  <a:gd name="connsiteX7" fmla="*/ 1649908 w 2467043"/>
                  <a:gd name="connsiteY7" fmla="*/ 774637 h 1554166"/>
                  <a:gd name="connsiteX8" fmla="*/ 2455824 w 2467043"/>
                  <a:gd name="connsiteY8" fmla="*/ 1213148 h 1554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7043" h="1554166">
                    <a:moveTo>
                      <a:pt x="2455824" y="1213148"/>
                    </a:moveTo>
                    <a:cubicBezTo>
                      <a:pt x="2513282" y="1507535"/>
                      <a:pt x="2331354" y="1553120"/>
                      <a:pt x="2331354" y="1553120"/>
                    </a:cubicBezTo>
                    <a:cubicBezTo>
                      <a:pt x="2331354" y="1553120"/>
                      <a:pt x="2060304" y="1586421"/>
                      <a:pt x="1235145" y="1277430"/>
                    </a:cubicBezTo>
                    <a:cubicBezTo>
                      <a:pt x="759375" y="1099187"/>
                      <a:pt x="320727" y="820767"/>
                      <a:pt x="117918" y="559680"/>
                    </a:cubicBezTo>
                    <a:cubicBezTo>
                      <a:pt x="-30846" y="368062"/>
                      <a:pt x="-52410" y="185588"/>
                      <a:pt x="131975" y="59071"/>
                    </a:cubicBezTo>
                    <a:cubicBezTo>
                      <a:pt x="174421" y="29864"/>
                      <a:pt x="222052" y="13213"/>
                      <a:pt x="271731" y="5434"/>
                    </a:cubicBezTo>
                    <a:cubicBezTo>
                      <a:pt x="500062" y="-30460"/>
                      <a:pt x="769884" y="123217"/>
                      <a:pt x="769884" y="123217"/>
                    </a:cubicBezTo>
                    <a:cubicBezTo>
                      <a:pt x="1325631" y="388398"/>
                      <a:pt x="1186558" y="479566"/>
                      <a:pt x="1649908" y="774637"/>
                    </a:cubicBezTo>
                    <a:cubicBezTo>
                      <a:pt x="1914953" y="943735"/>
                      <a:pt x="2455824" y="1213148"/>
                      <a:pt x="2455824" y="1213148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5287D1B5-D847-44B6-A981-2B7E9F008047}"/>
                  </a:ext>
                </a:extLst>
              </p:cNvPr>
              <p:cNvSpPr/>
              <p:nvPr/>
            </p:nvSpPr>
            <p:spPr>
              <a:xfrm>
                <a:off x="7504629" y="4276002"/>
                <a:ext cx="276451" cy="554246"/>
              </a:xfrm>
              <a:custGeom>
                <a:avLst/>
                <a:gdLst>
                  <a:gd name="connsiteX0" fmla="*/ 271731 w 276451"/>
                  <a:gd name="connsiteY0" fmla="*/ 0 h 554246"/>
                  <a:gd name="connsiteX1" fmla="*/ 117918 w 276451"/>
                  <a:gd name="connsiteY1" fmla="*/ 554246 h 554246"/>
                  <a:gd name="connsiteX2" fmla="*/ 131975 w 276451"/>
                  <a:gd name="connsiteY2" fmla="*/ 53637 h 554246"/>
                  <a:gd name="connsiteX3" fmla="*/ 271731 w 276451"/>
                  <a:gd name="connsiteY3" fmla="*/ 0 h 55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51" h="554246">
                    <a:moveTo>
                      <a:pt x="271731" y="0"/>
                    </a:moveTo>
                    <a:cubicBezTo>
                      <a:pt x="280602" y="99494"/>
                      <a:pt x="295751" y="432369"/>
                      <a:pt x="117918" y="554246"/>
                    </a:cubicBezTo>
                    <a:cubicBezTo>
                      <a:pt x="-30846" y="362628"/>
                      <a:pt x="-52410" y="180154"/>
                      <a:pt x="131975" y="53637"/>
                    </a:cubicBezTo>
                    <a:cubicBezTo>
                      <a:pt x="174557" y="24430"/>
                      <a:pt x="222189" y="7779"/>
                      <a:pt x="271731" y="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499D9FAA-B181-4B0E-AFA1-3AA466ECC392}"/>
                  </a:ext>
                </a:extLst>
              </p:cNvPr>
              <p:cNvSpPr/>
              <p:nvPr/>
            </p:nvSpPr>
            <p:spPr>
              <a:xfrm>
                <a:off x="8237417" y="4482207"/>
                <a:ext cx="1695193" cy="1085716"/>
              </a:xfrm>
              <a:custGeom>
                <a:avLst/>
                <a:gdLst>
                  <a:gd name="connsiteX0" fmla="*/ 1688779 w 1695193"/>
                  <a:gd name="connsiteY0" fmla="*/ 1085716 h 1085716"/>
                  <a:gd name="connsiteX1" fmla="*/ 747748 w 1695193"/>
                  <a:gd name="connsiteY1" fmla="*/ 627689 h 1085716"/>
                  <a:gd name="connsiteX2" fmla="*/ 27133 w 1695193"/>
                  <a:gd name="connsiteY2" fmla="*/ 140318 h 1085716"/>
                  <a:gd name="connsiteX3" fmla="*/ 7889 w 1695193"/>
                  <a:gd name="connsiteY3" fmla="*/ 39186 h 1085716"/>
                  <a:gd name="connsiteX4" fmla="*/ 121304 w 1695193"/>
                  <a:gd name="connsiteY4" fmla="*/ 153 h 1085716"/>
                  <a:gd name="connsiteX5" fmla="*/ 133587 w 1695193"/>
                  <a:gd name="connsiteY5" fmla="*/ 14074 h 1085716"/>
                  <a:gd name="connsiteX6" fmla="*/ 133587 w 1695193"/>
                  <a:gd name="connsiteY6" fmla="*/ 14074 h 1085716"/>
                  <a:gd name="connsiteX7" fmla="*/ 120622 w 1695193"/>
                  <a:gd name="connsiteY7" fmla="*/ 25538 h 1085716"/>
                  <a:gd name="connsiteX8" fmla="*/ 29589 w 1695193"/>
                  <a:gd name="connsiteY8" fmla="*/ 52288 h 1085716"/>
                  <a:gd name="connsiteX9" fmla="*/ 48287 w 1695193"/>
                  <a:gd name="connsiteY9" fmla="*/ 126397 h 1085716"/>
                  <a:gd name="connsiteX10" fmla="*/ 760441 w 1695193"/>
                  <a:gd name="connsiteY10" fmla="*/ 605852 h 1085716"/>
                  <a:gd name="connsiteX11" fmla="*/ 1695194 w 1695193"/>
                  <a:gd name="connsiteY11" fmla="*/ 1061286 h 1085716"/>
                  <a:gd name="connsiteX12" fmla="*/ 1688779 w 1695193"/>
                  <a:gd name="connsiteY12" fmla="*/ 1085716 h 108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95193" h="1085716">
                    <a:moveTo>
                      <a:pt x="1688779" y="1085716"/>
                    </a:moveTo>
                    <a:cubicBezTo>
                      <a:pt x="1515313" y="1039723"/>
                      <a:pt x="1163467" y="868576"/>
                      <a:pt x="747748" y="627689"/>
                    </a:cubicBezTo>
                    <a:cubicBezTo>
                      <a:pt x="436846" y="447535"/>
                      <a:pt x="78722" y="218248"/>
                      <a:pt x="27133" y="140318"/>
                    </a:cubicBezTo>
                    <a:cubicBezTo>
                      <a:pt x="-709" y="98282"/>
                      <a:pt x="-7124" y="64162"/>
                      <a:pt x="7889" y="39186"/>
                    </a:cubicBezTo>
                    <a:cubicBezTo>
                      <a:pt x="30408" y="1654"/>
                      <a:pt x="92916" y="-802"/>
                      <a:pt x="121304" y="153"/>
                    </a:cubicBezTo>
                    <a:cubicBezTo>
                      <a:pt x="128674" y="426"/>
                      <a:pt x="134270" y="6704"/>
                      <a:pt x="133587" y="14074"/>
                    </a:cubicBezTo>
                    <a:lnTo>
                      <a:pt x="133587" y="14074"/>
                    </a:lnTo>
                    <a:cubicBezTo>
                      <a:pt x="132905" y="20761"/>
                      <a:pt x="127309" y="25674"/>
                      <a:pt x="120622" y="25538"/>
                    </a:cubicBezTo>
                    <a:cubicBezTo>
                      <a:pt x="92643" y="24719"/>
                      <a:pt x="43920" y="28404"/>
                      <a:pt x="29589" y="52288"/>
                    </a:cubicBezTo>
                    <a:cubicBezTo>
                      <a:pt x="17579" y="72214"/>
                      <a:pt x="33138" y="103605"/>
                      <a:pt x="48287" y="126397"/>
                    </a:cubicBezTo>
                    <a:cubicBezTo>
                      <a:pt x="89913" y="189178"/>
                      <a:pt x="389351" y="390759"/>
                      <a:pt x="760441" y="605852"/>
                    </a:cubicBezTo>
                    <a:cubicBezTo>
                      <a:pt x="1079941" y="791056"/>
                      <a:pt x="1493340" y="1007923"/>
                      <a:pt x="1695194" y="1061286"/>
                    </a:cubicBezTo>
                    <a:lnTo>
                      <a:pt x="1688779" y="108571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97279AF-CF93-4EED-9FC3-20B06BEE00A9}"/>
                  </a:ext>
                </a:extLst>
              </p:cNvPr>
              <p:cNvSpPr/>
              <p:nvPr/>
            </p:nvSpPr>
            <p:spPr>
              <a:xfrm>
                <a:off x="9740447" y="5437119"/>
                <a:ext cx="272221" cy="434993"/>
              </a:xfrm>
              <a:custGeom>
                <a:avLst/>
                <a:gdLst>
                  <a:gd name="connsiteX0" fmla="*/ 155724 w 272221"/>
                  <a:gd name="connsiteY0" fmla="*/ 6062 h 434993"/>
                  <a:gd name="connsiteX1" fmla="*/ 0 w 272221"/>
                  <a:gd name="connsiteY1" fmla="*/ 403902 h 434993"/>
                  <a:gd name="connsiteX2" fmla="*/ 142076 w 272221"/>
                  <a:gd name="connsiteY2" fmla="*/ 422327 h 434993"/>
                  <a:gd name="connsiteX3" fmla="*/ 265181 w 272221"/>
                  <a:gd name="connsiteY3" fmla="*/ 26671 h 434993"/>
                  <a:gd name="connsiteX4" fmla="*/ 155724 w 272221"/>
                  <a:gd name="connsiteY4" fmla="*/ 6062 h 434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21" h="434993">
                    <a:moveTo>
                      <a:pt x="155724" y="6062"/>
                    </a:moveTo>
                    <a:cubicBezTo>
                      <a:pt x="132522" y="159603"/>
                      <a:pt x="89394" y="298675"/>
                      <a:pt x="0" y="403902"/>
                    </a:cubicBezTo>
                    <a:cubicBezTo>
                      <a:pt x="0" y="403902"/>
                      <a:pt x="73290" y="459176"/>
                      <a:pt x="142076" y="422327"/>
                    </a:cubicBezTo>
                    <a:cubicBezTo>
                      <a:pt x="194757" y="394075"/>
                      <a:pt x="300393" y="155917"/>
                      <a:pt x="265181" y="26671"/>
                    </a:cubicBezTo>
                    <a:cubicBezTo>
                      <a:pt x="222326" y="1968"/>
                      <a:pt x="184931" y="-7176"/>
                      <a:pt x="155724" y="6062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2014D2D-8DD8-4824-82C4-8E2911273D79}"/>
                </a:ext>
              </a:extLst>
            </p:cNvPr>
            <p:cNvGrpSpPr/>
            <p:nvPr/>
          </p:nvGrpSpPr>
          <p:grpSpPr>
            <a:xfrm flipH="1">
              <a:off x="8588691" y="2568908"/>
              <a:ext cx="2071327" cy="1970501"/>
              <a:chOff x="7774073" y="2568908"/>
              <a:chExt cx="2071327" cy="1970501"/>
            </a:xfrm>
            <a:solidFill>
              <a:schemeClr val="accent1"/>
            </a:solidFill>
          </p:grpSpPr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CC682127-1D59-41B6-966F-7B0BD5993062}"/>
                  </a:ext>
                </a:extLst>
              </p:cNvPr>
              <p:cNvSpPr/>
              <p:nvPr/>
            </p:nvSpPr>
            <p:spPr>
              <a:xfrm>
                <a:off x="7774073" y="2568908"/>
                <a:ext cx="1377834" cy="1961108"/>
              </a:xfrm>
              <a:custGeom>
                <a:avLst/>
                <a:gdLst>
                  <a:gd name="connsiteX0" fmla="*/ 1365588 w 1377834"/>
                  <a:gd name="connsiteY0" fmla="*/ 1757592 h 1961108"/>
                  <a:gd name="connsiteX1" fmla="*/ 203868 w 1377834"/>
                  <a:gd name="connsiteY1" fmla="*/ 1665605 h 1961108"/>
                  <a:gd name="connsiteX2" fmla="*/ 2287 w 1377834"/>
                  <a:gd name="connsiteY2" fmla="*/ 1259030 h 1961108"/>
                  <a:gd name="connsiteX3" fmla="*/ 9384 w 1377834"/>
                  <a:gd name="connsiteY3" fmla="*/ 1110267 h 1961108"/>
                  <a:gd name="connsiteX4" fmla="*/ 736414 w 1377834"/>
                  <a:gd name="connsiteY4" fmla="*/ 0 h 1961108"/>
                  <a:gd name="connsiteX5" fmla="*/ 571410 w 1377834"/>
                  <a:gd name="connsiteY5" fmla="*/ 812330 h 1961108"/>
                  <a:gd name="connsiteX6" fmla="*/ 848737 w 1377834"/>
                  <a:gd name="connsiteY6" fmla="*/ 1336824 h 1961108"/>
                  <a:gd name="connsiteX7" fmla="*/ 1365588 w 1377834"/>
                  <a:gd name="connsiteY7" fmla="*/ 1757592 h 196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7834" h="1961108">
                    <a:moveTo>
                      <a:pt x="1365588" y="1757592"/>
                    </a:moveTo>
                    <a:cubicBezTo>
                      <a:pt x="1316046" y="2055665"/>
                      <a:pt x="572911" y="2027413"/>
                      <a:pt x="203868" y="1665605"/>
                    </a:cubicBezTo>
                    <a:cubicBezTo>
                      <a:pt x="95094" y="1559013"/>
                      <a:pt x="18801" y="1423625"/>
                      <a:pt x="2287" y="1259030"/>
                    </a:cubicBezTo>
                    <a:cubicBezTo>
                      <a:pt x="-2490" y="1211535"/>
                      <a:pt x="376" y="1161720"/>
                      <a:pt x="9384" y="1110267"/>
                    </a:cubicBezTo>
                    <a:cubicBezTo>
                      <a:pt x="94548" y="622486"/>
                      <a:pt x="736414" y="0"/>
                      <a:pt x="736414" y="0"/>
                    </a:cubicBezTo>
                    <a:cubicBezTo>
                      <a:pt x="686326" y="116145"/>
                      <a:pt x="571410" y="812330"/>
                      <a:pt x="571410" y="812330"/>
                    </a:cubicBezTo>
                    <a:cubicBezTo>
                      <a:pt x="571410" y="812330"/>
                      <a:pt x="467821" y="1144660"/>
                      <a:pt x="848737" y="1336824"/>
                    </a:cubicBezTo>
                    <a:cubicBezTo>
                      <a:pt x="1239617" y="1533901"/>
                      <a:pt x="1429734" y="1371763"/>
                      <a:pt x="1365588" y="175759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A5B0082C-3DA7-4762-8C96-FF57169E04C2}"/>
                  </a:ext>
                </a:extLst>
              </p:cNvPr>
              <p:cNvSpPr/>
              <p:nvPr/>
            </p:nvSpPr>
            <p:spPr>
              <a:xfrm>
                <a:off x="7774073" y="3679311"/>
                <a:ext cx="240625" cy="555337"/>
              </a:xfrm>
              <a:custGeom>
                <a:avLst/>
                <a:gdLst>
                  <a:gd name="connsiteX0" fmla="*/ 203868 w 240625"/>
                  <a:gd name="connsiteY0" fmla="*/ 555338 h 555337"/>
                  <a:gd name="connsiteX1" fmla="*/ 2287 w 240625"/>
                  <a:gd name="connsiteY1" fmla="*/ 148764 h 555337"/>
                  <a:gd name="connsiteX2" fmla="*/ 9384 w 240625"/>
                  <a:gd name="connsiteY2" fmla="*/ 0 h 555337"/>
                  <a:gd name="connsiteX3" fmla="*/ 203868 w 240625"/>
                  <a:gd name="connsiteY3" fmla="*/ 555338 h 55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625" h="555337">
                    <a:moveTo>
                      <a:pt x="203868" y="555338"/>
                    </a:moveTo>
                    <a:cubicBezTo>
                      <a:pt x="95094" y="448747"/>
                      <a:pt x="18801" y="313359"/>
                      <a:pt x="2287" y="148764"/>
                    </a:cubicBezTo>
                    <a:cubicBezTo>
                      <a:pt x="-2490" y="101268"/>
                      <a:pt x="376" y="51453"/>
                      <a:pt x="9384" y="0"/>
                    </a:cubicBezTo>
                    <a:cubicBezTo>
                      <a:pt x="124710" y="94444"/>
                      <a:pt x="322879" y="303532"/>
                      <a:pt x="203868" y="55533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A1F4BE09-86DE-471B-A050-49368BE97297}"/>
                  </a:ext>
                </a:extLst>
              </p:cNvPr>
              <p:cNvSpPr/>
              <p:nvPr/>
            </p:nvSpPr>
            <p:spPr>
              <a:xfrm>
                <a:off x="8355489" y="3125160"/>
                <a:ext cx="640278" cy="912002"/>
              </a:xfrm>
              <a:custGeom>
                <a:avLst/>
                <a:gdLst>
                  <a:gd name="connsiteX0" fmla="*/ 629267 w 640278"/>
                  <a:gd name="connsiteY0" fmla="*/ 912002 h 912002"/>
                  <a:gd name="connsiteX1" fmla="*/ 626947 w 640278"/>
                  <a:gd name="connsiteY1" fmla="*/ 911729 h 912002"/>
                  <a:gd name="connsiteX2" fmla="*/ 1048 w 640278"/>
                  <a:gd name="connsiteY2" fmla="*/ 422448 h 912002"/>
                  <a:gd name="connsiteX3" fmla="*/ 100133 w 640278"/>
                  <a:gd name="connsiteY3" fmla="*/ 130517 h 912002"/>
                  <a:gd name="connsiteX4" fmla="*/ 212456 w 640278"/>
                  <a:gd name="connsiteY4" fmla="*/ 2771 h 912002"/>
                  <a:gd name="connsiteX5" fmla="*/ 228151 w 640278"/>
                  <a:gd name="connsiteY5" fmla="*/ 3727 h 912002"/>
                  <a:gd name="connsiteX6" fmla="*/ 227196 w 640278"/>
                  <a:gd name="connsiteY6" fmla="*/ 19422 h 912002"/>
                  <a:gd name="connsiteX7" fmla="*/ 23158 w 640278"/>
                  <a:gd name="connsiteY7" fmla="*/ 420401 h 912002"/>
                  <a:gd name="connsiteX8" fmla="*/ 151859 w 640278"/>
                  <a:gd name="connsiteY8" fmla="*/ 696910 h 912002"/>
                  <a:gd name="connsiteX9" fmla="*/ 631451 w 640278"/>
                  <a:gd name="connsiteY9" fmla="*/ 889756 h 912002"/>
                  <a:gd name="connsiteX10" fmla="*/ 640049 w 640278"/>
                  <a:gd name="connsiteY10" fmla="*/ 902995 h 912002"/>
                  <a:gd name="connsiteX11" fmla="*/ 629267 w 640278"/>
                  <a:gd name="connsiteY11" fmla="*/ 912002 h 912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0278" h="912002">
                    <a:moveTo>
                      <a:pt x="629267" y="912002"/>
                    </a:moveTo>
                    <a:cubicBezTo>
                      <a:pt x="628448" y="912002"/>
                      <a:pt x="627766" y="911866"/>
                      <a:pt x="626947" y="911729"/>
                    </a:cubicBezTo>
                    <a:cubicBezTo>
                      <a:pt x="131796" y="808004"/>
                      <a:pt x="20292" y="647640"/>
                      <a:pt x="1048" y="422448"/>
                    </a:cubicBezTo>
                    <a:cubicBezTo>
                      <a:pt x="-6594" y="333190"/>
                      <a:pt x="27662" y="232331"/>
                      <a:pt x="100133" y="130517"/>
                    </a:cubicBezTo>
                    <a:cubicBezTo>
                      <a:pt x="154452" y="54224"/>
                      <a:pt x="210136" y="4818"/>
                      <a:pt x="212456" y="2771"/>
                    </a:cubicBezTo>
                    <a:cubicBezTo>
                      <a:pt x="217097" y="-1323"/>
                      <a:pt x="224057" y="-777"/>
                      <a:pt x="228151" y="3727"/>
                    </a:cubicBezTo>
                    <a:cubicBezTo>
                      <a:pt x="232246" y="8367"/>
                      <a:pt x="231700" y="15327"/>
                      <a:pt x="227196" y="19422"/>
                    </a:cubicBezTo>
                    <a:cubicBezTo>
                      <a:pt x="225012" y="21332"/>
                      <a:pt x="5825" y="216909"/>
                      <a:pt x="23158" y="420401"/>
                    </a:cubicBezTo>
                    <a:cubicBezTo>
                      <a:pt x="33667" y="542960"/>
                      <a:pt x="73383" y="628260"/>
                      <a:pt x="151859" y="696910"/>
                    </a:cubicBezTo>
                    <a:cubicBezTo>
                      <a:pt x="245348" y="778661"/>
                      <a:pt x="402164" y="841715"/>
                      <a:pt x="631451" y="889756"/>
                    </a:cubicBezTo>
                    <a:cubicBezTo>
                      <a:pt x="637456" y="890984"/>
                      <a:pt x="641277" y="896853"/>
                      <a:pt x="640049" y="902995"/>
                    </a:cubicBezTo>
                    <a:cubicBezTo>
                      <a:pt x="639093" y="908454"/>
                      <a:pt x="634453" y="912002"/>
                      <a:pt x="629267" y="9120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9FD7D1B7-35BF-49C5-B309-A05874C69C8E}"/>
                  </a:ext>
                </a:extLst>
              </p:cNvPr>
              <p:cNvSpPr/>
              <p:nvPr/>
            </p:nvSpPr>
            <p:spPr>
              <a:xfrm>
                <a:off x="8440621" y="3212890"/>
                <a:ext cx="169347" cy="80318"/>
              </a:xfrm>
              <a:custGeom>
                <a:avLst/>
                <a:gdLst>
                  <a:gd name="connsiteX0" fmla="*/ 11179 w 169347"/>
                  <a:gd name="connsiteY0" fmla="*/ 80318 h 80318"/>
                  <a:gd name="connsiteX1" fmla="*/ 807 w 169347"/>
                  <a:gd name="connsiteY1" fmla="*/ 73221 h 80318"/>
                  <a:gd name="connsiteX2" fmla="*/ 7085 w 169347"/>
                  <a:gd name="connsiteY2" fmla="*/ 58754 h 80318"/>
                  <a:gd name="connsiteX3" fmla="*/ 154074 w 169347"/>
                  <a:gd name="connsiteY3" fmla="*/ 750 h 80318"/>
                  <a:gd name="connsiteX4" fmla="*/ 168541 w 169347"/>
                  <a:gd name="connsiteY4" fmla="*/ 7029 h 80318"/>
                  <a:gd name="connsiteX5" fmla="*/ 162263 w 169347"/>
                  <a:gd name="connsiteY5" fmla="*/ 21495 h 80318"/>
                  <a:gd name="connsiteX6" fmla="*/ 15274 w 169347"/>
                  <a:gd name="connsiteY6" fmla="*/ 79499 h 80318"/>
                  <a:gd name="connsiteX7" fmla="*/ 11179 w 169347"/>
                  <a:gd name="connsiteY7" fmla="*/ 80318 h 8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347" h="80318">
                    <a:moveTo>
                      <a:pt x="11179" y="80318"/>
                    </a:moveTo>
                    <a:cubicBezTo>
                      <a:pt x="6675" y="80318"/>
                      <a:pt x="2581" y="77589"/>
                      <a:pt x="807" y="73221"/>
                    </a:cubicBezTo>
                    <a:cubicBezTo>
                      <a:pt x="-1514" y="67489"/>
                      <a:pt x="1353" y="61075"/>
                      <a:pt x="7085" y="58754"/>
                    </a:cubicBezTo>
                    <a:lnTo>
                      <a:pt x="154074" y="750"/>
                    </a:lnTo>
                    <a:cubicBezTo>
                      <a:pt x="159806" y="-1433"/>
                      <a:pt x="166221" y="1296"/>
                      <a:pt x="168541" y="7029"/>
                    </a:cubicBezTo>
                    <a:cubicBezTo>
                      <a:pt x="170861" y="12761"/>
                      <a:pt x="167995" y="19175"/>
                      <a:pt x="162263" y="21495"/>
                    </a:cubicBezTo>
                    <a:lnTo>
                      <a:pt x="15274" y="79499"/>
                    </a:lnTo>
                    <a:cubicBezTo>
                      <a:pt x="14045" y="80182"/>
                      <a:pt x="12544" y="80318"/>
                      <a:pt x="11179" y="803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EEDF0E31-6494-4C4C-8D2D-362534DFF9B6}"/>
                  </a:ext>
                </a:extLst>
              </p:cNvPr>
              <p:cNvSpPr/>
              <p:nvPr/>
            </p:nvSpPr>
            <p:spPr>
              <a:xfrm>
                <a:off x="8497449" y="4440913"/>
                <a:ext cx="573519" cy="98496"/>
              </a:xfrm>
              <a:custGeom>
                <a:avLst/>
                <a:gdLst>
                  <a:gd name="connsiteX0" fmla="*/ 247102 w 573519"/>
                  <a:gd name="connsiteY0" fmla="*/ 98496 h 98496"/>
                  <a:gd name="connsiteX1" fmla="*/ 7852 w 573519"/>
                  <a:gd name="connsiteY1" fmla="*/ 61783 h 98496"/>
                  <a:gd name="connsiteX2" fmla="*/ 482 w 573519"/>
                  <a:gd name="connsiteY2" fmla="*/ 47862 h 98496"/>
                  <a:gd name="connsiteX3" fmla="*/ 14403 w 573519"/>
                  <a:gd name="connsiteY3" fmla="*/ 40492 h 98496"/>
                  <a:gd name="connsiteX4" fmla="*/ 406510 w 573519"/>
                  <a:gd name="connsiteY4" fmla="*/ 58371 h 98496"/>
                  <a:gd name="connsiteX5" fmla="*/ 556366 w 573519"/>
                  <a:gd name="connsiteY5" fmla="*/ 1731 h 98496"/>
                  <a:gd name="connsiteX6" fmla="*/ 571788 w 573519"/>
                  <a:gd name="connsiteY6" fmla="*/ 5143 h 98496"/>
                  <a:gd name="connsiteX7" fmla="*/ 568376 w 573519"/>
                  <a:gd name="connsiteY7" fmla="*/ 20429 h 98496"/>
                  <a:gd name="connsiteX8" fmla="*/ 412652 w 573519"/>
                  <a:gd name="connsiteY8" fmla="*/ 79798 h 98496"/>
                  <a:gd name="connsiteX9" fmla="*/ 247102 w 573519"/>
                  <a:gd name="connsiteY9" fmla="*/ 98496 h 9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3519" h="98496">
                    <a:moveTo>
                      <a:pt x="247102" y="98496"/>
                    </a:moveTo>
                    <a:cubicBezTo>
                      <a:pt x="177360" y="98496"/>
                      <a:pt x="96427" y="88942"/>
                      <a:pt x="7852" y="61783"/>
                    </a:cubicBezTo>
                    <a:cubicBezTo>
                      <a:pt x="1983" y="60009"/>
                      <a:pt x="-1292" y="53731"/>
                      <a:pt x="482" y="47862"/>
                    </a:cubicBezTo>
                    <a:cubicBezTo>
                      <a:pt x="2256" y="41993"/>
                      <a:pt x="8534" y="38718"/>
                      <a:pt x="14403" y="40492"/>
                    </a:cubicBezTo>
                    <a:cubicBezTo>
                      <a:pt x="181455" y="91808"/>
                      <a:pt x="319846" y="78570"/>
                      <a:pt x="406510" y="58371"/>
                    </a:cubicBezTo>
                    <a:cubicBezTo>
                      <a:pt x="500545" y="36534"/>
                      <a:pt x="555820" y="2004"/>
                      <a:pt x="556366" y="1731"/>
                    </a:cubicBezTo>
                    <a:cubicBezTo>
                      <a:pt x="561552" y="-1544"/>
                      <a:pt x="568376" y="-43"/>
                      <a:pt x="571788" y="5143"/>
                    </a:cubicBezTo>
                    <a:cubicBezTo>
                      <a:pt x="575064" y="10330"/>
                      <a:pt x="573562" y="17154"/>
                      <a:pt x="568376" y="20429"/>
                    </a:cubicBezTo>
                    <a:cubicBezTo>
                      <a:pt x="566056" y="21930"/>
                      <a:pt x="510099" y="57006"/>
                      <a:pt x="412652" y="79798"/>
                    </a:cubicBezTo>
                    <a:cubicBezTo>
                      <a:pt x="369115" y="90034"/>
                      <a:pt x="313022" y="98496"/>
                      <a:pt x="247102" y="9849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FF7D5F1D-D5B4-4C0A-A976-6CF35794A832}"/>
                  </a:ext>
                </a:extLst>
              </p:cNvPr>
              <p:cNvSpPr/>
              <p:nvPr/>
            </p:nvSpPr>
            <p:spPr>
              <a:xfrm>
                <a:off x="8136623" y="3695465"/>
                <a:ext cx="303086" cy="70101"/>
              </a:xfrm>
              <a:custGeom>
                <a:avLst/>
                <a:gdLst>
                  <a:gd name="connsiteX0" fmla="*/ 291976 w 303086"/>
                  <a:gd name="connsiteY0" fmla="*/ 70102 h 70101"/>
                  <a:gd name="connsiteX1" fmla="*/ 287063 w 303086"/>
                  <a:gd name="connsiteY1" fmla="*/ 69010 h 70101"/>
                  <a:gd name="connsiteX2" fmla="*/ 12192 w 303086"/>
                  <a:gd name="connsiteY2" fmla="*/ 24654 h 70101"/>
                  <a:gd name="connsiteX3" fmla="*/ 45 w 303086"/>
                  <a:gd name="connsiteY3" fmla="*/ 14554 h 70101"/>
                  <a:gd name="connsiteX4" fmla="*/ 10144 w 303086"/>
                  <a:gd name="connsiteY4" fmla="*/ 2408 h 70101"/>
                  <a:gd name="connsiteX5" fmla="*/ 296889 w 303086"/>
                  <a:gd name="connsiteY5" fmla="*/ 48947 h 70101"/>
                  <a:gd name="connsiteX6" fmla="*/ 301939 w 303086"/>
                  <a:gd name="connsiteY6" fmla="*/ 63824 h 70101"/>
                  <a:gd name="connsiteX7" fmla="*/ 291976 w 303086"/>
                  <a:gd name="connsiteY7" fmla="*/ 70102 h 70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086" h="70101">
                    <a:moveTo>
                      <a:pt x="291976" y="70102"/>
                    </a:moveTo>
                    <a:cubicBezTo>
                      <a:pt x="290338" y="70102"/>
                      <a:pt x="288700" y="69692"/>
                      <a:pt x="287063" y="69010"/>
                    </a:cubicBezTo>
                    <a:cubicBezTo>
                      <a:pt x="285834" y="68464"/>
                      <a:pt x="165186" y="10323"/>
                      <a:pt x="12192" y="24654"/>
                    </a:cubicBezTo>
                    <a:cubicBezTo>
                      <a:pt x="6050" y="25200"/>
                      <a:pt x="591" y="20696"/>
                      <a:pt x="45" y="14554"/>
                    </a:cubicBezTo>
                    <a:cubicBezTo>
                      <a:pt x="-501" y="8413"/>
                      <a:pt x="4003" y="2954"/>
                      <a:pt x="10144" y="2408"/>
                    </a:cubicBezTo>
                    <a:cubicBezTo>
                      <a:pt x="169690" y="-12469"/>
                      <a:pt x="291840" y="46354"/>
                      <a:pt x="296889" y="48947"/>
                    </a:cubicBezTo>
                    <a:cubicBezTo>
                      <a:pt x="302349" y="51677"/>
                      <a:pt x="304669" y="58364"/>
                      <a:pt x="301939" y="63824"/>
                    </a:cubicBezTo>
                    <a:cubicBezTo>
                      <a:pt x="300028" y="67782"/>
                      <a:pt x="296070" y="70102"/>
                      <a:pt x="291976" y="701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DFFF15B5-AED8-4107-B059-CB7F370EA878}"/>
                  </a:ext>
                </a:extLst>
              </p:cNvPr>
              <p:cNvSpPr/>
              <p:nvPr/>
            </p:nvSpPr>
            <p:spPr>
              <a:xfrm>
                <a:off x="8252598" y="3623139"/>
                <a:ext cx="181989" cy="142427"/>
              </a:xfrm>
              <a:custGeom>
                <a:avLst/>
                <a:gdLst>
                  <a:gd name="connsiteX0" fmla="*/ 170815 w 181989"/>
                  <a:gd name="connsiteY0" fmla="*/ 142427 h 142427"/>
                  <a:gd name="connsiteX1" fmla="*/ 162217 w 181989"/>
                  <a:gd name="connsiteY1" fmla="*/ 138333 h 142427"/>
                  <a:gd name="connsiteX2" fmla="*/ 6493 w 181989"/>
                  <a:gd name="connsiteY2" fmla="*/ 21233 h 142427"/>
                  <a:gd name="connsiteX3" fmla="*/ 1034 w 181989"/>
                  <a:gd name="connsiteY3" fmla="*/ 6493 h 142427"/>
                  <a:gd name="connsiteX4" fmla="*/ 15773 w 181989"/>
                  <a:gd name="connsiteY4" fmla="*/ 1034 h 142427"/>
                  <a:gd name="connsiteX5" fmla="*/ 179413 w 181989"/>
                  <a:gd name="connsiteY5" fmla="*/ 124139 h 142427"/>
                  <a:gd name="connsiteX6" fmla="*/ 177912 w 181989"/>
                  <a:gd name="connsiteY6" fmla="*/ 139834 h 142427"/>
                  <a:gd name="connsiteX7" fmla="*/ 170815 w 181989"/>
                  <a:gd name="connsiteY7" fmla="*/ 142427 h 1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1989" h="142427">
                    <a:moveTo>
                      <a:pt x="170815" y="142427"/>
                    </a:moveTo>
                    <a:cubicBezTo>
                      <a:pt x="167676" y="142427"/>
                      <a:pt x="164400" y="141062"/>
                      <a:pt x="162217" y="138333"/>
                    </a:cubicBezTo>
                    <a:cubicBezTo>
                      <a:pt x="101483" y="65043"/>
                      <a:pt x="7448" y="21642"/>
                      <a:pt x="6493" y="21233"/>
                    </a:cubicBezTo>
                    <a:cubicBezTo>
                      <a:pt x="897" y="18640"/>
                      <a:pt x="-1559" y="12089"/>
                      <a:pt x="1034" y="6493"/>
                    </a:cubicBezTo>
                    <a:cubicBezTo>
                      <a:pt x="3627" y="897"/>
                      <a:pt x="10178" y="-1559"/>
                      <a:pt x="15773" y="1034"/>
                    </a:cubicBezTo>
                    <a:cubicBezTo>
                      <a:pt x="19868" y="2808"/>
                      <a:pt x="115268" y="46755"/>
                      <a:pt x="179413" y="124139"/>
                    </a:cubicBezTo>
                    <a:cubicBezTo>
                      <a:pt x="183371" y="128916"/>
                      <a:pt x="182689" y="135876"/>
                      <a:pt x="177912" y="139834"/>
                    </a:cubicBezTo>
                    <a:cubicBezTo>
                      <a:pt x="175865" y="141472"/>
                      <a:pt x="173408" y="142427"/>
                      <a:pt x="170815" y="142427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D5353937-D865-4CB0-BE23-5BCD6A627801}"/>
                  </a:ext>
                </a:extLst>
              </p:cNvPr>
              <p:cNvGrpSpPr/>
              <p:nvPr/>
            </p:nvGrpSpPr>
            <p:grpSpPr>
              <a:xfrm>
                <a:off x="8999960" y="3363223"/>
                <a:ext cx="845440" cy="1140053"/>
                <a:chOff x="8999960" y="3363223"/>
                <a:chExt cx="845440" cy="1140053"/>
              </a:xfrm>
              <a:solidFill>
                <a:schemeClr val="accent1"/>
              </a:solidFill>
            </p:grpSpPr>
            <p:grpSp>
              <p:nvGrpSpPr>
                <p:cNvPr id="32" name="组合 31">
                  <a:extLst>
                    <a:ext uri="{FF2B5EF4-FFF2-40B4-BE49-F238E27FC236}">
                      <a16:creationId xmlns:a16="http://schemas.microsoft.com/office/drawing/2014/main" id="{22EF6979-9C7A-4B32-98C6-449B30BB6F11}"/>
                    </a:ext>
                  </a:extLst>
                </p:cNvPr>
                <p:cNvGrpSpPr/>
                <p:nvPr/>
              </p:nvGrpSpPr>
              <p:grpSpPr>
                <a:xfrm>
                  <a:off x="9298387" y="3363223"/>
                  <a:ext cx="547012" cy="1140053"/>
                  <a:chOff x="9298387" y="3363223"/>
                  <a:chExt cx="547012" cy="1140053"/>
                </a:xfrm>
                <a:solidFill>
                  <a:schemeClr val="accent1"/>
                </a:solidFill>
              </p:grpSpPr>
              <p:sp>
                <p:nvSpPr>
                  <p:cNvPr id="35" name="任意多边形: 形状 34">
                    <a:extLst>
                      <a:ext uri="{FF2B5EF4-FFF2-40B4-BE49-F238E27FC236}">
                        <a16:creationId xmlns:a16="http://schemas.microsoft.com/office/drawing/2014/main" id="{A3F6F39E-1CFA-4177-931D-75E737798D34}"/>
                      </a:ext>
                    </a:extLst>
                  </p:cNvPr>
                  <p:cNvSpPr/>
                  <p:nvPr/>
                </p:nvSpPr>
                <p:spPr>
                  <a:xfrm>
                    <a:off x="9298387" y="3983935"/>
                    <a:ext cx="366722" cy="392516"/>
                  </a:xfrm>
                  <a:custGeom>
                    <a:avLst/>
                    <a:gdLst>
                      <a:gd name="connsiteX0" fmla="*/ 0 w 366722"/>
                      <a:gd name="connsiteY0" fmla="*/ 280467 h 392516"/>
                      <a:gd name="connsiteX1" fmla="*/ 0 w 366722"/>
                      <a:gd name="connsiteY1" fmla="*/ 112050 h 392516"/>
                      <a:gd name="connsiteX2" fmla="*/ 112050 w 366722"/>
                      <a:gd name="connsiteY2" fmla="*/ 0 h 392516"/>
                      <a:gd name="connsiteX3" fmla="*/ 254672 w 366722"/>
                      <a:gd name="connsiteY3" fmla="*/ 0 h 392516"/>
                      <a:gd name="connsiteX4" fmla="*/ 366722 w 366722"/>
                      <a:gd name="connsiteY4" fmla="*/ 112050 h 392516"/>
                      <a:gd name="connsiteX5" fmla="*/ 366722 w 366722"/>
                      <a:gd name="connsiteY5" fmla="*/ 280467 h 392516"/>
                      <a:gd name="connsiteX6" fmla="*/ 254672 w 366722"/>
                      <a:gd name="connsiteY6" fmla="*/ 392517 h 392516"/>
                      <a:gd name="connsiteX7" fmla="*/ 112050 w 366722"/>
                      <a:gd name="connsiteY7" fmla="*/ 392517 h 392516"/>
                      <a:gd name="connsiteX8" fmla="*/ 0 w 366722"/>
                      <a:gd name="connsiteY8" fmla="*/ 280467 h 392516"/>
                      <a:gd name="connsiteX9" fmla="*/ 111914 w 366722"/>
                      <a:gd name="connsiteY9" fmla="*/ 57458 h 392516"/>
                      <a:gd name="connsiteX10" fmla="*/ 57458 w 366722"/>
                      <a:gd name="connsiteY10" fmla="*/ 111914 h 392516"/>
                      <a:gd name="connsiteX11" fmla="*/ 57458 w 366722"/>
                      <a:gd name="connsiteY11" fmla="*/ 280330 h 392516"/>
                      <a:gd name="connsiteX12" fmla="*/ 111914 w 366722"/>
                      <a:gd name="connsiteY12" fmla="*/ 334786 h 392516"/>
                      <a:gd name="connsiteX13" fmla="*/ 254536 w 366722"/>
                      <a:gd name="connsiteY13" fmla="*/ 334786 h 392516"/>
                      <a:gd name="connsiteX14" fmla="*/ 308991 w 366722"/>
                      <a:gd name="connsiteY14" fmla="*/ 280330 h 392516"/>
                      <a:gd name="connsiteX15" fmla="*/ 308991 w 366722"/>
                      <a:gd name="connsiteY15" fmla="*/ 111914 h 392516"/>
                      <a:gd name="connsiteX16" fmla="*/ 254536 w 366722"/>
                      <a:gd name="connsiteY16" fmla="*/ 57458 h 392516"/>
                      <a:gd name="connsiteX17" fmla="*/ 111914 w 366722"/>
                      <a:gd name="connsiteY17" fmla="*/ 57458 h 3925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6722" h="392516">
                        <a:moveTo>
                          <a:pt x="0" y="280467"/>
                        </a:moveTo>
                        <a:lnTo>
                          <a:pt x="0" y="112050"/>
                        </a:lnTo>
                        <a:cubicBezTo>
                          <a:pt x="0" y="50361"/>
                          <a:pt x="50225" y="0"/>
                          <a:pt x="112050" y="0"/>
                        </a:cubicBezTo>
                        <a:lnTo>
                          <a:pt x="254672" y="0"/>
                        </a:lnTo>
                        <a:cubicBezTo>
                          <a:pt x="316361" y="0"/>
                          <a:pt x="366722" y="50225"/>
                          <a:pt x="366722" y="112050"/>
                        </a:cubicBezTo>
                        <a:lnTo>
                          <a:pt x="366722" y="280467"/>
                        </a:lnTo>
                        <a:cubicBezTo>
                          <a:pt x="366722" y="342156"/>
                          <a:pt x="316497" y="392517"/>
                          <a:pt x="254672" y="392517"/>
                        </a:cubicBezTo>
                        <a:lnTo>
                          <a:pt x="112050" y="392517"/>
                        </a:lnTo>
                        <a:cubicBezTo>
                          <a:pt x="50225" y="392517"/>
                          <a:pt x="0" y="342292"/>
                          <a:pt x="0" y="280467"/>
                        </a:cubicBezTo>
                        <a:close/>
                        <a:moveTo>
                          <a:pt x="111914" y="57458"/>
                        </a:moveTo>
                        <a:cubicBezTo>
                          <a:pt x="81888" y="57458"/>
                          <a:pt x="57458" y="81888"/>
                          <a:pt x="57458" y="111914"/>
                        </a:cubicBezTo>
                        <a:lnTo>
                          <a:pt x="57458" y="280330"/>
                        </a:lnTo>
                        <a:cubicBezTo>
                          <a:pt x="57458" y="310356"/>
                          <a:pt x="81888" y="334786"/>
                          <a:pt x="111914" y="334786"/>
                        </a:cubicBezTo>
                        <a:lnTo>
                          <a:pt x="254536" y="334786"/>
                        </a:lnTo>
                        <a:cubicBezTo>
                          <a:pt x="284561" y="334786"/>
                          <a:pt x="308991" y="310356"/>
                          <a:pt x="308991" y="280330"/>
                        </a:cubicBezTo>
                        <a:lnTo>
                          <a:pt x="308991" y="111914"/>
                        </a:lnTo>
                        <a:cubicBezTo>
                          <a:pt x="308991" y="81888"/>
                          <a:pt x="284561" y="57458"/>
                          <a:pt x="254536" y="57458"/>
                        </a:cubicBezTo>
                        <a:lnTo>
                          <a:pt x="111914" y="57458"/>
                        </a:lnTo>
                        <a:close/>
                      </a:path>
                    </a:pathLst>
                  </a:custGeom>
                  <a:solidFill>
                    <a:srgbClr val="FD9B15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6" name="任意多边形: 形状 35">
                    <a:extLst>
                      <a:ext uri="{FF2B5EF4-FFF2-40B4-BE49-F238E27FC236}">
                        <a16:creationId xmlns:a16="http://schemas.microsoft.com/office/drawing/2014/main" id="{805CF24F-49E1-407E-B323-6EE99AF7D11C}"/>
                      </a:ext>
                    </a:extLst>
                  </p:cNvPr>
                  <p:cNvSpPr/>
                  <p:nvPr/>
                </p:nvSpPr>
                <p:spPr>
                  <a:xfrm>
                    <a:off x="9427088" y="3892049"/>
                    <a:ext cx="418311" cy="611226"/>
                  </a:xfrm>
                  <a:custGeom>
                    <a:avLst/>
                    <a:gdLst>
                      <a:gd name="connsiteX0" fmla="*/ 0 w 418311"/>
                      <a:gd name="connsiteY0" fmla="*/ 579802 h 611226"/>
                      <a:gd name="connsiteX1" fmla="*/ 418312 w 418311"/>
                      <a:gd name="connsiteY1" fmla="*/ 579802 h 611226"/>
                      <a:gd name="connsiteX2" fmla="*/ 418312 w 418311"/>
                      <a:gd name="connsiteY2" fmla="*/ 7268 h 611226"/>
                      <a:gd name="connsiteX3" fmla="*/ 0 w 418311"/>
                      <a:gd name="connsiteY3" fmla="*/ 7268 h 611226"/>
                      <a:gd name="connsiteX4" fmla="*/ 0 w 418311"/>
                      <a:gd name="connsiteY4" fmla="*/ 579802 h 6112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8311" h="611226">
                        <a:moveTo>
                          <a:pt x="0" y="579802"/>
                        </a:moveTo>
                        <a:cubicBezTo>
                          <a:pt x="139483" y="621702"/>
                          <a:pt x="278829" y="621702"/>
                          <a:pt x="418312" y="579802"/>
                        </a:cubicBezTo>
                        <a:lnTo>
                          <a:pt x="418312" y="7268"/>
                        </a:lnTo>
                        <a:cubicBezTo>
                          <a:pt x="278829" y="-2423"/>
                          <a:pt x="139483" y="-2423"/>
                          <a:pt x="0" y="7268"/>
                        </a:cubicBezTo>
                        <a:lnTo>
                          <a:pt x="0" y="579802"/>
                        </a:lnTo>
                        <a:close/>
                      </a:path>
                    </a:pathLst>
                  </a:custGeom>
                  <a:solidFill>
                    <a:srgbClr val="FDC228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7" name="任意多边形: 形状 36">
                    <a:extLst>
                      <a:ext uri="{FF2B5EF4-FFF2-40B4-BE49-F238E27FC236}">
                        <a16:creationId xmlns:a16="http://schemas.microsoft.com/office/drawing/2014/main" id="{74E78F27-6C93-414B-8ECF-5C79784ADDDA}"/>
                      </a:ext>
                    </a:extLst>
                  </p:cNvPr>
                  <p:cNvSpPr/>
                  <p:nvPr/>
                </p:nvSpPr>
                <p:spPr>
                  <a:xfrm>
                    <a:off x="9610989" y="3363223"/>
                    <a:ext cx="187700" cy="476861"/>
                  </a:xfrm>
                  <a:custGeom>
                    <a:avLst/>
                    <a:gdLst>
                      <a:gd name="connsiteX0" fmla="*/ 121542 w 187700"/>
                      <a:gd name="connsiteY0" fmla="*/ 476862 h 476861"/>
                      <a:gd name="connsiteX1" fmla="*/ 166170 w 187700"/>
                      <a:gd name="connsiteY1" fmla="*/ 310629 h 476861"/>
                      <a:gd name="connsiteX2" fmla="*/ 94109 w 187700"/>
                      <a:gd name="connsiteY2" fmla="*/ 0 h 476861"/>
                      <a:gd name="connsiteX3" fmla="*/ 211 w 187700"/>
                      <a:gd name="connsiteY3" fmla="*/ 161593 h 476861"/>
                      <a:gd name="connsiteX4" fmla="*/ 121542 w 187700"/>
                      <a:gd name="connsiteY4" fmla="*/ 476862 h 476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7700" h="476861">
                        <a:moveTo>
                          <a:pt x="121542" y="476862"/>
                        </a:moveTo>
                        <a:cubicBezTo>
                          <a:pt x="121542" y="476862"/>
                          <a:pt x="233455" y="431823"/>
                          <a:pt x="166170" y="310629"/>
                        </a:cubicBezTo>
                        <a:cubicBezTo>
                          <a:pt x="99022" y="189434"/>
                          <a:pt x="21502" y="94990"/>
                          <a:pt x="94109" y="0"/>
                        </a:cubicBezTo>
                        <a:cubicBezTo>
                          <a:pt x="94109" y="0"/>
                          <a:pt x="7171" y="26341"/>
                          <a:pt x="211" y="161593"/>
                        </a:cubicBezTo>
                        <a:cubicBezTo>
                          <a:pt x="-6750" y="296844"/>
                          <a:pt x="161394" y="389924"/>
                          <a:pt x="121542" y="47686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56B7A06F-55CF-4320-93FC-3E0C105573E1}"/>
                    </a:ext>
                  </a:extLst>
                </p:cNvPr>
                <p:cNvSpPr/>
                <p:nvPr/>
              </p:nvSpPr>
              <p:spPr>
                <a:xfrm>
                  <a:off x="9189340" y="3978453"/>
                  <a:ext cx="210998" cy="113846"/>
                </a:xfrm>
                <a:custGeom>
                  <a:avLst/>
                  <a:gdLst>
                    <a:gd name="connsiteX0" fmla="*/ 0 w 210998"/>
                    <a:gd name="connsiteY0" fmla="*/ 113847 h 113846"/>
                    <a:gd name="connsiteX1" fmla="*/ 109048 w 210998"/>
                    <a:gd name="connsiteY1" fmla="*/ 432 h 113846"/>
                    <a:gd name="connsiteX2" fmla="*/ 210998 w 210998"/>
                    <a:gd name="connsiteY2" fmla="*/ 89144 h 113846"/>
                    <a:gd name="connsiteX3" fmla="*/ 0 w 210998"/>
                    <a:gd name="connsiteY3" fmla="*/ 113847 h 11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0998" h="113846">
                      <a:moveTo>
                        <a:pt x="0" y="113847"/>
                      </a:moveTo>
                      <a:cubicBezTo>
                        <a:pt x="0" y="113847"/>
                        <a:pt x="48451" y="8211"/>
                        <a:pt x="109048" y="432"/>
                      </a:cubicBezTo>
                      <a:cubicBezTo>
                        <a:pt x="169645" y="-7211"/>
                        <a:pt x="210998" y="89144"/>
                        <a:pt x="210998" y="89144"/>
                      </a:cubicBezTo>
                      <a:lnTo>
                        <a:pt x="0" y="113847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30023826-00C2-4899-9E4A-CF7405348E1A}"/>
                    </a:ext>
                  </a:extLst>
                </p:cNvPr>
                <p:cNvSpPr/>
                <p:nvPr/>
              </p:nvSpPr>
              <p:spPr>
                <a:xfrm>
                  <a:off x="8999960" y="4008319"/>
                  <a:ext cx="480148" cy="374694"/>
                </a:xfrm>
                <a:custGeom>
                  <a:avLst/>
                  <a:gdLst>
                    <a:gd name="connsiteX0" fmla="*/ 380043 w 480148"/>
                    <a:gd name="connsiteY0" fmla="*/ 7416 h 374694"/>
                    <a:gd name="connsiteX1" fmla="*/ 80196 w 480148"/>
                    <a:gd name="connsiteY1" fmla="*/ 90668 h 374694"/>
                    <a:gd name="connsiteX2" fmla="*/ 75828 w 480148"/>
                    <a:gd name="connsiteY2" fmla="*/ 90941 h 374694"/>
                    <a:gd name="connsiteX3" fmla="*/ 22055 w 480148"/>
                    <a:gd name="connsiteY3" fmla="*/ 95036 h 374694"/>
                    <a:gd name="connsiteX4" fmla="*/ 628 w 480148"/>
                    <a:gd name="connsiteY4" fmla="*/ 159591 h 374694"/>
                    <a:gd name="connsiteX5" fmla="*/ 17415 w 480148"/>
                    <a:gd name="connsiteY5" fmla="*/ 270140 h 374694"/>
                    <a:gd name="connsiteX6" fmla="*/ 48123 w 480148"/>
                    <a:gd name="connsiteY6" fmla="*/ 340973 h 374694"/>
                    <a:gd name="connsiteX7" fmla="*/ 110221 w 480148"/>
                    <a:gd name="connsiteY7" fmla="*/ 330464 h 374694"/>
                    <a:gd name="connsiteX8" fmla="*/ 115135 w 480148"/>
                    <a:gd name="connsiteY8" fmla="*/ 332921 h 374694"/>
                    <a:gd name="connsiteX9" fmla="*/ 417029 w 480148"/>
                    <a:gd name="connsiteY9" fmla="*/ 332239 h 374694"/>
                    <a:gd name="connsiteX10" fmla="*/ 380043 w 480148"/>
                    <a:gd name="connsiteY10" fmla="*/ 7416 h 374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80148" h="374694">
                      <a:moveTo>
                        <a:pt x="380043" y="7416"/>
                      </a:moveTo>
                      <a:cubicBezTo>
                        <a:pt x="307981" y="-29434"/>
                        <a:pt x="171910" y="82616"/>
                        <a:pt x="80196" y="90668"/>
                      </a:cubicBezTo>
                      <a:cubicBezTo>
                        <a:pt x="78694" y="90805"/>
                        <a:pt x="77193" y="90941"/>
                        <a:pt x="75828" y="90941"/>
                      </a:cubicBezTo>
                      <a:lnTo>
                        <a:pt x="22055" y="95036"/>
                      </a:lnTo>
                      <a:cubicBezTo>
                        <a:pt x="7588" y="114143"/>
                        <a:pt x="2402" y="135707"/>
                        <a:pt x="628" y="159591"/>
                      </a:cubicBezTo>
                      <a:cubicBezTo>
                        <a:pt x="-2102" y="197123"/>
                        <a:pt x="4176" y="234792"/>
                        <a:pt x="17415" y="270140"/>
                      </a:cubicBezTo>
                      <a:cubicBezTo>
                        <a:pt x="26832" y="295116"/>
                        <a:pt x="38433" y="323777"/>
                        <a:pt x="48123" y="340973"/>
                      </a:cubicBezTo>
                      <a:lnTo>
                        <a:pt x="110221" y="330464"/>
                      </a:lnTo>
                      <a:cubicBezTo>
                        <a:pt x="111859" y="331419"/>
                        <a:pt x="113497" y="332239"/>
                        <a:pt x="115135" y="332921"/>
                      </a:cubicBezTo>
                      <a:cubicBezTo>
                        <a:pt x="115135" y="332921"/>
                        <a:pt x="343056" y="427365"/>
                        <a:pt x="417029" y="332239"/>
                      </a:cubicBezTo>
                      <a:cubicBezTo>
                        <a:pt x="512565" y="209406"/>
                        <a:pt x="499190" y="68286"/>
                        <a:pt x="380043" y="7416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D6373408-B860-434D-97FD-ECC4AA34B268}"/>
                </a:ext>
              </a:extLst>
            </p:cNvPr>
            <p:cNvGrpSpPr/>
            <p:nvPr/>
          </p:nvGrpSpPr>
          <p:grpSpPr>
            <a:xfrm flipH="1">
              <a:off x="7623644" y="2505581"/>
              <a:ext cx="939323" cy="2438572"/>
              <a:chOff x="9871124" y="2505581"/>
              <a:chExt cx="939323" cy="2438572"/>
            </a:xfrm>
            <a:solidFill>
              <a:schemeClr val="accent1"/>
            </a:solidFill>
          </p:grpSpPr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21A9C495-6128-4D9E-AA78-1CDBEA6F04FA}"/>
                  </a:ext>
                </a:extLst>
              </p:cNvPr>
              <p:cNvSpPr/>
              <p:nvPr/>
            </p:nvSpPr>
            <p:spPr>
              <a:xfrm>
                <a:off x="9996757" y="2505581"/>
                <a:ext cx="813690" cy="2018819"/>
              </a:xfrm>
              <a:custGeom>
                <a:avLst/>
                <a:gdLst>
                  <a:gd name="connsiteX0" fmla="*/ 731397 w 813690"/>
                  <a:gd name="connsiteY0" fmla="*/ 1764962 h 2018819"/>
                  <a:gd name="connsiteX1" fmla="*/ 517260 w 813690"/>
                  <a:gd name="connsiteY1" fmla="*/ 1932969 h 2018819"/>
                  <a:gd name="connsiteX2" fmla="*/ 50498 w 813690"/>
                  <a:gd name="connsiteY2" fmla="*/ 1736301 h 2018819"/>
                  <a:gd name="connsiteX3" fmla="*/ 149992 w 813690"/>
                  <a:gd name="connsiteY3" fmla="*/ 857505 h 2018819"/>
                  <a:gd name="connsiteX4" fmla="*/ 0 w 813690"/>
                  <a:gd name="connsiteY4" fmla="*/ 0 h 2018819"/>
                  <a:gd name="connsiteX5" fmla="*/ 739723 w 813690"/>
                  <a:gd name="connsiteY5" fmla="*/ 1128691 h 2018819"/>
                  <a:gd name="connsiteX6" fmla="*/ 789129 w 813690"/>
                  <a:gd name="connsiteY6" fmla="*/ 1300520 h 2018819"/>
                  <a:gd name="connsiteX7" fmla="*/ 731397 w 813690"/>
                  <a:gd name="connsiteY7" fmla="*/ 1764962 h 201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3690" h="2018819">
                    <a:moveTo>
                      <a:pt x="731397" y="1764962"/>
                    </a:moveTo>
                    <a:cubicBezTo>
                      <a:pt x="669845" y="1843848"/>
                      <a:pt x="584818" y="1887931"/>
                      <a:pt x="517260" y="1932969"/>
                    </a:cubicBezTo>
                    <a:cubicBezTo>
                      <a:pt x="354985" y="2041471"/>
                      <a:pt x="25795" y="2110121"/>
                      <a:pt x="50498" y="1736301"/>
                    </a:cubicBezTo>
                    <a:cubicBezTo>
                      <a:pt x="75337" y="1362482"/>
                      <a:pt x="357988" y="1513975"/>
                      <a:pt x="149992" y="857505"/>
                    </a:cubicBezTo>
                    <a:cubicBezTo>
                      <a:pt x="61279" y="577448"/>
                      <a:pt x="0" y="0"/>
                      <a:pt x="0" y="0"/>
                    </a:cubicBezTo>
                    <a:cubicBezTo>
                      <a:pt x="0" y="0"/>
                      <a:pt x="464715" y="325642"/>
                      <a:pt x="739723" y="1128691"/>
                    </a:cubicBezTo>
                    <a:cubicBezTo>
                      <a:pt x="761150" y="1191199"/>
                      <a:pt x="777391" y="1248384"/>
                      <a:pt x="789129" y="1300520"/>
                    </a:cubicBezTo>
                    <a:cubicBezTo>
                      <a:pt x="842492" y="1537586"/>
                      <a:pt x="802367" y="1674203"/>
                      <a:pt x="731397" y="176496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D0521CD0-65B2-4210-B822-32ED451008CF}"/>
                  </a:ext>
                </a:extLst>
              </p:cNvPr>
              <p:cNvSpPr/>
              <p:nvPr/>
            </p:nvSpPr>
            <p:spPr>
              <a:xfrm>
                <a:off x="10681641" y="3806101"/>
                <a:ext cx="128805" cy="464442"/>
              </a:xfrm>
              <a:custGeom>
                <a:avLst/>
                <a:gdLst>
                  <a:gd name="connsiteX0" fmla="*/ 46512 w 128805"/>
                  <a:gd name="connsiteY0" fmla="*/ 464442 h 464442"/>
                  <a:gd name="connsiteX1" fmla="*/ 104244 w 128805"/>
                  <a:gd name="connsiteY1" fmla="*/ 0 h 464442"/>
                  <a:gd name="connsiteX2" fmla="*/ 46512 w 128805"/>
                  <a:gd name="connsiteY2" fmla="*/ 464442 h 464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805" h="464442">
                    <a:moveTo>
                      <a:pt x="46512" y="464442"/>
                    </a:moveTo>
                    <a:cubicBezTo>
                      <a:pt x="-54347" y="284425"/>
                      <a:pt x="29316" y="106455"/>
                      <a:pt x="104244" y="0"/>
                    </a:cubicBezTo>
                    <a:cubicBezTo>
                      <a:pt x="157607" y="237066"/>
                      <a:pt x="117482" y="373683"/>
                      <a:pt x="46512" y="46444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34129341-3CB9-4CE9-A09D-F971F226D73D}"/>
                  </a:ext>
                </a:extLst>
              </p:cNvPr>
              <p:cNvSpPr/>
              <p:nvPr/>
            </p:nvSpPr>
            <p:spPr>
              <a:xfrm>
                <a:off x="10030875" y="3791325"/>
                <a:ext cx="335096" cy="517432"/>
              </a:xfrm>
              <a:custGeom>
                <a:avLst/>
                <a:gdLst>
                  <a:gd name="connsiteX0" fmla="*/ 15424 w 335096"/>
                  <a:gd name="connsiteY0" fmla="*/ 517432 h 517432"/>
                  <a:gd name="connsiteX1" fmla="*/ 4506 w 335096"/>
                  <a:gd name="connsiteY1" fmla="*/ 508697 h 517432"/>
                  <a:gd name="connsiteX2" fmla="*/ 19246 w 335096"/>
                  <a:gd name="connsiteY2" fmla="*/ 328271 h 517432"/>
                  <a:gd name="connsiteX3" fmla="*/ 318820 w 335096"/>
                  <a:gd name="connsiteY3" fmla="*/ 1264 h 517432"/>
                  <a:gd name="connsiteX4" fmla="*/ 333832 w 335096"/>
                  <a:gd name="connsiteY4" fmla="*/ 6041 h 517432"/>
                  <a:gd name="connsiteX5" fmla="*/ 329056 w 335096"/>
                  <a:gd name="connsiteY5" fmla="*/ 21053 h 517432"/>
                  <a:gd name="connsiteX6" fmla="*/ 40809 w 335096"/>
                  <a:gd name="connsiteY6" fmla="*/ 333593 h 517432"/>
                  <a:gd name="connsiteX7" fmla="*/ 26206 w 335096"/>
                  <a:gd name="connsiteY7" fmla="*/ 503921 h 517432"/>
                  <a:gd name="connsiteX8" fmla="*/ 17608 w 335096"/>
                  <a:gd name="connsiteY8" fmla="*/ 517159 h 517432"/>
                  <a:gd name="connsiteX9" fmla="*/ 15424 w 335096"/>
                  <a:gd name="connsiteY9" fmla="*/ 517432 h 51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5096" h="517432">
                    <a:moveTo>
                      <a:pt x="15424" y="517432"/>
                    </a:moveTo>
                    <a:cubicBezTo>
                      <a:pt x="10238" y="517432"/>
                      <a:pt x="5734" y="513884"/>
                      <a:pt x="4506" y="508697"/>
                    </a:cubicBezTo>
                    <a:cubicBezTo>
                      <a:pt x="3823" y="505558"/>
                      <a:pt x="-11735" y="429402"/>
                      <a:pt x="19246" y="328271"/>
                    </a:cubicBezTo>
                    <a:cubicBezTo>
                      <a:pt x="47770" y="235464"/>
                      <a:pt x="122834" y="103351"/>
                      <a:pt x="318820" y="1264"/>
                    </a:cubicBezTo>
                    <a:cubicBezTo>
                      <a:pt x="324279" y="-1602"/>
                      <a:pt x="330967" y="581"/>
                      <a:pt x="333832" y="6041"/>
                    </a:cubicBezTo>
                    <a:cubicBezTo>
                      <a:pt x="336699" y="11500"/>
                      <a:pt x="334515" y="18188"/>
                      <a:pt x="329056" y="21053"/>
                    </a:cubicBezTo>
                    <a:cubicBezTo>
                      <a:pt x="140440" y="119183"/>
                      <a:pt x="68242" y="245154"/>
                      <a:pt x="40809" y="333593"/>
                    </a:cubicBezTo>
                    <a:cubicBezTo>
                      <a:pt x="11057" y="429402"/>
                      <a:pt x="26070" y="503238"/>
                      <a:pt x="26206" y="503921"/>
                    </a:cubicBezTo>
                    <a:cubicBezTo>
                      <a:pt x="27434" y="509926"/>
                      <a:pt x="23613" y="515794"/>
                      <a:pt x="17608" y="517159"/>
                    </a:cubicBezTo>
                    <a:cubicBezTo>
                      <a:pt x="16925" y="517432"/>
                      <a:pt x="16243" y="517432"/>
                      <a:pt x="15424" y="51743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A9AC784B-2F60-4A11-89EA-41FF075ACDB0}"/>
                  </a:ext>
                </a:extLst>
              </p:cNvPr>
              <p:cNvSpPr/>
              <p:nvPr/>
            </p:nvSpPr>
            <p:spPr>
              <a:xfrm>
                <a:off x="10202898" y="3725494"/>
                <a:ext cx="81915" cy="176055"/>
              </a:xfrm>
              <a:custGeom>
                <a:avLst/>
                <a:gdLst>
                  <a:gd name="connsiteX0" fmla="*/ 12227 w 81915"/>
                  <a:gd name="connsiteY0" fmla="*/ 176006 h 176055"/>
                  <a:gd name="connsiteX1" fmla="*/ 7587 w 81915"/>
                  <a:gd name="connsiteY1" fmla="*/ 175460 h 176055"/>
                  <a:gd name="connsiteX2" fmla="*/ 626 w 81915"/>
                  <a:gd name="connsiteY2" fmla="*/ 161403 h 176055"/>
                  <a:gd name="connsiteX3" fmla="*/ 60814 w 81915"/>
                  <a:gd name="connsiteY3" fmla="*/ 6088 h 176055"/>
                  <a:gd name="connsiteX4" fmla="*/ 75827 w 81915"/>
                  <a:gd name="connsiteY4" fmla="*/ 1175 h 176055"/>
                  <a:gd name="connsiteX5" fmla="*/ 80740 w 81915"/>
                  <a:gd name="connsiteY5" fmla="*/ 16188 h 176055"/>
                  <a:gd name="connsiteX6" fmla="*/ 21781 w 81915"/>
                  <a:gd name="connsiteY6" fmla="*/ 168500 h 176055"/>
                  <a:gd name="connsiteX7" fmla="*/ 12227 w 81915"/>
                  <a:gd name="connsiteY7" fmla="*/ 176006 h 17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915" h="176055">
                    <a:moveTo>
                      <a:pt x="12227" y="176006"/>
                    </a:moveTo>
                    <a:cubicBezTo>
                      <a:pt x="10726" y="176143"/>
                      <a:pt x="9088" y="176006"/>
                      <a:pt x="7587" y="175460"/>
                    </a:cubicBezTo>
                    <a:cubicBezTo>
                      <a:pt x="1718" y="173550"/>
                      <a:pt x="-1421" y="167135"/>
                      <a:pt x="626" y="161403"/>
                    </a:cubicBezTo>
                    <a:cubicBezTo>
                      <a:pt x="36657" y="53993"/>
                      <a:pt x="59859" y="7999"/>
                      <a:pt x="60814" y="6088"/>
                    </a:cubicBezTo>
                    <a:cubicBezTo>
                      <a:pt x="63544" y="629"/>
                      <a:pt x="70231" y="-1554"/>
                      <a:pt x="75827" y="1175"/>
                    </a:cubicBezTo>
                    <a:cubicBezTo>
                      <a:pt x="81286" y="3905"/>
                      <a:pt x="83470" y="10592"/>
                      <a:pt x="80740" y="16188"/>
                    </a:cubicBezTo>
                    <a:cubicBezTo>
                      <a:pt x="80467" y="16597"/>
                      <a:pt x="57266" y="62864"/>
                      <a:pt x="21781" y="168500"/>
                    </a:cubicBezTo>
                    <a:cubicBezTo>
                      <a:pt x="20280" y="172731"/>
                      <a:pt x="16458" y="175597"/>
                      <a:pt x="12227" y="17600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220D5446-C036-4A2B-B090-46EC1A2C2705}"/>
                  </a:ext>
                </a:extLst>
              </p:cNvPr>
              <p:cNvSpPr/>
              <p:nvPr/>
            </p:nvSpPr>
            <p:spPr>
              <a:xfrm>
                <a:off x="9919595" y="3105361"/>
                <a:ext cx="319277" cy="747143"/>
              </a:xfrm>
              <a:custGeom>
                <a:avLst/>
                <a:gdLst>
                  <a:gd name="connsiteX0" fmla="*/ 308086 w 319277"/>
                  <a:gd name="connsiteY0" fmla="*/ 747143 h 747143"/>
                  <a:gd name="connsiteX1" fmla="*/ 296895 w 319277"/>
                  <a:gd name="connsiteY1" fmla="*/ 735952 h 747143"/>
                  <a:gd name="connsiteX2" fmla="*/ 1552 w 319277"/>
                  <a:gd name="connsiteY2" fmla="*/ 16838 h 747143"/>
                  <a:gd name="connsiteX3" fmla="*/ 5510 w 319277"/>
                  <a:gd name="connsiteY3" fmla="*/ 1552 h 747143"/>
                  <a:gd name="connsiteX4" fmla="*/ 20796 w 319277"/>
                  <a:gd name="connsiteY4" fmla="*/ 5510 h 747143"/>
                  <a:gd name="connsiteX5" fmla="*/ 319278 w 319277"/>
                  <a:gd name="connsiteY5" fmla="*/ 735952 h 747143"/>
                  <a:gd name="connsiteX6" fmla="*/ 308086 w 319277"/>
                  <a:gd name="connsiteY6" fmla="*/ 747143 h 74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9277" h="747143">
                    <a:moveTo>
                      <a:pt x="308086" y="747143"/>
                    </a:moveTo>
                    <a:cubicBezTo>
                      <a:pt x="301945" y="747143"/>
                      <a:pt x="296895" y="742230"/>
                      <a:pt x="296895" y="735952"/>
                    </a:cubicBezTo>
                    <a:cubicBezTo>
                      <a:pt x="296895" y="517174"/>
                      <a:pt x="4554" y="21751"/>
                      <a:pt x="1552" y="16838"/>
                    </a:cubicBezTo>
                    <a:cubicBezTo>
                      <a:pt x="-1587" y="11515"/>
                      <a:pt x="187" y="4691"/>
                      <a:pt x="5510" y="1552"/>
                    </a:cubicBezTo>
                    <a:cubicBezTo>
                      <a:pt x="10833" y="-1587"/>
                      <a:pt x="17657" y="187"/>
                      <a:pt x="20796" y="5510"/>
                    </a:cubicBezTo>
                    <a:cubicBezTo>
                      <a:pt x="32942" y="26118"/>
                      <a:pt x="319278" y="511169"/>
                      <a:pt x="319278" y="735952"/>
                    </a:cubicBezTo>
                    <a:cubicBezTo>
                      <a:pt x="319278" y="742230"/>
                      <a:pt x="314228" y="747143"/>
                      <a:pt x="308086" y="747143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E9ADD660-01E6-42C3-B31D-6FC472F89B42}"/>
                  </a:ext>
                </a:extLst>
              </p:cNvPr>
              <p:cNvSpPr/>
              <p:nvPr/>
            </p:nvSpPr>
            <p:spPr>
              <a:xfrm>
                <a:off x="9871124" y="3212751"/>
                <a:ext cx="160519" cy="77591"/>
              </a:xfrm>
              <a:custGeom>
                <a:avLst/>
                <a:gdLst>
                  <a:gd name="connsiteX0" fmla="*/ 149653 w 160519"/>
                  <a:gd name="connsiteY0" fmla="*/ 77591 h 77591"/>
                  <a:gd name="connsiteX1" fmla="*/ 142966 w 160519"/>
                  <a:gd name="connsiteY1" fmla="*/ 75408 h 77591"/>
                  <a:gd name="connsiteX2" fmla="*/ 8396 w 160519"/>
                  <a:gd name="connsiteY2" fmla="*/ 21908 h 77591"/>
                  <a:gd name="connsiteX3" fmla="*/ 344 w 160519"/>
                  <a:gd name="connsiteY3" fmla="*/ 8396 h 77591"/>
                  <a:gd name="connsiteX4" fmla="*/ 13855 w 160519"/>
                  <a:gd name="connsiteY4" fmla="*/ 344 h 77591"/>
                  <a:gd name="connsiteX5" fmla="*/ 156068 w 160519"/>
                  <a:gd name="connsiteY5" fmla="*/ 57529 h 77591"/>
                  <a:gd name="connsiteX6" fmla="*/ 158388 w 160519"/>
                  <a:gd name="connsiteY6" fmla="*/ 73088 h 77591"/>
                  <a:gd name="connsiteX7" fmla="*/ 149653 w 160519"/>
                  <a:gd name="connsiteY7" fmla="*/ 77591 h 7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519" h="77591">
                    <a:moveTo>
                      <a:pt x="149653" y="77591"/>
                    </a:moveTo>
                    <a:cubicBezTo>
                      <a:pt x="147333" y="77591"/>
                      <a:pt x="145013" y="76909"/>
                      <a:pt x="142966" y="75408"/>
                    </a:cubicBezTo>
                    <a:cubicBezTo>
                      <a:pt x="105161" y="47156"/>
                      <a:pt x="9352" y="22181"/>
                      <a:pt x="8396" y="21908"/>
                    </a:cubicBezTo>
                    <a:cubicBezTo>
                      <a:pt x="2391" y="20406"/>
                      <a:pt x="-1158" y="14265"/>
                      <a:pt x="344" y="8396"/>
                    </a:cubicBezTo>
                    <a:cubicBezTo>
                      <a:pt x="1845" y="2391"/>
                      <a:pt x="7987" y="-1157"/>
                      <a:pt x="13855" y="344"/>
                    </a:cubicBezTo>
                    <a:cubicBezTo>
                      <a:pt x="17950" y="1436"/>
                      <a:pt x="114851" y="26684"/>
                      <a:pt x="156068" y="57529"/>
                    </a:cubicBezTo>
                    <a:cubicBezTo>
                      <a:pt x="160981" y="61214"/>
                      <a:pt x="161936" y="68174"/>
                      <a:pt x="158388" y="73088"/>
                    </a:cubicBezTo>
                    <a:cubicBezTo>
                      <a:pt x="156477" y="76090"/>
                      <a:pt x="153065" y="77591"/>
                      <a:pt x="149653" y="77591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9C5D789B-1DC0-4FDC-91DD-6B8CA7DB9A18}"/>
                  </a:ext>
                </a:extLst>
              </p:cNvPr>
              <p:cNvSpPr/>
              <p:nvPr/>
            </p:nvSpPr>
            <p:spPr>
              <a:xfrm>
                <a:off x="9881547" y="4241957"/>
                <a:ext cx="473051" cy="702196"/>
              </a:xfrm>
              <a:custGeom>
                <a:avLst/>
                <a:gdLst>
                  <a:gd name="connsiteX0" fmla="*/ 3023 w 473051"/>
                  <a:gd name="connsiteY0" fmla="*/ 610811 h 702196"/>
                  <a:gd name="connsiteX1" fmla="*/ 8892 w 473051"/>
                  <a:gd name="connsiteY1" fmla="*/ 667860 h 702196"/>
                  <a:gd name="connsiteX2" fmla="*/ 36324 w 473051"/>
                  <a:gd name="connsiteY2" fmla="*/ 686694 h 702196"/>
                  <a:gd name="connsiteX3" fmla="*/ 44922 w 473051"/>
                  <a:gd name="connsiteY3" fmla="*/ 661445 h 702196"/>
                  <a:gd name="connsiteX4" fmla="*/ 60208 w 473051"/>
                  <a:gd name="connsiteY4" fmla="*/ 479927 h 702196"/>
                  <a:gd name="connsiteX5" fmla="*/ 99242 w 473051"/>
                  <a:gd name="connsiteY5" fmla="*/ 379068 h 702196"/>
                  <a:gd name="connsiteX6" fmla="*/ 83137 w 473051"/>
                  <a:gd name="connsiteY6" fmla="*/ 452903 h 702196"/>
                  <a:gd name="connsiteX7" fmla="*/ 83137 w 473051"/>
                  <a:gd name="connsiteY7" fmla="*/ 571368 h 702196"/>
                  <a:gd name="connsiteX8" fmla="*/ 87504 w 473051"/>
                  <a:gd name="connsiteY8" fmla="*/ 647115 h 702196"/>
                  <a:gd name="connsiteX9" fmla="*/ 87504 w 473051"/>
                  <a:gd name="connsiteY9" fmla="*/ 647115 h 702196"/>
                  <a:gd name="connsiteX10" fmla="*/ 116302 w 473051"/>
                  <a:gd name="connsiteY10" fmla="*/ 668679 h 702196"/>
                  <a:gd name="connsiteX11" fmla="*/ 132270 w 473051"/>
                  <a:gd name="connsiteY11" fmla="*/ 625005 h 702196"/>
                  <a:gd name="connsiteX12" fmla="*/ 142233 w 473051"/>
                  <a:gd name="connsiteY12" fmla="*/ 484976 h 702196"/>
                  <a:gd name="connsiteX13" fmla="*/ 174306 w 473051"/>
                  <a:gd name="connsiteY13" fmla="*/ 402952 h 702196"/>
                  <a:gd name="connsiteX14" fmla="*/ 159839 w 473051"/>
                  <a:gd name="connsiteY14" fmla="*/ 471738 h 702196"/>
                  <a:gd name="connsiteX15" fmla="*/ 156563 w 473051"/>
                  <a:gd name="connsiteY15" fmla="*/ 610128 h 702196"/>
                  <a:gd name="connsiteX16" fmla="*/ 174715 w 473051"/>
                  <a:gd name="connsiteY16" fmla="*/ 623640 h 702196"/>
                  <a:gd name="connsiteX17" fmla="*/ 207061 w 473051"/>
                  <a:gd name="connsiteY17" fmla="*/ 571778 h 702196"/>
                  <a:gd name="connsiteX18" fmla="*/ 222347 w 473051"/>
                  <a:gd name="connsiteY18" fmla="*/ 495485 h 702196"/>
                  <a:gd name="connsiteX19" fmla="*/ 247323 w 473051"/>
                  <a:gd name="connsiteY19" fmla="*/ 416463 h 702196"/>
                  <a:gd name="connsiteX20" fmla="*/ 233538 w 473051"/>
                  <a:gd name="connsiteY20" fmla="*/ 547075 h 702196"/>
                  <a:gd name="connsiteX21" fmla="*/ 255511 w 473051"/>
                  <a:gd name="connsiteY21" fmla="*/ 557857 h 702196"/>
                  <a:gd name="connsiteX22" fmla="*/ 314880 w 473051"/>
                  <a:gd name="connsiteY22" fmla="*/ 404180 h 702196"/>
                  <a:gd name="connsiteX23" fmla="*/ 315699 w 473051"/>
                  <a:gd name="connsiteY23" fmla="*/ 401041 h 702196"/>
                  <a:gd name="connsiteX24" fmla="*/ 316382 w 473051"/>
                  <a:gd name="connsiteY24" fmla="*/ 398175 h 702196"/>
                  <a:gd name="connsiteX25" fmla="*/ 318156 w 473051"/>
                  <a:gd name="connsiteY25" fmla="*/ 390941 h 702196"/>
                  <a:gd name="connsiteX26" fmla="*/ 318156 w 473051"/>
                  <a:gd name="connsiteY26" fmla="*/ 390941 h 702196"/>
                  <a:gd name="connsiteX27" fmla="*/ 341767 w 473051"/>
                  <a:gd name="connsiteY27" fmla="*/ 307825 h 702196"/>
                  <a:gd name="connsiteX28" fmla="*/ 418469 w 473051"/>
                  <a:gd name="connsiteY28" fmla="*/ 222798 h 702196"/>
                  <a:gd name="connsiteX29" fmla="*/ 352412 w 473051"/>
                  <a:gd name="connsiteY29" fmla="*/ 472 h 702196"/>
                  <a:gd name="connsiteX30" fmla="*/ 246913 w 473051"/>
                  <a:gd name="connsiteY30" fmla="*/ 33773 h 702196"/>
                  <a:gd name="connsiteX31" fmla="*/ 174033 w 473051"/>
                  <a:gd name="connsiteY31" fmla="*/ 90821 h 702196"/>
                  <a:gd name="connsiteX32" fmla="*/ 174033 w 473051"/>
                  <a:gd name="connsiteY32" fmla="*/ 90821 h 702196"/>
                  <a:gd name="connsiteX33" fmla="*/ 59935 w 473051"/>
                  <a:gd name="connsiteY33" fmla="*/ 264697 h 702196"/>
                  <a:gd name="connsiteX34" fmla="*/ 4934 w 473051"/>
                  <a:gd name="connsiteY34" fmla="*/ 466279 h 702196"/>
                  <a:gd name="connsiteX35" fmla="*/ 3023 w 473051"/>
                  <a:gd name="connsiteY35" fmla="*/ 610811 h 70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73051" h="702196">
                    <a:moveTo>
                      <a:pt x="3023" y="610811"/>
                    </a:moveTo>
                    <a:cubicBezTo>
                      <a:pt x="4797" y="630601"/>
                      <a:pt x="6571" y="651209"/>
                      <a:pt x="8892" y="667860"/>
                    </a:cubicBezTo>
                    <a:cubicBezTo>
                      <a:pt x="13396" y="699387"/>
                      <a:pt x="20629" y="716583"/>
                      <a:pt x="36324" y="686694"/>
                    </a:cubicBezTo>
                    <a:cubicBezTo>
                      <a:pt x="39873" y="680007"/>
                      <a:pt x="42602" y="671408"/>
                      <a:pt x="44922" y="661445"/>
                    </a:cubicBezTo>
                    <a:cubicBezTo>
                      <a:pt x="58434" y="603714"/>
                      <a:pt x="53930" y="502036"/>
                      <a:pt x="60208" y="479927"/>
                    </a:cubicBezTo>
                    <a:cubicBezTo>
                      <a:pt x="67305" y="454678"/>
                      <a:pt x="96649" y="383162"/>
                      <a:pt x="99242" y="379068"/>
                    </a:cubicBezTo>
                    <a:cubicBezTo>
                      <a:pt x="97877" y="382070"/>
                      <a:pt x="84638" y="425880"/>
                      <a:pt x="83137" y="452903"/>
                    </a:cubicBezTo>
                    <a:cubicBezTo>
                      <a:pt x="81636" y="478289"/>
                      <a:pt x="83137" y="508997"/>
                      <a:pt x="83137" y="571368"/>
                    </a:cubicBezTo>
                    <a:cubicBezTo>
                      <a:pt x="83137" y="598528"/>
                      <a:pt x="84092" y="626643"/>
                      <a:pt x="87504" y="647115"/>
                    </a:cubicBezTo>
                    <a:lnTo>
                      <a:pt x="87504" y="647115"/>
                    </a:lnTo>
                    <a:cubicBezTo>
                      <a:pt x="91872" y="673592"/>
                      <a:pt x="100470" y="686967"/>
                      <a:pt x="116302" y="668679"/>
                    </a:cubicBezTo>
                    <a:cubicBezTo>
                      <a:pt x="124081" y="659671"/>
                      <a:pt x="129131" y="643839"/>
                      <a:pt x="132270" y="625005"/>
                    </a:cubicBezTo>
                    <a:cubicBezTo>
                      <a:pt x="140868" y="576282"/>
                      <a:pt x="137729" y="507495"/>
                      <a:pt x="142233" y="484976"/>
                    </a:cubicBezTo>
                    <a:cubicBezTo>
                      <a:pt x="148238" y="454814"/>
                      <a:pt x="172805" y="405954"/>
                      <a:pt x="174306" y="402952"/>
                    </a:cubicBezTo>
                    <a:cubicBezTo>
                      <a:pt x="165025" y="434069"/>
                      <a:pt x="165025" y="430930"/>
                      <a:pt x="159839" y="471738"/>
                    </a:cubicBezTo>
                    <a:cubicBezTo>
                      <a:pt x="156154" y="500262"/>
                      <a:pt x="149603" y="576008"/>
                      <a:pt x="156563" y="610128"/>
                    </a:cubicBezTo>
                    <a:cubicBezTo>
                      <a:pt x="159566" y="624732"/>
                      <a:pt x="165161" y="631693"/>
                      <a:pt x="174715" y="623640"/>
                    </a:cubicBezTo>
                    <a:cubicBezTo>
                      <a:pt x="189455" y="611084"/>
                      <a:pt x="199828" y="592796"/>
                      <a:pt x="207061" y="571778"/>
                    </a:cubicBezTo>
                    <a:cubicBezTo>
                      <a:pt x="215250" y="548167"/>
                      <a:pt x="219481" y="521280"/>
                      <a:pt x="222347" y="495485"/>
                    </a:cubicBezTo>
                    <a:cubicBezTo>
                      <a:pt x="227533" y="446625"/>
                      <a:pt x="247323" y="416463"/>
                      <a:pt x="247323" y="416463"/>
                    </a:cubicBezTo>
                    <a:cubicBezTo>
                      <a:pt x="236404" y="469417"/>
                      <a:pt x="230399" y="520597"/>
                      <a:pt x="233538" y="547075"/>
                    </a:cubicBezTo>
                    <a:cubicBezTo>
                      <a:pt x="235722" y="565772"/>
                      <a:pt x="242682" y="572051"/>
                      <a:pt x="255511" y="557857"/>
                    </a:cubicBezTo>
                    <a:cubicBezTo>
                      <a:pt x="280760" y="530151"/>
                      <a:pt x="306146" y="438573"/>
                      <a:pt x="314880" y="404180"/>
                    </a:cubicBezTo>
                    <a:cubicBezTo>
                      <a:pt x="315153" y="403088"/>
                      <a:pt x="315426" y="401996"/>
                      <a:pt x="315699" y="401041"/>
                    </a:cubicBezTo>
                    <a:cubicBezTo>
                      <a:pt x="315972" y="399949"/>
                      <a:pt x="316245" y="398994"/>
                      <a:pt x="316382" y="398175"/>
                    </a:cubicBezTo>
                    <a:cubicBezTo>
                      <a:pt x="317610" y="393534"/>
                      <a:pt x="318156" y="390941"/>
                      <a:pt x="318156" y="390941"/>
                    </a:cubicBezTo>
                    <a:lnTo>
                      <a:pt x="318156" y="390941"/>
                    </a:lnTo>
                    <a:cubicBezTo>
                      <a:pt x="325389" y="362281"/>
                      <a:pt x="332077" y="333620"/>
                      <a:pt x="341767" y="307825"/>
                    </a:cubicBezTo>
                    <a:cubicBezTo>
                      <a:pt x="356097" y="269611"/>
                      <a:pt x="377388" y="238084"/>
                      <a:pt x="418469" y="222798"/>
                    </a:cubicBezTo>
                    <a:cubicBezTo>
                      <a:pt x="511548" y="188132"/>
                      <a:pt x="483024" y="11117"/>
                      <a:pt x="352412" y="472"/>
                    </a:cubicBezTo>
                    <a:cubicBezTo>
                      <a:pt x="314334" y="-2668"/>
                      <a:pt x="276802" y="10025"/>
                      <a:pt x="246913" y="33773"/>
                    </a:cubicBezTo>
                    <a:cubicBezTo>
                      <a:pt x="227942" y="48922"/>
                      <a:pt x="201056" y="70076"/>
                      <a:pt x="174033" y="90821"/>
                    </a:cubicBezTo>
                    <a:cubicBezTo>
                      <a:pt x="174033" y="90821"/>
                      <a:pt x="174033" y="90821"/>
                      <a:pt x="174033" y="90821"/>
                    </a:cubicBezTo>
                    <a:cubicBezTo>
                      <a:pt x="171440" y="94097"/>
                      <a:pt x="86549" y="199323"/>
                      <a:pt x="59935" y="264697"/>
                    </a:cubicBezTo>
                    <a:cubicBezTo>
                      <a:pt x="32912" y="331163"/>
                      <a:pt x="9983" y="436253"/>
                      <a:pt x="4934" y="466279"/>
                    </a:cubicBezTo>
                    <a:cubicBezTo>
                      <a:pt x="-116" y="496441"/>
                      <a:pt x="-2163" y="553626"/>
                      <a:pt x="3023" y="61081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057390" y="365812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058506" y="4553471"/>
            <a:ext cx="5419185" cy="723327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id="{59E79458-77D6-4EB8-9B8B-352A242533EE}"/>
              </a:ext>
            </a:extLst>
          </p:cNvPr>
          <p:cNvCxnSpPr/>
          <p:nvPr userDrawn="1"/>
        </p:nvCxnSpPr>
        <p:spPr>
          <a:xfrm>
            <a:off x="0" y="5225143"/>
            <a:ext cx="12192000" cy="0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23967B80-A738-4028-AA45-FDFD9286699B}"/>
              </a:ext>
            </a:extLst>
          </p:cNvPr>
          <p:cNvSpPr/>
          <p:nvPr userDrawn="1"/>
        </p:nvSpPr>
        <p:spPr>
          <a:xfrm>
            <a:off x="0" y="2481943"/>
            <a:ext cx="12192000" cy="2618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EB9A9CFD-8FD9-49CA-A866-C1F7FCC8CBC5}"/>
              </a:ext>
            </a:extLst>
          </p:cNvPr>
          <p:cNvGrpSpPr/>
          <p:nvPr userDrawn="1"/>
        </p:nvGrpSpPr>
        <p:grpSpPr>
          <a:xfrm>
            <a:off x="7066955" y="961410"/>
            <a:ext cx="4468907" cy="5309009"/>
            <a:chOff x="6936326" y="961410"/>
            <a:chExt cx="4468907" cy="5309009"/>
          </a:xfrm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2172429-A510-49BF-BF9E-EA7ED3729576}"/>
                </a:ext>
              </a:extLst>
            </p:cNvPr>
            <p:cNvSpPr/>
            <p:nvPr userDrawn="1"/>
          </p:nvSpPr>
          <p:spPr>
            <a:xfrm flipH="1">
              <a:off x="6936326" y="5330858"/>
              <a:ext cx="4468907" cy="870470"/>
            </a:xfrm>
            <a:custGeom>
              <a:avLst/>
              <a:gdLst>
                <a:gd name="connsiteX0" fmla="*/ 4468908 w 4468907"/>
                <a:gd name="connsiteY0" fmla="*/ 435235 h 870470"/>
                <a:gd name="connsiteX1" fmla="*/ 2234454 w 4468907"/>
                <a:gd name="connsiteY1" fmla="*/ 870471 h 870470"/>
                <a:gd name="connsiteX2" fmla="*/ 0 w 4468907"/>
                <a:gd name="connsiteY2" fmla="*/ 435235 h 870470"/>
                <a:gd name="connsiteX3" fmla="*/ 2234454 w 4468907"/>
                <a:gd name="connsiteY3" fmla="*/ 0 h 870470"/>
                <a:gd name="connsiteX4" fmla="*/ 4468908 w 4468907"/>
                <a:gd name="connsiteY4" fmla="*/ 435235 h 87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68907" h="870470">
                  <a:moveTo>
                    <a:pt x="4468908" y="435235"/>
                  </a:moveTo>
                  <a:cubicBezTo>
                    <a:pt x="4468908" y="675609"/>
                    <a:pt x="3468509" y="870471"/>
                    <a:pt x="2234454" y="870471"/>
                  </a:cubicBezTo>
                  <a:cubicBezTo>
                    <a:pt x="1000399" y="870471"/>
                    <a:pt x="0" y="675609"/>
                    <a:pt x="0" y="435235"/>
                  </a:cubicBezTo>
                  <a:cubicBezTo>
                    <a:pt x="0" y="194861"/>
                    <a:pt x="1000399" y="0"/>
                    <a:pt x="2234454" y="0"/>
                  </a:cubicBezTo>
                  <a:cubicBezTo>
                    <a:pt x="3468509" y="0"/>
                    <a:pt x="4468908" y="194861"/>
                    <a:pt x="4468908" y="43523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  <a:alpha val="67000"/>
              </a:schemeClr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52ED032-31DE-4022-8472-88024B6FBDAA}"/>
                </a:ext>
              </a:extLst>
            </p:cNvPr>
            <p:cNvSpPr/>
            <p:nvPr/>
          </p:nvSpPr>
          <p:spPr>
            <a:xfrm flipH="1">
              <a:off x="8627653" y="1811954"/>
              <a:ext cx="1397214" cy="787286"/>
            </a:xfrm>
            <a:custGeom>
              <a:avLst/>
              <a:gdLst>
                <a:gd name="connsiteX0" fmla="*/ 155446 w 1397214"/>
                <a:gd name="connsiteY0" fmla="*/ 783158 h 787286"/>
                <a:gd name="connsiteX1" fmla="*/ 76696 w 1397214"/>
                <a:gd name="connsiteY1" fmla="*/ 744943 h 787286"/>
                <a:gd name="connsiteX2" fmla="*/ 56224 w 1397214"/>
                <a:gd name="connsiteY2" fmla="*/ 314758 h 787286"/>
                <a:gd name="connsiteX3" fmla="*/ 1192149 w 1397214"/>
                <a:gd name="connsiteY3" fmla="*/ 260029 h 787286"/>
                <a:gd name="connsiteX4" fmla="*/ 1378035 w 1397214"/>
                <a:gd name="connsiteY4" fmla="*/ 603959 h 787286"/>
                <a:gd name="connsiteX5" fmla="*/ 155446 w 1397214"/>
                <a:gd name="connsiteY5" fmla="*/ 783158 h 78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97214" h="787286">
                  <a:moveTo>
                    <a:pt x="155446" y="783158"/>
                  </a:moveTo>
                  <a:cubicBezTo>
                    <a:pt x="125420" y="780701"/>
                    <a:pt x="97305" y="767053"/>
                    <a:pt x="76696" y="744943"/>
                  </a:cubicBezTo>
                  <a:cubicBezTo>
                    <a:pt x="22923" y="687212"/>
                    <a:pt x="-54188" y="553052"/>
                    <a:pt x="56224" y="314758"/>
                  </a:cubicBezTo>
                  <a:cubicBezTo>
                    <a:pt x="261627" y="-129076"/>
                    <a:pt x="1012951" y="-62474"/>
                    <a:pt x="1192149" y="260029"/>
                  </a:cubicBezTo>
                  <a:cubicBezTo>
                    <a:pt x="1319622" y="489452"/>
                    <a:pt x="1446412" y="535037"/>
                    <a:pt x="1378035" y="603959"/>
                  </a:cubicBezTo>
                  <a:cubicBezTo>
                    <a:pt x="1312115" y="670562"/>
                    <a:pt x="529674" y="813320"/>
                    <a:pt x="155446" y="783158"/>
                  </a:cubicBezTo>
                  <a:close/>
                </a:path>
              </a:pathLst>
            </a:custGeom>
            <a:solidFill>
              <a:srgbClr val="F24338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9F82DEAB-3B0C-48AD-A8FE-C29F5EE38138}"/>
                </a:ext>
              </a:extLst>
            </p:cNvPr>
            <p:cNvGrpSpPr/>
            <p:nvPr/>
          </p:nvGrpSpPr>
          <p:grpSpPr>
            <a:xfrm flipH="1">
              <a:off x="8146280" y="2273838"/>
              <a:ext cx="1972058" cy="3180944"/>
              <a:chOff x="8315753" y="2273838"/>
              <a:chExt cx="1972058" cy="3180944"/>
            </a:xfrm>
            <a:solidFill>
              <a:schemeClr val="accent1"/>
            </a:solidFill>
          </p:grpSpPr>
          <p:grpSp>
            <p:nvGrpSpPr>
              <p:cNvPr id="126" name="组合 125">
                <a:extLst>
                  <a:ext uri="{FF2B5EF4-FFF2-40B4-BE49-F238E27FC236}">
                    <a16:creationId xmlns:a16="http://schemas.microsoft.com/office/drawing/2014/main" id="{AAC5C807-4564-4C0C-97B6-21AD01447767}"/>
                  </a:ext>
                </a:extLst>
              </p:cNvPr>
              <p:cNvGrpSpPr/>
              <p:nvPr/>
            </p:nvGrpSpPr>
            <p:grpSpPr>
              <a:xfrm>
                <a:off x="8460884" y="2273838"/>
                <a:ext cx="1627816" cy="3057704"/>
                <a:chOff x="8460884" y="2273838"/>
                <a:chExt cx="1627816" cy="3057704"/>
              </a:xfrm>
              <a:solidFill>
                <a:schemeClr val="accent1"/>
              </a:solidFill>
            </p:grpSpPr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2429C255-8506-4CAB-9504-C317BD0F5D10}"/>
                    </a:ext>
                  </a:extLst>
                </p:cNvPr>
                <p:cNvSpPr/>
                <p:nvPr/>
              </p:nvSpPr>
              <p:spPr>
                <a:xfrm>
                  <a:off x="8460884" y="2273838"/>
                  <a:ext cx="1627816" cy="3057704"/>
                </a:xfrm>
                <a:custGeom>
                  <a:avLst/>
                  <a:gdLst>
                    <a:gd name="connsiteX0" fmla="*/ 1428053 w 1627816"/>
                    <a:gd name="connsiteY0" fmla="*/ 2987552 h 3057704"/>
                    <a:gd name="connsiteX1" fmla="*/ 1425597 w 1627816"/>
                    <a:gd name="connsiteY1" fmla="*/ 2987825 h 3057704"/>
                    <a:gd name="connsiteX2" fmla="*/ 933176 w 1627816"/>
                    <a:gd name="connsiteY2" fmla="*/ 3045965 h 3057704"/>
                    <a:gd name="connsiteX3" fmla="*/ 904788 w 1627816"/>
                    <a:gd name="connsiteY3" fmla="*/ 3048013 h 3057704"/>
                    <a:gd name="connsiteX4" fmla="*/ 381114 w 1627816"/>
                    <a:gd name="connsiteY4" fmla="*/ 3045283 h 3057704"/>
                    <a:gd name="connsiteX5" fmla="*/ 211332 w 1627816"/>
                    <a:gd name="connsiteY5" fmla="*/ 3021672 h 3057704"/>
                    <a:gd name="connsiteX6" fmla="*/ 21488 w 1627816"/>
                    <a:gd name="connsiteY6" fmla="*/ 2754171 h 3057704"/>
                    <a:gd name="connsiteX7" fmla="*/ 61341 w 1627816"/>
                    <a:gd name="connsiteY7" fmla="*/ 2418566 h 3057704"/>
                    <a:gd name="connsiteX8" fmla="*/ 64753 w 1627816"/>
                    <a:gd name="connsiteY8" fmla="*/ 2372163 h 3057704"/>
                    <a:gd name="connsiteX9" fmla="*/ 76626 w 1627816"/>
                    <a:gd name="connsiteY9" fmla="*/ 2033146 h 3057704"/>
                    <a:gd name="connsiteX10" fmla="*/ 76763 w 1627816"/>
                    <a:gd name="connsiteY10" fmla="*/ 2007215 h 3057704"/>
                    <a:gd name="connsiteX11" fmla="*/ 76899 w 1627816"/>
                    <a:gd name="connsiteY11" fmla="*/ 1995750 h 3057704"/>
                    <a:gd name="connsiteX12" fmla="*/ 76899 w 1627816"/>
                    <a:gd name="connsiteY12" fmla="*/ 1978281 h 3057704"/>
                    <a:gd name="connsiteX13" fmla="*/ 77036 w 1627816"/>
                    <a:gd name="connsiteY13" fmla="*/ 1966680 h 3057704"/>
                    <a:gd name="connsiteX14" fmla="*/ 77036 w 1627816"/>
                    <a:gd name="connsiteY14" fmla="*/ 1943069 h 3057704"/>
                    <a:gd name="connsiteX15" fmla="*/ 77172 w 1627816"/>
                    <a:gd name="connsiteY15" fmla="*/ 1873054 h 3057704"/>
                    <a:gd name="connsiteX16" fmla="*/ 77172 w 1627816"/>
                    <a:gd name="connsiteY16" fmla="*/ 1867049 h 3057704"/>
                    <a:gd name="connsiteX17" fmla="*/ 80721 w 1627816"/>
                    <a:gd name="connsiteY17" fmla="*/ 1656733 h 3057704"/>
                    <a:gd name="connsiteX18" fmla="*/ 81130 w 1627816"/>
                    <a:gd name="connsiteY18" fmla="*/ 1648408 h 3057704"/>
                    <a:gd name="connsiteX19" fmla="*/ 83041 w 1627816"/>
                    <a:gd name="connsiteY19" fmla="*/ 1610466 h 3057704"/>
                    <a:gd name="connsiteX20" fmla="*/ 84679 w 1627816"/>
                    <a:gd name="connsiteY20" fmla="*/ 1574436 h 3057704"/>
                    <a:gd name="connsiteX21" fmla="*/ 87408 w 1627816"/>
                    <a:gd name="connsiteY21" fmla="*/ 1478217 h 3057704"/>
                    <a:gd name="connsiteX22" fmla="*/ 87272 w 1627816"/>
                    <a:gd name="connsiteY22" fmla="*/ 1404108 h 3057704"/>
                    <a:gd name="connsiteX23" fmla="*/ 84406 w 1627816"/>
                    <a:gd name="connsiteY23" fmla="*/ 1331091 h 3057704"/>
                    <a:gd name="connsiteX24" fmla="*/ 82768 w 1627816"/>
                    <a:gd name="connsiteY24" fmla="*/ 1307890 h 3057704"/>
                    <a:gd name="connsiteX25" fmla="*/ 79765 w 1627816"/>
                    <a:gd name="connsiteY25" fmla="*/ 1270631 h 3057704"/>
                    <a:gd name="connsiteX26" fmla="*/ 77718 w 1627816"/>
                    <a:gd name="connsiteY26" fmla="*/ 1247020 h 3057704"/>
                    <a:gd name="connsiteX27" fmla="*/ 76763 w 1627816"/>
                    <a:gd name="connsiteY27" fmla="*/ 1236511 h 3057704"/>
                    <a:gd name="connsiteX28" fmla="*/ 76490 w 1627816"/>
                    <a:gd name="connsiteY28" fmla="*/ 1233918 h 3057704"/>
                    <a:gd name="connsiteX29" fmla="*/ 75125 w 1627816"/>
                    <a:gd name="connsiteY29" fmla="*/ 1219041 h 3057704"/>
                    <a:gd name="connsiteX30" fmla="*/ 73624 w 1627816"/>
                    <a:gd name="connsiteY30" fmla="*/ 1204438 h 3057704"/>
                    <a:gd name="connsiteX31" fmla="*/ 71031 w 1627816"/>
                    <a:gd name="connsiteY31" fmla="*/ 1178370 h 3057704"/>
                    <a:gd name="connsiteX32" fmla="*/ 57519 w 1627816"/>
                    <a:gd name="connsiteY32" fmla="*/ 1050079 h 3057704"/>
                    <a:gd name="connsiteX33" fmla="*/ 52879 w 1627816"/>
                    <a:gd name="connsiteY33" fmla="*/ 1008179 h 3057704"/>
                    <a:gd name="connsiteX34" fmla="*/ 45509 w 1627816"/>
                    <a:gd name="connsiteY34" fmla="*/ 942396 h 3057704"/>
                    <a:gd name="connsiteX35" fmla="*/ 40596 w 1627816"/>
                    <a:gd name="connsiteY35" fmla="*/ 899951 h 3057704"/>
                    <a:gd name="connsiteX36" fmla="*/ 1699 w 1627816"/>
                    <a:gd name="connsiteY36" fmla="*/ 418175 h 3057704"/>
                    <a:gd name="connsiteX37" fmla="*/ 558538 w 1627816"/>
                    <a:gd name="connsiteY37" fmla="*/ 10236 h 3057704"/>
                    <a:gd name="connsiteX38" fmla="*/ 884316 w 1627816"/>
                    <a:gd name="connsiteY38" fmla="*/ 0 h 3057704"/>
                    <a:gd name="connsiteX39" fmla="*/ 1426143 w 1627816"/>
                    <a:gd name="connsiteY39" fmla="*/ 295480 h 3057704"/>
                    <a:gd name="connsiteX40" fmla="*/ 1427371 w 1627816"/>
                    <a:gd name="connsiteY40" fmla="*/ 297117 h 3057704"/>
                    <a:gd name="connsiteX41" fmla="*/ 1465449 w 1627816"/>
                    <a:gd name="connsiteY41" fmla="*/ 404664 h 3057704"/>
                    <a:gd name="connsiteX42" fmla="*/ 1473365 w 1627816"/>
                    <a:gd name="connsiteY42" fmla="*/ 542099 h 3057704"/>
                    <a:gd name="connsiteX43" fmla="*/ 1469134 w 1627816"/>
                    <a:gd name="connsiteY43" fmla="*/ 660701 h 3057704"/>
                    <a:gd name="connsiteX44" fmla="*/ 1459444 w 1627816"/>
                    <a:gd name="connsiteY44" fmla="*/ 802367 h 3057704"/>
                    <a:gd name="connsiteX45" fmla="*/ 1456168 w 1627816"/>
                    <a:gd name="connsiteY45" fmla="*/ 846177 h 3057704"/>
                    <a:gd name="connsiteX46" fmla="*/ 1452756 w 1627816"/>
                    <a:gd name="connsiteY46" fmla="*/ 891762 h 3057704"/>
                    <a:gd name="connsiteX47" fmla="*/ 1450573 w 1627816"/>
                    <a:gd name="connsiteY47" fmla="*/ 921787 h 3057704"/>
                    <a:gd name="connsiteX48" fmla="*/ 1444841 w 1627816"/>
                    <a:gd name="connsiteY48" fmla="*/ 1002584 h 3057704"/>
                    <a:gd name="connsiteX49" fmla="*/ 1443066 w 1627816"/>
                    <a:gd name="connsiteY49" fmla="*/ 1029197 h 3057704"/>
                    <a:gd name="connsiteX50" fmla="*/ 1442111 w 1627816"/>
                    <a:gd name="connsiteY50" fmla="*/ 1046257 h 3057704"/>
                    <a:gd name="connsiteX51" fmla="*/ 1441019 w 1627816"/>
                    <a:gd name="connsiteY51" fmla="*/ 1063590 h 3057704"/>
                    <a:gd name="connsiteX52" fmla="*/ 1441019 w 1627816"/>
                    <a:gd name="connsiteY52" fmla="*/ 1063727 h 3057704"/>
                    <a:gd name="connsiteX53" fmla="*/ 1440064 w 1627816"/>
                    <a:gd name="connsiteY53" fmla="*/ 1079695 h 3057704"/>
                    <a:gd name="connsiteX54" fmla="*/ 1439108 w 1627816"/>
                    <a:gd name="connsiteY54" fmla="*/ 1097164 h 3057704"/>
                    <a:gd name="connsiteX55" fmla="*/ 1437607 w 1627816"/>
                    <a:gd name="connsiteY55" fmla="*/ 1129510 h 3057704"/>
                    <a:gd name="connsiteX56" fmla="*/ 1436515 w 1627816"/>
                    <a:gd name="connsiteY56" fmla="*/ 1156533 h 3057704"/>
                    <a:gd name="connsiteX57" fmla="*/ 1436379 w 1627816"/>
                    <a:gd name="connsiteY57" fmla="*/ 1161447 h 3057704"/>
                    <a:gd name="connsiteX58" fmla="*/ 1435696 w 1627816"/>
                    <a:gd name="connsiteY58" fmla="*/ 1178916 h 3057704"/>
                    <a:gd name="connsiteX59" fmla="*/ 1435560 w 1627816"/>
                    <a:gd name="connsiteY59" fmla="*/ 1181919 h 3057704"/>
                    <a:gd name="connsiteX60" fmla="*/ 1435423 w 1627816"/>
                    <a:gd name="connsiteY60" fmla="*/ 1183420 h 3057704"/>
                    <a:gd name="connsiteX61" fmla="*/ 1434741 w 1627816"/>
                    <a:gd name="connsiteY61" fmla="*/ 1206485 h 3057704"/>
                    <a:gd name="connsiteX62" fmla="*/ 1434059 w 1627816"/>
                    <a:gd name="connsiteY62" fmla="*/ 1234054 h 3057704"/>
                    <a:gd name="connsiteX63" fmla="*/ 1433786 w 1627816"/>
                    <a:gd name="connsiteY63" fmla="*/ 1247020 h 3057704"/>
                    <a:gd name="connsiteX64" fmla="*/ 1433513 w 1627816"/>
                    <a:gd name="connsiteY64" fmla="*/ 1258621 h 3057704"/>
                    <a:gd name="connsiteX65" fmla="*/ 1433513 w 1627816"/>
                    <a:gd name="connsiteY65" fmla="*/ 1264489 h 3057704"/>
                    <a:gd name="connsiteX66" fmla="*/ 1433240 w 1627816"/>
                    <a:gd name="connsiteY66" fmla="*/ 1280594 h 3057704"/>
                    <a:gd name="connsiteX67" fmla="*/ 1433103 w 1627816"/>
                    <a:gd name="connsiteY67" fmla="*/ 1308163 h 3057704"/>
                    <a:gd name="connsiteX68" fmla="*/ 1433103 w 1627816"/>
                    <a:gd name="connsiteY68" fmla="*/ 1323039 h 3057704"/>
                    <a:gd name="connsiteX69" fmla="*/ 1433922 w 1627816"/>
                    <a:gd name="connsiteY69" fmla="*/ 1404382 h 3057704"/>
                    <a:gd name="connsiteX70" fmla="*/ 1434605 w 1627816"/>
                    <a:gd name="connsiteY70" fmla="*/ 1439866 h 3057704"/>
                    <a:gd name="connsiteX71" fmla="*/ 1435560 w 1627816"/>
                    <a:gd name="connsiteY71" fmla="*/ 1478490 h 3057704"/>
                    <a:gd name="connsiteX72" fmla="*/ 1438426 w 1627816"/>
                    <a:gd name="connsiteY72" fmla="*/ 1562153 h 3057704"/>
                    <a:gd name="connsiteX73" fmla="*/ 1438835 w 1627816"/>
                    <a:gd name="connsiteY73" fmla="*/ 1574572 h 3057704"/>
                    <a:gd name="connsiteX74" fmla="*/ 1438972 w 1627816"/>
                    <a:gd name="connsiteY74" fmla="*/ 1579622 h 3057704"/>
                    <a:gd name="connsiteX75" fmla="*/ 1440064 w 1627816"/>
                    <a:gd name="connsiteY75" fmla="*/ 1607601 h 3057704"/>
                    <a:gd name="connsiteX76" fmla="*/ 1441838 w 1627816"/>
                    <a:gd name="connsiteY76" fmla="*/ 1648545 h 3057704"/>
                    <a:gd name="connsiteX77" fmla="*/ 1444704 w 1627816"/>
                    <a:gd name="connsiteY77" fmla="*/ 1695630 h 3057704"/>
                    <a:gd name="connsiteX78" fmla="*/ 1450846 w 1627816"/>
                    <a:gd name="connsiteY78" fmla="*/ 1761414 h 3057704"/>
                    <a:gd name="connsiteX79" fmla="*/ 1452756 w 1627816"/>
                    <a:gd name="connsiteY79" fmla="*/ 1777791 h 3057704"/>
                    <a:gd name="connsiteX80" fmla="*/ 1456032 w 1627816"/>
                    <a:gd name="connsiteY80" fmla="*/ 1804951 h 3057704"/>
                    <a:gd name="connsiteX81" fmla="*/ 1458079 w 1627816"/>
                    <a:gd name="connsiteY81" fmla="*/ 1822284 h 3057704"/>
                    <a:gd name="connsiteX82" fmla="*/ 1459580 w 1627816"/>
                    <a:gd name="connsiteY82" fmla="*/ 1833475 h 3057704"/>
                    <a:gd name="connsiteX83" fmla="*/ 1465449 w 1627816"/>
                    <a:gd name="connsiteY83" fmla="*/ 1876330 h 3057704"/>
                    <a:gd name="connsiteX84" fmla="*/ 1466131 w 1627816"/>
                    <a:gd name="connsiteY84" fmla="*/ 1881243 h 3057704"/>
                    <a:gd name="connsiteX85" fmla="*/ 1469407 w 1627816"/>
                    <a:gd name="connsiteY85" fmla="*/ 1903626 h 3057704"/>
                    <a:gd name="connsiteX86" fmla="*/ 1476094 w 1627816"/>
                    <a:gd name="connsiteY86" fmla="*/ 1947573 h 3057704"/>
                    <a:gd name="connsiteX87" fmla="*/ 1478005 w 1627816"/>
                    <a:gd name="connsiteY87" fmla="*/ 1960265 h 3057704"/>
                    <a:gd name="connsiteX88" fmla="*/ 1490698 w 1627816"/>
                    <a:gd name="connsiteY88" fmla="*/ 2038195 h 3057704"/>
                    <a:gd name="connsiteX89" fmla="*/ 1493155 w 1627816"/>
                    <a:gd name="connsiteY89" fmla="*/ 2052389 h 3057704"/>
                    <a:gd name="connsiteX90" fmla="*/ 1498614 w 1627816"/>
                    <a:gd name="connsiteY90" fmla="*/ 2084053 h 3057704"/>
                    <a:gd name="connsiteX91" fmla="*/ 1518949 w 1627816"/>
                    <a:gd name="connsiteY91" fmla="*/ 2197332 h 3057704"/>
                    <a:gd name="connsiteX92" fmla="*/ 1544744 w 1627816"/>
                    <a:gd name="connsiteY92" fmla="*/ 2332583 h 3057704"/>
                    <a:gd name="connsiteX93" fmla="*/ 1567400 w 1627816"/>
                    <a:gd name="connsiteY93" fmla="*/ 2445453 h 3057704"/>
                    <a:gd name="connsiteX94" fmla="*/ 1622401 w 1627816"/>
                    <a:gd name="connsiteY94" fmla="*/ 2706675 h 3057704"/>
                    <a:gd name="connsiteX95" fmla="*/ 1428053 w 1627816"/>
                    <a:gd name="connsiteY95" fmla="*/ 2987552 h 3057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1627816" h="3057704">
                      <a:moveTo>
                        <a:pt x="1428053" y="2987552"/>
                      </a:moveTo>
                      <a:cubicBezTo>
                        <a:pt x="1427235" y="2987688"/>
                        <a:pt x="1426416" y="2987825"/>
                        <a:pt x="1425597" y="2987825"/>
                      </a:cubicBezTo>
                      <a:cubicBezTo>
                        <a:pt x="1263049" y="3011436"/>
                        <a:pt x="1098317" y="3033273"/>
                        <a:pt x="933176" y="3045965"/>
                      </a:cubicBezTo>
                      <a:cubicBezTo>
                        <a:pt x="923759" y="3046648"/>
                        <a:pt x="914205" y="3047467"/>
                        <a:pt x="904788" y="3048013"/>
                      </a:cubicBezTo>
                      <a:cubicBezTo>
                        <a:pt x="729957" y="3060432"/>
                        <a:pt x="554580" y="3062343"/>
                        <a:pt x="381114" y="3045283"/>
                      </a:cubicBezTo>
                      <a:cubicBezTo>
                        <a:pt x="324202" y="3039687"/>
                        <a:pt x="267426" y="3031908"/>
                        <a:pt x="211332" y="3021672"/>
                      </a:cubicBezTo>
                      <a:cubicBezTo>
                        <a:pt x="85770" y="2998743"/>
                        <a:pt x="1153" y="2880005"/>
                        <a:pt x="21488" y="2754171"/>
                      </a:cubicBezTo>
                      <a:cubicBezTo>
                        <a:pt x="40596" y="2635842"/>
                        <a:pt x="53152" y="2523929"/>
                        <a:pt x="61341" y="2418566"/>
                      </a:cubicBezTo>
                      <a:cubicBezTo>
                        <a:pt x="62569" y="2402871"/>
                        <a:pt x="63797" y="2387448"/>
                        <a:pt x="64753" y="2372163"/>
                      </a:cubicBezTo>
                      <a:cubicBezTo>
                        <a:pt x="73078" y="2249194"/>
                        <a:pt x="75808" y="2136052"/>
                        <a:pt x="76626" y="2033146"/>
                      </a:cubicBezTo>
                      <a:cubicBezTo>
                        <a:pt x="76626" y="2024411"/>
                        <a:pt x="76763" y="2015813"/>
                        <a:pt x="76763" y="2007215"/>
                      </a:cubicBezTo>
                      <a:cubicBezTo>
                        <a:pt x="76763" y="2003393"/>
                        <a:pt x="76899" y="1999435"/>
                        <a:pt x="76899" y="1995750"/>
                      </a:cubicBezTo>
                      <a:cubicBezTo>
                        <a:pt x="76899" y="1989882"/>
                        <a:pt x="76899" y="1984013"/>
                        <a:pt x="76899" y="1978281"/>
                      </a:cubicBezTo>
                      <a:cubicBezTo>
                        <a:pt x="77036" y="1974323"/>
                        <a:pt x="77036" y="1970501"/>
                        <a:pt x="77036" y="1966680"/>
                      </a:cubicBezTo>
                      <a:cubicBezTo>
                        <a:pt x="77036" y="1958627"/>
                        <a:pt x="77036" y="1950848"/>
                        <a:pt x="77036" y="1943069"/>
                      </a:cubicBezTo>
                      <a:cubicBezTo>
                        <a:pt x="77172" y="1919048"/>
                        <a:pt x="77036" y="1895710"/>
                        <a:pt x="77172" y="1873054"/>
                      </a:cubicBezTo>
                      <a:lnTo>
                        <a:pt x="77172" y="1867049"/>
                      </a:lnTo>
                      <a:cubicBezTo>
                        <a:pt x="77172" y="1788573"/>
                        <a:pt x="77582" y="1718286"/>
                        <a:pt x="80721" y="1656733"/>
                      </a:cubicBezTo>
                      <a:cubicBezTo>
                        <a:pt x="80857" y="1653867"/>
                        <a:pt x="80994" y="1651138"/>
                        <a:pt x="81130" y="1648408"/>
                      </a:cubicBezTo>
                      <a:cubicBezTo>
                        <a:pt x="81813" y="1635579"/>
                        <a:pt x="82495" y="1622886"/>
                        <a:pt x="83041" y="1610466"/>
                      </a:cubicBezTo>
                      <a:cubicBezTo>
                        <a:pt x="83587" y="1598320"/>
                        <a:pt x="84133" y="1586309"/>
                        <a:pt x="84679" y="1574436"/>
                      </a:cubicBezTo>
                      <a:cubicBezTo>
                        <a:pt x="86044" y="1541135"/>
                        <a:pt x="86862" y="1508925"/>
                        <a:pt x="87408" y="1478217"/>
                      </a:cubicBezTo>
                      <a:cubicBezTo>
                        <a:pt x="87681" y="1452422"/>
                        <a:pt x="87681" y="1427720"/>
                        <a:pt x="87272" y="1404108"/>
                      </a:cubicBezTo>
                      <a:cubicBezTo>
                        <a:pt x="86726" y="1378041"/>
                        <a:pt x="85907" y="1353611"/>
                        <a:pt x="84406" y="1331091"/>
                      </a:cubicBezTo>
                      <a:cubicBezTo>
                        <a:pt x="83860" y="1323585"/>
                        <a:pt x="83314" y="1315942"/>
                        <a:pt x="82768" y="1307890"/>
                      </a:cubicBezTo>
                      <a:cubicBezTo>
                        <a:pt x="81813" y="1295880"/>
                        <a:pt x="80857" y="1283460"/>
                        <a:pt x="79765" y="1270631"/>
                      </a:cubicBezTo>
                      <a:cubicBezTo>
                        <a:pt x="79083" y="1262851"/>
                        <a:pt x="78401" y="1255072"/>
                        <a:pt x="77718" y="1247020"/>
                      </a:cubicBezTo>
                      <a:cubicBezTo>
                        <a:pt x="77445" y="1243471"/>
                        <a:pt x="77036" y="1240059"/>
                        <a:pt x="76763" y="1236511"/>
                      </a:cubicBezTo>
                      <a:cubicBezTo>
                        <a:pt x="76763" y="1235555"/>
                        <a:pt x="76626" y="1234736"/>
                        <a:pt x="76490" y="1233918"/>
                      </a:cubicBezTo>
                      <a:cubicBezTo>
                        <a:pt x="76080" y="1229004"/>
                        <a:pt x="75534" y="1224091"/>
                        <a:pt x="75125" y="1219041"/>
                      </a:cubicBezTo>
                      <a:cubicBezTo>
                        <a:pt x="74579" y="1214128"/>
                        <a:pt x="74170" y="1209351"/>
                        <a:pt x="73624" y="1204438"/>
                      </a:cubicBezTo>
                      <a:cubicBezTo>
                        <a:pt x="72805" y="1195840"/>
                        <a:pt x="71986" y="1187105"/>
                        <a:pt x="71031" y="1178370"/>
                      </a:cubicBezTo>
                      <a:cubicBezTo>
                        <a:pt x="66936" y="1137290"/>
                        <a:pt x="62296" y="1094162"/>
                        <a:pt x="57519" y="1050079"/>
                      </a:cubicBezTo>
                      <a:cubicBezTo>
                        <a:pt x="56018" y="1036294"/>
                        <a:pt x="54380" y="1022237"/>
                        <a:pt x="52879" y="1008179"/>
                      </a:cubicBezTo>
                      <a:cubicBezTo>
                        <a:pt x="50422" y="986343"/>
                        <a:pt x="47966" y="964369"/>
                        <a:pt x="45509" y="942396"/>
                      </a:cubicBezTo>
                      <a:cubicBezTo>
                        <a:pt x="43871" y="928202"/>
                        <a:pt x="42233" y="914008"/>
                        <a:pt x="40596" y="899951"/>
                      </a:cubicBezTo>
                      <a:cubicBezTo>
                        <a:pt x="16302" y="686905"/>
                        <a:pt x="-6490" y="482867"/>
                        <a:pt x="1699" y="418175"/>
                      </a:cubicBezTo>
                      <a:cubicBezTo>
                        <a:pt x="15756" y="306125"/>
                        <a:pt x="558538" y="10236"/>
                        <a:pt x="558538" y="10236"/>
                      </a:cubicBezTo>
                      <a:lnTo>
                        <a:pt x="884316" y="0"/>
                      </a:lnTo>
                      <a:cubicBezTo>
                        <a:pt x="884316" y="0"/>
                        <a:pt x="1341661" y="184248"/>
                        <a:pt x="1426143" y="295480"/>
                      </a:cubicBezTo>
                      <a:cubicBezTo>
                        <a:pt x="1426552" y="296026"/>
                        <a:pt x="1426962" y="296572"/>
                        <a:pt x="1427371" y="297117"/>
                      </a:cubicBezTo>
                      <a:cubicBezTo>
                        <a:pt x="1446478" y="323322"/>
                        <a:pt x="1458625" y="359762"/>
                        <a:pt x="1465449" y="404664"/>
                      </a:cubicBezTo>
                      <a:cubicBezTo>
                        <a:pt x="1471591" y="444243"/>
                        <a:pt x="1473774" y="490374"/>
                        <a:pt x="1473365" y="542099"/>
                      </a:cubicBezTo>
                      <a:cubicBezTo>
                        <a:pt x="1473092" y="578949"/>
                        <a:pt x="1471591" y="618665"/>
                        <a:pt x="1469134" y="660701"/>
                      </a:cubicBezTo>
                      <a:cubicBezTo>
                        <a:pt x="1466677" y="705330"/>
                        <a:pt x="1463265" y="752688"/>
                        <a:pt x="1459444" y="802367"/>
                      </a:cubicBezTo>
                      <a:cubicBezTo>
                        <a:pt x="1458352" y="816834"/>
                        <a:pt x="1457260" y="831437"/>
                        <a:pt x="1456168" y="846177"/>
                      </a:cubicBezTo>
                      <a:cubicBezTo>
                        <a:pt x="1454940" y="861190"/>
                        <a:pt x="1453848" y="876340"/>
                        <a:pt x="1452756" y="891762"/>
                      </a:cubicBezTo>
                      <a:cubicBezTo>
                        <a:pt x="1452074" y="901725"/>
                        <a:pt x="1451255" y="911688"/>
                        <a:pt x="1450573" y="921787"/>
                      </a:cubicBezTo>
                      <a:cubicBezTo>
                        <a:pt x="1448662" y="948264"/>
                        <a:pt x="1446615" y="975288"/>
                        <a:pt x="1444841" y="1002584"/>
                      </a:cubicBezTo>
                      <a:cubicBezTo>
                        <a:pt x="1444295" y="1011455"/>
                        <a:pt x="1443612" y="1020326"/>
                        <a:pt x="1443066" y="1029197"/>
                      </a:cubicBezTo>
                      <a:cubicBezTo>
                        <a:pt x="1442657" y="1034793"/>
                        <a:pt x="1442384" y="1040525"/>
                        <a:pt x="1442111" y="1046257"/>
                      </a:cubicBezTo>
                      <a:cubicBezTo>
                        <a:pt x="1441701" y="1051990"/>
                        <a:pt x="1441429" y="1057858"/>
                        <a:pt x="1441019" y="1063590"/>
                      </a:cubicBezTo>
                      <a:lnTo>
                        <a:pt x="1441019" y="1063727"/>
                      </a:lnTo>
                      <a:cubicBezTo>
                        <a:pt x="1440746" y="1069050"/>
                        <a:pt x="1440337" y="1074372"/>
                        <a:pt x="1440064" y="1079695"/>
                      </a:cubicBezTo>
                      <a:cubicBezTo>
                        <a:pt x="1439654" y="1085564"/>
                        <a:pt x="1439381" y="1091296"/>
                        <a:pt x="1439108" y="1097164"/>
                      </a:cubicBezTo>
                      <a:cubicBezTo>
                        <a:pt x="1438562" y="1107946"/>
                        <a:pt x="1438017" y="1118592"/>
                        <a:pt x="1437607" y="1129510"/>
                      </a:cubicBezTo>
                      <a:cubicBezTo>
                        <a:pt x="1437198" y="1138518"/>
                        <a:pt x="1436788" y="1147526"/>
                        <a:pt x="1436515" y="1156533"/>
                      </a:cubicBezTo>
                      <a:cubicBezTo>
                        <a:pt x="1436379" y="1158171"/>
                        <a:pt x="1436379" y="1159809"/>
                        <a:pt x="1436379" y="1161447"/>
                      </a:cubicBezTo>
                      <a:cubicBezTo>
                        <a:pt x="1436106" y="1167315"/>
                        <a:pt x="1435833" y="1173047"/>
                        <a:pt x="1435696" y="1178916"/>
                      </a:cubicBezTo>
                      <a:lnTo>
                        <a:pt x="1435560" y="1181919"/>
                      </a:lnTo>
                      <a:lnTo>
                        <a:pt x="1435423" y="1183420"/>
                      </a:lnTo>
                      <a:cubicBezTo>
                        <a:pt x="1435150" y="1191063"/>
                        <a:pt x="1434877" y="1198842"/>
                        <a:pt x="1434741" y="1206485"/>
                      </a:cubicBezTo>
                      <a:cubicBezTo>
                        <a:pt x="1434468" y="1215629"/>
                        <a:pt x="1434195" y="1224910"/>
                        <a:pt x="1434059" y="1234054"/>
                      </a:cubicBezTo>
                      <a:cubicBezTo>
                        <a:pt x="1433922" y="1238285"/>
                        <a:pt x="1433922" y="1242652"/>
                        <a:pt x="1433786" y="1247020"/>
                      </a:cubicBezTo>
                      <a:cubicBezTo>
                        <a:pt x="1433649" y="1250841"/>
                        <a:pt x="1433649" y="1254799"/>
                        <a:pt x="1433513" y="1258621"/>
                      </a:cubicBezTo>
                      <a:cubicBezTo>
                        <a:pt x="1433513" y="1260531"/>
                        <a:pt x="1433513" y="1262442"/>
                        <a:pt x="1433513" y="1264489"/>
                      </a:cubicBezTo>
                      <a:cubicBezTo>
                        <a:pt x="1433376" y="1269812"/>
                        <a:pt x="1433376" y="1275135"/>
                        <a:pt x="1433240" y="1280594"/>
                      </a:cubicBezTo>
                      <a:cubicBezTo>
                        <a:pt x="1433103" y="1289602"/>
                        <a:pt x="1433103" y="1298746"/>
                        <a:pt x="1433103" y="1308163"/>
                      </a:cubicBezTo>
                      <a:lnTo>
                        <a:pt x="1433103" y="1323039"/>
                      </a:lnTo>
                      <a:cubicBezTo>
                        <a:pt x="1433103" y="1348970"/>
                        <a:pt x="1433376" y="1376130"/>
                        <a:pt x="1433922" y="1404382"/>
                      </a:cubicBezTo>
                      <a:cubicBezTo>
                        <a:pt x="1434059" y="1415982"/>
                        <a:pt x="1434332" y="1427856"/>
                        <a:pt x="1434605" y="1439866"/>
                      </a:cubicBezTo>
                      <a:cubicBezTo>
                        <a:pt x="1434877" y="1452559"/>
                        <a:pt x="1435287" y="1465388"/>
                        <a:pt x="1435560" y="1478490"/>
                      </a:cubicBezTo>
                      <a:cubicBezTo>
                        <a:pt x="1436379" y="1505786"/>
                        <a:pt x="1437334" y="1533765"/>
                        <a:pt x="1438426" y="1562153"/>
                      </a:cubicBezTo>
                      <a:cubicBezTo>
                        <a:pt x="1438562" y="1566247"/>
                        <a:pt x="1438699" y="1570478"/>
                        <a:pt x="1438835" y="1574572"/>
                      </a:cubicBezTo>
                      <a:cubicBezTo>
                        <a:pt x="1438972" y="1576346"/>
                        <a:pt x="1438972" y="1577984"/>
                        <a:pt x="1438972" y="1579622"/>
                      </a:cubicBezTo>
                      <a:cubicBezTo>
                        <a:pt x="1439245" y="1588903"/>
                        <a:pt x="1439654" y="1598183"/>
                        <a:pt x="1440064" y="1607601"/>
                      </a:cubicBezTo>
                      <a:cubicBezTo>
                        <a:pt x="1440610" y="1621112"/>
                        <a:pt x="1441292" y="1634897"/>
                        <a:pt x="1441838" y="1648545"/>
                      </a:cubicBezTo>
                      <a:cubicBezTo>
                        <a:pt x="1442520" y="1663284"/>
                        <a:pt x="1443476" y="1678980"/>
                        <a:pt x="1444704" y="1695630"/>
                      </a:cubicBezTo>
                      <a:cubicBezTo>
                        <a:pt x="1446342" y="1716375"/>
                        <a:pt x="1448389" y="1738348"/>
                        <a:pt x="1450846" y="1761414"/>
                      </a:cubicBezTo>
                      <a:cubicBezTo>
                        <a:pt x="1451392" y="1766873"/>
                        <a:pt x="1452074" y="1772332"/>
                        <a:pt x="1452756" y="1777791"/>
                      </a:cubicBezTo>
                      <a:cubicBezTo>
                        <a:pt x="1453712" y="1786662"/>
                        <a:pt x="1454804" y="1795807"/>
                        <a:pt x="1456032" y="1804951"/>
                      </a:cubicBezTo>
                      <a:cubicBezTo>
                        <a:pt x="1456714" y="1810683"/>
                        <a:pt x="1457397" y="1816552"/>
                        <a:pt x="1458079" y="1822284"/>
                      </a:cubicBezTo>
                      <a:cubicBezTo>
                        <a:pt x="1458625" y="1825969"/>
                        <a:pt x="1459034" y="1829654"/>
                        <a:pt x="1459580" y="1833475"/>
                      </a:cubicBezTo>
                      <a:cubicBezTo>
                        <a:pt x="1461355" y="1847396"/>
                        <a:pt x="1463265" y="1861727"/>
                        <a:pt x="1465449" y="1876330"/>
                      </a:cubicBezTo>
                      <a:cubicBezTo>
                        <a:pt x="1465722" y="1877968"/>
                        <a:pt x="1465858" y="1879605"/>
                        <a:pt x="1466131" y="1881243"/>
                      </a:cubicBezTo>
                      <a:cubicBezTo>
                        <a:pt x="1467223" y="1888613"/>
                        <a:pt x="1468315" y="1895983"/>
                        <a:pt x="1469407" y="1903626"/>
                      </a:cubicBezTo>
                      <a:cubicBezTo>
                        <a:pt x="1471454" y="1917956"/>
                        <a:pt x="1473774" y="1932696"/>
                        <a:pt x="1476094" y="1947573"/>
                      </a:cubicBezTo>
                      <a:cubicBezTo>
                        <a:pt x="1476777" y="1951803"/>
                        <a:pt x="1477459" y="1956034"/>
                        <a:pt x="1478005" y="1960265"/>
                      </a:cubicBezTo>
                      <a:cubicBezTo>
                        <a:pt x="1481963" y="1985651"/>
                        <a:pt x="1486194" y="2011582"/>
                        <a:pt x="1490698" y="2038195"/>
                      </a:cubicBezTo>
                      <a:cubicBezTo>
                        <a:pt x="1491517" y="2042836"/>
                        <a:pt x="1492336" y="2047613"/>
                        <a:pt x="1493155" y="2052389"/>
                      </a:cubicBezTo>
                      <a:cubicBezTo>
                        <a:pt x="1494929" y="2062898"/>
                        <a:pt x="1496703" y="2073407"/>
                        <a:pt x="1498614" y="2084053"/>
                      </a:cubicBezTo>
                      <a:cubicBezTo>
                        <a:pt x="1505028" y="2121039"/>
                        <a:pt x="1511852" y="2158844"/>
                        <a:pt x="1518949" y="2197332"/>
                      </a:cubicBezTo>
                      <a:cubicBezTo>
                        <a:pt x="1527275" y="2241824"/>
                        <a:pt x="1535873" y="2286999"/>
                        <a:pt x="1544744" y="2332583"/>
                      </a:cubicBezTo>
                      <a:cubicBezTo>
                        <a:pt x="1552114" y="2370115"/>
                        <a:pt x="1559620" y="2407784"/>
                        <a:pt x="1567400" y="2445453"/>
                      </a:cubicBezTo>
                      <a:cubicBezTo>
                        <a:pt x="1585415" y="2533619"/>
                        <a:pt x="1603976" y="2621649"/>
                        <a:pt x="1622401" y="2706675"/>
                      </a:cubicBezTo>
                      <a:cubicBezTo>
                        <a:pt x="1651199" y="2838515"/>
                        <a:pt x="1562077" y="2967899"/>
                        <a:pt x="1428053" y="298755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34" name="组合 133">
                  <a:extLst>
                    <a:ext uri="{FF2B5EF4-FFF2-40B4-BE49-F238E27FC236}">
                      <a16:creationId xmlns:a16="http://schemas.microsoft.com/office/drawing/2014/main" id="{D82C48B1-E43B-4CFF-B9EE-DF704DCA3647}"/>
                    </a:ext>
                  </a:extLst>
                </p:cNvPr>
                <p:cNvGrpSpPr/>
                <p:nvPr/>
              </p:nvGrpSpPr>
              <p:grpSpPr>
                <a:xfrm>
                  <a:off x="8604522" y="2568908"/>
                  <a:ext cx="1423761" cy="2219850"/>
                  <a:chOff x="8604522" y="2568908"/>
                  <a:chExt cx="1423761" cy="2219850"/>
                </a:xfrm>
                <a:solidFill>
                  <a:srgbClr val="93C3FD"/>
                </a:solidFill>
              </p:grpSpPr>
              <p:sp>
                <p:nvSpPr>
                  <p:cNvPr id="135" name="任意多边形: 形状 134">
                    <a:extLst>
                      <a:ext uri="{FF2B5EF4-FFF2-40B4-BE49-F238E27FC236}">
                        <a16:creationId xmlns:a16="http://schemas.microsoft.com/office/drawing/2014/main" id="{4A2C0CFA-20C1-4A4A-BCBE-E1690DDF5851}"/>
                      </a:ext>
                    </a:extLst>
                  </p:cNvPr>
                  <p:cNvSpPr/>
                  <p:nvPr/>
                </p:nvSpPr>
                <p:spPr>
                  <a:xfrm>
                    <a:off x="8750419" y="2568908"/>
                    <a:ext cx="1175913" cy="174967"/>
                  </a:xfrm>
                  <a:custGeom>
                    <a:avLst/>
                    <a:gdLst>
                      <a:gd name="connsiteX0" fmla="*/ 1175914 w 1175913"/>
                      <a:gd name="connsiteY0" fmla="*/ 109321 h 174967"/>
                      <a:gd name="connsiteX1" fmla="*/ 542509 w 1175913"/>
                      <a:gd name="connsiteY1" fmla="*/ 174968 h 174967"/>
                      <a:gd name="connsiteX2" fmla="*/ 452159 w 1175913"/>
                      <a:gd name="connsiteY2" fmla="*/ 173603 h 174967"/>
                      <a:gd name="connsiteX3" fmla="*/ 0 w 1175913"/>
                      <a:gd name="connsiteY3" fmla="*/ 125016 h 174967"/>
                      <a:gd name="connsiteX4" fmla="*/ 12693 w 1175913"/>
                      <a:gd name="connsiteY4" fmla="*/ 68922 h 174967"/>
                      <a:gd name="connsiteX5" fmla="*/ 25385 w 1175913"/>
                      <a:gd name="connsiteY5" fmla="*/ 12829 h 174967"/>
                      <a:gd name="connsiteX6" fmla="*/ 25385 w 1175913"/>
                      <a:gd name="connsiteY6" fmla="*/ 12829 h 174967"/>
                      <a:gd name="connsiteX7" fmla="*/ 458574 w 1175913"/>
                      <a:gd name="connsiteY7" fmla="*/ 58686 h 174967"/>
                      <a:gd name="connsiteX8" fmla="*/ 1136471 w 1175913"/>
                      <a:gd name="connsiteY8" fmla="*/ 0 h 174967"/>
                      <a:gd name="connsiteX9" fmla="*/ 1137699 w 1175913"/>
                      <a:gd name="connsiteY9" fmla="*/ 1638 h 174967"/>
                      <a:gd name="connsiteX10" fmla="*/ 1175914 w 1175913"/>
                      <a:gd name="connsiteY10" fmla="*/ 109321 h 174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175913" h="174967">
                        <a:moveTo>
                          <a:pt x="1175914" y="109321"/>
                        </a:moveTo>
                        <a:cubicBezTo>
                          <a:pt x="937892" y="160364"/>
                          <a:pt x="717067" y="174968"/>
                          <a:pt x="542509" y="174968"/>
                        </a:cubicBezTo>
                        <a:cubicBezTo>
                          <a:pt x="510846" y="174968"/>
                          <a:pt x="480683" y="174422"/>
                          <a:pt x="452159" y="173603"/>
                        </a:cubicBezTo>
                        <a:cubicBezTo>
                          <a:pt x="182747" y="165687"/>
                          <a:pt x="7370" y="126654"/>
                          <a:pt x="0" y="125016"/>
                        </a:cubicBezTo>
                        <a:lnTo>
                          <a:pt x="12693" y="68922"/>
                        </a:lnTo>
                        <a:lnTo>
                          <a:pt x="25385" y="12829"/>
                        </a:lnTo>
                        <a:lnTo>
                          <a:pt x="25385" y="12829"/>
                        </a:lnTo>
                        <a:cubicBezTo>
                          <a:pt x="28797" y="13648"/>
                          <a:pt x="200762" y="51453"/>
                          <a:pt x="458574" y="58686"/>
                        </a:cubicBezTo>
                        <a:cubicBezTo>
                          <a:pt x="632722" y="63600"/>
                          <a:pt x="873337" y="54865"/>
                          <a:pt x="1136471" y="0"/>
                        </a:cubicBezTo>
                        <a:cubicBezTo>
                          <a:pt x="1136880" y="546"/>
                          <a:pt x="1137290" y="1092"/>
                          <a:pt x="1137699" y="1638"/>
                        </a:cubicBezTo>
                        <a:cubicBezTo>
                          <a:pt x="1156943" y="27842"/>
                          <a:pt x="1168953" y="64282"/>
                          <a:pt x="1175914" y="1093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任意多边形: 形状 135">
                    <a:extLst>
                      <a:ext uri="{FF2B5EF4-FFF2-40B4-BE49-F238E27FC236}">
                        <a16:creationId xmlns:a16="http://schemas.microsoft.com/office/drawing/2014/main" id="{3A9C2431-708E-42E4-ABD6-002AADFD68B1}"/>
                      </a:ext>
                    </a:extLst>
                  </p:cNvPr>
                  <p:cNvSpPr/>
                  <p:nvPr/>
                </p:nvSpPr>
                <p:spPr>
                  <a:xfrm>
                    <a:off x="8732131" y="2815664"/>
                    <a:ext cx="1201981" cy="182610"/>
                  </a:xfrm>
                  <a:custGeom>
                    <a:avLst/>
                    <a:gdLst>
                      <a:gd name="connsiteX0" fmla="*/ 1201981 w 1201981"/>
                      <a:gd name="connsiteY0" fmla="*/ 0 h 182610"/>
                      <a:gd name="connsiteX1" fmla="*/ 1197750 w 1201981"/>
                      <a:gd name="connsiteY1" fmla="*/ 118601 h 182610"/>
                      <a:gd name="connsiteX2" fmla="*/ 573081 w 1201981"/>
                      <a:gd name="connsiteY2" fmla="*/ 182611 h 182610"/>
                      <a:gd name="connsiteX3" fmla="*/ 451477 w 1201981"/>
                      <a:gd name="connsiteY3" fmla="*/ 180290 h 182610"/>
                      <a:gd name="connsiteX4" fmla="*/ 0 w 1201981"/>
                      <a:gd name="connsiteY4" fmla="*/ 127200 h 182610"/>
                      <a:gd name="connsiteX5" fmla="*/ 26477 w 1201981"/>
                      <a:gd name="connsiteY5" fmla="*/ 15286 h 182610"/>
                      <a:gd name="connsiteX6" fmla="*/ 458983 w 1201981"/>
                      <a:gd name="connsiteY6" fmla="*/ 65511 h 182610"/>
                      <a:gd name="connsiteX7" fmla="*/ 1201981 w 1201981"/>
                      <a:gd name="connsiteY7" fmla="*/ 0 h 1826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01981" h="182610">
                        <a:moveTo>
                          <a:pt x="1201981" y="0"/>
                        </a:moveTo>
                        <a:cubicBezTo>
                          <a:pt x="1201708" y="36850"/>
                          <a:pt x="1200207" y="76565"/>
                          <a:pt x="1197750" y="118601"/>
                        </a:cubicBezTo>
                        <a:cubicBezTo>
                          <a:pt x="964915" y="168144"/>
                          <a:pt x="747912" y="182611"/>
                          <a:pt x="573081" y="182611"/>
                        </a:cubicBezTo>
                        <a:cubicBezTo>
                          <a:pt x="529816" y="182611"/>
                          <a:pt x="489145" y="181655"/>
                          <a:pt x="451477" y="180290"/>
                        </a:cubicBezTo>
                        <a:cubicBezTo>
                          <a:pt x="182201" y="169781"/>
                          <a:pt x="7370" y="128974"/>
                          <a:pt x="0" y="127200"/>
                        </a:cubicBezTo>
                        <a:lnTo>
                          <a:pt x="26477" y="15286"/>
                        </a:lnTo>
                        <a:cubicBezTo>
                          <a:pt x="28251" y="15695"/>
                          <a:pt x="200080" y="55548"/>
                          <a:pt x="458983" y="65511"/>
                        </a:cubicBezTo>
                        <a:cubicBezTo>
                          <a:pt x="647326" y="72608"/>
                          <a:pt x="913326" y="64692"/>
                          <a:pt x="1201981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任意多边形: 形状 136">
                    <a:extLst>
                      <a:ext uri="{FF2B5EF4-FFF2-40B4-BE49-F238E27FC236}">
                        <a16:creationId xmlns:a16="http://schemas.microsoft.com/office/drawing/2014/main" id="{698ADF89-14D4-4DCC-89A1-26EED575EFE8}"/>
                      </a:ext>
                    </a:extLst>
                  </p:cNvPr>
                  <p:cNvSpPr/>
                  <p:nvPr/>
                </p:nvSpPr>
                <p:spPr>
                  <a:xfrm>
                    <a:off x="8714115" y="3075795"/>
                    <a:ext cx="1206212" cy="177287"/>
                  </a:xfrm>
                  <a:custGeom>
                    <a:avLst/>
                    <a:gdLst>
                      <a:gd name="connsiteX0" fmla="*/ 1206212 w 1206212"/>
                      <a:gd name="connsiteY0" fmla="*/ 0 h 177287"/>
                      <a:gd name="connsiteX1" fmla="*/ 1202937 w 1206212"/>
                      <a:gd name="connsiteY1" fmla="*/ 43810 h 177287"/>
                      <a:gd name="connsiteX2" fmla="*/ 1199525 w 1206212"/>
                      <a:gd name="connsiteY2" fmla="*/ 89395 h 177287"/>
                      <a:gd name="connsiteX3" fmla="*/ 1197341 w 1206212"/>
                      <a:gd name="connsiteY3" fmla="*/ 119420 h 177287"/>
                      <a:gd name="connsiteX4" fmla="*/ 603925 w 1206212"/>
                      <a:gd name="connsiteY4" fmla="*/ 177288 h 177287"/>
                      <a:gd name="connsiteX5" fmla="*/ 450794 w 1206212"/>
                      <a:gd name="connsiteY5" fmla="*/ 173603 h 177287"/>
                      <a:gd name="connsiteX6" fmla="*/ 0 w 1206212"/>
                      <a:gd name="connsiteY6" fmla="*/ 116008 h 177287"/>
                      <a:gd name="connsiteX7" fmla="*/ 27569 w 1206212"/>
                      <a:gd name="connsiteY7" fmla="*/ 4367 h 177287"/>
                      <a:gd name="connsiteX8" fmla="*/ 459529 w 1206212"/>
                      <a:gd name="connsiteY8" fmla="*/ 58823 h 177287"/>
                      <a:gd name="connsiteX9" fmla="*/ 1206212 w 1206212"/>
                      <a:gd name="connsiteY9" fmla="*/ 0 h 17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206212" h="177287">
                        <a:moveTo>
                          <a:pt x="1206212" y="0"/>
                        </a:moveTo>
                        <a:cubicBezTo>
                          <a:pt x="1205120" y="14467"/>
                          <a:pt x="1204028" y="29070"/>
                          <a:pt x="1202937" y="43810"/>
                        </a:cubicBezTo>
                        <a:cubicBezTo>
                          <a:pt x="1201708" y="58823"/>
                          <a:pt x="1200616" y="73972"/>
                          <a:pt x="1199525" y="89395"/>
                        </a:cubicBezTo>
                        <a:cubicBezTo>
                          <a:pt x="1198842" y="99358"/>
                          <a:pt x="1198023" y="109321"/>
                          <a:pt x="1197341" y="119420"/>
                        </a:cubicBezTo>
                        <a:cubicBezTo>
                          <a:pt x="978017" y="163776"/>
                          <a:pt x="772888" y="177288"/>
                          <a:pt x="603925" y="177288"/>
                        </a:cubicBezTo>
                        <a:cubicBezTo>
                          <a:pt x="548787" y="177288"/>
                          <a:pt x="497471" y="175787"/>
                          <a:pt x="450794" y="173603"/>
                        </a:cubicBezTo>
                        <a:cubicBezTo>
                          <a:pt x="181655" y="160364"/>
                          <a:pt x="7233" y="117782"/>
                          <a:pt x="0" y="116008"/>
                        </a:cubicBezTo>
                        <a:lnTo>
                          <a:pt x="27569" y="4367"/>
                        </a:lnTo>
                        <a:cubicBezTo>
                          <a:pt x="29343" y="4777"/>
                          <a:pt x="200762" y="46403"/>
                          <a:pt x="459529" y="58823"/>
                        </a:cubicBezTo>
                        <a:cubicBezTo>
                          <a:pt x="648145" y="67967"/>
                          <a:pt x="915509" y="62645"/>
                          <a:pt x="1206212" y="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任意多边形: 形状 137">
                    <a:extLst>
                      <a:ext uri="{FF2B5EF4-FFF2-40B4-BE49-F238E27FC236}">
                        <a16:creationId xmlns:a16="http://schemas.microsoft.com/office/drawing/2014/main" id="{1CB5D2F5-EF67-429B-ADDA-66467E53BE05}"/>
                      </a:ext>
                    </a:extLst>
                  </p:cNvPr>
                  <p:cNvSpPr/>
                  <p:nvPr/>
                </p:nvSpPr>
                <p:spPr>
                  <a:xfrm>
                    <a:off x="8695827" y="3329375"/>
                    <a:ext cx="1205939" cy="178925"/>
                  </a:xfrm>
                  <a:custGeom>
                    <a:avLst/>
                    <a:gdLst>
                      <a:gd name="connsiteX0" fmla="*/ 1205939 w 1205939"/>
                      <a:gd name="connsiteY0" fmla="*/ 7779 h 178925"/>
                      <a:gd name="connsiteX1" fmla="*/ 1205939 w 1205939"/>
                      <a:gd name="connsiteY1" fmla="*/ 7779 h 178925"/>
                      <a:gd name="connsiteX2" fmla="*/ 1204984 w 1205939"/>
                      <a:gd name="connsiteY2" fmla="*/ 23884 h 178925"/>
                      <a:gd name="connsiteX3" fmla="*/ 1204028 w 1205939"/>
                      <a:gd name="connsiteY3" fmla="*/ 41353 h 178925"/>
                      <a:gd name="connsiteX4" fmla="*/ 1202527 w 1205939"/>
                      <a:gd name="connsiteY4" fmla="*/ 73699 h 178925"/>
                      <a:gd name="connsiteX5" fmla="*/ 1201435 w 1205939"/>
                      <a:gd name="connsiteY5" fmla="*/ 100722 h 178925"/>
                      <a:gd name="connsiteX6" fmla="*/ 1201299 w 1205939"/>
                      <a:gd name="connsiteY6" fmla="*/ 105636 h 178925"/>
                      <a:gd name="connsiteX7" fmla="*/ 1200616 w 1205939"/>
                      <a:gd name="connsiteY7" fmla="*/ 123105 h 178925"/>
                      <a:gd name="connsiteX8" fmla="*/ 1200480 w 1205939"/>
                      <a:gd name="connsiteY8" fmla="*/ 126108 h 178925"/>
                      <a:gd name="connsiteX9" fmla="*/ 634633 w 1205939"/>
                      <a:gd name="connsiteY9" fmla="*/ 178926 h 178925"/>
                      <a:gd name="connsiteX10" fmla="*/ 450112 w 1205939"/>
                      <a:gd name="connsiteY10" fmla="*/ 173466 h 178925"/>
                      <a:gd name="connsiteX11" fmla="*/ 0 w 1205939"/>
                      <a:gd name="connsiteY11" fmla="*/ 111368 h 178925"/>
                      <a:gd name="connsiteX12" fmla="*/ 28661 w 1205939"/>
                      <a:gd name="connsiteY12" fmla="*/ 0 h 178925"/>
                      <a:gd name="connsiteX13" fmla="*/ 28661 w 1205939"/>
                      <a:gd name="connsiteY13" fmla="*/ 0 h 178925"/>
                      <a:gd name="connsiteX14" fmla="*/ 148900 w 1205939"/>
                      <a:gd name="connsiteY14" fmla="*/ 24021 h 178925"/>
                      <a:gd name="connsiteX15" fmla="*/ 459938 w 1205939"/>
                      <a:gd name="connsiteY15" fmla="*/ 58687 h 178925"/>
                      <a:gd name="connsiteX16" fmla="*/ 1205939 w 1205939"/>
                      <a:gd name="connsiteY16" fmla="*/ 7779 h 178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1205939" h="178925">
                        <a:moveTo>
                          <a:pt x="1205939" y="7779"/>
                        </a:moveTo>
                        <a:lnTo>
                          <a:pt x="1205939" y="7779"/>
                        </a:lnTo>
                        <a:cubicBezTo>
                          <a:pt x="1205666" y="13239"/>
                          <a:pt x="1205257" y="18561"/>
                          <a:pt x="1204984" y="23884"/>
                        </a:cubicBezTo>
                        <a:cubicBezTo>
                          <a:pt x="1204575" y="29753"/>
                          <a:pt x="1204302" y="35485"/>
                          <a:pt x="1204028" y="41353"/>
                        </a:cubicBezTo>
                        <a:cubicBezTo>
                          <a:pt x="1203483" y="52136"/>
                          <a:pt x="1202937" y="62781"/>
                          <a:pt x="1202527" y="73699"/>
                        </a:cubicBezTo>
                        <a:cubicBezTo>
                          <a:pt x="1202118" y="82707"/>
                          <a:pt x="1201708" y="91715"/>
                          <a:pt x="1201435" y="100722"/>
                        </a:cubicBezTo>
                        <a:cubicBezTo>
                          <a:pt x="1201299" y="102360"/>
                          <a:pt x="1201299" y="103998"/>
                          <a:pt x="1201299" y="105636"/>
                        </a:cubicBezTo>
                        <a:cubicBezTo>
                          <a:pt x="1201026" y="111504"/>
                          <a:pt x="1200753" y="117237"/>
                          <a:pt x="1200616" y="123105"/>
                        </a:cubicBezTo>
                        <a:lnTo>
                          <a:pt x="1200480" y="126108"/>
                        </a:lnTo>
                        <a:cubicBezTo>
                          <a:pt x="992894" y="166233"/>
                          <a:pt x="798136" y="178926"/>
                          <a:pt x="634633" y="178926"/>
                        </a:cubicBezTo>
                        <a:cubicBezTo>
                          <a:pt x="567485" y="178926"/>
                          <a:pt x="505523" y="176878"/>
                          <a:pt x="450112" y="173466"/>
                        </a:cubicBezTo>
                        <a:cubicBezTo>
                          <a:pt x="181246" y="157498"/>
                          <a:pt x="7233" y="113279"/>
                          <a:pt x="0" y="111368"/>
                        </a:cubicBezTo>
                        <a:lnTo>
                          <a:pt x="28661" y="0"/>
                        </a:lnTo>
                        <a:lnTo>
                          <a:pt x="28661" y="0"/>
                        </a:lnTo>
                        <a:cubicBezTo>
                          <a:pt x="30162" y="409"/>
                          <a:pt x="73699" y="11328"/>
                          <a:pt x="148900" y="24021"/>
                        </a:cubicBezTo>
                        <a:cubicBezTo>
                          <a:pt x="224100" y="36713"/>
                          <a:pt x="331101" y="51317"/>
                          <a:pt x="459938" y="58687"/>
                        </a:cubicBezTo>
                        <a:cubicBezTo>
                          <a:pt x="648281" y="69878"/>
                          <a:pt x="915236" y="67148"/>
                          <a:pt x="1205939" y="7779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任意多边形: 形状 138">
                    <a:extLst>
                      <a:ext uri="{FF2B5EF4-FFF2-40B4-BE49-F238E27FC236}">
                        <a16:creationId xmlns:a16="http://schemas.microsoft.com/office/drawing/2014/main" id="{282BD9A9-6662-4813-8070-FBC5C6B01EF1}"/>
                      </a:ext>
                    </a:extLst>
                  </p:cNvPr>
                  <p:cNvSpPr/>
                  <p:nvPr/>
                </p:nvSpPr>
                <p:spPr>
                  <a:xfrm>
                    <a:off x="8677675" y="3578725"/>
                    <a:ext cx="1217949" cy="185203"/>
                  </a:xfrm>
                  <a:custGeom>
                    <a:avLst/>
                    <a:gdLst>
                      <a:gd name="connsiteX0" fmla="*/ 1217131 w 1217949"/>
                      <a:gd name="connsiteY0" fmla="*/ 98948 h 185203"/>
                      <a:gd name="connsiteX1" fmla="*/ 1216312 w 1217949"/>
                      <a:gd name="connsiteY1" fmla="*/ 17606 h 185203"/>
                      <a:gd name="connsiteX2" fmla="*/ 460348 w 1217949"/>
                      <a:gd name="connsiteY2" fmla="*/ 63054 h 185203"/>
                      <a:gd name="connsiteX3" fmla="*/ 29753 w 1217949"/>
                      <a:gd name="connsiteY3" fmla="*/ 0 h 185203"/>
                      <a:gd name="connsiteX4" fmla="*/ 14876 w 1217949"/>
                      <a:gd name="connsiteY4" fmla="*/ 55548 h 185203"/>
                      <a:gd name="connsiteX5" fmla="*/ 0 w 1217949"/>
                      <a:gd name="connsiteY5" fmla="*/ 111095 h 185203"/>
                      <a:gd name="connsiteX6" fmla="*/ 449429 w 1217949"/>
                      <a:gd name="connsiteY6" fmla="*/ 177697 h 185203"/>
                      <a:gd name="connsiteX7" fmla="*/ 665478 w 1217949"/>
                      <a:gd name="connsiteY7" fmla="*/ 185204 h 185203"/>
                      <a:gd name="connsiteX8" fmla="*/ 1217949 w 1217949"/>
                      <a:gd name="connsiteY8" fmla="*/ 134569 h 185203"/>
                      <a:gd name="connsiteX9" fmla="*/ 1217131 w 1217949"/>
                      <a:gd name="connsiteY9" fmla="*/ 98948 h 185203"/>
                      <a:gd name="connsiteX10" fmla="*/ 29616 w 1217949"/>
                      <a:gd name="connsiteY10" fmla="*/ 0 h 185203"/>
                      <a:gd name="connsiteX11" fmla="*/ 14740 w 1217949"/>
                      <a:gd name="connsiteY11" fmla="*/ 55548 h 185203"/>
                      <a:gd name="connsiteX12" fmla="*/ 29616 w 1217949"/>
                      <a:gd name="connsiteY12" fmla="*/ 0 h 185203"/>
                      <a:gd name="connsiteX13" fmla="*/ 29616 w 1217949"/>
                      <a:gd name="connsiteY13" fmla="*/ 0 h 1852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1217949" h="185203">
                        <a:moveTo>
                          <a:pt x="1217131" y="98948"/>
                        </a:moveTo>
                        <a:cubicBezTo>
                          <a:pt x="1216585" y="70697"/>
                          <a:pt x="1216312" y="43537"/>
                          <a:pt x="1216312" y="17606"/>
                        </a:cubicBezTo>
                        <a:cubicBezTo>
                          <a:pt x="921241" y="75883"/>
                          <a:pt x="650601" y="76020"/>
                          <a:pt x="460348" y="63054"/>
                        </a:cubicBezTo>
                        <a:cubicBezTo>
                          <a:pt x="202946" y="45448"/>
                          <a:pt x="32892" y="819"/>
                          <a:pt x="29753" y="0"/>
                        </a:cubicBezTo>
                        <a:lnTo>
                          <a:pt x="14876" y="55548"/>
                        </a:lnTo>
                        <a:lnTo>
                          <a:pt x="0" y="111095"/>
                        </a:lnTo>
                        <a:cubicBezTo>
                          <a:pt x="7233" y="113006"/>
                          <a:pt x="180700" y="158999"/>
                          <a:pt x="449429" y="177697"/>
                        </a:cubicBezTo>
                        <a:cubicBezTo>
                          <a:pt x="513439" y="182201"/>
                          <a:pt x="586046" y="185204"/>
                          <a:pt x="665478" y="185204"/>
                        </a:cubicBezTo>
                        <a:cubicBezTo>
                          <a:pt x="827070" y="185204"/>
                          <a:pt x="1016641" y="172784"/>
                          <a:pt x="1217949" y="134569"/>
                        </a:cubicBezTo>
                        <a:cubicBezTo>
                          <a:pt x="1217540" y="122559"/>
                          <a:pt x="1217267" y="110685"/>
                          <a:pt x="1217131" y="98948"/>
                        </a:cubicBezTo>
                        <a:close/>
                        <a:moveTo>
                          <a:pt x="29616" y="0"/>
                        </a:moveTo>
                        <a:lnTo>
                          <a:pt x="14740" y="55548"/>
                        </a:lnTo>
                        <a:lnTo>
                          <a:pt x="29616" y="0"/>
                        </a:lnTo>
                        <a:lnTo>
                          <a:pt x="29616" y="0"/>
                        </a:ln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任意多边形: 形状 139">
                    <a:extLst>
                      <a:ext uri="{FF2B5EF4-FFF2-40B4-BE49-F238E27FC236}">
                        <a16:creationId xmlns:a16="http://schemas.microsoft.com/office/drawing/2014/main" id="{BC9D7C0D-ABF3-41FC-9DBE-B833F2517331}"/>
                      </a:ext>
                    </a:extLst>
                  </p:cNvPr>
                  <p:cNvSpPr/>
                  <p:nvPr/>
                </p:nvSpPr>
                <p:spPr>
                  <a:xfrm>
                    <a:off x="8659250" y="3827938"/>
                    <a:ext cx="1246473" cy="191618"/>
                  </a:xfrm>
                  <a:custGeom>
                    <a:avLst/>
                    <a:gdLst>
                      <a:gd name="connsiteX0" fmla="*/ 1246474 w 1246473"/>
                      <a:gd name="connsiteY0" fmla="*/ 141121 h 191618"/>
                      <a:gd name="connsiteX1" fmla="*/ 696186 w 1246473"/>
                      <a:gd name="connsiteY1" fmla="*/ 191618 h 191618"/>
                      <a:gd name="connsiteX2" fmla="*/ 448747 w 1246473"/>
                      <a:gd name="connsiteY2" fmla="*/ 181928 h 191618"/>
                      <a:gd name="connsiteX3" fmla="*/ 0 w 1246473"/>
                      <a:gd name="connsiteY3" fmla="*/ 110822 h 191618"/>
                      <a:gd name="connsiteX4" fmla="*/ 15422 w 1246473"/>
                      <a:gd name="connsiteY4" fmla="*/ 55411 h 191618"/>
                      <a:gd name="connsiteX5" fmla="*/ 30845 w 1246473"/>
                      <a:gd name="connsiteY5" fmla="*/ 0 h 191618"/>
                      <a:gd name="connsiteX6" fmla="*/ 30845 w 1246473"/>
                      <a:gd name="connsiteY6" fmla="*/ 0 h 191618"/>
                      <a:gd name="connsiteX7" fmla="*/ 460894 w 1246473"/>
                      <a:gd name="connsiteY7" fmla="*/ 67421 h 191618"/>
                      <a:gd name="connsiteX8" fmla="*/ 1240605 w 1246473"/>
                      <a:gd name="connsiteY8" fmla="*/ 25113 h 191618"/>
                      <a:gd name="connsiteX9" fmla="*/ 1241697 w 1246473"/>
                      <a:gd name="connsiteY9" fmla="*/ 53091 h 191618"/>
                      <a:gd name="connsiteX10" fmla="*/ 1243471 w 1246473"/>
                      <a:gd name="connsiteY10" fmla="*/ 94035 h 191618"/>
                      <a:gd name="connsiteX11" fmla="*/ 1246474 w 1246473"/>
                      <a:gd name="connsiteY11" fmla="*/ 141121 h 1916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46473" h="191618">
                        <a:moveTo>
                          <a:pt x="1246474" y="141121"/>
                        </a:moveTo>
                        <a:cubicBezTo>
                          <a:pt x="1047076" y="179062"/>
                          <a:pt x="858597" y="191618"/>
                          <a:pt x="696186" y="191618"/>
                        </a:cubicBezTo>
                        <a:cubicBezTo>
                          <a:pt x="604334" y="191618"/>
                          <a:pt x="520945" y="187524"/>
                          <a:pt x="448747" y="181928"/>
                        </a:cubicBezTo>
                        <a:cubicBezTo>
                          <a:pt x="180290" y="160637"/>
                          <a:pt x="7234" y="112869"/>
                          <a:pt x="0" y="110822"/>
                        </a:cubicBezTo>
                        <a:lnTo>
                          <a:pt x="15422" y="55411"/>
                        </a:lnTo>
                        <a:lnTo>
                          <a:pt x="30845" y="0"/>
                        </a:lnTo>
                        <a:cubicBezTo>
                          <a:pt x="30845" y="0"/>
                          <a:pt x="30845" y="0"/>
                          <a:pt x="30845" y="0"/>
                        </a:cubicBezTo>
                        <a:cubicBezTo>
                          <a:pt x="33574" y="819"/>
                          <a:pt x="203356" y="47222"/>
                          <a:pt x="460894" y="67421"/>
                        </a:cubicBezTo>
                        <a:cubicBezTo>
                          <a:pt x="656060" y="82707"/>
                          <a:pt x="935845" y="85027"/>
                          <a:pt x="1240605" y="25113"/>
                        </a:cubicBezTo>
                        <a:cubicBezTo>
                          <a:pt x="1240878" y="34393"/>
                          <a:pt x="1241288" y="43674"/>
                          <a:pt x="1241697" y="53091"/>
                        </a:cubicBezTo>
                        <a:cubicBezTo>
                          <a:pt x="1242243" y="66602"/>
                          <a:pt x="1242925" y="80387"/>
                          <a:pt x="1243471" y="94035"/>
                        </a:cubicBezTo>
                        <a:cubicBezTo>
                          <a:pt x="1244154" y="108911"/>
                          <a:pt x="1245245" y="124606"/>
                          <a:pt x="1246474" y="141121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" name="任意多边形: 形状 140">
                    <a:extLst>
                      <a:ext uri="{FF2B5EF4-FFF2-40B4-BE49-F238E27FC236}">
                        <a16:creationId xmlns:a16="http://schemas.microsoft.com/office/drawing/2014/main" id="{99A13A50-1B7C-42FA-AB86-B84A37D9C8C5}"/>
                      </a:ext>
                    </a:extLst>
                  </p:cNvPr>
                  <p:cNvSpPr/>
                  <p:nvPr/>
                </p:nvSpPr>
                <p:spPr>
                  <a:xfrm>
                    <a:off x="8641099" y="4077287"/>
                    <a:ext cx="1295879" cy="198442"/>
                  </a:xfrm>
                  <a:custGeom>
                    <a:avLst/>
                    <a:gdLst>
                      <a:gd name="connsiteX0" fmla="*/ 1295880 w 1295879"/>
                      <a:gd name="connsiteY0" fmla="*/ 143850 h 198442"/>
                      <a:gd name="connsiteX1" fmla="*/ 726894 w 1295879"/>
                      <a:gd name="connsiteY1" fmla="*/ 198442 h 198442"/>
                      <a:gd name="connsiteX2" fmla="*/ 448201 w 1295879"/>
                      <a:gd name="connsiteY2" fmla="*/ 186023 h 198442"/>
                      <a:gd name="connsiteX3" fmla="*/ 0 w 1295879"/>
                      <a:gd name="connsiteY3" fmla="*/ 110412 h 198442"/>
                      <a:gd name="connsiteX4" fmla="*/ 32073 w 1295879"/>
                      <a:gd name="connsiteY4" fmla="*/ 0 h 198442"/>
                      <a:gd name="connsiteX5" fmla="*/ 32073 w 1295879"/>
                      <a:gd name="connsiteY5" fmla="*/ 0 h 198442"/>
                      <a:gd name="connsiteX6" fmla="*/ 461440 w 1295879"/>
                      <a:gd name="connsiteY6" fmla="*/ 71789 h 198442"/>
                      <a:gd name="connsiteX7" fmla="*/ 1279502 w 1295879"/>
                      <a:gd name="connsiteY7" fmla="*/ 29889 h 198442"/>
                      <a:gd name="connsiteX8" fmla="*/ 1285371 w 1295879"/>
                      <a:gd name="connsiteY8" fmla="*/ 72744 h 198442"/>
                      <a:gd name="connsiteX9" fmla="*/ 1286053 w 1295879"/>
                      <a:gd name="connsiteY9" fmla="*/ 77657 h 198442"/>
                      <a:gd name="connsiteX10" fmla="*/ 1289329 w 1295879"/>
                      <a:gd name="connsiteY10" fmla="*/ 100040 h 198442"/>
                      <a:gd name="connsiteX11" fmla="*/ 1295880 w 1295879"/>
                      <a:gd name="connsiteY11" fmla="*/ 143850 h 1984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295879" h="198442">
                        <a:moveTo>
                          <a:pt x="1295880" y="143850"/>
                        </a:moveTo>
                        <a:cubicBezTo>
                          <a:pt x="1090613" y="184794"/>
                          <a:pt x="895583" y="198442"/>
                          <a:pt x="726894" y="198442"/>
                        </a:cubicBezTo>
                        <a:cubicBezTo>
                          <a:pt x="622623" y="198442"/>
                          <a:pt x="528451" y="193256"/>
                          <a:pt x="448201" y="186023"/>
                        </a:cubicBezTo>
                        <a:cubicBezTo>
                          <a:pt x="179881" y="162002"/>
                          <a:pt x="7233" y="112596"/>
                          <a:pt x="0" y="110412"/>
                        </a:cubicBezTo>
                        <a:lnTo>
                          <a:pt x="32073" y="0"/>
                        </a:lnTo>
                        <a:lnTo>
                          <a:pt x="32073" y="0"/>
                        </a:lnTo>
                        <a:cubicBezTo>
                          <a:pt x="33711" y="546"/>
                          <a:pt x="203355" y="48996"/>
                          <a:pt x="461440" y="71789"/>
                        </a:cubicBezTo>
                        <a:cubicBezTo>
                          <a:pt x="664386" y="89804"/>
                          <a:pt x="959592" y="94581"/>
                          <a:pt x="1279502" y="29889"/>
                        </a:cubicBezTo>
                        <a:cubicBezTo>
                          <a:pt x="1281276" y="43810"/>
                          <a:pt x="1283187" y="58141"/>
                          <a:pt x="1285371" y="72744"/>
                        </a:cubicBezTo>
                        <a:cubicBezTo>
                          <a:pt x="1285644" y="74382"/>
                          <a:pt x="1285780" y="76020"/>
                          <a:pt x="1286053" y="77657"/>
                        </a:cubicBezTo>
                        <a:cubicBezTo>
                          <a:pt x="1287145" y="85027"/>
                          <a:pt x="1288237" y="92397"/>
                          <a:pt x="1289329" y="100040"/>
                        </a:cubicBezTo>
                        <a:cubicBezTo>
                          <a:pt x="1291239" y="114234"/>
                          <a:pt x="1293559" y="128974"/>
                          <a:pt x="1295880" y="143850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任意多边形: 形状 141">
                    <a:extLst>
                      <a:ext uri="{FF2B5EF4-FFF2-40B4-BE49-F238E27FC236}">
                        <a16:creationId xmlns:a16="http://schemas.microsoft.com/office/drawing/2014/main" id="{0F8925FB-E785-45B9-B5BD-50CCD8546A99}"/>
                      </a:ext>
                    </a:extLst>
                  </p:cNvPr>
                  <p:cNvSpPr/>
                  <p:nvPr/>
                </p:nvSpPr>
                <p:spPr>
                  <a:xfrm>
                    <a:off x="8622674" y="4326500"/>
                    <a:ext cx="1357159" cy="205539"/>
                  </a:xfrm>
                  <a:custGeom>
                    <a:avLst/>
                    <a:gdLst>
                      <a:gd name="connsiteX0" fmla="*/ 1357159 w 1357159"/>
                      <a:gd name="connsiteY0" fmla="*/ 144123 h 205539"/>
                      <a:gd name="connsiteX1" fmla="*/ 757465 w 1357159"/>
                      <a:gd name="connsiteY1" fmla="*/ 205539 h 205539"/>
                      <a:gd name="connsiteX2" fmla="*/ 447519 w 1357159"/>
                      <a:gd name="connsiteY2" fmla="*/ 190253 h 205539"/>
                      <a:gd name="connsiteX3" fmla="*/ 0 w 1357159"/>
                      <a:gd name="connsiteY3" fmla="*/ 110139 h 205539"/>
                      <a:gd name="connsiteX4" fmla="*/ 33165 w 1357159"/>
                      <a:gd name="connsiteY4" fmla="*/ 0 h 205539"/>
                      <a:gd name="connsiteX5" fmla="*/ 461849 w 1357159"/>
                      <a:gd name="connsiteY5" fmla="*/ 76019 h 205539"/>
                      <a:gd name="connsiteX6" fmla="*/ 1336687 w 1357159"/>
                      <a:gd name="connsiteY6" fmla="*/ 30844 h 205539"/>
                      <a:gd name="connsiteX7" fmla="*/ 1357159 w 1357159"/>
                      <a:gd name="connsiteY7" fmla="*/ 144123 h 2055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57159" h="205539">
                        <a:moveTo>
                          <a:pt x="1357159" y="144123"/>
                        </a:moveTo>
                        <a:cubicBezTo>
                          <a:pt x="1141794" y="190253"/>
                          <a:pt x="935845" y="205539"/>
                          <a:pt x="757465" y="205539"/>
                        </a:cubicBezTo>
                        <a:cubicBezTo>
                          <a:pt x="640775" y="205539"/>
                          <a:pt x="535821" y="198988"/>
                          <a:pt x="447519" y="190253"/>
                        </a:cubicBezTo>
                        <a:cubicBezTo>
                          <a:pt x="179335" y="163503"/>
                          <a:pt x="7234" y="112323"/>
                          <a:pt x="0" y="110139"/>
                        </a:cubicBezTo>
                        <a:lnTo>
                          <a:pt x="33165" y="0"/>
                        </a:lnTo>
                        <a:cubicBezTo>
                          <a:pt x="34802" y="546"/>
                          <a:pt x="204038" y="50634"/>
                          <a:pt x="461849" y="76019"/>
                        </a:cubicBezTo>
                        <a:cubicBezTo>
                          <a:pt x="676533" y="97174"/>
                          <a:pt x="994395" y="104680"/>
                          <a:pt x="1336687" y="30844"/>
                        </a:cubicBezTo>
                        <a:cubicBezTo>
                          <a:pt x="1343238" y="67830"/>
                          <a:pt x="1350062" y="105636"/>
                          <a:pt x="1357159" y="144123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" name="任意多边形: 形状 142">
                    <a:extLst>
                      <a:ext uri="{FF2B5EF4-FFF2-40B4-BE49-F238E27FC236}">
                        <a16:creationId xmlns:a16="http://schemas.microsoft.com/office/drawing/2014/main" id="{96355435-962B-4443-B34D-ACE523EE9625}"/>
                      </a:ext>
                    </a:extLst>
                  </p:cNvPr>
                  <p:cNvSpPr/>
                  <p:nvPr/>
                </p:nvSpPr>
                <p:spPr>
                  <a:xfrm>
                    <a:off x="8604522" y="4575986"/>
                    <a:ext cx="1423761" cy="212772"/>
                  </a:xfrm>
                  <a:custGeom>
                    <a:avLst/>
                    <a:gdLst>
                      <a:gd name="connsiteX0" fmla="*/ 1423762 w 1423761"/>
                      <a:gd name="connsiteY0" fmla="*/ 142758 h 212772"/>
                      <a:gd name="connsiteX1" fmla="*/ 787764 w 1423761"/>
                      <a:gd name="connsiteY1" fmla="*/ 212773 h 212772"/>
                      <a:gd name="connsiteX2" fmla="*/ 446836 w 1423761"/>
                      <a:gd name="connsiteY2" fmla="*/ 194211 h 212772"/>
                      <a:gd name="connsiteX3" fmla="*/ 0 w 1423761"/>
                      <a:gd name="connsiteY3" fmla="*/ 109730 h 212772"/>
                      <a:gd name="connsiteX4" fmla="*/ 17196 w 1423761"/>
                      <a:gd name="connsiteY4" fmla="*/ 54865 h 212772"/>
                      <a:gd name="connsiteX5" fmla="*/ 34256 w 1423761"/>
                      <a:gd name="connsiteY5" fmla="*/ 0 h 212772"/>
                      <a:gd name="connsiteX6" fmla="*/ 34256 w 1423761"/>
                      <a:gd name="connsiteY6" fmla="*/ 0 h 212772"/>
                      <a:gd name="connsiteX7" fmla="*/ 462395 w 1423761"/>
                      <a:gd name="connsiteY7" fmla="*/ 80387 h 212772"/>
                      <a:gd name="connsiteX8" fmla="*/ 1401106 w 1423761"/>
                      <a:gd name="connsiteY8" fmla="*/ 30025 h 212772"/>
                      <a:gd name="connsiteX9" fmla="*/ 1423762 w 1423761"/>
                      <a:gd name="connsiteY9" fmla="*/ 142758 h 2127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423761" h="212772">
                        <a:moveTo>
                          <a:pt x="1423762" y="142758"/>
                        </a:moveTo>
                        <a:cubicBezTo>
                          <a:pt x="1196113" y="195440"/>
                          <a:pt x="977471" y="212773"/>
                          <a:pt x="787764" y="212773"/>
                        </a:cubicBezTo>
                        <a:cubicBezTo>
                          <a:pt x="658517" y="212773"/>
                          <a:pt x="542782" y="204720"/>
                          <a:pt x="446836" y="194211"/>
                        </a:cubicBezTo>
                        <a:cubicBezTo>
                          <a:pt x="178925" y="164868"/>
                          <a:pt x="7233" y="111914"/>
                          <a:pt x="0" y="109730"/>
                        </a:cubicBezTo>
                        <a:lnTo>
                          <a:pt x="17196" y="54865"/>
                        </a:lnTo>
                        <a:lnTo>
                          <a:pt x="34256" y="0"/>
                        </a:lnTo>
                        <a:cubicBezTo>
                          <a:pt x="34256" y="0"/>
                          <a:pt x="34256" y="0"/>
                          <a:pt x="34256" y="0"/>
                        </a:cubicBezTo>
                        <a:cubicBezTo>
                          <a:pt x="36986" y="819"/>
                          <a:pt x="205403" y="52408"/>
                          <a:pt x="462395" y="80387"/>
                        </a:cubicBezTo>
                        <a:cubicBezTo>
                          <a:pt x="690044" y="105090"/>
                          <a:pt x="1034111" y="115599"/>
                          <a:pt x="1401106" y="30025"/>
                        </a:cubicBezTo>
                        <a:cubicBezTo>
                          <a:pt x="1408476" y="67285"/>
                          <a:pt x="1416119" y="105090"/>
                          <a:pt x="1423762" y="142758"/>
                        </a:cubicBezTo>
                        <a:close/>
                      </a:path>
                    </a:pathLst>
                  </a:custGeom>
                  <a:solidFill>
                    <a:srgbClr val="93C3FD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</p:grp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F6FFCFF1-C90B-4708-AB64-BE0D4F14833D}"/>
                  </a:ext>
                </a:extLst>
              </p:cNvPr>
              <p:cNvSpPr/>
              <p:nvPr/>
            </p:nvSpPr>
            <p:spPr>
              <a:xfrm>
                <a:off x="8315753" y="2333752"/>
                <a:ext cx="837224" cy="3121029"/>
              </a:xfrm>
              <a:custGeom>
                <a:avLst/>
                <a:gdLst>
                  <a:gd name="connsiteX0" fmla="*/ 836191 w 837224"/>
                  <a:gd name="connsiteY0" fmla="*/ 2772869 h 3121029"/>
                  <a:gd name="connsiteX1" fmla="*/ 766722 w 837224"/>
                  <a:gd name="connsiteY1" fmla="*/ 1272678 h 3121029"/>
                  <a:gd name="connsiteX2" fmla="*/ 798113 w 837224"/>
                  <a:gd name="connsiteY2" fmla="*/ 0 h 3121029"/>
                  <a:gd name="connsiteX3" fmla="*/ 653034 w 837224"/>
                  <a:gd name="connsiteY3" fmla="*/ 24976 h 3121029"/>
                  <a:gd name="connsiteX4" fmla="*/ 240318 w 837224"/>
                  <a:gd name="connsiteY4" fmla="*/ 210589 h 3121029"/>
                  <a:gd name="connsiteX5" fmla="*/ 16081 w 837224"/>
                  <a:gd name="connsiteY5" fmla="*/ 2022364 h 3121029"/>
                  <a:gd name="connsiteX6" fmla="*/ 612090 w 837224"/>
                  <a:gd name="connsiteY6" fmla="*/ 3102605 h 3121029"/>
                  <a:gd name="connsiteX7" fmla="*/ 773956 w 837224"/>
                  <a:gd name="connsiteY7" fmla="*/ 3121029 h 3121029"/>
                  <a:gd name="connsiteX8" fmla="*/ 836191 w 837224"/>
                  <a:gd name="connsiteY8" fmla="*/ 2772869 h 31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7224" h="3121029">
                    <a:moveTo>
                      <a:pt x="836191" y="2772869"/>
                    </a:moveTo>
                    <a:cubicBezTo>
                      <a:pt x="847245" y="2298736"/>
                      <a:pt x="766040" y="1746947"/>
                      <a:pt x="766722" y="1272678"/>
                    </a:cubicBezTo>
                    <a:cubicBezTo>
                      <a:pt x="767405" y="847406"/>
                      <a:pt x="798386" y="425272"/>
                      <a:pt x="798113" y="0"/>
                    </a:cubicBezTo>
                    <a:cubicBezTo>
                      <a:pt x="696708" y="7643"/>
                      <a:pt x="653034" y="24976"/>
                      <a:pt x="653034" y="24976"/>
                    </a:cubicBezTo>
                    <a:cubicBezTo>
                      <a:pt x="653034" y="24976"/>
                      <a:pt x="555997" y="107683"/>
                      <a:pt x="240318" y="210589"/>
                    </a:cubicBezTo>
                    <a:cubicBezTo>
                      <a:pt x="-57345" y="307626"/>
                      <a:pt x="-2071" y="1406974"/>
                      <a:pt x="16081" y="2022364"/>
                    </a:cubicBezTo>
                    <a:cubicBezTo>
                      <a:pt x="34096" y="2637753"/>
                      <a:pt x="26999" y="3027814"/>
                      <a:pt x="612090" y="3102605"/>
                    </a:cubicBezTo>
                    <a:cubicBezTo>
                      <a:pt x="667092" y="3109565"/>
                      <a:pt x="721001" y="3115843"/>
                      <a:pt x="773956" y="3121029"/>
                    </a:cubicBezTo>
                    <a:cubicBezTo>
                      <a:pt x="774911" y="2980318"/>
                      <a:pt x="832915" y="2913989"/>
                      <a:pt x="836191" y="2772869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A84CE42-4289-4923-AB37-C35124DC7591}"/>
                  </a:ext>
                </a:extLst>
              </p:cNvPr>
              <p:cNvSpPr/>
              <p:nvPr/>
            </p:nvSpPr>
            <p:spPr>
              <a:xfrm>
                <a:off x="8503477" y="3567640"/>
                <a:ext cx="281228" cy="288821"/>
              </a:xfrm>
              <a:custGeom>
                <a:avLst/>
                <a:gdLst>
                  <a:gd name="connsiteX0" fmla="*/ 13697 w 281228"/>
                  <a:gd name="connsiteY0" fmla="*/ 288822 h 288821"/>
                  <a:gd name="connsiteX1" fmla="*/ 322 w 281228"/>
                  <a:gd name="connsiteY1" fmla="*/ 278040 h 288821"/>
                  <a:gd name="connsiteX2" fmla="*/ 10831 w 281228"/>
                  <a:gd name="connsiteY2" fmla="*/ 261799 h 288821"/>
                  <a:gd name="connsiteX3" fmla="*/ 254448 w 281228"/>
                  <a:gd name="connsiteY3" fmla="*/ 9856 h 288821"/>
                  <a:gd name="connsiteX4" fmla="*/ 271372 w 281228"/>
                  <a:gd name="connsiteY4" fmla="*/ 576 h 288821"/>
                  <a:gd name="connsiteX5" fmla="*/ 280652 w 281228"/>
                  <a:gd name="connsiteY5" fmla="*/ 17499 h 288821"/>
                  <a:gd name="connsiteX6" fmla="*/ 16427 w 281228"/>
                  <a:gd name="connsiteY6" fmla="*/ 288549 h 288821"/>
                  <a:gd name="connsiteX7" fmla="*/ 13697 w 281228"/>
                  <a:gd name="connsiteY7" fmla="*/ 288822 h 288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228" h="288821">
                    <a:moveTo>
                      <a:pt x="13697" y="288822"/>
                    </a:moveTo>
                    <a:cubicBezTo>
                      <a:pt x="7419" y="288822"/>
                      <a:pt x="1687" y="284454"/>
                      <a:pt x="322" y="278040"/>
                    </a:cubicBezTo>
                    <a:cubicBezTo>
                      <a:pt x="-1316" y="270670"/>
                      <a:pt x="3461" y="263437"/>
                      <a:pt x="10831" y="261799"/>
                    </a:cubicBezTo>
                    <a:cubicBezTo>
                      <a:pt x="18337" y="260161"/>
                      <a:pt x="193987" y="220172"/>
                      <a:pt x="254448" y="9856"/>
                    </a:cubicBezTo>
                    <a:cubicBezTo>
                      <a:pt x="256495" y="2623"/>
                      <a:pt x="264138" y="-1608"/>
                      <a:pt x="271372" y="576"/>
                    </a:cubicBezTo>
                    <a:cubicBezTo>
                      <a:pt x="278605" y="2623"/>
                      <a:pt x="282836" y="10266"/>
                      <a:pt x="280652" y="17499"/>
                    </a:cubicBezTo>
                    <a:cubicBezTo>
                      <a:pt x="215415" y="244056"/>
                      <a:pt x="24479" y="286911"/>
                      <a:pt x="16427" y="288549"/>
                    </a:cubicBezTo>
                    <a:cubicBezTo>
                      <a:pt x="15608" y="288685"/>
                      <a:pt x="14652" y="288822"/>
                      <a:pt x="13697" y="28882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739F9357-262D-4A0D-876E-819BA7340D22}"/>
                  </a:ext>
                </a:extLst>
              </p:cNvPr>
              <p:cNvSpPr/>
              <p:nvPr/>
            </p:nvSpPr>
            <p:spPr>
              <a:xfrm>
                <a:off x="8961147" y="2494910"/>
                <a:ext cx="77530" cy="2518358"/>
              </a:xfrm>
              <a:custGeom>
                <a:avLst/>
                <a:gdLst>
                  <a:gd name="connsiteX0" fmla="*/ 66873 w 77530"/>
                  <a:gd name="connsiteY0" fmla="*/ 2518359 h 2518358"/>
                  <a:gd name="connsiteX1" fmla="*/ 56091 w 77530"/>
                  <a:gd name="connsiteY1" fmla="*/ 2508123 h 2518358"/>
                  <a:gd name="connsiteX2" fmla="*/ 29614 w 77530"/>
                  <a:gd name="connsiteY2" fmla="*/ 9989 h 2518358"/>
                  <a:gd name="connsiteX3" fmla="*/ 41079 w 77530"/>
                  <a:gd name="connsiteY3" fmla="*/ 26 h 2518358"/>
                  <a:gd name="connsiteX4" fmla="*/ 51042 w 77530"/>
                  <a:gd name="connsiteY4" fmla="*/ 11490 h 2518358"/>
                  <a:gd name="connsiteX5" fmla="*/ 77519 w 77530"/>
                  <a:gd name="connsiteY5" fmla="*/ 2507031 h 2518358"/>
                  <a:gd name="connsiteX6" fmla="*/ 67419 w 77530"/>
                  <a:gd name="connsiteY6" fmla="*/ 2518359 h 2518358"/>
                  <a:gd name="connsiteX7" fmla="*/ 66873 w 77530"/>
                  <a:gd name="connsiteY7" fmla="*/ 2518359 h 2518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7530" h="2518358">
                    <a:moveTo>
                      <a:pt x="66873" y="2518359"/>
                    </a:moveTo>
                    <a:cubicBezTo>
                      <a:pt x="61141" y="2518359"/>
                      <a:pt x="56501" y="2513855"/>
                      <a:pt x="56091" y="2508123"/>
                    </a:cubicBezTo>
                    <a:cubicBezTo>
                      <a:pt x="9006" y="1659079"/>
                      <a:pt x="-28526" y="829143"/>
                      <a:pt x="29614" y="9989"/>
                    </a:cubicBezTo>
                    <a:cubicBezTo>
                      <a:pt x="30024" y="4120"/>
                      <a:pt x="35210" y="-384"/>
                      <a:pt x="41079" y="26"/>
                    </a:cubicBezTo>
                    <a:cubicBezTo>
                      <a:pt x="46947" y="435"/>
                      <a:pt x="51451" y="5621"/>
                      <a:pt x="51042" y="11490"/>
                    </a:cubicBezTo>
                    <a:cubicBezTo>
                      <a:pt x="-6962" y="829416"/>
                      <a:pt x="30433" y="1658670"/>
                      <a:pt x="77519" y="2507031"/>
                    </a:cubicBezTo>
                    <a:cubicBezTo>
                      <a:pt x="77792" y="2512899"/>
                      <a:pt x="73288" y="2518086"/>
                      <a:pt x="67419" y="2518359"/>
                    </a:cubicBezTo>
                    <a:cubicBezTo>
                      <a:pt x="67283" y="2518359"/>
                      <a:pt x="67010" y="2518359"/>
                      <a:pt x="66873" y="2518359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D5B4D49E-0AD9-46DE-BEAF-D7972E77FB42}"/>
                  </a:ext>
                </a:extLst>
              </p:cNvPr>
              <p:cNvSpPr/>
              <p:nvPr/>
            </p:nvSpPr>
            <p:spPr>
              <a:xfrm>
                <a:off x="9540568" y="2357636"/>
                <a:ext cx="747243" cy="3096462"/>
              </a:xfrm>
              <a:custGeom>
                <a:avLst/>
                <a:gdLst>
                  <a:gd name="connsiteX0" fmla="*/ 627062 w 747243"/>
                  <a:gd name="connsiteY0" fmla="*/ 617437 h 3096462"/>
                  <a:gd name="connsiteX1" fmla="*/ 9079 w 747243"/>
                  <a:gd name="connsiteY1" fmla="*/ 682 h 3096462"/>
                  <a:gd name="connsiteX2" fmla="*/ 4166 w 747243"/>
                  <a:gd name="connsiteY2" fmla="*/ 0 h 3096462"/>
                  <a:gd name="connsiteX3" fmla="*/ 4576 w 747243"/>
                  <a:gd name="connsiteY3" fmla="*/ 218095 h 3096462"/>
                  <a:gd name="connsiteX4" fmla="*/ 30234 w 747243"/>
                  <a:gd name="connsiteY4" fmla="*/ 564209 h 3096462"/>
                  <a:gd name="connsiteX5" fmla="*/ 58076 w 747243"/>
                  <a:gd name="connsiteY5" fmla="*/ 2008989 h 3096462"/>
                  <a:gd name="connsiteX6" fmla="*/ 118400 w 747243"/>
                  <a:gd name="connsiteY6" fmla="*/ 3096463 h 3096462"/>
                  <a:gd name="connsiteX7" fmla="*/ 661319 w 747243"/>
                  <a:gd name="connsiteY7" fmla="*/ 2765226 h 3096462"/>
                  <a:gd name="connsiteX8" fmla="*/ 627062 w 747243"/>
                  <a:gd name="connsiteY8" fmla="*/ 617437 h 3096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7243" h="3096462">
                    <a:moveTo>
                      <a:pt x="627062" y="617437"/>
                    </a:moveTo>
                    <a:cubicBezTo>
                      <a:pt x="641119" y="179335"/>
                      <a:pt x="430257" y="63736"/>
                      <a:pt x="9079" y="682"/>
                    </a:cubicBezTo>
                    <a:cubicBezTo>
                      <a:pt x="7442" y="409"/>
                      <a:pt x="5804" y="273"/>
                      <a:pt x="4166" y="0"/>
                    </a:cubicBezTo>
                    <a:cubicBezTo>
                      <a:pt x="-2658" y="72335"/>
                      <a:pt x="-65" y="145897"/>
                      <a:pt x="4576" y="218095"/>
                    </a:cubicBezTo>
                    <a:cubicBezTo>
                      <a:pt x="12082" y="333558"/>
                      <a:pt x="25594" y="448474"/>
                      <a:pt x="30234" y="564209"/>
                    </a:cubicBezTo>
                    <a:cubicBezTo>
                      <a:pt x="49614" y="1047076"/>
                      <a:pt x="96973" y="1375175"/>
                      <a:pt x="58076" y="2008989"/>
                    </a:cubicBezTo>
                    <a:cubicBezTo>
                      <a:pt x="28869" y="2485441"/>
                      <a:pt x="105025" y="2735473"/>
                      <a:pt x="118400" y="3096463"/>
                    </a:cubicBezTo>
                    <a:cubicBezTo>
                      <a:pt x="357377" y="3060023"/>
                      <a:pt x="545583" y="2962713"/>
                      <a:pt x="661319" y="2765226"/>
                    </a:cubicBezTo>
                    <a:cubicBezTo>
                      <a:pt x="878868" y="2394818"/>
                      <a:pt x="613004" y="1055402"/>
                      <a:pt x="627062" y="617437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41DCFB0-B40C-4C71-B2CB-1A8897F8D134}"/>
                  </a:ext>
                </a:extLst>
              </p:cNvPr>
              <p:cNvSpPr/>
              <p:nvPr/>
            </p:nvSpPr>
            <p:spPr>
              <a:xfrm>
                <a:off x="9785129" y="3349466"/>
                <a:ext cx="346942" cy="492119"/>
              </a:xfrm>
              <a:custGeom>
                <a:avLst/>
                <a:gdLst>
                  <a:gd name="connsiteX0" fmla="*/ 333095 w 346942"/>
                  <a:gd name="connsiteY0" fmla="*/ 492120 h 492119"/>
                  <a:gd name="connsiteX1" fmla="*/ 330092 w 346942"/>
                  <a:gd name="connsiteY1" fmla="*/ 491710 h 492119"/>
                  <a:gd name="connsiteX2" fmla="*/ 83 w 346942"/>
                  <a:gd name="connsiteY2" fmla="*/ 15258 h 492119"/>
                  <a:gd name="connsiteX3" fmla="*/ 12093 w 346942"/>
                  <a:gd name="connsiteY3" fmla="*/ 109 h 492119"/>
                  <a:gd name="connsiteX4" fmla="*/ 27243 w 346942"/>
                  <a:gd name="connsiteY4" fmla="*/ 12119 h 492119"/>
                  <a:gd name="connsiteX5" fmla="*/ 336370 w 346942"/>
                  <a:gd name="connsiteY5" fmla="*/ 465097 h 492119"/>
                  <a:gd name="connsiteX6" fmla="*/ 346606 w 346942"/>
                  <a:gd name="connsiteY6" fmla="*/ 481474 h 492119"/>
                  <a:gd name="connsiteX7" fmla="*/ 333095 w 346942"/>
                  <a:gd name="connsiteY7" fmla="*/ 492120 h 492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6942" h="492119">
                    <a:moveTo>
                      <a:pt x="333095" y="492120"/>
                    </a:moveTo>
                    <a:cubicBezTo>
                      <a:pt x="332139" y="492120"/>
                      <a:pt x="331048" y="491983"/>
                      <a:pt x="330092" y="491710"/>
                    </a:cubicBezTo>
                    <a:cubicBezTo>
                      <a:pt x="327226" y="491028"/>
                      <a:pt x="47305" y="422378"/>
                      <a:pt x="83" y="15258"/>
                    </a:cubicBezTo>
                    <a:cubicBezTo>
                      <a:pt x="-736" y="7751"/>
                      <a:pt x="4587" y="1064"/>
                      <a:pt x="12093" y="109"/>
                    </a:cubicBezTo>
                    <a:cubicBezTo>
                      <a:pt x="19600" y="-847"/>
                      <a:pt x="26424" y="4612"/>
                      <a:pt x="27243" y="12119"/>
                    </a:cubicBezTo>
                    <a:cubicBezTo>
                      <a:pt x="72417" y="400268"/>
                      <a:pt x="333641" y="464551"/>
                      <a:pt x="336370" y="465097"/>
                    </a:cubicBezTo>
                    <a:cubicBezTo>
                      <a:pt x="343740" y="466734"/>
                      <a:pt x="348244" y="474104"/>
                      <a:pt x="346606" y="481474"/>
                    </a:cubicBezTo>
                    <a:cubicBezTo>
                      <a:pt x="344968" y="487889"/>
                      <a:pt x="339373" y="492120"/>
                      <a:pt x="333095" y="492120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2E7AE01-AAC2-411D-9653-87F095C35DD8}"/>
                  </a:ext>
                </a:extLst>
              </p:cNvPr>
              <p:cNvSpPr/>
              <p:nvPr/>
            </p:nvSpPr>
            <p:spPr>
              <a:xfrm>
                <a:off x="9596686" y="2468820"/>
                <a:ext cx="108047" cy="2466517"/>
              </a:xfrm>
              <a:custGeom>
                <a:avLst/>
                <a:gdLst>
                  <a:gd name="connsiteX0" fmla="*/ 94492 w 108047"/>
                  <a:gd name="connsiteY0" fmla="*/ 2466518 h 2466517"/>
                  <a:gd name="connsiteX1" fmla="*/ 83846 w 108047"/>
                  <a:gd name="connsiteY1" fmla="*/ 2457510 h 2466517"/>
                  <a:gd name="connsiteX2" fmla="*/ 79069 w 108047"/>
                  <a:gd name="connsiteY2" fmla="*/ 1705095 h 2466517"/>
                  <a:gd name="connsiteX3" fmla="*/ 83710 w 108047"/>
                  <a:gd name="connsiteY3" fmla="*/ 1110450 h 2466517"/>
                  <a:gd name="connsiteX4" fmla="*/ 47 w 108047"/>
                  <a:gd name="connsiteY4" fmla="*/ 11785 h 2466517"/>
                  <a:gd name="connsiteX5" fmla="*/ 9737 w 108047"/>
                  <a:gd name="connsiteY5" fmla="*/ 47 h 2466517"/>
                  <a:gd name="connsiteX6" fmla="*/ 21475 w 108047"/>
                  <a:gd name="connsiteY6" fmla="*/ 9737 h 2466517"/>
                  <a:gd name="connsiteX7" fmla="*/ 105274 w 108047"/>
                  <a:gd name="connsiteY7" fmla="*/ 1109495 h 2466517"/>
                  <a:gd name="connsiteX8" fmla="*/ 100633 w 108047"/>
                  <a:gd name="connsiteY8" fmla="*/ 1705640 h 2466517"/>
                  <a:gd name="connsiteX9" fmla="*/ 105137 w 108047"/>
                  <a:gd name="connsiteY9" fmla="*/ 2454098 h 2466517"/>
                  <a:gd name="connsiteX10" fmla="*/ 96266 w 108047"/>
                  <a:gd name="connsiteY10" fmla="*/ 2466518 h 2466517"/>
                  <a:gd name="connsiteX11" fmla="*/ 94492 w 108047"/>
                  <a:gd name="connsiteY11" fmla="*/ 2466518 h 2466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047" h="2466517">
                    <a:moveTo>
                      <a:pt x="94492" y="2466518"/>
                    </a:moveTo>
                    <a:cubicBezTo>
                      <a:pt x="89305" y="2466518"/>
                      <a:pt x="84801" y="2462833"/>
                      <a:pt x="83846" y="2457510"/>
                    </a:cubicBezTo>
                    <a:cubicBezTo>
                      <a:pt x="64056" y="2337680"/>
                      <a:pt x="71700" y="2015997"/>
                      <a:pt x="79069" y="1705095"/>
                    </a:cubicBezTo>
                    <a:cubicBezTo>
                      <a:pt x="84665" y="1468574"/>
                      <a:pt x="89851" y="1245020"/>
                      <a:pt x="83710" y="1110450"/>
                    </a:cubicBezTo>
                    <a:cubicBezTo>
                      <a:pt x="62965" y="654743"/>
                      <a:pt x="593" y="18199"/>
                      <a:pt x="47" y="11785"/>
                    </a:cubicBezTo>
                    <a:cubicBezTo>
                      <a:pt x="-499" y="5916"/>
                      <a:pt x="3732" y="593"/>
                      <a:pt x="9737" y="47"/>
                    </a:cubicBezTo>
                    <a:cubicBezTo>
                      <a:pt x="15606" y="-499"/>
                      <a:pt x="20929" y="3732"/>
                      <a:pt x="21475" y="9737"/>
                    </a:cubicBezTo>
                    <a:cubicBezTo>
                      <a:pt x="22157" y="16152"/>
                      <a:pt x="84392" y="653105"/>
                      <a:pt x="105274" y="1109495"/>
                    </a:cubicBezTo>
                    <a:cubicBezTo>
                      <a:pt x="111415" y="1244883"/>
                      <a:pt x="106229" y="1468711"/>
                      <a:pt x="100633" y="1705640"/>
                    </a:cubicBezTo>
                    <a:cubicBezTo>
                      <a:pt x="93263" y="2015587"/>
                      <a:pt x="85757" y="2336179"/>
                      <a:pt x="105137" y="2454098"/>
                    </a:cubicBezTo>
                    <a:cubicBezTo>
                      <a:pt x="106092" y="2459967"/>
                      <a:pt x="102135" y="2465562"/>
                      <a:pt x="96266" y="2466518"/>
                    </a:cubicBezTo>
                    <a:cubicBezTo>
                      <a:pt x="95720" y="2466518"/>
                      <a:pt x="95174" y="2466518"/>
                      <a:pt x="94492" y="24665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565C1414-FED9-4F49-976D-6A38538CF574}"/>
                </a:ext>
              </a:extLst>
            </p:cNvPr>
            <p:cNvGrpSpPr/>
            <p:nvPr/>
          </p:nvGrpSpPr>
          <p:grpSpPr>
            <a:xfrm flipH="1">
              <a:off x="8460123" y="961410"/>
              <a:ext cx="1372410" cy="2852606"/>
              <a:chOff x="8601558" y="961410"/>
              <a:chExt cx="1372410" cy="2852606"/>
            </a:xfrm>
            <a:solidFill>
              <a:schemeClr val="accent1"/>
            </a:solidFill>
          </p:grpSpPr>
          <p:grpSp>
            <p:nvGrpSpPr>
              <p:cNvPr id="63" name="组合 62">
                <a:extLst>
                  <a:ext uri="{FF2B5EF4-FFF2-40B4-BE49-F238E27FC236}">
                    <a16:creationId xmlns:a16="http://schemas.microsoft.com/office/drawing/2014/main" id="{6305DE79-A3D1-42D0-8084-601355E365DE}"/>
                  </a:ext>
                </a:extLst>
              </p:cNvPr>
              <p:cNvGrpSpPr/>
              <p:nvPr/>
            </p:nvGrpSpPr>
            <p:grpSpPr>
              <a:xfrm>
                <a:off x="8795760" y="961410"/>
                <a:ext cx="745749" cy="564528"/>
                <a:chOff x="8795760" y="961410"/>
                <a:chExt cx="745749" cy="564528"/>
              </a:xfrm>
              <a:solidFill>
                <a:schemeClr val="accent1"/>
              </a:solidFill>
            </p:grpSpPr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75A6638D-C0A3-4F16-96BD-B7C78D172355}"/>
                    </a:ext>
                  </a:extLst>
                </p:cNvPr>
                <p:cNvSpPr/>
                <p:nvPr/>
              </p:nvSpPr>
              <p:spPr>
                <a:xfrm>
                  <a:off x="8823532" y="1014008"/>
                  <a:ext cx="506465" cy="485098"/>
                </a:xfrm>
                <a:custGeom>
                  <a:avLst/>
                  <a:gdLst>
                    <a:gd name="connsiteX0" fmla="*/ 484955 w 506465"/>
                    <a:gd name="connsiteY0" fmla="*/ 339544 h 485098"/>
                    <a:gd name="connsiteX1" fmla="*/ 277915 w 506465"/>
                    <a:gd name="connsiteY1" fmla="*/ 414744 h 485098"/>
                    <a:gd name="connsiteX2" fmla="*/ 134337 w 506465"/>
                    <a:gd name="connsiteY2" fmla="*/ 482711 h 485098"/>
                    <a:gd name="connsiteX3" fmla="*/ 29794 w 506465"/>
                    <a:gd name="connsiteY3" fmla="*/ 399458 h 485098"/>
                    <a:gd name="connsiteX4" fmla="*/ 390920 w 506465"/>
                    <a:gd name="connsiteY4" fmla="*/ 4758 h 485098"/>
                    <a:gd name="connsiteX5" fmla="*/ 506383 w 506465"/>
                    <a:gd name="connsiteY5" fmla="*/ 183820 h 485098"/>
                    <a:gd name="connsiteX6" fmla="*/ 484955 w 506465"/>
                    <a:gd name="connsiteY6" fmla="*/ 339544 h 48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06465" h="485098">
                      <a:moveTo>
                        <a:pt x="484955" y="339544"/>
                      </a:moveTo>
                      <a:lnTo>
                        <a:pt x="277915" y="414744"/>
                      </a:lnTo>
                      <a:cubicBezTo>
                        <a:pt x="277915" y="414744"/>
                        <a:pt x="215816" y="500317"/>
                        <a:pt x="134337" y="482711"/>
                      </a:cubicBezTo>
                      <a:cubicBezTo>
                        <a:pt x="101719" y="475614"/>
                        <a:pt x="65961" y="451867"/>
                        <a:pt x="29794" y="399458"/>
                      </a:cubicBezTo>
                      <a:cubicBezTo>
                        <a:pt x="-96451" y="216166"/>
                        <a:pt x="208037" y="-37961"/>
                        <a:pt x="390920" y="4758"/>
                      </a:cubicBezTo>
                      <a:cubicBezTo>
                        <a:pt x="480724" y="25639"/>
                        <a:pt x="505018" y="106708"/>
                        <a:pt x="506383" y="183820"/>
                      </a:cubicBezTo>
                      <a:cubicBezTo>
                        <a:pt x="508020" y="263797"/>
                        <a:pt x="484955" y="339544"/>
                        <a:pt x="484955" y="339544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>
                    <a:solidFill>
                      <a:srgbClr val="0A2E70"/>
                    </a:solidFill>
                  </a:endParaRPr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BF99F150-78D7-460F-8F6F-8D7495483AB9}"/>
                    </a:ext>
                  </a:extLst>
                </p:cNvPr>
                <p:cNvSpPr/>
                <p:nvPr/>
              </p:nvSpPr>
              <p:spPr>
                <a:xfrm>
                  <a:off x="8957869" y="1197691"/>
                  <a:ext cx="372251" cy="301414"/>
                </a:xfrm>
                <a:custGeom>
                  <a:avLst/>
                  <a:gdLst>
                    <a:gd name="connsiteX0" fmla="*/ 350618 w 372251"/>
                    <a:gd name="connsiteY0" fmla="*/ 155860 h 301414"/>
                    <a:gd name="connsiteX1" fmla="*/ 143577 w 372251"/>
                    <a:gd name="connsiteY1" fmla="*/ 231061 h 301414"/>
                    <a:gd name="connsiteX2" fmla="*/ 0 w 372251"/>
                    <a:gd name="connsiteY2" fmla="*/ 299028 h 301414"/>
                    <a:gd name="connsiteX3" fmla="*/ 372182 w 372251"/>
                    <a:gd name="connsiteY3" fmla="*/ 0 h 301414"/>
                    <a:gd name="connsiteX4" fmla="*/ 350618 w 372251"/>
                    <a:gd name="connsiteY4" fmla="*/ 155860 h 3014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72251" h="301414">
                      <a:moveTo>
                        <a:pt x="350618" y="155860"/>
                      </a:moveTo>
                      <a:lnTo>
                        <a:pt x="143577" y="231061"/>
                      </a:lnTo>
                      <a:cubicBezTo>
                        <a:pt x="143577" y="231061"/>
                        <a:pt x="81479" y="316634"/>
                        <a:pt x="0" y="299028"/>
                      </a:cubicBezTo>
                      <a:cubicBezTo>
                        <a:pt x="0" y="204038"/>
                        <a:pt x="133205" y="30435"/>
                        <a:pt x="372182" y="0"/>
                      </a:cubicBezTo>
                      <a:cubicBezTo>
                        <a:pt x="373683" y="80114"/>
                        <a:pt x="350618" y="155860"/>
                        <a:pt x="350618" y="155860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760EE27A-2730-437E-872D-99667A1EA8D8}"/>
                    </a:ext>
                  </a:extLst>
                </p:cNvPr>
                <p:cNvSpPr/>
                <p:nvPr/>
              </p:nvSpPr>
              <p:spPr>
                <a:xfrm>
                  <a:off x="9240324" y="961410"/>
                  <a:ext cx="128473" cy="283776"/>
                </a:xfrm>
                <a:custGeom>
                  <a:avLst/>
                  <a:gdLst>
                    <a:gd name="connsiteX0" fmla="*/ 82493 w 128473"/>
                    <a:gd name="connsiteY0" fmla="*/ 283776 h 283776"/>
                    <a:gd name="connsiteX1" fmla="*/ 71165 w 128473"/>
                    <a:gd name="connsiteY1" fmla="*/ 277089 h 283776"/>
                    <a:gd name="connsiteX2" fmla="*/ 7020 w 128473"/>
                    <a:gd name="connsiteY2" fmla="*/ 32789 h 283776"/>
                    <a:gd name="connsiteX3" fmla="*/ 47418 w 128473"/>
                    <a:gd name="connsiteY3" fmla="*/ 1808 h 283776"/>
                    <a:gd name="connsiteX4" fmla="*/ 107469 w 128473"/>
                    <a:gd name="connsiteY4" fmla="*/ 18322 h 283776"/>
                    <a:gd name="connsiteX5" fmla="*/ 94913 w 128473"/>
                    <a:gd name="connsiteY5" fmla="*/ 274905 h 283776"/>
                    <a:gd name="connsiteX6" fmla="*/ 83858 w 128473"/>
                    <a:gd name="connsiteY6" fmla="*/ 283776 h 283776"/>
                    <a:gd name="connsiteX7" fmla="*/ 82493 w 128473"/>
                    <a:gd name="connsiteY7" fmla="*/ 283776 h 283776"/>
                    <a:gd name="connsiteX8" fmla="*/ 64614 w 128473"/>
                    <a:gd name="connsiteY8" fmla="*/ 25828 h 283776"/>
                    <a:gd name="connsiteX9" fmla="*/ 52467 w 128473"/>
                    <a:gd name="connsiteY9" fmla="*/ 27193 h 283776"/>
                    <a:gd name="connsiteX10" fmla="*/ 30631 w 128473"/>
                    <a:gd name="connsiteY10" fmla="*/ 43571 h 283776"/>
                    <a:gd name="connsiteX11" fmla="*/ 79354 w 128473"/>
                    <a:gd name="connsiteY11" fmla="*/ 236417 h 283776"/>
                    <a:gd name="connsiteX12" fmla="*/ 88089 w 128473"/>
                    <a:gd name="connsiteY12" fmla="*/ 35382 h 283776"/>
                    <a:gd name="connsiteX13" fmla="*/ 64614 w 128473"/>
                    <a:gd name="connsiteY13" fmla="*/ 25828 h 283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28473" h="283776">
                      <a:moveTo>
                        <a:pt x="82493" y="283776"/>
                      </a:moveTo>
                      <a:cubicBezTo>
                        <a:pt x="77853" y="283776"/>
                        <a:pt x="73485" y="281319"/>
                        <a:pt x="71165" y="277089"/>
                      </a:cubicBezTo>
                      <a:cubicBezTo>
                        <a:pt x="61202" y="259346"/>
                        <a:pt x="-24780" y="101439"/>
                        <a:pt x="7020" y="32789"/>
                      </a:cubicBezTo>
                      <a:cubicBezTo>
                        <a:pt x="14662" y="16275"/>
                        <a:pt x="28583" y="5493"/>
                        <a:pt x="47418" y="1808"/>
                      </a:cubicBezTo>
                      <a:cubicBezTo>
                        <a:pt x="79354" y="-4607"/>
                        <a:pt x="97779" y="7267"/>
                        <a:pt x="107469" y="18322"/>
                      </a:cubicBezTo>
                      <a:cubicBezTo>
                        <a:pt x="158376" y="75917"/>
                        <a:pt x="101600" y="254706"/>
                        <a:pt x="94913" y="274905"/>
                      </a:cubicBezTo>
                      <a:cubicBezTo>
                        <a:pt x="93275" y="279818"/>
                        <a:pt x="88908" y="283230"/>
                        <a:pt x="83858" y="283776"/>
                      </a:cubicBezTo>
                      <a:cubicBezTo>
                        <a:pt x="83312" y="283640"/>
                        <a:pt x="82902" y="283776"/>
                        <a:pt x="82493" y="283776"/>
                      </a:cubicBezTo>
                      <a:close/>
                      <a:moveTo>
                        <a:pt x="64614" y="25828"/>
                      </a:moveTo>
                      <a:cubicBezTo>
                        <a:pt x="60929" y="25828"/>
                        <a:pt x="56835" y="26238"/>
                        <a:pt x="52467" y="27193"/>
                      </a:cubicBezTo>
                      <a:cubicBezTo>
                        <a:pt x="41685" y="29377"/>
                        <a:pt x="34725" y="34563"/>
                        <a:pt x="30631" y="43571"/>
                      </a:cubicBezTo>
                      <a:cubicBezTo>
                        <a:pt x="12069" y="83833"/>
                        <a:pt x="51239" y="179778"/>
                        <a:pt x="79354" y="236417"/>
                      </a:cubicBezTo>
                      <a:cubicBezTo>
                        <a:pt x="96687" y="173500"/>
                        <a:pt x="117432" y="68547"/>
                        <a:pt x="88089" y="35382"/>
                      </a:cubicBezTo>
                      <a:cubicBezTo>
                        <a:pt x="82357" y="28968"/>
                        <a:pt x="74714" y="25828"/>
                        <a:pt x="64614" y="25828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19E2D96C-D63B-45B2-A7B3-107B9E5B8F26}"/>
                    </a:ext>
                  </a:extLst>
                </p:cNvPr>
                <p:cNvSpPr/>
                <p:nvPr/>
              </p:nvSpPr>
              <p:spPr>
                <a:xfrm>
                  <a:off x="9313329" y="1025395"/>
                  <a:ext cx="228180" cy="220610"/>
                </a:xfrm>
                <a:custGeom>
                  <a:avLst/>
                  <a:gdLst>
                    <a:gd name="connsiteX0" fmla="*/ 13037 w 228180"/>
                    <a:gd name="connsiteY0" fmla="*/ 220611 h 220610"/>
                    <a:gd name="connsiteX1" fmla="*/ 3620 w 228180"/>
                    <a:gd name="connsiteY1" fmla="*/ 216653 h 220610"/>
                    <a:gd name="connsiteX2" fmla="*/ 1026 w 228180"/>
                    <a:gd name="connsiteY2" fmla="*/ 202732 h 220610"/>
                    <a:gd name="connsiteX3" fmla="*/ 159480 w 228180"/>
                    <a:gd name="connsiteY3" fmla="*/ 468 h 220610"/>
                    <a:gd name="connsiteX4" fmla="*/ 215710 w 228180"/>
                    <a:gd name="connsiteY4" fmla="*/ 27355 h 220610"/>
                    <a:gd name="connsiteX5" fmla="*/ 225946 w 228180"/>
                    <a:gd name="connsiteY5" fmla="*/ 77170 h 220610"/>
                    <a:gd name="connsiteX6" fmla="*/ 17540 w 228180"/>
                    <a:gd name="connsiteY6" fmla="*/ 220065 h 220610"/>
                    <a:gd name="connsiteX7" fmla="*/ 13037 w 228180"/>
                    <a:gd name="connsiteY7" fmla="*/ 220611 h 220610"/>
                    <a:gd name="connsiteX8" fmla="*/ 166713 w 228180"/>
                    <a:gd name="connsiteY8" fmla="*/ 25717 h 220610"/>
                    <a:gd name="connsiteX9" fmla="*/ 163028 w 228180"/>
                    <a:gd name="connsiteY9" fmla="*/ 25990 h 220610"/>
                    <a:gd name="connsiteX10" fmla="*/ 38149 w 228180"/>
                    <a:gd name="connsiteY10" fmla="*/ 183761 h 220610"/>
                    <a:gd name="connsiteX11" fmla="*/ 201106 w 228180"/>
                    <a:gd name="connsiteY11" fmla="*/ 69800 h 220610"/>
                    <a:gd name="connsiteX12" fmla="*/ 195238 w 228180"/>
                    <a:gd name="connsiteY12" fmla="*/ 43050 h 220610"/>
                    <a:gd name="connsiteX13" fmla="*/ 166713 w 228180"/>
                    <a:gd name="connsiteY13" fmla="*/ 25717 h 220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28180" h="220610">
                      <a:moveTo>
                        <a:pt x="13037" y="220611"/>
                      </a:moveTo>
                      <a:cubicBezTo>
                        <a:pt x="9488" y="220611"/>
                        <a:pt x="6076" y="219246"/>
                        <a:pt x="3620" y="216653"/>
                      </a:cubicBezTo>
                      <a:cubicBezTo>
                        <a:pt x="71" y="212968"/>
                        <a:pt x="-1021" y="207508"/>
                        <a:pt x="1026" y="202732"/>
                      </a:cubicBezTo>
                      <a:cubicBezTo>
                        <a:pt x="9215" y="183078"/>
                        <a:pt x="83187" y="10567"/>
                        <a:pt x="159480" y="468"/>
                      </a:cubicBezTo>
                      <a:cubicBezTo>
                        <a:pt x="174083" y="-1443"/>
                        <a:pt x="195647" y="1560"/>
                        <a:pt x="215710" y="27355"/>
                      </a:cubicBezTo>
                      <a:cubicBezTo>
                        <a:pt x="227447" y="42504"/>
                        <a:pt x="230995" y="59700"/>
                        <a:pt x="225946" y="77170"/>
                      </a:cubicBezTo>
                      <a:cubicBezTo>
                        <a:pt x="204928" y="149914"/>
                        <a:pt x="36648" y="213104"/>
                        <a:pt x="17540" y="220065"/>
                      </a:cubicBezTo>
                      <a:cubicBezTo>
                        <a:pt x="16039" y="220338"/>
                        <a:pt x="14538" y="220611"/>
                        <a:pt x="13037" y="220611"/>
                      </a:cubicBezTo>
                      <a:close/>
                      <a:moveTo>
                        <a:pt x="166713" y="25717"/>
                      </a:moveTo>
                      <a:cubicBezTo>
                        <a:pt x="165485" y="25717"/>
                        <a:pt x="164257" y="25853"/>
                        <a:pt x="163028" y="25990"/>
                      </a:cubicBezTo>
                      <a:cubicBezTo>
                        <a:pt x="119218" y="31858"/>
                        <a:pt x="66127" y="124938"/>
                        <a:pt x="38149" y="183761"/>
                      </a:cubicBezTo>
                      <a:cubicBezTo>
                        <a:pt x="96426" y="159194"/>
                        <a:pt x="188823" y="112382"/>
                        <a:pt x="201106" y="69800"/>
                      </a:cubicBezTo>
                      <a:cubicBezTo>
                        <a:pt x="203836" y="60246"/>
                        <a:pt x="202062" y="51785"/>
                        <a:pt x="195238" y="43050"/>
                      </a:cubicBezTo>
                      <a:cubicBezTo>
                        <a:pt x="186230" y="31449"/>
                        <a:pt x="176813" y="25717"/>
                        <a:pt x="166713" y="25717"/>
                      </a:cubicBezTo>
                      <a:close/>
                    </a:path>
                  </a:pathLst>
                </a:custGeom>
                <a:solidFill>
                  <a:srgbClr val="FDC22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7510F84B-0CFF-43C4-B06D-149CAEDFDBE4}"/>
                    </a:ext>
                  </a:extLst>
                </p:cNvPr>
                <p:cNvSpPr/>
                <p:nvPr/>
              </p:nvSpPr>
              <p:spPr>
                <a:xfrm>
                  <a:off x="8795760" y="1133674"/>
                  <a:ext cx="248140" cy="392264"/>
                </a:xfrm>
                <a:custGeom>
                  <a:avLst/>
                  <a:gdLst>
                    <a:gd name="connsiteX0" fmla="*/ 146414 w 248140"/>
                    <a:gd name="connsiteY0" fmla="*/ 390069 h 392264"/>
                    <a:gd name="connsiteX1" fmla="*/ 18396 w 248140"/>
                    <a:gd name="connsiteY1" fmla="*/ 292622 h 392264"/>
                    <a:gd name="connsiteX2" fmla="*/ 125123 w 248140"/>
                    <a:gd name="connsiteY2" fmla="*/ 1509 h 392264"/>
                    <a:gd name="connsiteX3" fmla="*/ 136588 w 248140"/>
                    <a:gd name="connsiteY3" fmla="*/ 3420 h 392264"/>
                    <a:gd name="connsiteX4" fmla="*/ 134677 w 248140"/>
                    <a:gd name="connsiteY4" fmla="*/ 14885 h 392264"/>
                    <a:gd name="connsiteX5" fmla="*/ 33136 w 248140"/>
                    <a:gd name="connsiteY5" fmla="*/ 285525 h 392264"/>
                    <a:gd name="connsiteX6" fmla="*/ 237174 w 248140"/>
                    <a:gd name="connsiteY6" fmla="*/ 367140 h 392264"/>
                    <a:gd name="connsiteX7" fmla="*/ 247683 w 248140"/>
                    <a:gd name="connsiteY7" fmla="*/ 372190 h 392264"/>
                    <a:gd name="connsiteX8" fmla="*/ 242633 w 248140"/>
                    <a:gd name="connsiteY8" fmla="*/ 382699 h 392264"/>
                    <a:gd name="connsiteX9" fmla="*/ 146414 w 248140"/>
                    <a:gd name="connsiteY9" fmla="*/ 390069 h 392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48140" h="392264">
                      <a:moveTo>
                        <a:pt x="146414" y="390069"/>
                      </a:moveTo>
                      <a:cubicBezTo>
                        <a:pt x="101239" y="383381"/>
                        <a:pt x="50332" y="359224"/>
                        <a:pt x="18396" y="292622"/>
                      </a:cubicBezTo>
                      <a:cubicBezTo>
                        <a:pt x="-56941" y="135397"/>
                        <a:pt x="123349" y="2874"/>
                        <a:pt x="125123" y="1509"/>
                      </a:cubicBezTo>
                      <a:cubicBezTo>
                        <a:pt x="128808" y="-1084"/>
                        <a:pt x="133995" y="-265"/>
                        <a:pt x="136588" y="3420"/>
                      </a:cubicBezTo>
                      <a:cubicBezTo>
                        <a:pt x="139317" y="7105"/>
                        <a:pt x="138362" y="12291"/>
                        <a:pt x="134677" y="14885"/>
                      </a:cubicBezTo>
                      <a:cubicBezTo>
                        <a:pt x="132903" y="16113"/>
                        <a:pt x="-36333" y="140856"/>
                        <a:pt x="33136" y="285525"/>
                      </a:cubicBezTo>
                      <a:cubicBezTo>
                        <a:pt x="95098" y="414635"/>
                        <a:pt x="231441" y="369187"/>
                        <a:pt x="237174" y="367140"/>
                      </a:cubicBezTo>
                      <a:cubicBezTo>
                        <a:pt x="241541" y="365639"/>
                        <a:pt x="246181" y="367959"/>
                        <a:pt x="247683" y="372190"/>
                      </a:cubicBezTo>
                      <a:cubicBezTo>
                        <a:pt x="249184" y="376421"/>
                        <a:pt x="246864" y="381197"/>
                        <a:pt x="242633" y="382699"/>
                      </a:cubicBezTo>
                      <a:cubicBezTo>
                        <a:pt x="241950" y="382972"/>
                        <a:pt x="197867" y="397712"/>
                        <a:pt x="146414" y="390069"/>
                      </a:cubicBezTo>
                      <a:close/>
                    </a:path>
                  </a:pathLst>
                </a:custGeom>
                <a:solidFill>
                  <a:srgbClr val="0A2E7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8080107F-1094-4BDF-AB4E-3A6AC68DCA20}"/>
                  </a:ext>
                </a:extLst>
              </p:cNvPr>
              <p:cNvSpPr/>
              <p:nvPr/>
            </p:nvSpPr>
            <p:spPr>
              <a:xfrm>
                <a:off x="9366456" y="1232903"/>
                <a:ext cx="607512" cy="1237198"/>
              </a:xfrm>
              <a:custGeom>
                <a:avLst/>
                <a:gdLst>
                  <a:gd name="connsiteX0" fmla="*/ 175548 w 607512"/>
                  <a:gd name="connsiteY0" fmla="*/ 310220 h 1237198"/>
                  <a:gd name="connsiteX1" fmla="*/ 144158 w 607512"/>
                  <a:gd name="connsiteY1" fmla="*/ 869106 h 1237198"/>
                  <a:gd name="connsiteX2" fmla="*/ 80285 w 607512"/>
                  <a:gd name="connsiteY2" fmla="*/ 1216721 h 1237198"/>
                  <a:gd name="connsiteX3" fmla="*/ 547866 w 607512"/>
                  <a:gd name="connsiteY3" fmla="*/ 1222590 h 1237198"/>
                  <a:gd name="connsiteX4" fmla="*/ 455606 w 607512"/>
                  <a:gd name="connsiteY4" fmla="*/ 329736 h 1237198"/>
                  <a:gd name="connsiteX5" fmla="*/ 18733 w 607512"/>
                  <a:gd name="connsiteY5" fmla="*/ 0 h 1237198"/>
                  <a:gd name="connsiteX6" fmla="*/ 175548 w 607512"/>
                  <a:gd name="connsiteY6" fmla="*/ 310220 h 123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7512" h="1237198">
                    <a:moveTo>
                      <a:pt x="175548" y="310220"/>
                    </a:moveTo>
                    <a:cubicBezTo>
                      <a:pt x="175548" y="310220"/>
                      <a:pt x="256345" y="649509"/>
                      <a:pt x="144158" y="869106"/>
                    </a:cubicBezTo>
                    <a:cubicBezTo>
                      <a:pt x="31971" y="1088703"/>
                      <a:pt x="-80762" y="1148481"/>
                      <a:pt x="80285" y="1216721"/>
                    </a:cubicBezTo>
                    <a:cubicBezTo>
                      <a:pt x="241468" y="1284961"/>
                      <a:pt x="424761" y="1155032"/>
                      <a:pt x="547866" y="1222590"/>
                    </a:cubicBezTo>
                    <a:cubicBezTo>
                      <a:pt x="696357" y="1304205"/>
                      <a:pt x="529851" y="619484"/>
                      <a:pt x="455606" y="329736"/>
                    </a:cubicBezTo>
                    <a:cubicBezTo>
                      <a:pt x="379586" y="33301"/>
                      <a:pt x="18733" y="0"/>
                      <a:pt x="18733" y="0"/>
                    </a:cubicBezTo>
                    <a:lnTo>
                      <a:pt x="175548" y="310220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531BEED-0DD5-4F04-9589-F2E5E8C541BD}"/>
                  </a:ext>
                </a:extLst>
              </p:cNvPr>
              <p:cNvSpPr/>
              <p:nvPr/>
            </p:nvSpPr>
            <p:spPr>
              <a:xfrm>
                <a:off x="8987629" y="1228179"/>
                <a:ext cx="806563" cy="558696"/>
              </a:xfrm>
              <a:custGeom>
                <a:avLst/>
                <a:gdLst>
                  <a:gd name="connsiteX0" fmla="*/ 768103 w 806563"/>
                  <a:gd name="connsiteY0" fmla="*/ 558697 h 558696"/>
                  <a:gd name="connsiteX1" fmla="*/ 641722 w 806563"/>
                  <a:gd name="connsiteY1" fmla="*/ 72418 h 558696"/>
                  <a:gd name="connsiteX2" fmla="*/ 24695 w 806563"/>
                  <a:gd name="connsiteY2" fmla="*/ 213539 h 558696"/>
                  <a:gd name="connsiteX3" fmla="*/ 63456 w 806563"/>
                  <a:gd name="connsiteY3" fmla="*/ 510656 h 558696"/>
                  <a:gd name="connsiteX4" fmla="*/ 768103 w 806563"/>
                  <a:gd name="connsiteY4" fmla="*/ 558697 h 558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06563" h="558696">
                    <a:moveTo>
                      <a:pt x="768103" y="558697"/>
                    </a:moveTo>
                    <a:cubicBezTo>
                      <a:pt x="768103" y="558697"/>
                      <a:pt x="912499" y="228005"/>
                      <a:pt x="641722" y="72418"/>
                    </a:cubicBezTo>
                    <a:cubicBezTo>
                      <a:pt x="370945" y="-83169"/>
                      <a:pt x="97576" y="34340"/>
                      <a:pt x="24695" y="213539"/>
                    </a:cubicBezTo>
                    <a:cubicBezTo>
                      <a:pt x="-48185" y="392737"/>
                      <a:pt x="63456" y="510656"/>
                      <a:pt x="63456" y="510656"/>
                    </a:cubicBezTo>
                    <a:lnTo>
                      <a:pt x="768103" y="558697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6" name="组合 65">
                <a:extLst>
                  <a:ext uri="{FF2B5EF4-FFF2-40B4-BE49-F238E27FC236}">
                    <a16:creationId xmlns:a16="http://schemas.microsoft.com/office/drawing/2014/main" id="{9CAC8587-DF9B-4AB4-AAAD-85E60A7C555E}"/>
                  </a:ext>
                </a:extLst>
              </p:cNvPr>
              <p:cNvGrpSpPr/>
              <p:nvPr/>
            </p:nvGrpSpPr>
            <p:grpSpPr>
              <a:xfrm>
                <a:off x="9098444" y="2132035"/>
                <a:ext cx="353893" cy="359906"/>
                <a:chOff x="9098444" y="2132035"/>
                <a:chExt cx="353893" cy="359906"/>
              </a:xfrm>
              <a:solidFill>
                <a:schemeClr val="accent1"/>
              </a:solidFill>
            </p:grpSpPr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AF088328-F2BB-4934-9FA9-BB4024B41F43}"/>
                    </a:ext>
                  </a:extLst>
                </p:cNvPr>
                <p:cNvSpPr/>
                <p:nvPr/>
              </p:nvSpPr>
              <p:spPr>
                <a:xfrm>
                  <a:off x="9098444" y="2132035"/>
                  <a:ext cx="353893" cy="359906"/>
                </a:xfrm>
                <a:custGeom>
                  <a:avLst/>
                  <a:gdLst>
                    <a:gd name="connsiteX0" fmla="*/ 193120 w 353893"/>
                    <a:gd name="connsiteY0" fmla="*/ 353074 h 359906"/>
                    <a:gd name="connsiteX1" fmla="*/ 326461 w 353893"/>
                    <a:gd name="connsiteY1" fmla="*/ 314314 h 359906"/>
                    <a:gd name="connsiteX2" fmla="*/ 342565 w 353893"/>
                    <a:gd name="connsiteY2" fmla="*/ 174149 h 359906"/>
                    <a:gd name="connsiteX3" fmla="*/ 351983 w 353893"/>
                    <a:gd name="connsiteY3" fmla="*/ 92397 h 359906"/>
                    <a:gd name="connsiteX4" fmla="*/ 353893 w 353893"/>
                    <a:gd name="connsiteY4" fmla="*/ 80387 h 359906"/>
                    <a:gd name="connsiteX5" fmla="*/ 317999 w 353893"/>
                    <a:gd name="connsiteY5" fmla="*/ 76429 h 359906"/>
                    <a:gd name="connsiteX6" fmla="*/ 52954 w 353893"/>
                    <a:gd name="connsiteY6" fmla="*/ 0 h 359906"/>
                    <a:gd name="connsiteX7" fmla="*/ 17060 w 353893"/>
                    <a:gd name="connsiteY7" fmla="*/ 168280 h 359906"/>
                    <a:gd name="connsiteX8" fmla="*/ 0 w 353893"/>
                    <a:gd name="connsiteY8" fmla="*/ 248121 h 359906"/>
                    <a:gd name="connsiteX9" fmla="*/ 193120 w 353893"/>
                    <a:gd name="connsiteY9" fmla="*/ 353074 h 359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53893" h="359906">
                      <a:moveTo>
                        <a:pt x="193120" y="353074"/>
                      </a:moveTo>
                      <a:cubicBezTo>
                        <a:pt x="271186" y="374775"/>
                        <a:pt x="302577" y="340109"/>
                        <a:pt x="326461" y="314314"/>
                      </a:cubicBezTo>
                      <a:lnTo>
                        <a:pt x="342565" y="174149"/>
                      </a:lnTo>
                      <a:lnTo>
                        <a:pt x="351983" y="92397"/>
                      </a:lnTo>
                      <a:lnTo>
                        <a:pt x="353893" y="80387"/>
                      </a:lnTo>
                      <a:lnTo>
                        <a:pt x="317999" y="76429"/>
                      </a:lnTo>
                      <a:lnTo>
                        <a:pt x="52954" y="0"/>
                      </a:lnTo>
                      <a:lnTo>
                        <a:pt x="17060" y="168280"/>
                      </a:lnTo>
                      <a:lnTo>
                        <a:pt x="0" y="248121"/>
                      </a:lnTo>
                      <a:cubicBezTo>
                        <a:pt x="34257" y="280467"/>
                        <a:pt x="79568" y="321547"/>
                        <a:pt x="193120" y="353074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38BF71FD-2355-4FAE-AA6C-883042DF046E}"/>
                    </a:ext>
                  </a:extLst>
                </p:cNvPr>
                <p:cNvSpPr/>
                <p:nvPr/>
              </p:nvSpPr>
              <p:spPr>
                <a:xfrm>
                  <a:off x="9114821" y="2132035"/>
                  <a:ext cx="337515" cy="195729"/>
                </a:xfrm>
                <a:custGeom>
                  <a:avLst/>
                  <a:gdLst>
                    <a:gd name="connsiteX0" fmla="*/ 326324 w 337515"/>
                    <a:gd name="connsiteY0" fmla="*/ 174285 h 195729"/>
                    <a:gd name="connsiteX1" fmla="*/ 819 w 337515"/>
                    <a:gd name="connsiteY1" fmla="*/ 168417 h 195729"/>
                    <a:gd name="connsiteX2" fmla="*/ 0 w 337515"/>
                    <a:gd name="connsiteY2" fmla="*/ 168144 h 195729"/>
                    <a:gd name="connsiteX3" fmla="*/ 36577 w 337515"/>
                    <a:gd name="connsiteY3" fmla="*/ 0 h 195729"/>
                    <a:gd name="connsiteX4" fmla="*/ 301621 w 337515"/>
                    <a:gd name="connsiteY4" fmla="*/ 76429 h 195729"/>
                    <a:gd name="connsiteX5" fmla="*/ 337516 w 337515"/>
                    <a:gd name="connsiteY5" fmla="*/ 80387 h 195729"/>
                    <a:gd name="connsiteX6" fmla="*/ 335605 w 337515"/>
                    <a:gd name="connsiteY6" fmla="*/ 92397 h 195729"/>
                    <a:gd name="connsiteX7" fmla="*/ 326324 w 337515"/>
                    <a:gd name="connsiteY7" fmla="*/ 174285 h 195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37515" h="195729">
                      <a:moveTo>
                        <a:pt x="326324" y="174285"/>
                      </a:moveTo>
                      <a:cubicBezTo>
                        <a:pt x="244163" y="211271"/>
                        <a:pt x="82161" y="194484"/>
                        <a:pt x="819" y="168417"/>
                      </a:cubicBezTo>
                      <a:cubicBezTo>
                        <a:pt x="546" y="168417"/>
                        <a:pt x="273" y="168280"/>
                        <a:pt x="0" y="168144"/>
                      </a:cubicBezTo>
                      <a:lnTo>
                        <a:pt x="36577" y="0"/>
                      </a:lnTo>
                      <a:lnTo>
                        <a:pt x="301621" y="76429"/>
                      </a:lnTo>
                      <a:lnTo>
                        <a:pt x="337516" y="80387"/>
                      </a:lnTo>
                      <a:lnTo>
                        <a:pt x="335605" y="92397"/>
                      </a:lnTo>
                      <a:lnTo>
                        <a:pt x="326324" y="174285"/>
                      </a:lnTo>
                      <a:close/>
                    </a:path>
                  </a:pathLst>
                </a:custGeom>
                <a:solidFill>
                  <a:srgbClr val="181818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67" name="组合 66">
                <a:extLst>
                  <a:ext uri="{FF2B5EF4-FFF2-40B4-BE49-F238E27FC236}">
                    <a16:creationId xmlns:a16="http://schemas.microsoft.com/office/drawing/2014/main" id="{3831FD3B-AD6E-4CE2-BC21-8718789BEBFB}"/>
                  </a:ext>
                </a:extLst>
              </p:cNvPr>
              <p:cNvGrpSpPr/>
              <p:nvPr/>
            </p:nvGrpSpPr>
            <p:grpSpPr>
              <a:xfrm>
                <a:off x="9543410" y="1781729"/>
                <a:ext cx="244717" cy="384248"/>
                <a:chOff x="9543410" y="1781729"/>
                <a:chExt cx="244717" cy="384248"/>
              </a:xfrm>
              <a:solidFill>
                <a:schemeClr val="accent1"/>
              </a:solidFill>
            </p:grpSpPr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BE42BB4D-3E92-43B5-AB5F-1C3BD52C0CC3}"/>
                    </a:ext>
                  </a:extLst>
                </p:cNvPr>
                <p:cNvSpPr/>
                <p:nvPr/>
              </p:nvSpPr>
              <p:spPr>
                <a:xfrm>
                  <a:off x="9603284" y="1781729"/>
                  <a:ext cx="184843" cy="213542"/>
                </a:xfrm>
                <a:custGeom>
                  <a:avLst/>
                  <a:gdLst>
                    <a:gd name="connsiteX0" fmla="*/ 54319 w 184843"/>
                    <a:gd name="connsiteY0" fmla="*/ 7195 h 213542"/>
                    <a:gd name="connsiteX1" fmla="*/ 180836 w 184843"/>
                    <a:gd name="connsiteY1" fmla="*/ 100547 h 213542"/>
                    <a:gd name="connsiteX2" fmla="*/ 0 w 184843"/>
                    <a:gd name="connsiteY2" fmla="*/ 200314 h 213542"/>
                    <a:gd name="connsiteX3" fmla="*/ 54319 w 184843"/>
                    <a:gd name="connsiteY3" fmla="*/ 7195 h 213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4843" h="213542">
                      <a:moveTo>
                        <a:pt x="54319" y="7195"/>
                      </a:moveTo>
                      <a:cubicBezTo>
                        <a:pt x="54319" y="7195"/>
                        <a:pt x="211681" y="-38526"/>
                        <a:pt x="180836" y="100547"/>
                      </a:cubicBezTo>
                      <a:cubicBezTo>
                        <a:pt x="146853" y="253678"/>
                        <a:pt x="21564" y="210141"/>
                        <a:pt x="0" y="200314"/>
                      </a:cubicBezTo>
                      <a:lnTo>
                        <a:pt x="54319" y="7195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D0164D06-CCA5-4D6D-82FC-96F7A403FEF5}"/>
                    </a:ext>
                  </a:extLst>
                </p:cNvPr>
                <p:cNvSpPr/>
                <p:nvPr/>
              </p:nvSpPr>
              <p:spPr>
                <a:xfrm>
                  <a:off x="9543410" y="1960343"/>
                  <a:ext cx="213624" cy="205635"/>
                </a:xfrm>
                <a:custGeom>
                  <a:avLst/>
                  <a:gdLst>
                    <a:gd name="connsiteX0" fmla="*/ 1188 w 213624"/>
                    <a:gd name="connsiteY0" fmla="*/ 82980 h 205635"/>
                    <a:gd name="connsiteX1" fmla="*/ 90992 w 213624"/>
                    <a:gd name="connsiteY1" fmla="*/ 204447 h 205635"/>
                    <a:gd name="connsiteX2" fmla="*/ 212459 w 213624"/>
                    <a:gd name="connsiteY2" fmla="*/ 114643 h 205635"/>
                    <a:gd name="connsiteX3" fmla="*/ 146948 w 213624"/>
                    <a:gd name="connsiteY3" fmla="*/ 0 h 205635"/>
                    <a:gd name="connsiteX4" fmla="*/ 146676 w 213624"/>
                    <a:gd name="connsiteY4" fmla="*/ 410 h 205635"/>
                    <a:gd name="connsiteX5" fmla="*/ 136985 w 213624"/>
                    <a:gd name="connsiteY5" fmla="*/ 14467 h 205635"/>
                    <a:gd name="connsiteX6" fmla="*/ 195536 w 213624"/>
                    <a:gd name="connsiteY6" fmla="*/ 112187 h 205635"/>
                    <a:gd name="connsiteX7" fmla="*/ 93585 w 213624"/>
                    <a:gd name="connsiteY7" fmla="*/ 187660 h 205635"/>
                    <a:gd name="connsiteX8" fmla="*/ 18111 w 213624"/>
                    <a:gd name="connsiteY8" fmla="*/ 85710 h 205635"/>
                    <a:gd name="connsiteX9" fmla="*/ 48273 w 213624"/>
                    <a:gd name="connsiteY9" fmla="*/ 31118 h 205635"/>
                    <a:gd name="connsiteX10" fmla="*/ 61375 w 213624"/>
                    <a:gd name="connsiteY10" fmla="*/ 21837 h 205635"/>
                    <a:gd name="connsiteX11" fmla="*/ 49911 w 213624"/>
                    <a:gd name="connsiteY11" fmla="*/ 8871 h 205635"/>
                    <a:gd name="connsiteX12" fmla="*/ 37628 w 213624"/>
                    <a:gd name="connsiteY12" fmla="*/ 17879 h 205635"/>
                    <a:gd name="connsiteX13" fmla="*/ 1188 w 213624"/>
                    <a:gd name="connsiteY13" fmla="*/ 82980 h 205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3624" h="205635">
                      <a:moveTo>
                        <a:pt x="1188" y="82980"/>
                      </a:moveTo>
                      <a:cubicBezTo>
                        <a:pt x="-7547" y="141257"/>
                        <a:pt x="32851" y="195713"/>
                        <a:pt x="90992" y="204447"/>
                      </a:cubicBezTo>
                      <a:cubicBezTo>
                        <a:pt x="149269" y="213182"/>
                        <a:pt x="203724" y="172784"/>
                        <a:pt x="212459" y="114643"/>
                      </a:cubicBezTo>
                      <a:cubicBezTo>
                        <a:pt x="219829" y="64965"/>
                        <a:pt x="191578" y="18152"/>
                        <a:pt x="146948" y="0"/>
                      </a:cubicBezTo>
                      <a:cubicBezTo>
                        <a:pt x="146812" y="137"/>
                        <a:pt x="146812" y="273"/>
                        <a:pt x="146676" y="410"/>
                      </a:cubicBezTo>
                      <a:cubicBezTo>
                        <a:pt x="139169" y="2320"/>
                        <a:pt x="137531" y="8189"/>
                        <a:pt x="136985" y="14467"/>
                      </a:cubicBezTo>
                      <a:cubicBezTo>
                        <a:pt x="176565" y="28524"/>
                        <a:pt x="201950" y="69195"/>
                        <a:pt x="195536" y="112187"/>
                      </a:cubicBezTo>
                      <a:cubicBezTo>
                        <a:pt x="188166" y="161047"/>
                        <a:pt x="142445" y="195030"/>
                        <a:pt x="93585" y="187660"/>
                      </a:cubicBezTo>
                      <a:cubicBezTo>
                        <a:pt x="44725" y="180290"/>
                        <a:pt x="10741" y="134569"/>
                        <a:pt x="18111" y="85710"/>
                      </a:cubicBezTo>
                      <a:cubicBezTo>
                        <a:pt x="21387" y="63600"/>
                        <a:pt x="32578" y="44629"/>
                        <a:pt x="48273" y="31118"/>
                      </a:cubicBezTo>
                      <a:cubicBezTo>
                        <a:pt x="52368" y="27706"/>
                        <a:pt x="56735" y="24430"/>
                        <a:pt x="61375" y="21837"/>
                      </a:cubicBezTo>
                      <a:cubicBezTo>
                        <a:pt x="57281" y="18152"/>
                        <a:pt x="53323" y="13785"/>
                        <a:pt x="49911" y="8871"/>
                      </a:cubicBezTo>
                      <a:cubicBezTo>
                        <a:pt x="45680" y="11464"/>
                        <a:pt x="41586" y="14467"/>
                        <a:pt x="37628" y="17879"/>
                      </a:cubicBezTo>
                      <a:cubicBezTo>
                        <a:pt x="18521" y="33574"/>
                        <a:pt x="5146" y="56366"/>
                        <a:pt x="1188" y="8298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B6309A09-D461-4A0B-9379-E6D84022309A}"/>
                    </a:ext>
                  </a:extLst>
                </p:cNvPr>
                <p:cNvSpPr/>
                <p:nvPr/>
              </p:nvSpPr>
              <p:spPr>
                <a:xfrm>
                  <a:off x="9667827" y="1833472"/>
                  <a:ext cx="81708" cy="103195"/>
                </a:xfrm>
                <a:custGeom>
                  <a:avLst/>
                  <a:gdLst>
                    <a:gd name="connsiteX0" fmla="*/ 7382 w 81708"/>
                    <a:gd name="connsiteY0" fmla="*/ 103123 h 103195"/>
                    <a:gd name="connsiteX1" fmla="*/ 6427 w 81708"/>
                    <a:gd name="connsiteY1" fmla="*/ 102987 h 103195"/>
                    <a:gd name="connsiteX2" fmla="*/ 285 w 81708"/>
                    <a:gd name="connsiteY2" fmla="*/ 92614 h 103195"/>
                    <a:gd name="connsiteX3" fmla="*/ 69617 w 81708"/>
                    <a:gd name="connsiteY3" fmla="*/ 763 h 103195"/>
                    <a:gd name="connsiteX4" fmla="*/ 80945 w 81708"/>
                    <a:gd name="connsiteY4" fmla="*/ 4994 h 103195"/>
                    <a:gd name="connsiteX5" fmla="*/ 76714 w 81708"/>
                    <a:gd name="connsiteY5" fmla="*/ 16322 h 103195"/>
                    <a:gd name="connsiteX6" fmla="*/ 16799 w 81708"/>
                    <a:gd name="connsiteY6" fmla="*/ 96982 h 103195"/>
                    <a:gd name="connsiteX7" fmla="*/ 7382 w 81708"/>
                    <a:gd name="connsiteY7" fmla="*/ 103123 h 103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1708" h="103195">
                      <a:moveTo>
                        <a:pt x="7382" y="103123"/>
                      </a:moveTo>
                      <a:cubicBezTo>
                        <a:pt x="7109" y="103123"/>
                        <a:pt x="6836" y="102987"/>
                        <a:pt x="6427" y="102987"/>
                      </a:cubicBezTo>
                      <a:cubicBezTo>
                        <a:pt x="1923" y="101759"/>
                        <a:pt x="-943" y="97118"/>
                        <a:pt x="285" y="92614"/>
                      </a:cubicBezTo>
                      <a:cubicBezTo>
                        <a:pt x="17755" y="25057"/>
                        <a:pt x="67434" y="1719"/>
                        <a:pt x="69617" y="763"/>
                      </a:cubicBezTo>
                      <a:cubicBezTo>
                        <a:pt x="73848" y="-1147"/>
                        <a:pt x="79034" y="627"/>
                        <a:pt x="80945" y="4994"/>
                      </a:cubicBezTo>
                      <a:cubicBezTo>
                        <a:pt x="82856" y="9225"/>
                        <a:pt x="81082" y="14275"/>
                        <a:pt x="76714" y="16322"/>
                      </a:cubicBezTo>
                      <a:cubicBezTo>
                        <a:pt x="74803" y="17141"/>
                        <a:pt x="32222" y="37613"/>
                        <a:pt x="16799" y="96982"/>
                      </a:cubicBezTo>
                      <a:cubicBezTo>
                        <a:pt x="15844" y="101076"/>
                        <a:pt x="11750" y="103669"/>
                        <a:pt x="7382" y="103123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0F32DB7D-CFA8-49E3-8636-D545988FF801}"/>
                    </a:ext>
                  </a:extLst>
                </p:cNvPr>
                <p:cNvSpPr/>
                <p:nvPr/>
              </p:nvSpPr>
              <p:spPr>
                <a:xfrm>
                  <a:off x="9691314" y="1869993"/>
                  <a:ext cx="50120" cy="38297"/>
                </a:xfrm>
                <a:custGeom>
                  <a:avLst/>
                  <a:gdLst>
                    <a:gd name="connsiteX0" fmla="*/ 40262 w 50120"/>
                    <a:gd name="connsiteY0" fmla="*/ 38214 h 38297"/>
                    <a:gd name="connsiteX1" fmla="*/ 34256 w 50120"/>
                    <a:gd name="connsiteY1" fmla="*/ 34256 h 38297"/>
                    <a:gd name="connsiteX2" fmla="*/ 8462 w 50120"/>
                    <a:gd name="connsiteY2" fmla="*/ 17060 h 38297"/>
                    <a:gd name="connsiteX3" fmla="*/ 0 w 50120"/>
                    <a:gd name="connsiteY3" fmla="*/ 8462 h 38297"/>
                    <a:gd name="connsiteX4" fmla="*/ 8598 w 50120"/>
                    <a:gd name="connsiteY4" fmla="*/ 0 h 38297"/>
                    <a:gd name="connsiteX5" fmla="*/ 48860 w 50120"/>
                    <a:gd name="connsiteY5" fmla="*/ 25385 h 38297"/>
                    <a:gd name="connsiteX6" fmla="*/ 45994 w 50120"/>
                    <a:gd name="connsiteY6" fmla="*/ 37123 h 38297"/>
                    <a:gd name="connsiteX7" fmla="*/ 40262 w 50120"/>
                    <a:gd name="connsiteY7" fmla="*/ 38214 h 382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0120" h="38297">
                      <a:moveTo>
                        <a:pt x="40262" y="38214"/>
                      </a:moveTo>
                      <a:cubicBezTo>
                        <a:pt x="37805" y="37805"/>
                        <a:pt x="35621" y="36440"/>
                        <a:pt x="34256" y="34256"/>
                      </a:cubicBezTo>
                      <a:cubicBezTo>
                        <a:pt x="33984" y="33847"/>
                        <a:pt x="23475" y="17196"/>
                        <a:pt x="8462" y="17060"/>
                      </a:cubicBezTo>
                      <a:cubicBezTo>
                        <a:pt x="3821" y="17060"/>
                        <a:pt x="0" y="13102"/>
                        <a:pt x="0" y="8462"/>
                      </a:cubicBezTo>
                      <a:cubicBezTo>
                        <a:pt x="0" y="3685"/>
                        <a:pt x="3958" y="0"/>
                        <a:pt x="8598" y="0"/>
                      </a:cubicBezTo>
                      <a:cubicBezTo>
                        <a:pt x="33165" y="273"/>
                        <a:pt x="48177" y="24430"/>
                        <a:pt x="48860" y="25385"/>
                      </a:cubicBezTo>
                      <a:cubicBezTo>
                        <a:pt x="51316" y="29480"/>
                        <a:pt x="50088" y="34666"/>
                        <a:pt x="45994" y="37123"/>
                      </a:cubicBezTo>
                      <a:cubicBezTo>
                        <a:pt x="44220" y="38078"/>
                        <a:pt x="42172" y="38487"/>
                        <a:pt x="40262" y="38214"/>
                      </a:cubicBezTo>
                      <a:close/>
                    </a:path>
                  </a:pathLst>
                </a:custGeom>
                <a:solidFill>
                  <a:srgbClr val="FA7764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6EAD6B60-6234-4CA5-B4A1-9185443A5BF0}"/>
                  </a:ext>
                </a:extLst>
              </p:cNvPr>
              <p:cNvSpPr/>
              <p:nvPr/>
            </p:nvSpPr>
            <p:spPr>
              <a:xfrm>
                <a:off x="9047717" y="1410092"/>
                <a:ext cx="705369" cy="854835"/>
              </a:xfrm>
              <a:custGeom>
                <a:avLst/>
                <a:gdLst>
                  <a:gd name="connsiteX0" fmla="*/ 696278 w 705369"/>
                  <a:gd name="connsiteY0" fmla="*/ 359861 h 854835"/>
                  <a:gd name="connsiteX1" fmla="*/ 652605 w 705369"/>
                  <a:gd name="connsiteY1" fmla="*/ 519270 h 854835"/>
                  <a:gd name="connsiteX2" fmla="*/ 625036 w 705369"/>
                  <a:gd name="connsiteY2" fmla="*/ 585463 h 854835"/>
                  <a:gd name="connsiteX3" fmla="*/ 376369 w 705369"/>
                  <a:gd name="connsiteY3" fmla="*/ 852691 h 854835"/>
                  <a:gd name="connsiteX4" fmla="*/ 36942 w 705369"/>
                  <a:gd name="connsiteY4" fmla="*/ 641420 h 854835"/>
                  <a:gd name="connsiteX5" fmla="*/ 7736 w 705369"/>
                  <a:gd name="connsiteY5" fmla="*/ 543836 h 854835"/>
                  <a:gd name="connsiteX6" fmla="*/ 5552 w 705369"/>
                  <a:gd name="connsiteY6" fmla="*/ 527595 h 854835"/>
                  <a:gd name="connsiteX7" fmla="*/ 28344 w 705369"/>
                  <a:gd name="connsiteY7" fmla="*/ 113241 h 854835"/>
                  <a:gd name="connsiteX8" fmla="*/ 482687 w 705369"/>
                  <a:gd name="connsiteY8" fmla="*/ 21254 h 854835"/>
                  <a:gd name="connsiteX9" fmla="*/ 696278 w 705369"/>
                  <a:gd name="connsiteY9" fmla="*/ 359861 h 85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5369" h="854835">
                    <a:moveTo>
                      <a:pt x="696278" y="359861"/>
                    </a:moveTo>
                    <a:cubicBezTo>
                      <a:pt x="686452" y="415136"/>
                      <a:pt x="671439" y="468909"/>
                      <a:pt x="652605" y="519270"/>
                    </a:cubicBezTo>
                    <a:cubicBezTo>
                      <a:pt x="644143" y="542062"/>
                      <a:pt x="634862" y="564172"/>
                      <a:pt x="625036" y="585463"/>
                    </a:cubicBezTo>
                    <a:cubicBezTo>
                      <a:pt x="555704" y="735318"/>
                      <a:pt x="455937" y="843410"/>
                      <a:pt x="376369" y="852691"/>
                    </a:cubicBezTo>
                    <a:cubicBezTo>
                      <a:pt x="250261" y="867567"/>
                      <a:pt x="107093" y="805878"/>
                      <a:pt x="36942" y="641420"/>
                    </a:cubicBezTo>
                    <a:cubicBezTo>
                      <a:pt x="25478" y="614533"/>
                      <a:pt x="13468" y="582187"/>
                      <a:pt x="7736" y="543836"/>
                    </a:cubicBezTo>
                    <a:cubicBezTo>
                      <a:pt x="6917" y="538514"/>
                      <a:pt x="6234" y="533054"/>
                      <a:pt x="5552" y="527595"/>
                    </a:cubicBezTo>
                    <a:cubicBezTo>
                      <a:pt x="-15057" y="356722"/>
                      <a:pt x="28344" y="113241"/>
                      <a:pt x="28344" y="113241"/>
                    </a:cubicBezTo>
                    <a:cubicBezTo>
                      <a:pt x="131660" y="-40981"/>
                      <a:pt x="353849" y="99"/>
                      <a:pt x="482687" y="21254"/>
                    </a:cubicBezTo>
                    <a:cubicBezTo>
                      <a:pt x="611797" y="42545"/>
                      <a:pt x="741180" y="106690"/>
                      <a:pt x="696278" y="35986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6F62E72E-DD2C-4E8E-88F6-AEF3A913F6E8}"/>
                  </a:ext>
                </a:extLst>
              </p:cNvPr>
              <p:cNvSpPr/>
              <p:nvPr/>
            </p:nvSpPr>
            <p:spPr>
              <a:xfrm>
                <a:off x="9341788" y="2142135"/>
                <a:ext cx="105478" cy="33708"/>
              </a:xfrm>
              <a:custGeom>
                <a:avLst/>
                <a:gdLst>
                  <a:gd name="connsiteX0" fmla="*/ 47495 w 105478"/>
                  <a:gd name="connsiteY0" fmla="*/ 32345 h 33708"/>
                  <a:gd name="connsiteX1" fmla="*/ 3275 w 105478"/>
                  <a:gd name="connsiteY1" fmla="*/ 15285 h 33708"/>
                  <a:gd name="connsiteX2" fmla="*/ 1774 w 105478"/>
                  <a:gd name="connsiteY2" fmla="*/ 3275 h 33708"/>
                  <a:gd name="connsiteX3" fmla="*/ 13784 w 105478"/>
                  <a:gd name="connsiteY3" fmla="*/ 1774 h 33708"/>
                  <a:gd name="connsiteX4" fmla="*/ 52681 w 105478"/>
                  <a:gd name="connsiteY4" fmla="*/ 15695 h 33708"/>
                  <a:gd name="connsiteX5" fmla="*/ 94035 w 105478"/>
                  <a:gd name="connsiteY5" fmla="*/ 12965 h 33708"/>
                  <a:gd name="connsiteX6" fmla="*/ 104953 w 105478"/>
                  <a:gd name="connsiteY6" fmla="*/ 18152 h 33708"/>
                  <a:gd name="connsiteX7" fmla="*/ 99767 w 105478"/>
                  <a:gd name="connsiteY7" fmla="*/ 29070 h 33708"/>
                  <a:gd name="connsiteX8" fmla="*/ 50634 w 105478"/>
                  <a:gd name="connsiteY8" fmla="*/ 32755 h 33708"/>
                  <a:gd name="connsiteX9" fmla="*/ 47495 w 105478"/>
                  <a:gd name="connsiteY9" fmla="*/ 32345 h 33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478" h="33708">
                    <a:moveTo>
                      <a:pt x="47495" y="32345"/>
                    </a:moveTo>
                    <a:cubicBezTo>
                      <a:pt x="20062" y="28251"/>
                      <a:pt x="3958" y="15831"/>
                      <a:pt x="3275" y="15285"/>
                    </a:cubicBezTo>
                    <a:cubicBezTo>
                      <a:pt x="-410" y="12419"/>
                      <a:pt x="-1092" y="6960"/>
                      <a:pt x="1774" y="3275"/>
                    </a:cubicBezTo>
                    <a:cubicBezTo>
                      <a:pt x="4640" y="-410"/>
                      <a:pt x="9963" y="-1092"/>
                      <a:pt x="13784" y="1774"/>
                    </a:cubicBezTo>
                    <a:cubicBezTo>
                      <a:pt x="14057" y="2047"/>
                      <a:pt x="28524" y="12829"/>
                      <a:pt x="52681" y="15695"/>
                    </a:cubicBezTo>
                    <a:cubicBezTo>
                      <a:pt x="77248" y="18697"/>
                      <a:pt x="93762" y="12965"/>
                      <a:pt x="94035" y="12965"/>
                    </a:cubicBezTo>
                    <a:cubicBezTo>
                      <a:pt x="98538" y="11464"/>
                      <a:pt x="103315" y="13784"/>
                      <a:pt x="104953" y="18152"/>
                    </a:cubicBezTo>
                    <a:cubicBezTo>
                      <a:pt x="106591" y="22519"/>
                      <a:pt x="104271" y="27432"/>
                      <a:pt x="99767" y="29070"/>
                    </a:cubicBezTo>
                    <a:cubicBezTo>
                      <a:pt x="98948" y="29343"/>
                      <a:pt x="79568" y="36167"/>
                      <a:pt x="50634" y="32755"/>
                    </a:cubicBezTo>
                    <a:cubicBezTo>
                      <a:pt x="49542" y="32618"/>
                      <a:pt x="48450" y="32482"/>
                      <a:pt x="47495" y="32345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0" name="组合 69">
                <a:extLst>
                  <a:ext uri="{FF2B5EF4-FFF2-40B4-BE49-F238E27FC236}">
                    <a16:creationId xmlns:a16="http://schemas.microsoft.com/office/drawing/2014/main" id="{554A61EB-CF53-49D3-9FC3-FEAE02C38F35}"/>
                  </a:ext>
                </a:extLst>
              </p:cNvPr>
              <p:cNvGrpSpPr/>
              <p:nvPr/>
            </p:nvGrpSpPr>
            <p:grpSpPr>
              <a:xfrm>
                <a:off x="8748645" y="1933663"/>
                <a:ext cx="951923" cy="1880353"/>
                <a:chOff x="8748645" y="1933663"/>
                <a:chExt cx="951923" cy="1880353"/>
              </a:xfrm>
              <a:solidFill>
                <a:schemeClr val="accent1"/>
              </a:solidFill>
            </p:grpSpPr>
            <p:grpSp>
              <p:nvGrpSpPr>
                <p:cNvPr id="92" name="组合 91">
                  <a:extLst>
                    <a:ext uri="{FF2B5EF4-FFF2-40B4-BE49-F238E27FC236}">
                      <a16:creationId xmlns:a16="http://schemas.microsoft.com/office/drawing/2014/main" id="{29732210-C407-44BB-9D5C-CBEC3C1AD4BE}"/>
                    </a:ext>
                  </a:extLst>
                </p:cNvPr>
                <p:cNvGrpSpPr/>
                <p:nvPr/>
              </p:nvGrpSpPr>
              <p:grpSpPr>
                <a:xfrm>
                  <a:off x="8864819" y="3528566"/>
                  <a:ext cx="473587" cy="285450"/>
                  <a:chOff x="8864819" y="3528566"/>
                  <a:chExt cx="473587" cy="285450"/>
                </a:xfrm>
                <a:solidFill>
                  <a:srgbClr val="1C55D1"/>
                </a:solidFill>
              </p:grpSpPr>
              <p:sp>
                <p:nvSpPr>
                  <p:cNvPr id="108" name="任意多边形: 形状 107">
                    <a:extLst>
                      <a:ext uri="{FF2B5EF4-FFF2-40B4-BE49-F238E27FC236}">
                        <a16:creationId xmlns:a16="http://schemas.microsoft.com/office/drawing/2014/main" id="{827F7D7B-0E40-4DFA-A487-683AB9F8CF6D}"/>
                      </a:ext>
                    </a:extLst>
                  </p:cNvPr>
                  <p:cNvSpPr/>
                  <p:nvPr/>
                </p:nvSpPr>
                <p:spPr>
                  <a:xfrm>
                    <a:off x="8864819" y="3665010"/>
                    <a:ext cx="57510" cy="149006"/>
                  </a:xfrm>
                  <a:custGeom>
                    <a:avLst/>
                    <a:gdLst>
                      <a:gd name="connsiteX0" fmla="*/ 44463 w 57510"/>
                      <a:gd name="connsiteY0" fmla="*/ 149007 h 149006"/>
                      <a:gd name="connsiteX1" fmla="*/ 32180 w 57510"/>
                      <a:gd name="connsiteY1" fmla="*/ 139999 h 149006"/>
                      <a:gd name="connsiteX2" fmla="*/ 243 w 57510"/>
                      <a:gd name="connsiteY2" fmla="*/ 15529 h 149006"/>
                      <a:gd name="connsiteX3" fmla="*/ 10480 w 57510"/>
                      <a:gd name="connsiteY3" fmla="*/ 243 h 149006"/>
                      <a:gd name="connsiteX4" fmla="*/ 25765 w 57510"/>
                      <a:gd name="connsiteY4" fmla="*/ 10479 h 149006"/>
                      <a:gd name="connsiteX5" fmla="*/ 56883 w 57510"/>
                      <a:gd name="connsiteY5" fmla="*/ 131947 h 149006"/>
                      <a:gd name="connsiteX6" fmla="*/ 48557 w 57510"/>
                      <a:gd name="connsiteY6" fmla="*/ 148325 h 149006"/>
                      <a:gd name="connsiteX7" fmla="*/ 44463 w 57510"/>
                      <a:gd name="connsiteY7" fmla="*/ 149007 h 1490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7510" h="149006">
                        <a:moveTo>
                          <a:pt x="44463" y="149007"/>
                        </a:moveTo>
                        <a:cubicBezTo>
                          <a:pt x="39004" y="149007"/>
                          <a:pt x="33954" y="145458"/>
                          <a:pt x="32180" y="139999"/>
                        </a:cubicBezTo>
                        <a:cubicBezTo>
                          <a:pt x="13618" y="82814"/>
                          <a:pt x="789" y="18259"/>
                          <a:pt x="243" y="15529"/>
                        </a:cubicBezTo>
                        <a:cubicBezTo>
                          <a:pt x="-1121" y="8432"/>
                          <a:pt x="3382" y="1608"/>
                          <a:pt x="10480" y="243"/>
                        </a:cubicBezTo>
                        <a:cubicBezTo>
                          <a:pt x="17440" y="-1121"/>
                          <a:pt x="24400" y="3383"/>
                          <a:pt x="25765" y="10479"/>
                        </a:cubicBezTo>
                        <a:cubicBezTo>
                          <a:pt x="25902" y="11162"/>
                          <a:pt x="38867" y="76263"/>
                          <a:pt x="56883" y="131947"/>
                        </a:cubicBezTo>
                        <a:cubicBezTo>
                          <a:pt x="59066" y="138771"/>
                          <a:pt x="55381" y="146141"/>
                          <a:pt x="48557" y="148325"/>
                        </a:cubicBezTo>
                        <a:cubicBezTo>
                          <a:pt x="47193" y="148870"/>
                          <a:pt x="45828" y="149007"/>
                          <a:pt x="44463" y="14900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9" name="任意多边形: 形状 108">
                    <a:extLst>
                      <a:ext uri="{FF2B5EF4-FFF2-40B4-BE49-F238E27FC236}">
                        <a16:creationId xmlns:a16="http://schemas.microsoft.com/office/drawing/2014/main" id="{9FCBF334-AFBF-4D7C-849F-22CD90B82BB4}"/>
                      </a:ext>
                    </a:extLst>
                  </p:cNvPr>
                  <p:cNvSpPr/>
                  <p:nvPr/>
                </p:nvSpPr>
                <p:spPr>
                  <a:xfrm>
                    <a:off x="8932468" y="3642309"/>
                    <a:ext cx="59123" cy="148506"/>
                  </a:xfrm>
                  <a:custGeom>
                    <a:avLst/>
                    <a:gdLst>
                      <a:gd name="connsiteX0" fmla="*/ 46146 w 59123"/>
                      <a:gd name="connsiteY0" fmla="*/ 148506 h 148506"/>
                      <a:gd name="connsiteX1" fmla="*/ 33863 w 59123"/>
                      <a:gd name="connsiteY1" fmla="*/ 139635 h 148506"/>
                      <a:gd name="connsiteX2" fmla="*/ 289 w 59123"/>
                      <a:gd name="connsiteY2" fmla="*/ 15711 h 148506"/>
                      <a:gd name="connsiteX3" fmla="*/ 10252 w 59123"/>
                      <a:gd name="connsiteY3" fmla="*/ 289 h 148506"/>
                      <a:gd name="connsiteX4" fmla="*/ 25674 w 59123"/>
                      <a:gd name="connsiteY4" fmla="*/ 10252 h 148506"/>
                      <a:gd name="connsiteX5" fmla="*/ 58429 w 59123"/>
                      <a:gd name="connsiteY5" fmla="*/ 131173 h 148506"/>
                      <a:gd name="connsiteX6" fmla="*/ 50241 w 59123"/>
                      <a:gd name="connsiteY6" fmla="*/ 147687 h 148506"/>
                      <a:gd name="connsiteX7" fmla="*/ 46146 w 59123"/>
                      <a:gd name="connsiteY7" fmla="*/ 148506 h 1485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59123" h="148506">
                        <a:moveTo>
                          <a:pt x="46146" y="148506"/>
                        </a:moveTo>
                        <a:cubicBezTo>
                          <a:pt x="40687" y="148506"/>
                          <a:pt x="35637" y="145094"/>
                          <a:pt x="33863" y="139635"/>
                        </a:cubicBezTo>
                        <a:cubicBezTo>
                          <a:pt x="14483" y="82723"/>
                          <a:pt x="835" y="18441"/>
                          <a:pt x="289" y="15711"/>
                        </a:cubicBezTo>
                        <a:cubicBezTo>
                          <a:pt x="-1212" y="8751"/>
                          <a:pt x="3291" y="1790"/>
                          <a:pt x="10252" y="289"/>
                        </a:cubicBezTo>
                        <a:cubicBezTo>
                          <a:pt x="17212" y="-1212"/>
                          <a:pt x="24173" y="3291"/>
                          <a:pt x="25674" y="10252"/>
                        </a:cubicBezTo>
                        <a:cubicBezTo>
                          <a:pt x="25811" y="10934"/>
                          <a:pt x="39595" y="75762"/>
                          <a:pt x="58429" y="131173"/>
                        </a:cubicBezTo>
                        <a:cubicBezTo>
                          <a:pt x="60750" y="137997"/>
                          <a:pt x="57065" y="145367"/>
                          <a:pt x="50241" y="147687"/>
                        </a:cubicBezTo>
                        <a:cubicBezTo>
                          <a:pt x="49012" y="148233"/>
                          <a:pt x="47511" y="148506"/>
                          <a:pt x="46146" y="148506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0" name="任意多边形: 形状 109">
                    <a:extLst>
                      <a:ext uri="{FF2B5EF4-FFF2-40B4-BE49-F238E27FC236}">
                        <a16:creationId xmlns:a16="http://schemas.microsoft.com/office/drawing/2014/main" id="{47075D30-1FA4-4A66-BE8D-025BD4AE768C}"/>
                      </a:ext>
                    </a:extLst>
                  </p:cNvPr>
                  <p:cNvSpPr/>
                  <p:nvPr/>
                </p:nvSpPr>
                <p:spPr>
                  <a:xfrm>
                    <a:off x="9000114" y="3619647"/>
                    <a:ext cx="60757" cy="147830"/>
                  </a:xfrm>
                  <a:custGeom>
                    <a:avLst/>
                    <a:gdLst>
                      <a:gd name="connsiteX0" fmla="*/ 47832 w 60757"/>
                      <a:gd name="connsiteY0" fmla="*/ 147830 h 147830"/>
                      <a:gd name="connsiteX1" fmla="*/ 35549 w 60757"/>
                      <a:gd name="connsiteY1" fmla="*/ 139232 h 147830"/>
                      <a:gd name="connsiteX2" fmla="*/ 337 w 60757"/>
                      <a:gd name="connsiteY2" fmla="*/ 15854 h 147830"/>
                      <a:gd name="connsiteX3" fmla="*/ 10163 w 60757"/>
                      <a:gd name="connsiteY3" fmla="*/ 295 h 147830"/>
                      <a:gd name="connsiteX4" fmla="*/ 25722 w 60757"/>
                      <a:gd name="connsiteY4" fmla="*/ 10122 h 147830"/>
                      <a:gd name="connsiteX5" fmla="*/ 59979 w 60757"/>
                      <a:gd name="connsiteY5" fmla="*/ 130634 h 147830"/>
                      <a:gd name="connsiteX6" fmla="*/ 52063 w 60757"/>
                      <a:gd name="connsiteY6" fmla="*/ 147148 h 147830"/>
                      <a:gd name="connsiteX7" fmla="*/ 47832 w 60757"/>
                      <a:gd name="connsiteY7" fmla="*/ 147830 h 147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0757" h="147830">
                        <a:moveTo>
                          <a:pt x="47832" y="147830"/>
                        </a:moveTo>
                        <a:cubicBezTo>
                          <a:pt x="42509" y="147830"/>
                          <a:pt x="37460" y="144555"/>
                          <a:pt x="35549" y="139232"/>
                        </a:cubicBezTo>
                        <a:cubicBezTo>
                          <a:pt x="15486" y="82593"/>
                          <a:pt x="1019" y="18447"/>
                          <a:pt x="337" y="15854"/>
                        </a:cubicBezTo>
                        <a:cubicBezTo>
                          <a:pt x="-1301" y="8893"/>
                          <a:pt x="3203" y="1933"/>
                          <a:pt x="10163" y="295"/>
                        </a:cubicBezTo>
                        <a:cubicBezTo>
                          <a:pt x="17124" y="-1206"/>
                          <a:pt x="24084" y="3161"/>
                          <a:pt x="25722" y="10122"/>
                        </a:cubicBezTo>
                        <a:cubicBezTo>
                          <a:pt x="25859" y="10804"/>
                          <a:pt x="40462" y="75496"/>
                          <a:pt x="59979" y="130634"/>
                        </a:cubicBezTo>
                        <a:cubicBezTo>
                          <a:pt x="62435" y="137458"/>
                          <a:pt x="58887" y="144828"/>
                          <a:pt x="52063" y="147148"/>
                        </a:cubicBezTo>
                        <a:cubicBezTo>
                          <a:pt x="50835" y="147694"/>
                          <a:pt x="49333" y="147830"/>
                          <a:pt x="47832" y="14783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1" name="任意多边形: 形状 110">
                    <a:extLst>
                      <a:ext uri="{FF2B5EF4-FFF2-40B4-BE49-F238E27FC236}">
                        <a16:creationId xmlns:a16="http://schemas.microsoft.com/office/drawing/2014/main" id="{DF341670-32B8-44C4-AFC8-A90ECE54CE66}"/>
                      </a:ext>
                    </a:extLst>
                  </p:cNvPr>
                  <p:cNvSpPr/>
                  <p:nvPr/>
                </p:nvSpPr>
                <p:spPr>
                  <a:xfrm>
                    <a:off x="9067930" y="3596798"/>
                    <a:ext cx="62291" cy="147477"/>
                  </a:xfrm>
                  <a:custGeom>
                    <a:avLst/>
                    <a:gdLst>
                      <a:gd name="connsiteX0" fmla="*/ 49348 w 62291"/>
                      <a:gd name="connsiteY0" fmla="*/ 147478 h 147477"/>
                      <a:gd name="connsiteX1" fmla="*/ 37202 w 62291"/>
                      <a:gd name="connsiteY1" fmla="*/ 139016 h 147477"/>
                      <a:gd name="connsiteX2" fmla="*/ 352 w 62291"/>
                      <a:gd name="connsiteY2" fmla="*/ 16047 h 147477"/>
                      <a:gd name="connsiteX3" fmla="*/ 9905 w 62291"/>
                      <a:gd name="connsiteY3" fmla="*/ 352 h 147477"/>
                      <a:gd name="connsiteX4" fmla="*/ 25601 w 62291"/>
                      <a:gd name="connsiteY4" fmla="*/ 9905 h 147477"/>
                      <a:gd name="connsiteX5" fmla="*/ 61495 w 62291"/>
                      <a:gd name="connsiteY5" fmla="*/ 129871 h 147477"/>
                      <a:gd name="connsiteX6" fmla="*/ 53852 w 62291"/>
                      <a:gd name="connsiteY6" fmla="*/ 146522 h 147477"/>
                      <a:gd name="connsiteX7" fmla="*/ 49348 w 62291"/>
                      <a:gd name="connsiteY7" fmla="*/ 147478 h 1474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2291" h="147477">
                        <a:moveTo>
                          <a:pt x="49348" y="147478"/>
                        </a:moveTo>
                        <a:cubicBezTo>
                          <a:pt x="44026" y="147478"/>
                          <a:pt x="39112" y="144202"/>
                          <a:pt x="37202" y="139016"/>
                        </a:cubicBezTo>
                        <a:cubicBezTo>
                          <a:pt x="16456" y="82649"/>
                          <a:pt x="1034" y="18777"/>
                          <a:pt x="352" y="16047"/>
                        </a:cubicBezTo>
                        <a:cubicBezTo>
                          <a:pt x="-1286" y="9087"/>
                          <a:pt x="2945" y="2126"/>
                          <a:pt x="9905" y="352"/>
                        </a:cubicBezTo>
                        <a:cubicBezTo>
                          <a:pt x="16866" y="-1286"/>
                          <a:pt x="23827" y="2945"/>
                          <a:pt x="25601" y="9905"/>
                        </a:cubicBezTo>
                        <a:cubicBezTo>
                          <a:pt x="25737" y="10588"/>
                          <a:pt x="41296" y="75007"/>
                          <a:pt x="61495" y="129871"/>
                        </a:cubicBezTo>
                        <a:cubicBezTo>
                          <a:pt x="63952" y="136559"/>
                          <a:pt x="60540" y="144066"/>
                          <a:pt x="53852" y="146522"/>
                        </a:cubicBezTo>
                        <a:cubicBezTo>
                          <a:pt x="52351" y="147205"/>
                          <a:pt x="50850" y="147478"/>
                          <a:pt x="49348" y="14747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2" name="任意多边形: 形状 111">
                    <a:extLst>
                      <a:ext uri="{FF2B5EF4-FFF2-40B4-BE49-F238E27FC236}">
                        <a16:creationId xmlns:a16="http://schemas.microsoft.com/office/drawing/2014/main" id="{E2799712-9FA8-4396-A1C5-9F16685BC94B}"/>
                      </a:ext>
                    </a:extLst>
                  </p:cNvPr>
                  <p:cNvSpPr/>
                  <p:nvPr/>
                </p:nvSpPr>
                <p:spPr>
                  <a:xfrm>
                    <a:off x="9135708" y="3573953"/>
                    <a:ext cx="64054" cy="146984"/>
                  </a:xfrm>
                  <a:custGeom>
                    <a:avLst/>
                    <a:gdLst>
                      <a:gd name="connsiteX0" fmla="*/ 51038 w 64054"/>
                      <a:gd name="connsiteY0" fmla="*/ 146984 h 146984"/>
                      <a:gd name="connsiteX1" fmla="*/ 38892 w 64054"/>
                      <a:gd name="connsiteY1" fmla="*/ 138659 h 146984"/>
                      <a:gd name="connsiteX2" fmla="*/ 404 w 64054"/>
                      <a:gd name="connsiteY2" fmla="*/ 16236 h 146984"/>
                      <a:gd name="connsiteX3" fmla="*/ 9821 w 64054"/>
                      <a:gd name="connsiteY3" fmla="*/ 404 h 146984"/>
                      <a:gd name="connsiteX4" fmla="*/ 25653 w 64054"/>
                      <a:gd name="connsiteY4" fmla="*/ 9821 h 146984"/>
                      <a:gd name="connsiteX5" fmla="*/ 63185 w 64054"/>
                      <a:gd name="connsiteY5" fmla="*/ 129378 h 146984"/>
                      <a:gd name="connsiteX6" fmla="*/ 55679 w 64054"/>
                      <a:gd name="connsiteY6" fmla="*/ 146165 h 146984"/>
                      <a:gd name="connsiteX7" fmla="*/ 51038 w 64054"/>
                      <a:gd name="connsiteY7" fmla="*/ 146984 h 1469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4054" h="146984">
                        <a:moveTo>
                          <a:pt x="51038" y="146984"/>
                        </a:moveTo>
                        <a:cubicBezTo>
                          <a:pt x="45852" y="146984"/>
                          <a:pt x="40939" y="143845"/>
                          <a:pt x="38892" y="138659"/>
                        </a:cubicBezTo>
                        <a:cubicBezTo>
                          <a:pt x="17328" y="82565"/>
                          <a:pt x="1087" y="18829"/>
                          <a:pt x="404" y="16236"/>
                        </a:cubicBezTo>
                        <a:cubicBezTo>
                          <a:pt x="-1370" y="9276"/>
                          <a:pt x="2861" y="2179"/>
                          <a:pt x="9821" y="404"/>
                        </a:cubicBezTo>
                        <a:cubicBezTo>
                          <a:pt x="16782" y="-1370"/>
                          <a:pt x="23879" y="2861"/>
                          <a:pt x="25653" y="9821"/>
                        </a:cubicBezTo>
                        <a:cubicBezTo>
                          <a:pt x="25790" y="10504"/>
                          <a:pt x="42167" y="74786"/>
                          <a:pt x="63185" y="129378"/>
                        </a:cubicBezTo>
                        <a:cubicBezTo>
                          <a:pt x="65778" y="136066"/>
                          <a:pt x="62366" y="143572"/>
                          <a:pt x="55679" y="146165"/>
                        </a:cubicBezTo>
                        <a:cubicBezTo>
                          <a:pt x="54041" y="146711"/>
                          <a:pt x="52540" y="146984"/>
                          <a:pt x="51038" y="14698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3" name="任意多边形: 形状 112">
                    <a:extLst>
                      <a:ext uri="{FF2B5EF4-FFF2-40B4-BE49-F238E27FC236}">
                        <a16:creationId xmlns:a16="http://schemas.microsoft.com/office/drawing/2014/main" id="{218ADCD1-1F4D-4D77-9BA2-BCDA8F730FBE}"/>
                      </a:ext>
                    </a:extLst>
                  </p:cNvPr>
                  <p:cNvSpPr/>
                  <p:nvPr/>
                </p:nvSpPr>
                <p:spPr>
                  <a:xfrm>
                    <a:off x="9203619" y="3551242"/>
                    <a:ext cx="65432" cy="146493"/>
                  </a:xfrm>
                  <a:custGeom>
                    <a:avLst/>
                    <a:gdLst>
                      <a:gd name="connsiteX0" fmla="*/ 52459 w 65432"/>
                      <a:gd name="connsiteY0" fmla="*/ 146494 h 146493"/>
                      <a:gd name="connsiteX1" fmla="*/ 40449 w 65432"/>
                      <a:gd name="connsiteY1" fmla="*/ 138305 h 146493"/>
                      <a:gd name="connsiteX2" fmla="*/ 460 w 65432"/>
                      <a:gd name="connsiteY2" fmla="*/ 16292 h 146493"/>
                      <a:gd name="connsiteX3" fmla="*/ 9604 w 65432"/>
                      <a:gd name="connsiteY3" fmla="*/ 460 h 146493"/>
                      <a:gd name="connsiteX4" fmla="*/ 25436 w 65432"/>
                      <a:gd name="connsiteY4" fmla="*/ 9604 h 146493"/>
                      <a:gd name="connsiteX5" fmla="*/ 64469 w 65432"/>
                      <a:gd name="connsiteY5" fmla="*/ 128615 h 146493"/>
                      <a:gd name="connsiteX6" fmla="*/ 57236 w 65432"/>
                      <a:gd name="connsiteY6" fmla="*/ 145539 h 146493"/>
                      <a:gd name="connsiteX7" fmla="*/ 52459 w 65432"/>
                      <a:gd name="connsiteY7" fmla="*/ 146494 h 146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5432" h="146493">
                        <a:moveTo>
                          <a:pt x="52459" y="146494"/>
                        </a:moveTo>
                        <a:cubicBezTo>
                          <a:pt x="47273" y="146494"/>
                          <a:pt x="42359" y="143355"/>
                          <a:pt x="40449" y="138305"/>
                        </a:cubicBezTo>
                        <a:cubicBezTo>
                          <a:pt x="18203" y="82485"/>
                          <a:pt x="1143" y="19021"/>
                          <a:pt x="460" y="16292"/>
                        </a:cubicBezTo>
                        <a:cubicBezTo>
                          <a:pt x="-1451" y="9331"/>
                          <a:pt x="2780" y="2234"/>
                          <a:pt x="9604" y="460"/>
                        </a:cubicBezTo>
                        <a:cubicBezTo>
                          <a:pt x="16565" y="-1451"/>
                          <a:pt x="23662" y="2780"/>
                          <a:pt x="25436" y="9604"/>
                        </a:cubicBezTo>
                        <a:cubicBezTo>
                          <a:pt x="25572" y="10287"/>
                          <a:pt x="42769" y="74296"/>
                          <a:pt x="64469" y="128615"/>
                        </a:cubicBezTo>
                        <a:cubicBezTo>
                          <a:pt x="67199" y="135302"/>
                          <a:pt x="63923" y="142809"/>
                          <a:pt x="57236" y="145539"/>
                        </a:cubicBezTo>
                        <a:cubicBezTo>
                          <a:pt x="55598" y="146221"/>
                          <a:pt x="53960" y="146494"/>
                          <a:pt x="52459" y="14649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14" name="任意多边形: 形状 113">
                    <a:extLst>
                      <a:ext uri="{FF2B5EF4-FFF2-40B4-BE49-F238E27FC236}">
                        <a16:creationId xmlns:a16="http://schemas.microsoft.com/office/drawing/2014/main" id="{238EAD45-11F2-48EE-868C-275CA92448D9}"/>
                      </a:ext>
                    </a:extLst>
                  </p:cNvPr>
                  <p:cNvSpPr/>
                  <p:nvPr/>
                </p:nvSpPr>
                <p:spPr>
                  <a:xfrm>
                    <a:off x="9271294" y="3528566"/>
                    <a:ext cx="67112" cy="145967"/>
                  </a:xfrm>
                  <a:custGeom>
                    <a:avLst/>
                    <a:gdLst>
                      <a:gd name="connsiteX0" fmla="*/ 54117 w 67112"/>
                      <a:gd name="connsiteY0" fmla="*/ 145968 h 145967"/>
                      <a:gd name="connsiteX1" fmla="*/ 42106 w 67112"/>
                      <a:gd name="connsiteY1" fmla="*/ 137915 h 145967"/>
                      <a:gd name="connsiteX2" fmla="*/ 480 w 67112"/>
                      <a:gd name="connsiteY2" fmla="*/ 16448 h 145967"/>
                      <a:gd name="connsiteX3" fmla="*/ 9487 w 67112"/>
                      <a:gd name="connsiteY3" fmla="*/ 480 h 145967"/>
                      <a:gd name="connsiteX4" fmla="*/ 25456 w 67112"/>
                      <a:gd name="connsiteY4" fmla="*/ 9487 h 145967"/>
                      <a:gd name="connsiteX5" fmla="*/ 66127 w 67112"/>
                      <a:gd name="connsiteY5" fmla="*/ 128089 h 145967"/>
                      <a:gd name="connsiteX6" fmla="*/ 59166 w 67112"/>
                      <a:gd name="connsiteY6" fmla="*/ 145012 h 145967"/>
                      <a:gd name="connsiteX7" fmla="*/ 54117 w 67112"/>
                      <a:gd name="connsiteY7" fmla="*/ 145968 h 145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7112" h="145967">
                        <a:moveTo>
                          <a:pt x="54117" y="145968"/>
                        </a:moveTo>
                        <a:cubicBezTo>
                          <a:pt x="49067" y="145968"/>
                          <a:pt x="44154" y="142965"/>
                          <a:pt x="42106" y="137915"/>
                        </a:cubicBezTo>
                        <a:cubicBezTo>
                          <a:pt x="19041" y="82368"/>
                          <a:pt x="1162" y="19041"/>
                          <a:pt x="480" y="16448"/>
                        </a:cubicBezTo>
                        <a:cubicBezTo>
                          <a:pt x="-1431" y="9487"/>
                          <a:pt x="2527" y="2390"/>
                          <a:pt x="9487" y="480"/>
                        </a:cubicBezTo>
                        <a:cubicBezTo>
                          <a:pt x="16448" y="-1431"/>
                          <a:pt x="23545" y="2527"/>
                          <a:pt x="25456" y="9487"/>
                        </a:cubicBezTo>
                        <a:cubicBezTo>
                          <a:pt x="25592" y="10170"/>
                          <a:pt x="43744" y="73906"/>
                          <a:pt x="66127" y="128089"/>
                        </a:cubicBezTo>
                        <a:cubicBezTo>
                          <a:pt x="68856" y="134776"/>
                          <a:pt x="65717" y="142283"/>
                          <a:pt x="59166" y="145012"/>
                        </a:cubicBezTo>
                        <a:cubicBezTo>
                          <a:pt x="57392" y="145558"/>
                          <a:pt x="55754" y="145968"/>
                          <a:pt x="54117" y="14596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B06C0CB6-C304-4D13-B158-911195BF4612}"/>
                    </a:ext>
                  </a:extLst>
                </p:cNvPr>
                <p:cNvSpPr/>
                <p:nvPr/>
              </p:nvSpPr>
              <p:spPr>
                <a:xfrm>
                  <a:off x="8905450" y="1933663"/>
                  <a:ext cx="795118" cy="611786"/>
                </a:xfrm>
                <a:custGeom>
                  <a:avLst/>
                  <a:gdLst>
                    <a:gd name="connsiteX0" fmla="*/ 793507 w 795118"/>
                    <a:gd name="connsiteY0" fmla="*/ 356552 h 611786"/>
                    <a:gd name="connsiteX1" fmla="*/ 773035 w 795118"/>
                    <a:gd name="connsiteY1" fmla="*/ 455773 h 611786"/>
                    <a:gd name="connsiteX2" fmla="*/ 763072 w 795118"/>
                    <a:gd name="connsiteY2" fmla="*/ 479520 h 611786"/>
                    <a:gd name="connsiteX3" fmla="*/ 763072 w 795118"/>
                    <a:gd name="connsiteY3" fmla="*/ 479520 h 611786"/>
                    <a:gd name="connsiteX4" fmla="*/ 674906 w 795118"/>
                    <a:gd name="connsiteY4" fmla="*/ 578878 h 611786"/>
                    <a:gd name="connsiteX5" fmla="*/ 235576 w 795118"/>
                    <a:gd name="connsiteY5" fmla="*/ 559361 h 611786"/>
                    <a:gd name="connsiteX6" fmla="*/ 235576 w 795118"/>
                    <a:gd name="connsiteY6" fmla="*/ 559361 h 611786"/>
                    <a:gd name="connsiteX7" fmla="*/ 194768 w 795118"/>
                    <a:gd name="connsiteY7" fmla="*/ 539435 h 611786"/>
                    <a:gd name="connsiteX8" fmla="*/ 158737 w 795118"/>
                    <a:gd name="connsiteY8" fmla="*/ 518827 h 611786"/>
                    <a:gd name="connsiteX9" fmla="*/ 3423 w 795118"/>
                    <a:gd name="connsiteY9" fmla="*/ 289267 h 611786"/>
                    <a:gd name="connsiteX10" fmla="*/ 1103 w 795118"/>
                    <a:gd name="connsiteY10" fmla="*/ 267703 h 611786"/>
                    <a:gd name="connsiteX11" fmla="*/ 17071 w 795118"/>
                    <a:gd name="connsiteY11" fmla="*/ 115528 h 611786"/>
                    <a:gd name="connsiteX12" fmla="*/ 19255 w 795118"/>
                    <a:gd name="connsiteY12" fmla="*/ 107612 h 611786"/>
                    <a:gd name="connsiteX13" fmla="*/ 44231 w 795118"/>
                    <a:gd name="connsiteY13" fmla="*/ 39099 h 611786"/>
                    <a:gd name="connsiteX14" fmla="*/ 167745 w 795118"/>
                    <a:gd name="connsiteY14" fmla="*/ 5252 h 611786"/>
                    <a:gd name="connsiteX15" fmla="*/ 252909 w 795118"/>
                    <a:gd name="connsiteY15" fmla="*/ 475 h 611786"/>
                    <a:gd name="connsiteX16" fmla="*/ 351857 w 795118"/>
                    <a:gd name="connsiteY16" fmla="*/ 23267 h 611786"/>
                    <a:gd name="connsiteX17" fmla="*/ 756657 w 795118"/>
                    <a:gd name="connsiteY17" fmla="*/ 83728 h 611786"/>
                    <a:gd name="connsiteX18" fmla="*/ 778358 w 795118"/>
                    <a:gd name="connsiteY18" fmla="*/ 166026 h 611786"/>
                    <a:gd name="connsiteX19" fmla="*/ 782725 w 795118"/>
                    <a:gd name="connsiteY19" fmla="*/ 187999 h 611786"/>
                    <a:gd name="connsiteX20" fmla="*/ 792279 w 795118"/>
                    <a:gd name="connsiteY20" fmla="*/ 256512 h 611786"/>
                    <a:gd name="connsiteX21" fmla="*/ 793507 w 795118"/>
                    <a:gd name="connsiteY21" fmla="*/ 356552 h 611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95118" h="611786">
                      <a:moveTo>
                        <a:pt x="793507" y="356552"/>
                      </a:moveTo>
                      <a:cubicBezTo>
                        <a:pt x="790914" y="390399"/>
                        <a:pt x="784499" y="424246"/>
                        <a:pt x="773035" y="455773"/>
                      </a:cubicBezTo>
                      <a:cubicBezTo>
                        <a:pt x="770169" y="463825"/>
                        <a:pt x="766757" y="471741"/>
                        <a:pt x="763072" y="479520"/>
                      </a:cubicBezTo>
                      <a:lnTo>
                        <a:pt x="763072" y="479520"/>
                      </a:lnTo>
                      <a:cubicBezTo>
                        <a:pt x="744511" y="518827"/>
                        <a:pt x="716396" y="553629"/>
                        <a:pt x="674906" y="578878"/>
                      </a:cubicBezTo>
                      <a:cubicBezTo>
                        <a:pt x="674906" y="578878"/>
                        <a:pt x="473188" y="664588"/>
                        <a:pt x="235576" y="559361"/>
                      </a:cubicBezTo>
                      <a:cubicBezTo>
                        <a:pt x="235576" y="559361"/>
                        <a:pt x="235576" y="559361"/>
                        <a:pt x="235576" y="559361"/>
                      </a:cubicBezTo>
                      <a:cubicBezTo>
                        <a:pt x="222064" y="553356"/>
                        <a:pt x="208416" y="546805"/>
                        <a:pt x="194768" y="539435"/>
                      </a:cubicBezTo>
                      <a:cubicBezTo>
                        <a:pt x="182758" y="533157"/>
                        <a:pt x="170748" y="526197"/>
                        <a:pt x="158737" y="518827"/>
                      </a:cubicBezTo>
                      <a:cubicBezTo>
                        <a:pt x="55558" y="455636"/>
                        <a:pt x="14614" y="370336"/>
                        <a:pt x="3423" y="289267"/>
                      </a:cubicBezTo>
                      <a:cubicBezTo>
                        <a:pt x="2468" y="282034"/>
                        <a:pt x="1649" y="274937"/>
                        <a:pt x="1103" y="267703"/>
                      </a:cubicBezTo>
                      <a:cubicBezTo>
                        <a:pt x="-3265" y="210518"/>
                        <a:pt x="6016" y="156608"/>
                        <a:pt x="17071" y="115528"/>
                      </a:cubicBezTo>
                      <a:cubicBezTo>
                        <a:pt x="17753" y="112798"/>
                        <a:pt x="18572" y="110205"/>
                        <a:pt x="19255" y="107612"/>
                      </a:cubicBezTo>
                      <a:cubicBezTo>
                        <a:pt x="31265" y="65712"/>
                        <a:pt x="44231" y="39099"/>
                        <a:pt x="44231" y="39099"/>
                      </a:cubicBezTo>
                      <a:cubicBezTo>
                        <a:pt x="44231" y="39099"/>
                        <a:pt x="97594" y="15897"/>
                        <a:pt x="167745" y="5252"/>
                      </a:cubicBezTo>
                      <a:cubicBezTo>
                        <a:pt x="194359" y="1157"/>
                        <a:pt x="223429" y="-1026"/>
                        <a:pt x="252909" y="475"/>
                      </a:cubicBezTo>
                      <a:cubicBezTo>
                        <a:pt x="286346" y="2249"/>
                        <a:pt x="320330" y="8800"/>
                        <a:pt x="351857" y="23267"/>
                      </a:cubicBezTo>
                      <a:cubicBezTo>
                        <a:pt x="577186" y="126037"/>
                        <a:pt x="691283" y="171894"/>
                        <a:pt x="756657" y="83728"/>
                      </a:cubicBezTo>
                      <a:cubicBezTo>
                        <a:pt x="756657" y="83728"/>
                        <a:pt x="767985" y="116620"/>
                        <a:pt x="778358" y="166026"/>
                      </a:cubicBezTo>
                      <a:cubicBezTo>
                        <a:pt x="779859" y="172986"/>
                        <a:pt x="781224" y="180356"/>
                        <a:pt x="782725" y="187999"/>
                      </a:cubicBezTo>
                      <a:cubicBezTo>
                        <a:pt x="786546" y="209017"/>
                        <a:pt x="789958" y="232082"/>
                        <a:pt x="792279" y="256512"/>
                      </a:cubicBezTo>
                      <a:cubicBezTo>
                        <a:pt x="795281" y="288585"/>
                        <a:pt x="796236" y="322568"/>
                        <a:pt x="793507" y="356552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CA1DBCC3-822F-4216-84F3-DF230D65D9B8}"/>
                    </a:ext>
                  </a:extLst>
                </p:cNvPr>
                <p:cNvSpPr/>
                <p:nvPr/>
              </p:nvSpPr>
              <p:spPr>
                <a:xfrm>
                  <a:off x="8921019" y="2035169"/>
                  <a:ext cx="767155" cy="178207"/>
                </a:xfrm>
                <a:custGeom>
                  <a:avLst/>
                  <a:gdLst>
                    <a:gd name="connsiteX0" fmla="*/ 767155 w 767155"/>
                    <a:gd name="connsiteY0" fmla="*/ 86629 h 178207"/>
                    <a:gd name="connsiteX1" fmla="*/ 757056 w 767155"/>
                    <a:gd name="connsiteY1" fmla="*/ 100687 h 178207"/>
                    <a:gd name="connsiteX2" fmla="*/ 568986 w 767155"/>
                    <a:gd name="connsiteY2" fmla="*/ 178208 h 178207"/>
                    <a:gd name="connsiteX3" fmla="*/ 549333 w 767155"/>
                    <a:gd name="connsiteY3" fmla="*/ 177662 h 178207"/>
                    <a:gd name="connsiteX4" fmla="*/ 293569 w 767155"/>
                    <a:gd name="connsiteY4" fmla="*/ 90860 h 178207"/>
                    <a:gd name="connsiteX5" fmla="*/ 3003 w 767155"/>
                    <a:gd name="connsiteY5" fmla="*/ 21392 h 178207"/>
                    <a:gd name="connsiteX6" fmla="*/ 1501 w 767155"/>
                    <a:gd name="connsiteY6" fmla="*/ 14159 h 178207"/>
                    <a:gd name="connsiteX7" fmla="*/ 0 w 767155"/>
                    <a:gd name="connsiteY7" fmla="*/ 6925 h 178207"/>
                    <a:gd name="connsiteX8" fmla="*/ 3685 w 767155"/>
                    <a:gd name="connsiteY8" fmla="*/ 6243 h 178207"/>
                    <a:gd name="connsiteX9" fmla="*/ 300529 w 767155"/>
                    <a:gd name="connsiteY9" fmla="*/ 77895 h 178207"/>
                    <a:gd name="connsiteX10" fmla="*/ 550015 w 767155"/>
                    <a:gd name="connsiteY10" fmla="*/ 162922 h 178207"/>
                    <a:gd name="connsiteX11" fmla="*/ 745045 w 767155"/>
                    <a:gd name="connsiteY11" fmla="*/ 92089 h 178207"/>
                    <a:gd name="connsiteX12" fmla="*/ 762925 w 767155"/>
                    <a:gd name="connsiteY12" fmla="*/ 64793 h 178207"/>
                    <a:gd name="connsiteX13" fmla="*/ 767155 w 767155"/>
                    <a:gd name="connsiteY13" fmla="*/ 86629 h 178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67155" h="178207">
                      <a:moveTo>
                        <a:pt x="767155" y="86629"/>
                      </a:moveTo>
                      <a:cubicBezTo>
                        <a:pt x="764153" y="91270"/>
                        <a:pt x="760741" y="96047"/>
                        <a:pt x="757056" y="100687"/>
                      </a:cubicBezTo>
                      <a:cubicBezTo>
                        <a:pt x="728531" y="136718"/>
                        <a:pt x="673121" y="178208"/>
                        <a:pt x="568986" y="178208"/>
                      </a:cubicBezTo>
                      <a:cubicBezTo>
                        <a:pt x="562571" y="178208"/>
                        <a:pt x="556020" y="178071"/>
                        <a:pt x="549333" y="177662"/>
                      </a:cubicBezTo>
                      <a:cubicBezTo>
                        <a:pt x="448338" y="172885"/>
                        <a:pt x="369725" y="131122"/>
                        <a:pt x="293569" y="90860"/>
                      </a:cubicBezTo>
                      <a:cubicBezTo>
                        <a:pt x="202673" y="42819"/>
                        <a:pt x="116827" y="-2629"/>
                        <a:pt x="3003" y="21392"/>
                      </a:cubicBezTo>
                      <a:lnTo>
                        <a:pt x="1501" y="14159"/>
                      </a:lnTo>
                      <a:lnTo>
                        <a:pt x="0" y="6925"/>
                      </a:lnTo>
                      <a:cubicBezTo>
                        <a:pt x="1228" y="6652"/>
                        <a:pt x="2457" y="6379"/>
                        <a:pt x="3685" y="6243"/>
                      </a:cubicBezTo>
                      <a:cubicBezTo>
                        <a:pt x="120921" y="-17095"/>
                        <a:pt x="208269" y="29035"/>
                        <a:pt x="300529" y="77895"/>
                      </a:cubicBezTo>
                      <a:cubicBezTo>
                        <a:pt x="375184" y="117338"/>
                        <a:pt x="452432" y="158282"/>
                        <a:pt x="550015" y="162922"/>
                      </a:cubicBezTo>
                      <a:cubicBezTo>
                        <a:pt x="638454" y="167153"/>
                        <a:pt x="704101" y="143269"/>
                        <a:pt x="745045" y="92089"/>
                      </a:cubicBezTo>
                      <a:cubicBezTo>
                        <a:pt x="752415" y="82945"/>
                        <a:pt x="758284" y="73527"/>
                        <a:pt x="762925" y="64793"/>
                      </a:cubicBezTo>
                      <a:cubicBezTo>
                        <a:pt x="764426" y="71753"/>
                        <a:pt x="765790" y="78987"/>
                        <a:pt x="767155" y="86629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2C46AAB0-D263-44BD-A442-2167E3C23A8D}"/>
                    </a:ext>
                  </a:extLst>
                </p:cNvPr>
                <p:cNvSpPr/>
                <p:nvPr/>
              </p:nvSpPr>
              <p:spPr>
                <a:xfrm>
                  <a:off x="9006320" y="2366098"/>
                  <a:ext cx="672165" cy="98265"/>
                </a:xfrm>
                <a:custGeom>
                  <a:avLst/>
                  <a:gdLst>
                    <a:gd name="connsiteX0" fmla="*/ 672165 w 672165"/>
                    <a:gd name="connsiteY0" fmla="*/ 23475 h 98265"/>
                    <a:gd name="connsiteX1" fmla="*/ 662202 w 672165"/>
                    <a:gd name="connsiteY1" fmla="*/ 47222 h 98265"/>
                    <a:gd name="connsiteX2" fmla="*/ 662202 w 672165"/>
                    <a:gd name="connsiteY2" fmla="*/ 47222 h 98265"/>
                    <a:gd name="connsiteX3" fmla="*/ 526950 w 672165"/>
                    <a:gd name="connsiteY3" fmla="*/ 91578 h 98265"/>
                    <a:gd name="connsiteX4" fmla="*/ 431005 w 672165"/>
                    <a:gd name="connsiteY4" fmla="*/ 98266 h 98265"/>
                    <a:gd name="connsiteX5" fmla="*/ 287018 w 672165"/>
                    <a:gd name="connsiteY5" fmla="*/ 86938 h 98265"/>
                    <a:gd name="connsiteX6" fmla="*/ 0 w 672165"/>
                    <a:gd name="connsiteY6" fmla="*/ 13921 h 98265"/>
                    <a:gd name="connsiteX7" fmla="*/ 5323 w 672165"/>
                    <a:gd name="connsiteY7" fmla="*/ 0 h 98265"/>
                    <a:gd name="connsiteX8" fmla="*/ 289475 w 672165"/>
                    <a:gd name="connsiteY8" fmla="*/ 72198 h 98265"/>
                    <a:gd name="connsiteX9" fmla="*/ 672165 w 672165"/>
                    <a:gd name="connsiteY9" fmla="*/ 23475 h 98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2165" h="98265">
                      <a:moveTo>
                        <a:pt x="672165" y="23475"/>
                      </a:moveTo>
                      <a:cubicBezTo>
                        <a:pt x="669299" y="31527"/>
                        <a:pt x="665887" y="39443"/>
                        <a:pt x="662202" y="47222"/>
                      </a:cubicBezTo>
                      <a:lnTo>
                        <a:pt x="662202" y="47222"/>
                      </a:lnTo>
                      <a:cubicBezTo>
                        <a:pt x="624534" y="68923"/>
                        <a:pt x="579222" y="83662"/>
                        <a:pt x="526950" y="91578"/>
                      </a:cubicBezTo>
                      <a:cubicBezTo>
                        <a:pt x="497198" y="96082"/>
                        <a:pt x="465261" y="98266"/>
                        <a:pt x="431005" y="98266"/>
                      </a:cubicBezTo>
                      <a:cubicBezTo>
                        <a:pt x="386512" y="98266"/>
                        <a:pt x="338471" y="94444"/>
                        <a:pt x="287018" y="86938"/>
                      </a:cubicBezTo>
                      <a:cubicBezTo>
                        <a:pt x="132932" y="64146"/>
                        <a:pt x="1228" y="14467"/>
                        <a:pt x="0" y="13921"/>
                      </a:cubicBezTo>
                      <a:lnTo>
                        <a:pt x="5323" y="0"/>
                      </a:lnTo>
                      <a:cubicBezTo>
                        <a:pt x="6688" y="546"/>
                        <a:pt x="137026" y="49815"/>
                        <a:pt x="289475" y="72198"/>
                      </a:cubicBezTo>
                      <a:cubicBezTo>
                        <a:pt x="410942" y="90077"/>
                        <a:pt x="568031" y="93898"/>
                        <a:pt x="672165" y="23475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944EE966-49E7-474F-9E7A-0E938B94E713}"/>
                    </a:ext>
                  </a:extLst>
                </p:cNvPr>
                <p:cNvSpPr/>
                <p:nvPr/>
              </p:nvSpPr>
              <p:spPr>
                <a:xfrm>
                  <a:off x="8748647" y="2296357"/>
                  <a:ext cx="573760" cy="1430858"/>
                </a:xfrm>
                <a:custGeom>
                  <a:avLst/>
                  <a:gdLst>
                    <a:gd name="connsiteX0" fmla="*/ 573761 w 573760"/>
                    <a:gd name="connsiteY0" fmla="*/ 1281686 h 1430858"/>
                    <a:gd name="connsiteX1" fmla="*/ 117098 w 573760"/>
                    <a:gd name="connsiteY1" fmla="*/ 1430859 h 1430858"/>
                    <a:gd name="connsiteX2" fmla="*/ 101676 w 573760"/>
                    <a:gd name="connsiteY2" fmla="*/ 1358933 h 1430858"/>
                    <a:gd name="connsiteX3" fmla="*/ 94988 w 573760"/>
                    <a:gd name="connsiteY3" fmla="*/ 1325905 h 1430858"/>
                    <a:gd name="connsiteX4" fmla="*/ 73288 w 573760"/>
                    <a:gd name="connsiteY4" fmla="*/ 1212627 h 1430858"/>
                    <a:gd name="connsiteX5" fmla="*/ 67283 w 573760"/>
                    <a:gd name="connsiteY5" fmla="*/ 1179325 h 1430858"/>
                    <a:gd name="connsiteX6" fmla="*/ 48176 w 573760"/>
                    <a:gd name="connsiteY6" fmla="*/ 1065228 h 1430858"/>
                    <a:gd name="connsiteX7" fmla="*/ 42989 w 573760"/>
                    <a:gd name="connsiteY7" fmla="*/ 1031517 h 1430858"/>
                    <a:gd name="connsiteX8" fmla="*/ 26748 w 573760"/>
                    <a:gd name="connsiteY8" fmla="*/ 916465 h 1430858"/>
                    <a:gd name="connsiteX9" fmla="*/ 22517 w 573760"/>
                    <a:gd name="connsiteY9" fmla="*/ 882208 h 1430858"/>
                    <a:gd name="connsiteX10" fmla="*/ 10234 w 573760"/>
                    <a:gd name="connsiteY10" fmla="*/ 765654 h 1430858"/>
                    <a:gd name="connsiteX11" fmla="*/ 7368 w 573760"/>
                    <a:gd name="connsiteY11" fmla="*/ 730988 h 1430858"/>
                    <a:gd name="connsiteX12" fmla="*/ 817 w 573760"/>
                    <a:gd name="connsiteY12" fmla="*/ 612387 h 1430858"/>
                    <a:gd name="connsiteX13" fmla="*/ 135 w 573760"/>
                    <a:gd name="connsiteY13" fmla="*/ 577311 h 1430858"/>
                    <a:gd name="connsiteX14" fmla="*/ 3820 w 573760"/>
                    <a:gd name="connsiteY14" fmla="*/ 455161 h 1430858"/>
                    <a:gd name="connsiteX15" fmla="*/ 7505 w 573760"/>
                    <a:gd name="connsiteY15" fmla="*/ 418994 h 1430858"/>
                    <a:gd name="connsiteX16" fmla="*/ 10917 w 573760"/>
                    <a:gd name="connsiteY16" fmla="*/ 394155 h 1430858"/>
                    <a:gd name="connsiteX17" fmla="*/ 35210 w 573760"/>
                    <a:gd name="connsiteY17" fmla="*/ 291522 h 1430858"/>
                    <a:gd name="connsiteX18" fmla="*/ 48585 w 573760"/>
                    <a:gd name="connsiteY18" fmla="*/ 254263 h 1430858"/>
                    <a:gd name="connsiteX19" fmla="*/ 299163 w 573760"/>
                    <a:gd name="connsiteY19" fmla="*/ 0 h 1430858"/>
                    <a:gd name="connsiteX20" fmla="*/ 476178 w 573760"/>
                    <a:gd name="connsiteY20" fmla="*/ 143577 h 1430858"/>
                    <a:gd name="connsiteX21" fmla="*/ 418992 w 573760"/>
                    <a:gd name="connsiteY21" fmla="*/ 242389 h 1430858"/>
                    <a:gd name="connsiteX22" fmla="*/ 410258 w 573760"/>
                    <a:gd name="connsiteY22" fmla="*/ 275144 h 1430858"/>
                    <a:gd name="connsiteX23" fmla="*/ 397292 w 573760"/>
                    <a:gd name="connsiteY23" fmla="*/ 374502 h 1430858"/>
                    <a:gd name="connsiteX24" fmla="*/ 396064 w 573760"/>
                    <a:gd name="connsiteY24" fmla="*/ 408212 h 1430858"/>
                    <a:gd name="connsiteX25" fmla="*/ 399203 w 573760"/>
                    <a:gd name="connsiteY25" fmla="*/ 511801 h 1430858"/>
                    <a:gd name="connsiteX26" fmla="*/ 401932 w 573760"/>
                    <a:gd name="connsiteY26" fmla="*/ 545375 h 1430858"/>
                    <a:gd name="connsiteX27" fmla="*/ 414762 w 573760"/>
                    <a:gd name="connsiteY27" fmla="*/ 650055 h 1430858"/>
                    <a:gd name="connsiteX28" fmla="*/ 419948 w 573760"/>
                    <a:gd name="connsiteY28" fmla="*/ 683629 h 1430858"/>
                    <a:gd name="connsiteX29" fmla="*/ 439192 w 573760"/>
                    <a:gd name="connsiteY29" fmla="*/ 788310 h 1430858"/>
                    <a:gd name="connsiteX30" fmla="*/ 446152 w 573760"/>
                    <a:gd name="connsiteY30" fmla="*/ 821474 h 1430858"/>
                    <a:gd name="connsiteX31" fmla="*/ 470173 w 573760"/>
                    <a:gd name="connsiteY31" fmla="*/ 925609 h 1430858"/>
                    <a:gd name="connsiteX32" fmla="*/ 478361 w 573760"/>
                    <a:gd name="connsiteY32" fmla="*/ 958091 h 1430858"/>
                    <a:gd name="connsiteX33" fmla="*/ 505794 w 573760"/>
                    <a:gd name="connsiteY33" fmla="*/ 1060861 h 1430858"/>
                    <a:gd name="connsiteX34" fmla="*/ 514938 w 573760"/>
                    <a:gd name="connsiteY34" fmla="*/ 1093070 h 1430858"/>
                    <a:gd name="connsiteX35" fmla="*/ 545237 w 573760"/>
                    <a:gd name="connsiteY35" fmla="*/ 1193929 h 1430858"/>
                    <a:gd name="connsiteX36" fmla="*/ 555336 w 573760"/>
                    <a:gd name="connsiteY36" fmla="*/ 1225729 h 1430858"/>
                    <a:gd name="connsiteX37" fmla="*/ 573761 w 573760"/>
                    <a:gd name="connsiteY37" fmla="*/ 1281686 h 1430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73760" h="1430858">
                      <a:moveTo>
                        <a:pt x="573761" y="1281686"/>
                      </a:moveTo>
                      <a:lnTo>
                        <a:pt x="117098" y="1430859"/>
                      </a:lnTo>
                      <a:cubicBezTo>
                        <a:pt x="117098" y="1430859"/>
                        <a:pt x="111093" y="1404245"/>
                        <a:pt x="101676" y="1358933"/>
                      </a:cubicBezTo>
                      <a:cubicBezTo>
                        <a:pt x="99629" y="1348834"/>
                        <a:pt x="97309" y="1337779"/>
                        <a:pt x="94988" y="1325905"/>
                      </a:cubicBezTo>
                      <a:cubicBezTo>
                        <a:pt x="88574" y="1293832"/>
                        <a:pt x="81067" y="1255481"/>
                        <a:pt x="73288" y="1212627"/>
                      </a:cubicBezTo>
                      <a:cubicBezTo>
                        <a:pt x="71377" y="1201845"/>
                        <a:pt x="69330" y="1190653"/>
                        <a:pt x="67283" y="1179325"/>
                      </a:cubicBezTo>
                      <a:cubicBezTo>
                        <a:pt x="61005" y="1143568"/>
                        <a:pt x="54454" y="1105217"/>
                        <a:pt x="48176" y="1065228"/>
                      </a:cubicBezTo>
                      <a:cubicBezTo>
                        <a:pt x="46401" y="1054173"/>
                        <a:pt x="44627" y="1042982"/>
                        <a:pt x="42989" y="1031517"/>
                      </a:cubicBezTo>
                      <a:cubicBezTo>
                        <a:pt x="37257" y="994122"/>
                        <a:pt x="31798" y="955498"/>
                        <a:pt x="26748" y="916465"/>
                      </a:cubicBezTo>
                      <a:cubicBezTo>
                        <a:pt x="25247" y="905137"/>
                        <a:pt x="23882" y="893672"/>
                        <a:pt x="22517" y="882208"/>
                      </a:cubicBezTo>
                      <a:cubicBezTo>
                        <a:pt x="17877" y="843448"/>
                        <a:pt x="13646" y="804414"/>
                        <a:pt x="10234" y="765654"/>
                      </a:cubicBezTo>
                      <a:cubicBezTo>
                        <a:pt x="9142" y="754053"/>
                        <a:pt x="8187" y="742452"/>
                        <a:pt x="7368" y="730988"/>
                      </a:cubicBezTo>
                      <a:cubicBezTo>
                        <a:pt x="4229" y="690590"/>
                        <a:pt x="1909" y="650874"/>
                        <a:pt x="817" y="612387"/>
                      </a:cubicBezTo>
                      <a:cubicBezTo>
                        <a:pt x="544" y="600513"/>
                        <a:pt x="271" y="588776"/>
                        <a:pt x="135" y="577311"/>
                      </a:cubicBezTo>
                      <a:cubicBezTo>
                        <a:pt x="-411" y="534184"/>
                        <a:pt x="681" y="493103"/>
                        <a:pt x="3820" y="455161"/>
                      </a:cubicBezTo>
                      <a:cubicBezTo>
                        <a:pt x="4775" y="442742"/>
                        <a:pt x="6003" y="430732"/>
                        <a:pt x="7505" y="418994"/>
                      </a:cubicBezTo>
                      <a:cubicBezTo>
                        <a:pt x="8460" y="410532"/>
                        <a:pt x="9688" y="402207"/>
                        <a:pt x="10917" y="394155"/>
                      </a:cubicBezTo>
                      <a:cubicBezTo>
                        <a:pt x="16922" y="356623"/>
                        <a:pt x="25111" y="322503"/>
                        <a:pt x="35210" y="291522"/>
                      </a:cubicBezTo>
                      <a:cubicBezTo>
                        <a:pt x="39304" y="278556"/>
                        <a:pt x="43808" y="266136"/>
                        <a:pt x="48585" y="254263"/>
                      </a:cubicBezTo>
                      <a:cubicBezTo>
                        <a:pt x="133066" y="41899"/>
                        <a:pt x="299163" y="0"/>
                        <a:pt x="299163" y="0"/>
                      </a:cubicBezTo>
                      <a:cubicBezTo>
                        <a:pt x="422131" y="12147"/>
                        <a:pt x="476178" y="143577"/>
                        <a:pt x="476178" y="143577"/>
                      </a:cubicBezTo>
                      <a:cubicBezTo>
                        <a:pt x="450383" y="168144"/>
                        <a:pt x="431822" y="201854"/>
                        <a:pt x="418992" y="242389"/>
                      </a:cubicBezTo>
                      <a:cubicBezTo>
                        <a:pt x="415717" y="252898"/>
                        <a:pt x="412714" y="263816"/>
                        <a:pt x="410258" y="275144"/>
                      </a:cubicBezTo>
                      <a:cubicBezTo>
                        <a:pt x="403434" y="305579"/>
                        <a:pt x="399339" y="339017"/>
                        <a:pt x="397292" y="374502"/>
                      </a:cubicBezTo>
                      <a:cubicBezTo>
                        <a:pt x="396610" y="385557"/>
                        <a:pt x="396337" y="396748"/>
                        <a:pt x="396064" y="408212"/>
                      </a:cubicBezTo>
                      <a:cubicBezTo>
                        <a:pt x="395518" y="441377"/>
                        <a:pt x="396610" y="476180"/>
                        <a:pt x="399203" y="511801"/>
                      </a:cubicBezTo>
                      <a:cubicBezTo>
                        <a:pt x="400022" y="522992"/>
                        <a:pt x="400977" y="534184"/>
                        <a:pt x="401932" y="545375"/>
                      </a:cubicBezTo>
                      <a:cubicBezTo>
                        <a:pt x="405071" y="579768"/>
                        <a:pt x="409439" y="614843"/>
                        <a:pt x="414762" y="650055"/>
                      </a:cubicBezTo>
                      <a:cubicBezTo>
                        <a:pt x="416399" y="661247"/>
                        <a:pt x="418174" y="672438"/>
                        <a:pt x="419948" y="683629"/>
                      </a:cubicBezTo>
                      <a:cubicBezTo>
                        <a:pt x="425680" y="718705"/>
                        <a:pt x="432094" y="753644"/>
                        <a:pt x="439192" y="788310"/>
                      </a:cubicBezTo>
                      <a:cubicBezTo>
                        <a:pt x="441375" y="799501"/>
                        <a:pt x="443695" y="810556"/>
                        <a:pt x="446152" y="821474"/>
                      </a:cubicBezTo>
                      <a:cubicBezTo>
                        <a:pt x="453795" y="857096"/>
                        <a:pt x="461847" y="891898"/>
                        <a:pt x="470173" y="925609"/>
                      </a:cubicBezTo>
                      <a:cubicBezTo>
                        <a:pt x="472902" y="936527"/>
                        <a:pt x="475495" y="947446"/>
                        <a:pt x="478361" y="958091"/>
                      </a:cubicBezTo>
                      <a:cubicBezTo>
                        <a:pt x="487505" y="994258"/>
                        <a:pt x="496786" y="1028788"/>
                        <a:pt x="505794" y="1060861"/>
                      </a:cubicBezTo>
                      <a:cubicBezTo>
                        <a:pt x="508933" y="1071916"/>
                        <a:pt x="511935" y="1082697"/>
                        <a:pt x="514938" y="1093070"/>
                      </a:cubicBezTo>
                      <a:cubicBezTo>
                        <a:pt x="525993" y="1131557"/>
                        <a:pt x="536365" y="1165541"/>
                        <a:pt x="545237" y="1193929"/>
                      </a:cubicBezTo>
                      <a:cubicBezTo>
                        <a:pt x="548922" y="1205530"/>
                        <a:pt x="552334" y="1216175"/>
                        <a:pt x="555336" y="1225729"/>
                      </a:cubicBezTo>
                      <a:cubicBezTo>
                        <a:pt x="566528" y="1261350"/>
                        <a:pt x="573761" y="1281686"/>
                        <a:pt x="573761" y="1281686"/>
                      </a:cubicBezTo>
                      <a:close/>
                    </a:path>
                  </a:pathLst>
                </a:custGeom>
                <a:solidFill>
                  <a:srgbClr val="2A81EA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97" name="组合 96">
                  <a:extLst>
                    <a:ext uri="{FF2B5EF4-FFF2-40B4-BE49-F238E27FC236}">
                      <a16:creationId xmlns:a16="http://schemas.microsoft.com/office/drawing/2014/main" id="{19319377-1F7A-4BCA-83E2-019D1DCE6F9B}"/>
                    </a:ext>
                  </a:extLst>
                </p:cNvPr>
                <p:cNvGrpSpPr/>
                <p:nvPr/>
              </p:nvGrpSpPr>
              <p:grpSpPr>
                <a:xfrm>
                  <a:off x="8748645" y="2528972"/>
                  <a:ext cx="555065" cy="1126318"/>
                  <a:chOff x="8748645" y="2528972"/>
                  <a:chExt cx="555065" cy="1126318"/>
                </a:xfrm>
                <a:solidFill>
                  <a:srgbClr val="1C55D1"/>
                </a:solidFill>
              </p:grpSpPr>
              <p:sp>
                <p:nvSpPr>
                  <p:cNvPr id="100" name="任意多边形: 形状 99">
                    <a:extLst>
                      <a:ext uri="{FF2B5EF4-FFF2-40B4-BE49-F238E27FC236}">
                        <a16:creationId xmlns:a16="http://schemas.microsoft.com/office/drawing/2014/main" id="{F665FFCA-AE48-4AD3-9627-C3ABCC68A866}"/>
                      </a:ext>
                    </a:extLst>
                  </p:cNvPr>
                  <p:cNvSpPr/>
                  <p:nvPr/>
                </p:nvSpPr>
                <p:spPr>
                  <a:xfrm>
                    <a:off x="8783584" y="2528972"/>
                    <a:ext cx="383782" cy="59043"/>
                  </a:xfrm>
                  <a:custGeom>
                    <a:avLst/>
                    <a:gdLst>
                      <a:gd name="connsiteX0" fmla="*/ 383782 w 383782"/>
                      <a:gd name="connsiteY0" fmla="*/ 10047 h 59043"/>
                      <a:gd name="connsiteX1" fmla="*/ 375048 w 383782"/>
                      <a:gd name="connsiteY1" fmla="*/ 42802 h 59043"/>
                      <a:gd name="connsiteX2" fmla="*/ 0 w 383782"/>
                      <a:gd name="connsiteY2" fmla="*/ 59043 h 59043"/>
                      <a:gd name="connsiteX3" fmla="*/ 13375 w 383782"/>
                      <a:gd name="connsiteY3" fmla="*/ 21784 h 59043"/>
                      <a:gd name="connsiteX4" fmla="*/ 215093 w 383782"/>
                      <a:gd name="connsiteY4" fmla="*/ 84 h 59043"/>
                      <a:gd name="connsiteX5" fmla="*/ 383782 w 383782"/>
                      <a:gd name="connsiteY5" fmla="*/ 10047 h 590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83782" h="59043">
                        <a:moveTo>
                          <a:pt x="383782" y="10047"/>
                        </a:moveTo>
                        <a:cubicBezTo>
                          <a:pt x="380507" y="20556"/>
                          <a:pt x="377504" y="31474"/>
                          <a:pt x="375048" y="42802"/>
                        </a:cubicBezTo>
                        <a:cubicBezTo>
                          <a:pt x="294251" y="32839"/>
                          <a:pt x="147398" y="23558"/>
                          <a:pt x="0" y="59043"/>
                        </a:cubicBezTo>
                        <a:cubicBezTo>
                          <a:pt x="4094" y="46078"/>
                          <a:pt x="8598" y="33658"/>
                          <a:pt x="13375" y="21784"/>
                        </a:cubicBezTo>
                        <a:cubicBezTo>
                          <a:pt x="86665" y="5952"/>
                          <a:pt x="156952" y="630"/>
                          <a:pt x="215093" y="84"/>
                        </a:cubicBezTo>
                        <a:cubicBezTo>
                          <a:pt x="283606" y="-735"/>
                          <a:pt x="342565" y="4588"/>
                          <a:pt x="383782" y="10047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1" name="任意多边形: 形状 100">
                    <a:extLst>
                      <a:ext uri="{FF2B5EF4-FFF2-40B4-BE49-F238E27FC236}">
                        <a16:creationId xmlns:a16="http://schemas.microsoft.com/office/drawing/2014/main" id="{4F70D4D3-35A9-453C-9E3E-BD979E851F37}"/>
                      </a:ext>
                    </a:extLst>
                  </p:cNvPr>
                  <p:cNvSpPr/>
                  <p:nvPr/>
                </p:nvSpPr>
                <p:spPr>
                  <a:xfrm>
                    <a:off x="8752057" y="2669833"/>
                    <a:ext cx="393609" cy="81821"/>
                  </a:xfrm>
                  <a:custGeom>
                    <a:avLst/>
                    <a:gdLst>
                      <a:gd name="connsiteX0" fmla="*/ 393609 w 393609"/>
                      <a:gd name="connsiteY0" fmla="*/ 1298 h 81821"/>
                      <a:gd name="connsiteX1" fmla="*/ 392381 w 393609"/>
                      <a:gd name="connsiteY1" fmla="*/ 35009 h 81821"/>
                      <a:gd name="connsiteX2" fmla="*/ 0 w 393609"/>
                      <a:gd name="connsiteY2" fmla="*/ 81822 h 81821"/>
                      <a:gd name="connsiteX3" fmla="*/ 3685 w 393609"/>
                      <a:gd name="connsiteY3" fmla="*/ 45654 h 81821"/>
                      <a:gd name="connsiteX4" fmla="*/ 269685 w 393609"/>
                      <a:gd name="connsiteY4" fmla="*/ 1571 h 81821"/>
                      <a:gd name="connsiteX5" fmla="*/ 393609 w 393609"/>
                      <a:gd name="connsiteY5" fmla="*/ 1298 h 818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93609" h="81821">
                        <a:moveTo>
                          <a:pt x="393609" y="1298"/>
                        </a:moveTo>
                        <a:cubicBezTo>
                          <a:pt x="392927" y="12353"/>
                          <a:pt x="392654" y="23545"/>
                          <a:pt x="392381" y="35009"/>
                        </a:cubicBezTo>
                        <a:cubicBezTo>
                          <a:pt x="295889" y="30915"/>
                          <a:pt x="144396" y="34736"/>
                          <a:pt x="0" y="81822"/>
                        </a:cubicBezTo>
                        <a:cubicBezTo>
                          <a:pt x="955" y="69402"/>
                          <a:pt x="2184" y="57392"/>
                          <a:pt x="3685" y="45654"/>
                        </a:cubicBezTo>
                        <a:cubicBezTo>
                          <a:pt x="99358" y="16175"/>
                          <a:pt x="194757" y="5120"/>
                          <a:pt x="269685" y="1571"/>
                        </a:cubicBezTo>
                        <a:cubicBezTo>
                          <a:pt x="316361" y="-749"/>
                          <a:pt x="358534" y="-203"/>
                          <a:pt x="393609" y="1298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2" name="任意多边形: 形状 101">
                    <a:extLst>
                      <a:ext uri="{FF2B5EF4-FFF2-40B4-BE49-F238E27FC236}">
                        <a16:creationId xmlns:a16="http://schemas.microsoft.com/office/drawing/2014/main" id="{C831C7D2-D3BF-451F-8ADF-0A2BA8D14F8B}"/>
                      </a:ext>
                    </a:extLst>
                  </p:cNvPr>
                  <p:cNvSpPr/>
                  <p:nvPr/>
                </p:nvSpPr>
                <p:spPr>
                  <a:xfrm>
                    <a:off x="8748645" y="2808431"/>
                    <a:ext cx="401797" cy="100449"/>
                  </a:xfrm>
                  <a:custGeom>
                    <a:avLst/>
                    <a:gdLst>
                      <a:gd name="connsiteX0" fmla="*/ 401798 w 401797"/>
                      <a:gd name="connsiteY0" fmla="*/ 33574 h 100449"/>
                      <a:gd name="connsiteX1" fmla="*/ 682 w 401797"/>
                      <a:gd name="connsiteY1" fmla="*/ 100449 h 100449"/>
                      <a:gd name="connsiteX2" fmla="*/ 0 w 401797"/>
                      <a:gd name="connsiteY2" fmla="*/ 65374 h 100449"/>
                      <a:gd name="connsiteX3" fmla="*/ 296435 w 401797"/>
                      <a:gd name="connsiteY3" fmla="*/ 5186 h 100449"/>
                      <a:gd name="connsiteX4" fmla="*/ 399205 w 401797"/>
                      <a:gd name="connsiteY4" fmla="*/ 0 h 100449"/>
                      <a:gd name="connsiteX5" fmla="*/ 401798 w 401797"/>
                      <a:gd name="connsiteY5" fmla="*/ 33574 h 1004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01797" h="100449">
                        <a:moveTo>
                          <a:pt x="401798" y="33574"/>
                        </a:moveTo>
                        <a:cubicBezTo>
                          <a:pt x="298755" y="35348"/>
                          <a:pt x="144123" y="48177"/>
                          <a:pt x="682" y="100449"/>
                        </a:cubicBezTo>
                        <a:cubicBezTo>
                          <a:pt x="410" y="88576"/>
                          <a:pt x="137" y="76838"/>
                          <a:pt x="0" y="65374"/>
                        </a:cubicBezTo>
                        <a:cubicBezTo>
                          <a:pt x="105636" y="28388"/>
                          <a:pt x="213592" y="12147"/>
                          <a:pt x="296435" y="5186"/>
                        </a:cubicBezTo>
                        <a:cubicBezTo>
                          <a:pt x="334104" y="2047"/>
                          <a:pt x="368770" y="546"/>
                          <a:pt x="399205" y="0"/>
                        </a:cubicBezTo>
                        <a:cubicBezTo>
                          <a:pt x="399751" y="11055"/>
                          <a:pt x="400706" y="22246"/>
                          <a:pt x="401798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3" name="任意多边形: 形状 102">
                    <a:extLst>
                      <a:ext uri="{FF2B5EF4-FFF2-40B4-BE49-F238E27FC236}">
                        <a16:creationId xmlns:a16="http://schemas.microsoft.com/office/drawing/2014/main" id="{4CFC4C9B-A982-4B89-9CAA-EDBE686DE271}"/>
                      </a:ext>
                    </a:extLst>
                  </p:cNvPr>
                  <p:cNvSpPr/>
                  <p:nvPr/>
                </p:nvSpPr>
                <p:spPr>
                  <a:xfrm>
                    <a:off x="8756015" y="2946549"/>
                    <a:ext cx="412443" cy="115598"/>
                  </a:xfrm>
                  <a:custGeom>
                    <a:avLst/>
                    <a:gdLst>
                      <a:gd name="connsiteX0" fmla="*/ 412443 w 412443"/>
                      <a:gd name="connsiteY0" fmla="*/ 33574 h 115598"/>
                      <a:gd name="connsiteX1" fmla="*/ 2866 w 412443"/>
                      <a:gd name="connsiteY1" fmla="*/ 115599 h 115598"/>
                      <a:gd name="connsiteX2" fmla="*/ 0 w 412443"/>
                      <a:gd name="connsiteY2" fmla="*/ 80933 h 115598"/>
                      <a:gd name="connsiteX3" fmla="*/ 407257 w 412443"/>
                      <a:gd name="connsiteY3" fmla="*/ 0 h 115598"/>
                      <a:gd name="connsiteX4" fmla="*/ 412443 w 412443"/>
                      <a:gd name="connsiteY4" fmla="*/ 33574 h 1155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2443" h="115598">
                        <a:moveTo>
                          <a:pt x="412443" y="33574"/>
                        </a:moveTo>
                        <a:cubicBezTo>
                          <a:pt x="306125" y="40671"/>
                          <a:pt x="147808" y="60734"/>
                          <a:pt x="2866" y="115599"/>
                        </a:cubicBezTo>
                        <a:cubicBezTo>
                          <a:pt x="1774" y="103998"/>
                          <a:pt x="819" y="92397"/>
                          <a:pt x="0" y="80933"/>
                        </a:cubicBezTo>
                        <a:cubicBezTo>
                          <a:pt x="145761" y="26886"/>
                          <a:pt x="301075" y="7097"/>
                          <a:pt x="407257" y="0"/>
                        </a:cubicBezTo>
                        <a:cubicBezTo>
                          <a:pt x="408758" y="11191"/>
                          <a:pt x="410533" y="22383"/>
                          <a:pt x="412443" y="33574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4" name="任意多边形: 形状 103">
                    <a:extLst>
                      <a:ext uri="{FF2B5EF4-FFF2-40B4-BE49-F238E27FC236}">
                        <a16:creationId xmlns:a16="http://schemas.microsoft.com/office/drawing/2014/main" id="{C8F38DDA-7BB1-437F-A1B3-9EF1A42D78D6}"/>
                      </a:ext>
                    </a:extLst>
                  </p:cNvPr>
                  <p:cNvSpPr/>
                  <p:nvPr/>
                </p:nvSpPr>
                <p:spPr>
                  <a:xfrm>
                    <a:off x="8771028" y="3084803"/>
                    <a:ext cx="423498" cy="128154"/>
                  </a:xfrm>
                  <a:custGeom>
                    <a:avLst/>
                    <a:gdLst>
                      <a:gd name="connsiteX0" fmla="*/ 423498 w 423498"/>
                      <a:gd name="connsiteY0" fmla="*/ 33165 h 128154"/>
                      <a:gd name="connsiteX1" fmla="*/ 4231 w 423498"/>
                      <a:gd name="connsiteY1" fmla="*/ 128155 h 128154"/>
                      <a:gd name="connsiteX2" fmla="*/ 0 w 423498"/>
                      <a:gd name="connsiteY2" fmla="*/ 93898 h 128154"/>
                      <a:gd name="connsiteX3" fmla="*/ 416537 w 423498"/>
                      <a:gd name="connsiteY3" fmla="*/ 0 h 128154"/>
                      <a:gd name="connsiteX4" fmla="*/ 423498 w 423498"/>
                      <a:gd name="connsiteY4" fmla="*/ 33165 h 1281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3498" h="128154">
                        <a:moveTo>
                          <a:pt x="423498" y="33165"/>
                        </a:moveTo>
                        <a:cubicBezTo>
                          <a:pt x="315406" y="45448"/>
                          <a:pt x="152312" y="71925"/>
                          <a:pt x="4231" y="128155"/>
                        </a:cubicBezTo>
                        <a:cubicBezTo>
                          <a:pt x="2730" y="116827"/>
                          <a:pt x="1365" y="105363"/>
                          <a:pt x="0" y="93898"/>
                        </a:cubicBezTo>
                        <a:cubicBezTo>
                          <a:pt x="148627" y="38351"/>
                          <a:pt x="308718" y="12147"/>
                          <a:pt x="416537" y="0"/>
                        </a:cubicBezTo>
                        <a:cubicBezTo>
                          <a:pt x="418858" y="11191"/>
                          <a:pt x="421178" y="22246"/>
                          <a:pt x="423498" y="33165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5" name="任意多边形: 形状 104">
                    <a:extLst>
                      <a:ext uri="{FF2B5EF4-FFF2-40B4-BE49-F238E27FC236}">
                        <a16:creationId xmlns:a16="http://schemas.microsoft.com/office/drawing/2014/main" id="{EE4A15B4-ABB1-477F-BBBB-8C4EF4F0346C}"/>
                      </a:ext>
                    </a:extLst>
                  </p:cNvPr>
                  <p:cNvSpPr/>
                  <p:nvPr/>
                </p:nvSpPr>
                <p:spPr>
                  <a:xfrm>
                    <a:off x="8791500" y="3222102"/>
                    <a:ext cx="435098" cy="139619"/>
                  </a:xfrm>
                  <a:custGeom>
                    <a:avLst/>
                    <a:gdLst>
                      <a:gd name="connsiteX0" fmla="*/ 435099 w 435098"/>
                      <a:gd name="connsiteY0" fmla="*/ 32619 h 139619"/>
                      <a:gd name="connsiteX1" fmla="*/ 5186 w 435098"/>
                      <a:gd name="connsiteY1" fmla="*/ 139619 h 139619"/>
                      <a:gd name="connsiteX2" fmla="*/ 0 w 435098"/>
                      <a:gd name="connsiteY2" fmla="*/ 105909 h 139619"/>
                      <a:gd name="connsiteX3" fmla="*/ 427046 w 435098"/>
                      <a:gd name="connsiteY3" fmla="*/ 0 h 139619"/>
                      <a:gd name="connsiteX4" fmla="*/ 435099 w 435098"/>
                      <a:gd name="connsiteY4" fmla="*/ 32619 h 139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35098" h="139619">
                        <a:moveTo>
                          <a:pt x="435099" y="32619"/>
                        </a:moveTo>
                        <a:cubicBezTo>
                          <a:pt x="326733" y="49679"/>
                          <a:pt x="157771" y="82844"/>
                          <a:pt x="5186" y="139619"/>
                        </a:cubicBezTo>
                        <a:cubicBezTo>
                          <a:pt x="3412" y="128565"/>
                          <a:pt x="1638" y="117373"/>
                          <a:pt x="0" y="105909"/>
                        </a:cubicBezTo>
                        <a:cubicBezTo>
                          <a:pt x="152039" y="50088"/>
                          <a:pt x="318545" y="17333"/>
                          <a:pt x="427046" y="0"/>
                        </a:cubicBezTo>
                        <a:cubicBezTo>
                          <a:pt x="429640" y="11055"/>
                          <a:pt x="432369" y="21973"/>
                          <a:pt x="435099" y="3261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6" name="任意多边形: 形状 105">
                    <a:extLst>
                      <a:ext uri="{FF2B5EF4-FFF2-40B4-BE49-F238E27FC236}">
                        <a16:creationId xmlns:a16="http://schemas.microsoft.com/office/drawing/2014/main" id="{C215D737-0461-4684-B9F3-E39046B96A04}"/>
                      </a:ext>
                    </a:extLst>
                  </p:cNvPr>
                  <p:cNvSpPr/>
                  <p:nvPr/>
                </p:nvSpPr>
                <p:spPr>
                  <a:xfrm>
                    <a:off x="8815930" y="3357354"/>
                    <a:ext cx="447382" cy="151629"/>
                  </a:xfrm>
                  <a:custGeom>
                    <a:avLst/>
                    <a:gdLst>
                      <a:gd name="connsiteX0" fmla="*/ 447382 w 447382"/>
                      <a:gd name="connsiteY0" fmla="*/ 32209 h 151629"/>
                      <a:gd name="connsiteX1" fmla="*/ 6005 w 447382"/>
                      <a:gd name="connsiteY1" fmla="*/ 151630 h 151629"/>
                      <a:gd name="connsiteX2" fmla="*/ 0 w 447382"/>
                      <a:gd name="connsiteY2" fmla="*/ 118328 h 151629"/>
                      <a:gd name="connsiteX3" fmla="*/ 438238 w 447382"/>
                      <a:gd name="connsiteY3" fmla="*/ 0 h 151629"/>
                      <a:gd name="connsiteX4" fmla="*/ 447382 w 447382"/>
                      <a:gd name="connsiteY4" fmla="*/ 32209 h 1516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47382" h="151629">
                        <a:moveTo>
                          <a:pt x="447382" y="32209"/>
                        </a:moveTo>
                        <a:cubicBezTo>
                          <a:pt x="340245" y="54046"/>
                          <a:pt x="164459" y="94444"/>
                          <a:pt x="6005" y="151630"/>
                        </a:cubicBezTo>
                        <a:cubicBezTo>
                          <a:pt x="4094" y="140848"/>
                          <a:pt x="2047" y="129656"/>
                          <a:pt x="0" y="118328"/>
                        </a:cubicBezTo>
                        <a:cubicBezTo>
                          <a:pt x="157771" y="61826"/>
                          <a:pt x="330965" y="21973"/>
                          <a:pt x="438238" y="0"/>
                        </a:cubicBezTo>
                        <a:cubicBezTo>
                          <a:pt x="441241" y="11055"/>
                          <a:pt x="444380" y="21837"/>
                          <a:pt x="447382" y="32209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07" name="任意多边形: 形状 106">
                    <a:extLst>
                      <a:ext uri="{FF2B5EF4-FFF2-40B4-BE49-F238E27FC236}">
                        <a16:creationId xmlns:a16="http://schemas.microsoft.com/office/drawing/2014/main" id="{8FB806E5-60A0-4762-BDFB-78D8D31AE367}"/>
                      </a:ext>
                    </a:extLst>
                  </p:cNvPr>
                  <p:cNvSpPr/>
                  <p:nvPr/>
                </p:nvSpPr>
                <p:spPr>
                  <a:xfrm>
                    <a:off x="8843499" y="3490422"/>
                    <a:ext cx="460211" cy="164868"/>
                  </a:xfrm>
                  <a:custGeom>
                    <a:avLst/>
                    <a:gdLst>
                      <a:gd name="connsiteX0" fmla="*/ 460211 w 460211"/>
                      <a:gd name="connsiteY0" fmla="*/ 31800 h 164868"/>
                      <a:gd name="connsiteX1" fmla="*/ 6687 w 460211"/>
                      <a:gd name="connsiteY1" fmla="*/ 164868 h 164868"/>
                      <a:gd name="connsiteX2" fmla="*/ 0 w 460211"/>
                      <a:gd name="connsiteY2" fmla="*/ 131840 h 164868"/>
                      <a:gd name="connsiteX3" fmla="*/ 450112 w 460211"/>
                      <a:gd name="connsiteY3" fmla="*/ 0 h 164868"/>
                      <a:gd name="connsiteX4" fmla="*/ 460211 w 460211"/>
                      <a:gd name="connsiteY4" fmla="*/ 31800 h 1648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60211" h="164868">
                        <a:moveTo>
                          <a:pt x="460211" y="31800"/>
                        </a:moveTo>
                        <a:cubicBezTo>
                          <a:pt x="356350" y="57868"/>
                          <a:pt x="172647" y="106864"/>
                          <a:pt x="6687" y="164868"/>
                        </a:cubicBezTo>
                        <a:cubicBezTo>
                          <a:pt x="4640" y="154769"/>
                          <a:pt x="2320" y="143714"/>
                          <a:pt x="0" y="131840"/>
                        </a:cubicBezTo>
                        <a:cubicBezTo>
                          <a:pt x="165005" y="74518"/>
                          <a:pt x="346250" y="26204"/>
                          <a:pt x="450112" y="0"/>
                        </a:cubicBezTo>
                        <a:cubicBezTo>
                          <a:pt x="453797" y="11601"/>
                          <a:pt x="457209" y="22246"/>
                          <a:pt x="460211" y="31800"/>
                        </a:cubicBezTo>
                        <a:close/>
                      </a:path>
                    </a:pathLst>
                  </a:custGeom>
                  <a:solidFill>
                    <a:srgbClr val="1C55D1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67D6EAA5-D3C5-4F46-A0E7-F745E050F20E}"/>
                    </a:ext>
                  </a:extLst>
                </p:cNvPr>
                <p:cNvSpPr/>
                <p:nvPr/>
              </p:nvSpPr>
              <p:spPr>
                <a:xfrm>
                  <a:off x="9001406" y="1933936"/>
                  <a:ext cx="224267" cy="559458"/>
                </a:xfrm>
                <a:custGeom>
                  <a:avLst/>
                  <a:gdLst>
                    <a:gd name="connsiteX0" fmla="*/ 139756 w 224267"/>
                    <a:gd name="connsiteY0" fmla="*/ 559361 h 559458"/>
                    <a:gd name="connsiteX1" fmla="*/ 139756 w 224267"/>
                    <a:gd name="connsiteY1" fmla="*/ 559361 h 559458"/>
                    <a:gd name="connsiteX2" fmla="*/ 129247 w 224267"/>
                    <a:gd name="connsiteY2" fmla="*/ 558133 h 559458"/>
                    <a:gd name="connsiteX3" fmla="*/ 98812 w 224267"/>
                    <a:gd name="connsiteY3" fmla="*/ 539572 h 559458"/>
                    <a:gd name="connsiteX4" fmla="*/ 0 w 224267"/>
                    <a:gd name="connsiteY4" fmla="*/ 120577 h 559458"/>
                    <a:gd name="connsiteX5" fmla="*/ 71789 w 224267"/>
                    <a:gd name="connsiteY5" fmla="*/ 5252 h 559458"/>
                    <a:gd name="connsiteX6" fmla="*/ 156952 w 224267"/>
                    <a:gd name="connsiteY6" fmla="*/ 475 h 559458"/>
                    <a:gd name="connsiteX7" fmla="*/ 208678 w 224267"/>
                    <a:gd name="connsiteY7" fmla="*/ 318474 h 559458"/>
                    <a:gd name="connsiteX8" fmla="*/ 139756 w 224267"/>
                    <a:gd name="connsiteY8" fmla="*/ 559361 h 5594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24267" h="559458">
                      <a:moveTo>
                        <a:pt x="139756" y="559361"/>
                      </a:moveTo>
                      <a:cubicBezTo>
                        <a:pt x="139756" y="559361"/>
                        <a:pt x="139756" y="559361"/>
                        <a:pt x="139756" y="559361"/>
                      </a:cubicBezTo>
                      <a:cubicBezTo>
                        <a:pt x="136344" y="559225"/>
                        <a:pt x="132795" y="558815"/>
                        <a:pt x="129247" y="558133"/>
                      </a:cubicBezTo>
                      <a:cubicBezTo>
                        <a:pt x="118328" y="556086"/>
                        <a:pt x="108229" y="549535"/>
                        <a:pt x="98812" y="539572"/>
                      </a:cubicBezTo>
                      <a:cubicBezTo>
                        <a:pt x="20336" y="454817"/>
                        <a:pt x="0" y="120577"/>
                        <a:pt x="0" y="120577"/>
                      </a:cubicBezTo>
                      <a:cubicBezTo>
                        <a:pt x="0" y="120577"/>
                        <a:pt x="29480" y="47834"/>
                        <a:pt x="71789" y="5252"/>
                      </a:cubicBezTo>
                      <a:cubicBezTo>
                        <a:pt x="98402" y="1157"/>
                        <a:pt x="127472" y="-1026"/>
                        <a:pt x="156952" y="475"/>
                      </a:cubicBezTo>
                      <a:cubicBezTo>
                        <a:pt x="163094" y="63256"/>
                        <a:pt x="184248" y="263336"/>
                        <a:pt x="208678" y="318474"/>
                      </a:cubicBezTo>
                      <a:cubicBezTo>
                        <a:pt x="237066" y="381664"/>
                        <a:pt x="233518" y="564275"/>
                        <a:pt x="139756" y="559361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55ADB25C-7C78-4989-AC81-FD69E0924838}"/>
                    </a:ext>
                  </a:extLst>
                </p:cNvPr>
                <p:cNvSpPr/>
                <p:nvPr/>
              </p:nvSpPr>
              <p:spPr>
                <a:xfrm>
                  <a:off x="8906553" y="2190448"/>
                  <a:ext cx="794016" cy="147291"/>
                </a:xfrm>
                <a:custGeom>
                  <a:avLst/>
                  <a:gdLst>
                    <a:gd name="connsiteX0" fmla="*/ 792404 w 794016"/>
                    <a:gd name="connsiteY0" fmla="*/ 99767 h 147291"/>
                    <a:gd name="connsiteX1" fmla="*/ 198579 w 794016"/>
                    <a:gd name="connsiteY1" fmla="*/ 70151 h 147291"/>
                    <a:gd name="connsiteX2" fmla="*/ 2320 w 794016"/>
                    <a:gd name="connsiteY2" fmla="*/ 32755 h 147291"/>
                    <a:gd name="connsiteX3" fmla="*/ 0 w 794016"/>
                    <a:gd name="connsiteY3" fmla="*/ 11191 h 147291"/>
                    <a:gd name="connsiteX4" fmla="*/ 397567 w 794016"/>
                    <a:gd name="connsiteY4" fmla="*/ 82843 h 147291"/>
                    <a:gd name="connsiteX5" fmla="*/ 791176 w 794016"/>
                    <a:gd name="connsiteY5" fmla="*/ 0 h 147291"/>
                    <a:gd name="connsiteX6" fmla="*/ 792404 w 794016"/>
                    <a:gd name="connsiteY6" fmla="*/ 99767 h 147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94016" h="147291">
                      <a:moveTo>
                        <a:pt x="792404" y="99767"/>
                      </a:moveTo>
                      <a:cubicBezTo>
                        <a:pt x="677624" y="188752"/>
                        <a:pt x="427183" y="137572"/>
                        <a:pt x="198579" y="70151"/>
                      </a:cubicBezTo>
                      <a:cubicBezTo>
                        <a:pt x="120512" y="47086"/>
                        <a:pt x="55411" y="36304"/>
                        <a:pt x="2320" y="32755"/>
                      </a:cubicBezTo>
                      <a:cubicBezTo>
                        <a:pt x="1365" y="25522"/>
                        <a:pt x="546" y="18288"/>
                        <a:pt x="0" y="11191"/>
                      </a:cubicBezTo>
                      <a:cubicBezTo>
                        <a:pt x="99358" y="17469"/>
                        <a:pt x="232562" y="45311"/>
                        <a:pt x="397567" y="82843"/>
                      </a:cubicBezTo>
                      <a:cubicBezTo>
                        <a:pt x="642139" y="138391"/>
                        <a:pt x="753644" y="44629"/>
                        <a:pt x="791176" y="0"/>
                      </a:cubicBezTo>
                      <a:cubicBezTo>
                        <a:pt x="794178" y="31800"/>
                        <a:pt x="795134" y="65783"/>
                        <a:pt x="792404" y="99767"/>
                      </a:cubicBezTo>
                      <a:close/>
                    </a:path>
                  </a:pathLst>
                </a:custGeom>
                <a:solidFill>
                  <a:srgbClr val="1C55D1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DBA13093-EAD3-4B7B-BDD7-85EF3E6E36D1}"/>
                  </a:ext>
                </a:extLst>
              </p:cNvPr>
              <p:cNvSpPr/>
              <p:nvPr/>
            </p:nvSpPr>
            <p:spPr>
              <a:xfrm>
                <a:off x="9532171" y="1797340"/>
                <a:ext cx="83396" cy="87709"/>
              </a:xfrm>
              <a:custGeom>
                <a:avLst/>
                <a:gdLst>
                  <a:gd name="connsiteX0" fmla="*/ 962 w 83396"/>
                  <a:gd name="connsiteY0" fmla="*/ 40034 h 87709"/>
                  <a:gd name="connsiteX1" fmla="*/ 18432 w 83396"/>
                  <a:gd name="connsiteY1" fmla="*/ 87529 h 87709"/>
                  <a:gd name="connsiteX2" fmla="*/ 49685 w 83396"/>
                  <a:gd name="connsiteY2" fmla="*/ 47677 h 87709"/>
                  <a:gd name="connsiteX3" fmla="*/ 49140 w 83396"/>
                  <a:gd name="connsiteY3" fmla="*/ 21473 h 87709"/>
                  <a:gd name="connsiteX4" fmla="*/ 83396 w 83396"/>
                  <a:gd name="connsiteY4" fmla="*/ 12465 h 87709"/>
                  <a:gd name="connsiteX5" fmla="*/ 37539 w 83396"/>
                  <a:gd name="connsiteY5" fmla="*/ 2229 h 87709"/>
                  <a:gd name="connsiteX6" fmla="*/ 32080 w 83396"/>
                  <a:gd name="connsiteY6" fmla="*/ 182 h 87709"/>
                  <a:gd name="connsiteX7" fmla="*/ 962 w 83396"/>
                  <a:gd name="connsiteY7" fmla="*/ 40034 h 87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396" h="87709">
                    <a:moveTo>
                      <a:pt x="962" y="40034"/>
                    </a:moveTo>
                    <a:cubicBezTo>
                      <a:pt x="-2859" y="64191"/>
                      <a:pt x="5057" y="85482"/>
                      <a:pt x="18432" y="87529"/>
                    </a:cubicBezTo>
                    <a:cubicBezTo>
                      <a:pt x="31943" y="89713"/>
                      <a:pt x="46001" y="71834"/>
                      <a:pt x="49685" y="47677"/>
                    </a:cubicBezTo>
                    <a:cubicBezTo>
                      <a:pt x="51187" y="38123"/>
                      <a:pt x="50777" y="29116"/>
                      <a:pt x="49140" y="21473"/>
                    </a:cubicBezTo>
                    <a:cubicBezTo>
                      <a:pt x="73160" y="26249"/>
                      <a:pt x="83396" y="12465"/>
                      <a:pt x="83396" y="12465"/>
                    </a:cubicBezTo>
                    <a:cubicBezTo>
                      <a:pt x="67428" y="12192"/>
                      <a:pt x="47092" y="5641"/>
                      <a:pt x="37539" y="2229"/>
                    </a:cubicBezTo>
                    <a:cubicBezTo>
                      <a:pt x="34127" y="1001"/>
                      <a:pt x="32080" y="182"/>
                      <a:pt x="32080" y="182"/>
                    </a:cubicBezTo>
                    <a:cubicBezTo>
                      <a:pt x="18841" y="-2002"/>
                      <a:pt x="4784" y="15740"/>
                      <a:pt x="962" y="40034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AD067FD7-F7E5-4A6F-B97B-9C8A9691640D}"/>
                  </a:ext>
                </a:extLst>
              </p:cNvPr>
              <p:cNvSpPr/>
              <p:nvPr/>
            </p:nvSpPr>
            <p:spPr>
              <a:xfrm>
                <a:off x="9564387" y="1797385"/>
                <a:ext cx="5459" cy="2047"/>
              </a:xfrm>
              <a:custGeom>
                <a:avLst/>
                <a:gdLst>
                  <a:gd name="connsiteX0" fmla="*/ 0 w 5459"/>
                  <a:gd name="connsiteY0" fmla="*/ 0 h 2047"/>
                  <a:gd name="connsiteX1" fmla="*/ 5459 w 5459"/>
                  <a:gd name="connsiteY1" fmla="*/ 2047 h 2047"/>
                  <a:gd name="connsiteX2" fmla="*/ 0 w 5459"/>
                  <a:gd name="connsiteY2" fmla="*/ 0 h 2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9" h="2047">
                    <a:moveTo>
                      <a:pt x="0" y="0"/>
                    </a:moveTo>
                    <a:cubicBezTo>
                      <a:pt x="0" y="0"/>
                      <a:pt x="2047" y="819"/>
                      <a:pt x="5459" y="2047"/>
                    </a:cubicBezTo>
                    <a:cubicBezTo>
                      <a:pt x="3821" y="1092"/>
                      <a:pt x="2047" y="273"/>
                      <a:pt x="0" y="0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A1A8479E-387D-4C5E-B837-5388B8E6FCB0}"/>
                  </a:ext>
                </a:extLst>
              </p:cNvPr>
              <p:cNvSpPr/>
              <p:nvPr/>
            </p:nvSpPr>
            <p:spPr>
              <a:xfrm>
                <a:off x="9546489" y="1913582"/>
                <a:ext cx="153831" cy="81987"/>
              </a:xfrm>
              <a:custGeom>
                <a:avLst/>
                <a:gdLst>
                  <a:gd name="connsiteX0" fmla="*/ 153832 w 153831"/>
                  <a:gd name="connsiteY0" fmla="*/ 15780 h 81987"/>
                  <a:gd name="connsiteX1" fmla="*/ 126263 w 153831"/>
                  <a:gd name="connsiteY1" fmla="*/ 81973 h 81987"/>
                  <a:gd name="connsiteX2" fmla="*/ 91733 w 153831"/>
                  <a:gd name="connsiteY2" fmla="*/ 79653 h 81987"/>
                  <a:gd name="connsiteX3" fmla="*/ 155 w 153831"/>
                  <a:gd name="connsiteY3" fmla="*/ 27244 h 81987"/>
                  <a:gd name="connsiteX4" fmla="*/ 102652 w 153831"/>
                  <a:gd name="connsiteY4" fmla="*/ 2405 h 81987"/>
                  <a:gd name="connsiteX5" fmla="*/ 153832 w 153831"/>
                  <a:gd name="connsiteY5" fmla="*/ 15780 h 81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3831" h="81987">
                    <a:moveTo>
                      <a:pt x="153832" y="15780"/>
                    </a:moveTo>
                    <a:cubicBezTo>
                      <a:pt x="145370" y="38572"/>
                      <a:pt x="136090" y="60682"/>
                      <a:pt x="126263" y="81973"/>
                    </a:cubicBezTo>
                    <a:cubicBezTo>
                      <a:pt x="115481" y="82109"/>
                      <a:pt x="103744" y="81290"/>
                      <a:pt x="91733" y="79653"/>
                    </a:cubicBezTo>
                    <a:cubicBezTo>
                      <a:pt x="38097" y="72146"/>
                      <a:pt x="-2847" y="48672"/>
                      <a:pt x="155" y="27244"/>
                    </a:cubicBezTo>
                    <a:cubicBezTo>
                      <a:pt x="3158" y="5953"/>
                      <a:pt x="49152" y="-5238"/>
                      <a:pt x="102652" y="2405"/>
                    </a:cubicBezTo>
                    <a:cubicBezTo>
                      <a:pt x="121896" y="4998"/>
                      <a:pt x="139365" y="9775"/>
                      <a:pt x="153832" y="15780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89D1C9A5-BF96-45B1-85B4-2BB1997D781F}"/>
                  </a:ext>
                </a:extLst>
              </p:cNvPr>
              <p:cNvSpPr/>
              <p:nvPr/>
            </p:nvSpPr>
            <p:spPr>
              <a:xfrm>
                <a:off x="9110969" y="1843570"/>
                <a:ext cx="196306" cy="82870"/>
              </a:xfrm>
              <a:custGeom>
                <a:avLst/>
                <a:gdLst>
                  <a:gd name="connsiteX0" fmla="*/ 196153 w 196306"/>
                  <a:gd name="connsiteY0" fmla="*/ 55356 h 82870"/>
                  <a:gd name="connsiteX1" fmla="*/ 92564 w 196306"/>
                  <a:gd name="connsiteY1" fmla="*/ 80469 h 82870"/>
                  <a:gd name="connsiteX2" fmla="*/ 168 w 196306"/>
                  <a:gd name="connsiteY2" fmla="*/ 27514 h 82870"/>
                  <a:gd name="connsiteX3" fmla="*/ 103756 w 196306"/>
                  <a:gd name="connsiteY3" fmla="*/ 2402 h 82870"/>
                  <a:gd name="connsiteX4" fmla="*/ 196153 w 196306"/>
                  <a:gd name="connsiteY4" fmla="*/ 55356 h 8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306" h="82870">
                    <a:moveTo>
                      <a:pt x="196153" y="55356"/>
                    </a:moveTo>
                    <a:cubicBezTo>
                      <a:pt x="193151" y="76920"/>
                      <a:pt x="146747" y="88112"/>
                      <a:pt x="92564" y="80469"/>
                    </a:cubicBezTo>
                    <a:cubicBezTo>
                      <a:pt x="38382" y="72826"/>
                      <a:pt x="-2972" y="49078"/>
                      <a:pt x="168" y="27514"/>
                    </a:cubicBezTo>
                    <a:cubicBezTo>
                      <a:pt x="3170" y="5951"/>
                      <a:pt x="49573" y="-5241"/>
                      <a:pt x="103756" y="2402"/>
                    </a:cubicBezTo>
                    <a:cubicBezTo>
                      <a:pt x="157802" y="10045"/>
                      <a:pt x="199156" y="33793"/>
                      <a:pt x="196153" y="55356"/>
                    </a:cubicBez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5" name="组合 74">
                <a:extLst>
                  <a:ext uri="{FF2B5EF4-FFF2-40B4-BE49-F238E27FC236}">
                    <a16:creationId xmlns:a16="http://schemas.microsoft.com/office/drawing/2014/main" id="{5C430452-845B-4248-B845-2D47748542BF}"/>
                  </a:ext>
                </a:extLst>
              </p:cNvPr>
              <p:cNvGrpSpPr/>
              <p:nvPr/>
            </p:nvGrpSpPr>
            <p:grpSpPr>
              <a:xfrm>
                <a:off x="8922544" y="1681687"/>
                <a:ext cx="180561" cy="272377"/>
                <a:chOff x="8922544" y="1681687"/>
                <a:chExt cx="180561" cy="272377"/>
              </a:xfrm>
              <a:solidFill>
                <a:schemeClr val="accent1"/>
              </a:solidFill>
            </p:grpSpPr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AC9D0926-7510-4783-92D4-F3B7DEF84401}"/>
                    </a:ext>
                  </a:extLst>
                </p:cNvPr>
                <p:cNvSpPr/>
                <p:nvPr/>
              </p:nvSpPr>
              <p:spPr>
                <a:xfrm>
                  <a:off x="8922544" y="1681687"/>
                  <a:ext cx="161567" cy="256529"/>
                </a:xfrm>
                <a:custGeom>
                  <a:avLst/>
                  <a:gdLst>
                    <a:gd name="connsiteX0" fmla="*/ 161023 w 161567"/>
                    <a:gd name="connsiteY0" fmla="*/ 80896 h 256529"/>
                    <a:gd name="connsiteX1" fmla="*/ 138640 w 161567"/>
                    <a:gd name="connsiteY1" fmla="*/ 28078 h 256529"/>
                    <a:gd name="connsiteX2" fmla="*/ 14580 w 161567"/>
                    <a:gd name="connsiteY2" fmla="*/ 35585 h 256529"/>
                    <a:gd name="connsiteX3" fmla="*/ 136184 w 161567"/>
                    <a:gd name="connsiteY3" fmla="*/ 254908 h 256529"/>
                    <a:gd name="connsiteX4" fmla="*/ 161023 w 161567"/>
                    <a:gd name="connsiteY4" fmla="*/ 80896 h 256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567" h="256529">
                      <a:moveTo>
                        <a:pt x="161023" y="80896"/>
                      </a:moveTo>
                      <a:cubicBezTo>
                        <a:pt x="163889" y="60424"/>
                        <a:pt x="155291" y="40225"/>
                        <a:pt x="138640" y="28078"/>
                      </a:cubicBezTo>
                      <a:cubicBezTo>
                        <a:pt x="97287" y="-1947"/>
                        <a:pt x="42012" y="-19007"/>
                        <a:pt x="14580" y="35585"/>
                      </a:cubicBezTo>
                      <a:cubicBezTo>
                        <a:pt x="-36327" y="136989"/>
                        <a:pt x="56206" y="272924"/>
                        <a:pt x="136184" y="254908"/>
                      </a:cubicBezTo>
                      <a:lnTo>
                        <a:pt x="161023" y="80896"/>
                      </a:ln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4547B7D1-1E02-4EFA-929A-3AD87C63D75E}"/>
                    </a:ext>
                  </a:extLst>
                </p:cNvPr>
                <p:cNvSpPr/>
                <p:nvPr/>
              </p:nvSpPr>
              <p:spPr>
                <a:xfrm>
                  <a:off x="9053405" y="1915252"/>
                  <a:ext cx="49700" cy="38812"/>
                </a:xfrm>
                <a:custGeom>
                  <a:avLst/>
                  <a:gdLst>
                    <a:gd name="connsiteX0" fmla="*/ 46949 w 49700"/>
                    <a:gd name="connsiteY0" fmla="*/ 14792 h 38812"/>
                    <a:gd name="connsiteX1" fmla="*/ 42309 w 49700"/>
                    <a:gd name="connsiteY1" fmla="*/ 18886 h 38812"/>
                    <a:gd name="connsiteX2" fmla="*/ 28252 w 49700"/>
                    <a:gd name="connsiteY2" fmla="*/ 28576 h 38812"/>
                    <a:gd name="connsiteX3" fmla="*/ 2184 w 49700"/>
                    <a:gd name="connsiteY3" fmla="*/ 38812 h 38812"/>
                    <a:gd name="connsiteX4" fmla="*/ 0 w 49700"/>
                    <a:gd name="connsiteY4" fmla="*/ 22435 h 38812"/>
                    <a:gd name="connsiteX5" fmla="*/ 18561 w 49700"/>
                    <a:gd name="connsiteY5" fmla="*/ 15747 h 38812"/>
                    <a:gd name="connsiteX6" fmla="*/ 33301 w 49700"/>
                    <a:gd name="connsiteY6" fmla="*/ 6603 h 38812"/>
                    <a:gd name="connsiteX7" fmla="*/ 38897 w 49700"/>
                    <a:gd name="connsiteY7" fmla="*/ 1826 h 38812"/>
                    <a:gd name="connsiteX8" fmla="*/ 48314 w 49700"/>
                    <a:gd name="connsiteY8" fmla="*/ 3191 h 38812"/>
                    <a:gd name="connsiteX9" fmla="*/ 46949 w 49700"/>
                    <a:gd name="connsiteY9" fmla="*/ 14792 h 388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9700" h="38812">
                      <a:moveTo>
                        <a:pt x="46949" y="14792"/>
                      </a:moveTo>
                      <a:cubicBezTo>
                        <a:pt x="45448" y="16293"/>
                        <a:pt x="43810" y="17658"/>
                        <a:pt x="42309" y="18886"/>
                      </a:cubicBezTo>
                      <a:cubicBezTo>
                        <a:pt x="37669" y="22708"/>
                        <a:pt x="33028" y="25847"/>
                        <a:pt x="28252" y="28576"/>
                      </a:cubicBezTo>
                      <a:cubicBezTo>
                        <a:pt x="19517" y="33490"/>
                        <a:pt x="10645" y="36765"/>
                        <a:pt x="2184" y="38812"/>
                      </a:cubicBezTo>
                      <a:cubicBezTo>
                        <a:pt x="1365" y="33490"/>
                        <a:pt x="682" y="28031"/>
                        <a:pt x="0" y="22435"/>
                      </a:cubicBezTo>
                      <a:cubicBezTo>
                        <a:pt x="6142" y="20934"/>
                        <a:pt x="12283" y="18886"/>
                        <a:pt x="18561" y="15747"/>
                      </a:cubicBezTo>
                      <a:cubicBezTo>
                        <a:pt x="23611" y="13427"/>
                        <a:pt x="28525" y="10425"/>
                        <a:pt x="33301" y="6603"/>
                      </a:cubicBezTo>
                      <a:cubicBezTo>
                        <a:pt x="35212" y="5102"/>
                        <a:pt x="37123" y="3464"/>
                        <a:pt x="38897" y="1826"/>
                      </a:cubicBezTo>
                      <a:cubicBezTo>
                        <a:pt x="41900" y="-1040"/>
                        <a:pt x="46130" y="-494"/>
                        <a:pt x="48314" y="3191"/>
                      </a:cubicBezTo>
                      <a:cubicBezTo>
                        <a:pt x="50634" y="6876"/>
                        <a:pt x="49952" y="12062"/>
                        <a:pt x="46949" y="14792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55BF53EC-35FF-4A3E-A115-929E9EE0CBDC}"/>
                    </a:ext>
                  </a:extLst>
                </p:cNvPr>
                <p:cNvSpPr/>
                <p:nvPr/>
              </p:nvSpPr>
              <p:spPr>
                <a:xfrm>
                  <a:off x="8970398" y="1737034"/>
                  <a:ext cx="62453" cy="129277"/>
                </a:xfrm>
                <a:custGeom>
                  <a:avLst/>
                  <a:gdLst>
                    <a:gd name="connsiteX0" fmla="*/ 52572 w 62453"/>
                    <a:gd name="connsiteY0" fmla="*/ 129137 h 129277"/>
                    <a:gd name="connsiteX1" fmla="*/ 45338 w 62453"/>
                    <a:gd name="connsiteY1" fmla="*/ 120539 h 129277"/>
                    <a:gd name="connsiteX2" fmla="*/ 3166 w 62453"/>
                    <a:gd name="connsiteY2" fmla="*/ 15176 h 129277"/>
                    <a:gd name="connsiteX3" fmla="*/ 1938 w 62453"/>
                    <a:gd name="connsiteY3" fmla="*/ 3166 h 129277"/>
                    <a:gd name="connsiteX4" fmla="*/ 13948 w 62453"/>
                    <a:gd name="connsiteY4" fmla="*/ 1938 h 129277"/>
                    <a:gd name="connsiteX5" fmla="*/ 62398 w 62453"/>
                    <a:gd name="connsiteY5" fmla="*/ 120948 h 129277"/>
                    <a:gd name="connsiteX6" fmla="*/ 53664 w 62453"/>
                    <a:gd name="connsiteY6" fmla="*/ 129274 h 129277"/>
                    <a:gd name="connsiteX7" fmla="*/ 52572 w 62453"/>
                    <a:gd name="connsiteY7" fmla="*/ 129137 h 129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453" h="129277">
                      <a:moveTo>
                        <a:pt x="52572" y="129137"/>
                      </a:moveTo>
                      <a:cubicBezTo>
                        <a:pt x="48341" y="128455"/>
                        <a:pt x="45202" y="124770"/>
                        <a:pt x="45338" y="120539"/>
                      </a:cubicBezTo>
                      <a:cubicBezTo>
                        <a:pt x="46976" y="52162"/>
                        <a:pt x="3575" y="15586"/>
                        <a:pt x="3166" y="15176"/>
                      </a:cubicBezTo>
                      <a:cubicBezTo>
                        <a:pt x="-519" y="12174"/>
                        <a:pt x="-1065" y="6851"/>
                        <a:pt x="1938" y="3166"/>
                      </a:cubicBezTo>
                      <a:cubicBezTo>
                        <a:pt x="4940" y="-519"/>
                        <a:pt x="10263" y="-1065"/>
                        <a:pt x="13948" y="1938"/>
                      </a:cubicBezTo>
                      <a:cubicBezTo>
                        <a:pt x="15995" y="3575"/>
                        <a:pt x="64309" y="43837"/>
                        <a:pt x="62398" y="120948"/>
                      </a:cubicBezTo>
                      <a:cubicBezTo>
                        <a:pt x="62262" y="125725"/>
                        <a:pt x="58304" y="129410"/>
                        <a:pt x="53664" y="129274"/>
                      </a:cubicBezTo>
                      <a:cubicBezTo>
                        <a:pt x="53254" y="129274"/>
                        <a:pt x="52845" y="129274"/>
                        <a:pt x="52572" y="129137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8A9CBD1F-A76A-4505-97F2-959491416F51}"/>
                    </a:ext>
                  </a:extLst>
                </p:cNvPr>
                <p:cNvSpPr/>
                <p:nvPr/>
              </p:nvSpPr>
              <p:spPr>
                <a:xfrm>
                  <a:off x="8961072" y="1787704"/>
                  <a:ext cx="61237" cy="30629"/>
                </a:xfrm>
                <a:custGeom>
                  <a:avLst/>
                  <a:gdLst>
                    <a:gd name="connsiteX0" fmla="*/ 7306 w 61237"/>
                    <a:gd name="connsiteY0" fmla="*/ 30563 h 30629"/>
                    <a:gd name="connsiteX1" fmla="*/ 2119 w 61237"/>
                    <a:gd name="connsiteY1" fmla="*/ 27697 h 30629"/>
                    <a:gd name="connsiteX2" fmla="*/ 2938 w 61237"/>
                    <a:gd name="connsiteY2" fmla="*/ 15687 h 30629"/>
                    <a:gd name="connsiteX3" fmla="*/ 54937 w 61237"/>
                    <a:gd name="connsiteY3" fmla="*/ 1493 h 30629"/>
                    <a:gd name="connsiteX4" fmla="*/ 60943 w 61237"/>
                    <a:gd name="connsiteY4" fmla="*/ 12002 h 30629"/>
                    <a:gd name="connsiteX5" fmla="*/ 50434 w 61237"/>
                    <a:gd name="connsiteY5" fmla="*/ 18007 h 30629"/>
                    <a:gd name="connsiteX6" fmla="*/ 13993 w 61237"/>
                    <a:gd name="connsiteY6" fmla="*/ 28652 h 30629"/>
                    <a:gd name="connsiteX7" fmla="*/ 7306 w 61237"/>
                    <a:gd name="connsiteY7" fmla="*/ 30563 h 306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1237" h="30629">
                      <a:moveTo>
                        <a:pt x="7306" y="30563"/>
                      </a:moveTo>
                      <a:cubicBezTo>
                        <a:pt x="5395" y="30290"/>
                        <a:pt x="3484" y="29335"/>
                        <a:pt x="2119" y="27697"/>
                      </a:cubicBezTo>
                      <a:cubicBezTo>
                        <a:pt x="-1020" y="24148"/>
                        <a:pt x="-610" y="18689"/>
                        <a:pt x="2938" y="15687"/>
                      </a:cubicBezTo>
                      <a:cubicBezTo>
                        <a:pt x="3894" y="14868"/>
                        <a:pt x="27914" y="-5604"/>
                        <a:pt x="54937" y="1493"/>
                      </a:cubicBezTo>
                      <a:cubicBezTo>
                        <a:pt x="59441" y="2721"/>
                        <a:pt x="62171" y="7361"/>
                        <a:pt x="60943" y="12002"/>
                      </a:cubicBezTo>
                      <a:cubicBezTo>
                        <a:pt x="59714" y="16505"/>
                        <a:pt x="55074" y="19235"/>
                        <a:pt x="50434" y="18007"/>
                      </a:cubicBezTo>
                      <a:cubicBezTo>
                        <a:pt x="32282" y="13230"/>
                        <a:pt x="14266" y="28516"/>
                        <a:pt x="13993" y="28652"/>
                      </a:cubicBezTo>
                      <a:cubicBezTo>
                        <a:pt x="12219" y="30290"/>
                        <a:pt x="9763" y="30836"/>
                        <a:pt x="7306" y="30563"/>
                      </a:cubicBez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D02240F4-12B2-411A-98FC-5AA2412D8BE0}"/>
                  </a:ext>
                </a:extLst>
              </p:cNvPr>
              <p:cNvSpPr/>
              <p:nvPr/>
            </p:nvSpPr>
            <p:spPr>
              <a:xfrm>
                <a:off x="9420549" y="1817040"/>
                <a:ext cx="67277" cy="154894"/>
              </a:xfrm>
              <a:custGeom>
                <a:avLst/>
                <a:gdLst>
                  <a:gd name="connsiteX0" fmla="*/ 7358 w 67277"/>
                  <a:gd name="connsiteY0" fmla="*/ 154767 h 154894"/>
                  <a:gd name="connsiteX1" fmla="*/ 125 w 67277"/>
                  <a:gd name="connsiteY1" fmla="*/ 147669 h 154894"/>
                  <a:gd name="connsiteX2" fmla="*/ 5174 w 67277"/>
                  <a:gd name="connsiteY2" fmla="*/ 138525 h 154894"/>
                  <a:gd name="connsiteX3" fmla="*/ 49940 w 67277"/>
                  <a:gd name="connsiteY3" fmla="*/ 110274 h 154894"/>
                  <a:gd name="connsiteX4" fmla="*/ 31242 w 67277"/>
                  <a:gd name="connsiteY4" fmla="*/ 10097 h 154894"/>
                  <a:gd name="connsiteX5" fmla="*/ 38066 w 67277"/>
                  <a:gd name="connsiteY5" fmla="*/ 134 h 154894"/>
                  <a:gd name="connsiteX6" fmla="*/ 38066 w 67277"/>
                  <a:gd name="connsiteY6" fmla="*/ 134 h 154894"/>
                  <a:gd name="connsiteX7" fmla="*/ 48029 w 67277"/>
                  <a:gd name="connsiteY7" fmla="*/ 6958 h 154894"/>
                  <a:gd name="connsiteX8" fmla="*/ 67000 w 67277"/>
                  <a:gd name="connsiteY8" fmla="*/ 108500 h 154894"/>
                  <a:gd name="connsiteX9" fmla="*/ 12271 w 67277"/>
                  <a:gd name="connsiteY9" fmla="*/ 154084 h 154894"/>
                  <a:gd name="connsiteX10" fmla="*/ 7358 w 67277"/>
                  <a:gd name="connsiteY10" fmla="*/ 154767 h 154894"/>
                  <a:gd name="connsiteX11" fmla="*/ 50213 w 67277"/>
                  <a:gd name="connsiteY11" fmla="*/ 111639 h 154894"/>
                  <a:gd name="connsiteX12" fmla="*/ 50213 w 67277"/>
                  <a:gd name="connsiteY12" fmla="*/ 111639 h 154894"/>
                  <a:gd name="connsiteX13" fmla="*/ 50213 w 67277"/>
                  <a:gd name="connsiteY13" fmla="*/ 111639 h 15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277" h="154894">
                    <a:moveTo>
                      <a:pt x="7358" y="154767"/>
                    </a:moveTo>
                    <a:cubicBezTo>
                      <a:pt x="3946" y="154221"/>
                      <a:pt x="807" y="151627"/>
                      <a:pt x="125" y="147669"/>
                    </a:cubicBezTo>
                    <a:cubicBezTo>
                      <a:pt x="-558" y="143848"/>
                      <a:pt x="1626" y="140163"/>
                      <a:pt x="5174" y="138525"/>
                    </a:cubicBezTo>
                    <a:cubicBezTo>
                      <a:pt x="26192" y="128562"/>
                      <a:pt x="46528" y="115733"/>
                      <a:pt x="49940" y="110274"/>
                    </a:cubicBezTo>
                    <a:cubicBezTo>
                      <a:pt x="47074" y="94715"/>
                      <a:pt x="35473" y="32753"/>
                      <a:pt x="31242" y="10097"/>
                    </a:cubicBezTo>
                    <a:cubicBezTo>
                      <a:pt x="30423" y="5457"/>
                      <a:pt x="33426" y="953"/>
                      <a:pt x="38066" y="134"/>
                    </a:cubicBezTo>
                    <a:lnTo>
                      <a:pt x="38066" y="134"/>
                    </a:lnTo>
                    <a:cubicBezTo>
                      <a:pt x="42706" y="-684"/>
                      <a:pt x="47210" y="2318"/>
                      <a:pt x="48029" y="6958"/>
                    </a:cubicBezTo>
                    <a:cubicBezTo>
                      <a:pt x="52396" y="30297"/>
                      <a:pt x="64543" y="95534"/>
                      <a:pt x="67000" y="108500"/>
                    </a:cubicBezTo>
                    <a:cubicBezTo>
                      <a:pt x="67819" y="113004"/>
                      <a:pt x="70412" y="126515"/>
                      <a:pt x="12271" y="154084"/>
                    </a:cubicBezTo>
                    <a:cubicBezTo>
                      <a:pt x="10634" y="154903"/>
                      <a:pt x="8859" y="155039"/>
                      <a:pt x="7358" y="154767"/>
                    </a:cubicBezTo>
                    <a:close/>
                    <a:moveTo>
                      <a:pt x="50213" y="111639"/>
                    </a:moveTo>
                    <a:lnTo>
                      <a:pt x="50213" y="111639"/>
                    </a:lnTo>
                    <a:lnTo>
                      <a:pt x="50213" y="111639"/>
                    </a:lnTo>
                    <a:close/>
                  </a:path>
                </a:pathLst>
              </a:custGeom>
              <a:solidFill>
                <a:srgbClr val="FB9476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69AAA480-2A28-4009-ABE6-91C8486E3694}"/>
                  </a:ext>
                </a:extLst>
              </p:cNvPr>
              <p:cNvSpPr/>
              <p:nvPr/>
            </p:nvSpPr>
            <p:spPr>
              <a:xfrm>
                <a:off x="9248572" y="1754940"/>
                <a:ext cx="71607" cy="90897"/>
              </a:xfrm>
              <a:custGeom>
                <a:avLst/>
                <a:gdLst>
                  <a:gd name="connsiteX0" fmla="*/ 70833 w 71607"/>
                  <a:gd name="connsiteY0" fmla="*/ 50361 h 90897"/>
                  <a:gd name="connsiteX1" fmla="*/ 40262 w 71607"/>
                  <a:gd name="connsiteY1" fmla="*/ 90759 h 90897"/>
                  <a:gd name="connsiteX2" fmla="*/ 21973 w 71607"/>
                  <a:gd name="connsiteY2" fmla="*/ 43401 h 90897"/>
                  <a:gd name="connsiteX3" fmla="*/ 30162 w 71607"/>
                  <a:gd name="connsiteY3" fmla="*/ 18561 h 90897"/>
                  <a:gd name="connsiteX4" fmla="*/ 0 w 71607"/>
                  <a:gd name="connsiteY4" fmla="*/ 0 h 90897"/>
                  <a:gd name="connsiteX5" fmla="*/ 46813 w 71607"/>
                  <a:gd name="connsiteY5" fmla="*/ 3548 h 90897"/>
                  <a:gd name="connsiteX6" fmla="*/ 52681 w 71607"/>
                  <a:gd name="connsiteY6" fmla="*/ 3139 h 90897"/>
                  <a:gd name="connsiteX7" fmla="*/ 70833 w 71607"/>
                  <a:gd name="connsiteY7" fmla="*/ 50361 h 90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607" h="90897">
                    <a:moveTo>
                      <a:pt x="70833" y="50361"/>
                    </a:moveTo>
                    <a:cubicBezTo>
                      <a:pt x="67421" y="74518"/>
                      <a:pt x="53637" y="92670"/>
                      <a:pt x="40262" y="90759"/>
                    </a:cubicBezTo>
                    <a:cubicBezTo>
                      <a:pt x="26750" y="88849"/>
                      <a:pt x="18561" y="67694"/>
                      <a:pt x="21973" y="43401"/>
                    </a:cubicBezTo>
                    <a:cubicBezTo>
                      <a:pt x="23338" y="33847"/>
                      <a:pt x="26341" y="25385"/>
                      <a:pt x="30162" y="18561"/>
                    </a:cubicBezTo>
                    <a:cubicBezTo>
                      <a:pt x="5869" y="16105"/>
                      <a:pt x="0" y="0"/>
                      <a:pt x="0" y="0"/>
                    </a:cubicBezTo>
                    <a:cubicBezTo>
                      <a:pt x="15286" y="4367"/>
                      <a:pt x="36713" y="4094"/>
                      <a:pt x="46813" y="3548"/>
                    </a:cubicBezTo>
                    <a:cubicBezTo>
                      <a:pt x="50361" y="3275"/>
                      <a:pt x="52681" y="3139"/>
                      <a:pt x="52681" y="3139"/>
                    </a:cubicBezTo>
                    <a:cubicBezTo>
                      <a:pt x="66056" y="5050"/>
                      <a:pt x="74245" y="26204"/>
                      <a:pt x="70833" y="50361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2F924C5B-E60C-4081-9387-B9E15EDD03AC}"/>
                  </a:ext>
                </a:extLst>
              </p:cNvPr>
              <p:cNvSpPr/>
              <p:nvPr/>
            </p:nvSpPr>
            <p:spPr>
              <a:xfrm>
                <a:off x="9295248" y="1757942"/>
                <a:ext cx="5868" cy="545"/>
              </a:xfrm>
              <a:custGeom>
                <a:avLst/>
                <a:gdLst>
                  <a:gd name="connsiteX0" fmla="*/ 5869 w 5868"/>
                  <a:gd name="connsiteY0" fmla="*/ 136 h 545"/>
                  <a:gd name="connsiteX1" fmla="*/ 0 w 5868"/>
                  <a:gd name="connsiteY1" fmla="*/ 546 h 545"/>
                  <a:gd name="connsiteX2" fmla="*/ 5869 w 5868"/>
                  <a:gd name="connsiteY2" fmla="*/ 136 h 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868" h="545">
                    <a:moveTo>
                      <a:pt x="5869" y="136"/>
                    </a:moveTo>
                    <a:cubicBezTo>
                      <a:pt x="5869" y="136"/>
                      <a:pt x="3685" y="273"/>
                      <a:pt x="0" y="546"/>
                    </a:cubicBezTo>
                    <a:cubicBezTo>
                      <a:pt x="1911" y="0"/>
                      <a:pt x="3958" y="-136"/>
                      <a:pt x="5869" y="136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1677AF09-CFC0-43B4-A517-3EC38516E6D8}"/>
                  </a:ext>
                </a:extLst>
              </p:cNvPr>
              <p:cNvSpPr/>
              <p:nvPr/>
            </p:nvSpPr>
            <p:spPr>
              <a:xfrm>
                <a:off x="9542605" y="1676245"/>
                <a:ext cx="125015" cy="126092"/>
              </a:xfrm>
              <a:custGeom>
                <a:avLst/>
                <a:gdLst>
                  <a:gd name="connsiteX0" fmla="*/ 114043 w 125015"/>
                  <a:gd name="connsiteY0" fmla="*/ 122505 h 126092"/>
                  <a:gd name="connsiteX1" fmla="*/ 95755 w 125015"/>
                  <a:gd name="connsiteY1" fmla="*/ 93298 h 126092"/>
                  <a:gd name="connsiteX2" fmla="*/ 72553 w 125015"/>
                  <a:gd name="connsiteY2" fmla="*/ 68595 h 126092"/>
                  <a:gd name="connsiteX3" fmla="*/ 45530 w 125015"/>
                  <a:gd name="connsiteY3" fmla="*/ 50307 h 126092"/>
                  <a:gd name="connsiteX4" fmla="*/ 16050 w 125015"/>
                  <a:gd name="connsiteY4" fmla="*/ 39798 h 126092"/>
                  <a:gd name="connsiteX5" fmla="*/ 15095 w 125015"/>
                  <a:gd name="connsiteY5" fmla="*/ 39525 h 126092"/>
                  <a:gd name="connsiteX6" fmla="*/ 628 w 125015"/>
                  <a:gd name="connsiteY6" fmla="*/ 15095 h 126092"/>
                  <a:gd name="connsiteX7" fmla="*/ 25058 w 125015"/>
                  <a:gd name="connsiteY7" fmla="*/ 628 h 126092"/>
                  <a:gd name="connsiteX8" fmla="*/ 28743 w 125015"/>
                  <a:gd name="connsiteY8" fmla="*/ 1993 h 126092"/>
                  <a:gd name="connsiteX9" fmla="*/ 63682 w 125015"/>
                  <a:gd name="connsiteY9" fmla="*/ 23147 h 126092"/>
                  <a:gd name="connsiteX10" fmla="*/ 91387 w 125015"/>
                  <a:gd name="connsiteY10" fmla="*/ 51399 h 126092"/>
                  <a:gd name="connsiteX11" fmla="*/ 111586 w 125015"/>
                  <a:gd name="connsiteY11" fmla="*/ 83881 h 126092"/>
                  <a:gd name="connsiteX12" fmla="*/ 124825 w 125015"/>
                  <a:gd name="connsiteY12" fmla="*/ 119229 h 126092"/>
                  <a:gd name="connsiteX13" fmla="*/ 120867 w 125015"/>
                  <a:gd name="connsiteY13" fmla="*/ 125917 h 126092"/>
                  <a:gd name="connsiteX14" fmla="*/ 114589 w 125015"/>
                  <a:gd name="connsiteY14" fmla="*/ 122914 h 126092"/>
                  <a:gd name="connsiteX15" fmla="*/ 114043 w 125015"/>
                  <a:gd name="connsiteY15" fmla="*/ 122505 h 126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5015" h="126092">
                    <a:moveTo>
                      <a:pt x="114043" y="122505"/>
                    </a:moveTo>
                    <a:cubicBezTo>
                      <a:pt x="109130" y="112405"/>
                      <a:pt x="102715" y="102306"/>
                      <a:pt x="95755" y="93298"/>
                    </a:cubicBezTo>
                    <a:cubicBezTo>
                      <a:pt x="88794" y="84154"/>
                      <a:pt x="80878" y="75829"/>
                      <a:pt x="72553" y="68595"/>
                    </a:cubicBezTo>
                    <a:cubicBezTo>
                      <a:pt x="64228" y="61225"/>
                      <a:pt x="55084" y="55084"/>
                      <a:pt x="45530" y="50307"/>
                    </a:cubicBezTo>
                    <a:cubicBezTo>
                      <a:pt x="36113" y="45121"/>
                      <a:pt x="26013" y="42254"/>
                      <a:pt x="16050" y="39798"/>
                    </a:cubicBezTo>
                    <a:lnTo>
                      <a:pt x="15095" y="39525"/>
                    </a:lnTo>
                    <a:cubicBezTo>
                      <a:pt x="4313" y="36795"/>
                      <a:pt x="-2102" y="25877"/>
                      <a:pt x="628" y="15095"/>
                    </a:cubicBezTo>
                    <a:cubicBezTo>
                      <a:pt x="3358" y="4313"/>
                      <a:pt x="14276" y="-2102"/>
                      <a:pt x="25058" y="628"/>
                    </a:cubicBezTo>
                    <a:cubicBezTo>
                      <a:pt x="26286" y="901"/>
                      <a:pt x="27515" y="1447"/>
                      <a:pt x="28743" y="1993"/>
                    </a:cubicBezTo>
                    <a:cubicBezTo>
                      <a:pt x="41299" y="7861"/>
                      <a:pt x="53309" y="14412"/>
                      <a:pt x="63682" y="23147"/>
                    </a:cubicBezTo>
                    <a:cubicBezTo>
                      <a:pt x="74191" y="31473"/>
                      <a:pt x="83472" y="41026"/>
                      <a:pt x="91387" y="51399"/>
                    </a:cubicBezTo>
                    <a:cubicBezTo>
                      <a:pt x="99303" y="61635"/>
                      <a:pt x="105991" y="72553"/>
                      <a:pt x="111586" y="83881"/>
                    </a:cubicBezTo>
                    <a:cubicBezTo>
                      <a:pt x="117046" y="95345"/>
                      <a:pt x="121549" y="106810"/>
                      <a:pt x="124825" y="119229"/>
                    </a:cubicBezTo>
                    <a:cubicBezTo>
                      <a:pt x="125644" y="122232"/>
                      <a:pt x="123733" y="125234"/>
                      <a:pt x="120867" y="125917"/>
                    </a:cubicBezTo>
                    <a:cubicBezTo>
                      <a:pt x="118274" y="126599"/>
                      <a:pt x="115681" y="125234"/>
                      <a:pt x="114589" y="122914"/>
                    </a:cubicBezTo>
                    <a:lnTo>
                      <a:pt x="114043" y="122505"/>
                    </a:ln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2F7DBE9C-B1D1-424C-B7EC-5F97D24E831E}"/>
                  </a:ext>
                </a:extLst>
              </p:cNvPr>
              <p:cNvSpPr/>
              <p:nvPr/>
            </p:nvSpPr>
            <p:spPr>
              <a:xfrm>
                <a:off x="9195225" y="1642578"/>
                <a:ext cx="171987" cy="91771"/>
              </a:xfrm>
              <a:custGeom>
                <a:avLst/>
                <a:gdLst>
                  <a:gd name="connsiteX0" fmla="*/ 1075 w 171987"/>
                  <a:gd name="connsiteY0" fmla="*/ 82883 h 91771"/>
                  <a:gd name="connsiteX1" fmla="*/ 29873 w 171987"/>
                  <a:gd name="connsiteY1" fmla="*/ 51219 h 91771"/>
                  <a:gd name="connsiteX2" fmla="*/ 64812 w 171987"/>
                  <a:gd name="connsiteY2" fmla="*/ 25561 h 91771"/>
                  <a:gd name="connsiteX3" fmla="*/ 105483 w 171987"/>
                  <a:gd name="connsiteY3" fmla="*/ 7546 h 91771"/>
                  <a:gd name="connsiteX4" fmla="*/ 150658 w 171987"/>
                  <a:gd name="connsiteY4" fmla="*/ 39 h 91771"/>
                  <a:gd name="connsiteX5" fmla="*/ 171949 w 171987"/>
                  <a:gd name="connsiteY5" fmla="*/ 18737 h 91771"/>
                  <a:gd name="connsiteX6" fmla="*/ 153251 w 171987"/>
                  <a:gd name="connsiteY6" fmla="*/ 40028 h 91771"/>
                  <a:gd name="connsiteX7" fmla="*/ 149975 w 171987"/>
                  <a:gd name="connsiteY7" fmla="*/ 40028 h 91771"/>
                  <a:gd name="connsiteX8" fmla="*/ 148747 w 171987"/>
                  <a:gd name="connsiteY8" fmla="*/ 39891 h 91771"/>
                  <a:gd name="connsiteX9" fmla="*/ 112443 w 171987"/>
                  <a:gd name="connsiteY9" fmla="*/ 39482 h 91771"/>
                  <a:gd name="connsiteX10" fmla="*/ 75867 w 171987"/>
                  <a:gd name="connsiteY10" fmla="*/ 48490 h 91771"/>
                  <a:gd name="connsiteX11" fmla="*/ 40928 w 171987"/>
                  <a:gd name="connsiteY11" fmla="*/ 65823 h 91771"/>
                  <a:gd name="connsiteX12" fmla="*/ 9674 w 171987"/>
                  <a:gd name="connsiteY12" fmla="*/ 89980 h 91771"/>
                  <a:gd name="connsiteX13" fmla="*/ 9401 w 171987"/>
                  <a:gd name="connsiteY13" fmla="*/ 90253 h 91771"/>
                  <a:gd name="connsiteX14" fmla="*/ 1621 w 171987"/>
                  <a:gd name="connsiteY14" fmla="*/ 90116 h 91771"/>
                  <a:gd name="connsiteX15" fmla="*/ 1075 w 171987"/>
                  <a:gd name="connsiteY15" fmla="*/ 82883 h 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1987" h="91771">
                    <a:moveTo>
                      <a:pt x="1075" y="82883"/>
                    </a:moveTo>
                    <a:cubicBezTo>
                      <a:pt x="9674" y="71145"/>
                      <a:pt x="19227" y="60909"/>
                      <a:pt x="29873" y="51219"/>
                    </a:cubicBezTo>
                    <a:cubicBezTo>
                      <a:pt x="40518" y="41666"/>
                      <a:pt x="52119" y="33067"/>
                      <a:pt x="64812" y="25561"/>
                    </a:cubicBezTo>
                    <a:cubicBezTo>
                      <a:pt x="77368" y="17918"/>
                      <a:pt x="91152" y="11913"/>
                      <a:pt x="105483" y="7546"/>
                    </a:cubicBezTo>
                    <a:cubicBezTo>
                      <a:pt x="119950" y="2769"/>
                      <a:pt x="135235" y="995"/>
                      <a:pt x="150658" y="39"/>
                    </a:cubicBezTo>
                    <a:cubicBezTo>
                      <a:pt x="161713" y="-643"/>
                      <a:pt x="171266" y="7682"/>
                      <a:pt x="171949" y="18737"/>
                    </a:cubicBezTo>
                    <a:cubicBezTo>
                      <a:pt x="172631" y="29792"/>
                      <a:pt x="164306" y="39345"/>
                      <a:pt x="153251" y="40028"/>
                    </a:cubicBezTo>
                    <a:cubicBezTo>
                      <a:pt x="152159" y="40164"/>
                      <a:pt x="151067" y="40028"/>
                      <a:pt x="149975" y="40028"/>
                    </a:cubicBezTo>
                    <a:lnTo>
                      <a:pt x="148747" y="39891"/>
                    </a:lnTo>
                    <a:cubicBezTo>
                      <a:pt x="136873" y="38663"/>
                      <a:pt x="124590" y="37708"/>
                      <a:pt x="112443" y="39482"/>
                    </a:cubicBezTo>
                    <a:cubicBezTo>
                      <a:pt x="100160" y="40983"/>
                      <a:pt x="87877" y="43849"/>
                      <a:pt x="75867" y="48490"/>
                    </a:cubicBezTo>
                    <a:cubicBezTo>
                      <a:pt x="63856" y="52993"/>
                      <a:pt x="52119" y="58726"/>
                      <a:pt x="40928" y="65823"/>
                    </a:cubicBezTo>
                    <a:cubicBezTo>
                      <a:pt x="29873" y="72783"/>
                      <a:pt x="18954" y="80972"/>
                      <a:pt x="9674" y="89980"/>
                    </a:cubicBezTo>
                    <a:lnTo>
                      <a:pt x="9401" y="90253"/>
                    </a:lnTo>
                    <a:cubicBezTo>
                      <a:pt x="7217" y="92300"/>
                      <a:pt x="3668" y="92300"/>
                      <a:pt x="1621" y="90116"/>
                    </a:cubicBezTo>
                    <a:cubicBezTo>
                      <a:pt x="-289" y="87932"/>
                      <a:pt x="-562" y="84930"/>
                      <a:pt x="1075" y="82883"/>
                    </a:cubicBezTo>
                    <a:close/>
                  </a:path>
                </a:pathLst>
              </a:custGeom>
              <a:solidFill>
                <a:srgbClr val="18181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A142206A-5662-43C4-974D-7DB565261337}"/>
                  </a:ext>
                </a:extLst>
              </p:cNvPr>
              <p:cNvSpPr/>
              <p:nvPr/>
            </p:nvSpPr>
            <p:spPr>
              <a:xfrm>
                <a:off x="9184933" y="1374210"/>
                <a:ext cx="615925" cy="336071"/>
              </a:xfrm>
              <a:custGeom>
                <a:avLst/>
                <a:gdLst>
                  <a:gd name="connsiteX0" fmla="*/ 1677 w 615925"/>
                  <a:gd name="connsiteY0" fmla="*/ 130015 h 336071"/>
                  <a:gd name="connsiteX1" fmla="*/ 530401 w 615925"/>
                  <a:gd name="connsiteY1" fmla="*/ 335691 h 336071"/>
                  <a:gd name="connsiteX2" fmla="*/ 259625 w 615925"/>
                  <a:gd name="connsiteY2" fmla="*/ 1451 h 336071"/>
                  <a:gd name="connsiteX3" fmla="*/ 1677 w 615925"/>
                  <a:gd name="connsiteY3" fmla="*/ 130015 h 336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15925" h="336071">
                    <a:moveTo>
                      <a:pt x="1677" y="130015"/>
                    </a:moveTo>
                    <a:cubicBezTo>
                      <a:pt x="1677" y="130015"/>
                      <a:pt x="160131" y="346337"/>
                      <a:pt x="530401" y="335691"/>
                    </a:cubicBezTo>
                    <a:cubicBezTo>
                      <a:pt x="729663" y="329959"/>
                      <a:pt x="556606" y="18921"/>
                      <a:pt x="259625" y="1451"/>
                    </a:cubicBezTo>
                    <a:cubicBezTo>
                      <a:pt x="-37220" y="-16018"/>
                      <a:pt x="1677" y="130015"/>
                      <a:pt x="1677" y="130015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5C0E86CA-1486-4AA1-8972-64D4FAF42895}"/>
                  </a:ext>
                </a:extLst>
              </p:cNvPr>
              <p:cNvSpPr/>
              <p:nvPr/>
            </p:nvSpPr>
            <p:spPr>
              <a:xfrm>
                <a:off x="9700321" y="1643370"/>
                <a:ext cx="53600" cy="285855"/>
              </a:xfrm>
              <a:custGeom>
                <a:avLst/>
                <a:gdLst>
                  <a:gd name="connsiteX0" fmla="*/ 15968 w 53600"/>
                  <a:gd name="connsiteY0" fmla="*/ 32684 h 285855"/>
                  <a:gd name="connsiteX1" fmla="*/ 0 w 53600"/>
                  <a:gd name="connsiteY1" fmla="*/ 285855 h 285855"/>
                  <a:gd name="connsiteX2" fmla="*/ 49269 w 53600"/>
                  <a:gd name="connsiteY2" fmla="*/ 44831 h 285855"/>
                  <a:gd name="connsiteX3" fmla="*/ 15968 w 53600"/>
                  <a:gd name="connsiteY3" fmla="*/ 32684 h 28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600" h="285855">
                    <a:moveTo>
                      <a:pt x="15968" y="32684"/>
                    </a:moveTo>
                    <a:cubicBezTo>
                      <a:pt x="15968" y="32684"/>
                      <a:pt x="38215" y="197689"/>
                      <a:pt x="0" y="285855"/>
                    </a:cubicBezTo>
                    <a:cubicBezTo>
                      <a:pt x="0" y="285855"/>
                      <a:pt x="71652" y="138184"/>
                      <a:pt x="49269" y="44831"/>
                    </a:cubicBezTo>
                    <a:cubicBezTo>
                      <a:pt x="27023" y="-48385"/>
                      <a:pt x="15968" y="32684"/>
                      <a:pt x="15968" y="32684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6C71737C-B837-4D7F-B78E-59194AA8D3F3}"/>
                  </a:ext>
                </a:extLst>
              </p:cNvPr>
              <p:cNvSpPr/>
              <p:nvPr/>
            </p:nvSpPr>
            <p:spPr>
              <a:xfrm>
                <a:off x="8601558" y="1244747"/>
                <a:ext cx="925024" cy="1274848"/>
              </a:xfrm>
              <a:custGeom>
                <a:avLst/>
                <a:gdLst>
                  <a:gd name="connsiteX0" fmla="*/ 684273 w 925024"/>
                  <a:gd name="connsiteY0" fmla="*/ 260161 h 1274848"/>
                  <a:gd name="connsiteX1" fmla="*/ 550932 w 925024"/>
                  <a:gd name="connsiteY1" fmla="*/ 803898 h 1274848"/>
                  <a:gd name="connsiteX2" fmla="*/ 483101 w 925024"/>
                  <a:gd name="connsiteY2" fmla="*/ 1258241 h 1274848"/>
                  <a:gd name="connsiteX3" fmla="*/ 42407 w 925024"/>
                  <a:gd name="connsiteY3" fmla="*/ 1269569 h 1274848"/>
                  <a:gd name="connsiteX4" fmla="*/ 42407 w 925024"/>
                  <a:gd name="connsiteY4" fmla="*/ 1269569 h 1274848"/>
                  <a:gd name="connsiteX5" fmla="*/ 37630 w 925024"/>
                  <a:gd name="connsiteY5" fmla="*/ 1271479 h 1274848"/>
                  <a:gd name="connsiteX6" fmla="*/ 26575 w 925024"/>
                  <a:gd name="connsiteY6" fmla="*/ 1274618 h 1274848"/>
                  <a:gd name="connsiteX7" fmla="*/ 4738 w 925024"/>
                  <a:gd name="connsiteY7" fmla="*/ 1183723 h 1274848"/>
                  <a:gd name="connsiteX8" fmla="*/ 20706 w 925024"/>
                  <a:gd name="connsiteY8" fmla="*/ 1112071 h 1274848"/>
                  <a:gd name="connsiteX9" fmla="*/ 192672 w 925024"/>
                  <a:gd name="connsiteY9" fmla="*/ 643807 h 1274848"/>
                  <a:gd name="connsiteX10" fmla="*/ 360679 w 925024"/>
                  <a:gd name="connsiteY10" fmla="*/ 286911 h 1274848"/>
                  <a:gd name="connsiteX11" fmla="*/ 410903 w 925024"/>
                  <a:gd name="connsiteY11" fmla="*/ 197244 h 1274848"/>
                  <a:gd name="connsiteX12" fmla="*/ 925024 w 925024"/>
                  <a:gd name="connsiteY12" fmla="*/ 9583 h 1274848"/>
                  <a:gd name="connsiteX13" fmla="*/ 684273 w 925024"/>
                  <a:gd name="connsiteY13" fmla="*/ 260161 h 1274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25024" h="1274848">
                    <a:moveTo>
                      <a:pt x="684273" y="260161"/>
                    </a:moveTo>
                    <a:cubicBezTo>
                      <a:pt x="684273" y="260161"/>
                      <a:pt x="507804" y="560963"/>
                      <a:pt x="550932" y="803898"/>
                    </a:cubicBezTo>
                    <a:cubicBezTo>
                      <a:pt x="594060" y="1046696"/>
                      <a:pt x="657114" y="1240089"/>
                      <a:pt x="483101" y="1258241"/>
                    </a:cubicBezTo>
                    <a:cubicBezTo>
                      <a:pt x="310863" y="1276256"/>
                      <a:pt x="196629" y="1208562"/>
                      <a:pt x="42407" y="1269569"/>
                    </a:cubicBezTo>
                    <a:lnTo>
                      <a:pt x="42407" y="1269569"/>
                    </a:lnTo>
                    <a:cubicBezTo>
                      <a:pt x="40769" y="1270251"/>
                      <a:pt x="39268" y="1270933"/>
                      <a:pt x="37630" y="1271479"/>
                    </a:cubicBezTo>
                    <a:cubicBezTo>
                      <a:pt x="33536" y="1273117"/>
                      <a:pt x="29987" y="1274209"/>
                      <a:pt x="26575" y="1274618"/>
                    </a:cubicBezTo>
                    <a:cubicBezTo>
                      <a:pt x="-175" y="1278030"/>
                      <a:pt x="-5225" y="1243228"/>
                      <a:pt x="4738" y="1183723"/>
                    </a:cubicBezTo>
                    <a:cubicBezTo>
                      <a:pt x="8287" y="1162705"/>
                      <a:pt x="13746" y="1138548"/>
                      <a:pt x="20706" y="1112071"/>
                    </a:cubicBezTo>
                    <a:cubicBezTo>
                      <a:pt x="53189" y="988965"/>
                      <a:pt x="120064" y="812906"/>
                      <a:pt x="192672" y="643807"/>
                    </a:cubicBezTo>
                    <a:cubicBezTo>
                      <a:pt x="249720" y="510875"/>
                      <a:pt x="310317" y="382311"/>
                      <a:pt x="360679" y="286911"/>
                    </a:cubicBezTo>
                    <a:cubicBezTo>
                      <a:pt x="378967" y="252109"/>
                      <a:pt x="396027" y="221810"/>
                      <a:pt x="410903" y="197244"/>
                    </a:cubicBezTo>
                    <a:cubicBezTo>
                      <a:pt x="570176" y="-64116"/>
                      <a:pt x="925024" y="9583"/>
                      <a:pt x="925024" y="9583"/>
                    </a:cubicBezTo>
                    <a:lnTo>
                      <a:pt x="684273" y="260161"/>
                    </a:ln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>
                  <a:solidFill>
                    <a:srgbClr val="0A2E70"/>
                  </a:solidFill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06F05D65-D6C3-49EA-9E13-975D8482B6BC}"/>
                  </a:ext>
                </a:extLst>
              </p:cNvPr>
              <p:cNvSpPr/>
              <p:nvPr/>
            </p:nvSpPr>
            <p:spPr>
              <a:xfrm>
                <a:off x="8604588" y="1530461"/>
                <a:ext cx="369058" cy="988631"/>
              </a:xfrm>
              <a:custGeom>
                <a:avLst/>
                <a:gdLst>
                  <a:gd name="connsiteX0" fmla="*/ 368021 w 369058"/>
                  <a:gd name="connsiteY0" fmla="*/ 12252 h 988631"/>
                  <a:gd name="connsiteX1" fmla="*/ 189505 w 369058"/>
                  <a:gd name="connsiteY1" fmla="*/ 357820 h 988631"/>
                  <a:gd name="connsiteX2" fmla="*/ 31461 w 369058"/>
                  <a:gd name="connsiteY2" fmla="*/ 734232 h 988631"/>
                  <a:gd name="connsiteX3" fmla="*/ 17676 w 369058"/>
                  <a:gd name="connsiteY3" fmla="*/ 826083 h 988631"/>
                  <a:gd name="connsiteX4" fmla="*/ 39377 w 369058"/>
                  <a:gd name="connsiteY4" fmla="*/ 983582 h 988631"/>
                  <a:gd name="connsiteX5" fmla="*/ 34600 w 369058"/>
                  <a:gd name="connsiteY5" fmla="*/ 985492 h 988631"/>
                  <a:gd name="connsiteX6" fmla="*/ 23545 w 369058"/>
                  <a:gd name="connsiteY6" fmla="*/ 988631 h 988631"/>
                  <a:gd name="connsiteX7" fmla="*/ 1708 w 369058"/>
                  <a:gd name="connsiteY7" fmla="*/ 897736 h 988631"/>
                  <a:gd name="connsiteX8" fmla="*/ 15493 w 369058"/>
                  <a:gd name="connsiteY8" fmla="*/ 730547 h 988631"/>
                  <a:gd name="connsiteX9" fmla="*/ 353691 w 369058"/>
                  <a:gd name="connsiteY9" fmla="*/ 4336 h 988631"/>
                  <a:gd name="connsiteX10" fmla="*/ 357512 w 369058"/>
                  <a:gd name="connsiteY10" fmla="*/ 788 h 988631"/>
                  <a:gd name="connsiteX11" fmla="*/ 364882 w 369058"/>
                  <a:gd name="connsiteY11" fmla="*/ 1061 h 988631"/>
                  <a:gd name="connsiteX12" fmla="*/ 368021 w 369058"/>
                  <a:gd name="connsiteY12" fmla="*/ 12252 h 988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9058" h="988631">
                    <a:moveTo>
                      <a:pt x="368021" y="12252"/>
                    </a:moveTo>
                    <a:cubicBezTo>
                      <a:pt x="366383" y="15255"/>
                      <a:pt x="276579" y="180532"/>
                      <a:pt x="189505" y="357820"/>
                    </a:cubicBezTo>
                    <a:cubicBezTo>
                      <a:pt x="118399" y="502489"/>
                      <a:pt x="49340" y="655210"/>
                      <a:pt x="31461" y="734232"/>
                    </a:cubicBezTo>
                    <a:cubicBezTo>
                      <a:pt x="23682" y="768352"/>
                      <a:pt x="19451" y="798924"/>
                      <a:pt x="17676" y="826083"/>
                    </a:cubicBezTo>
                    <a:cubicBezTo>
                      <a:pt x="11808" y="912885"/>
                      <a:pt x="30642" y="964747"/>
                      <a:pt x="39377" y="983582"/>
                    </a:cubicBezTo>
                    <a:cubicBezTo>
                      <a:pt x="37739" y="984264"/>
                      <a:pt x="36238" y="984946"/>
                      <a:pt x="34600" y="985492"/>
                    </a:cubicBezTo>
                    <a:cubicBezTo>
                      <a:pt x="30506" y="987130"/>
                      <a:pt x="26957" y="988222"/>
                      <a:pt x="23545" y="988631"/>
                    </a:cubicBezTo>
                    <a:cubicBezTo>
                      <a:pt x="16585" y="973346"/>
                      <a:pt x="5803" y="943320"/>
                      <a:pt x="1708" y="897736"/>
                    </a:cubicBezTo>
                    <a:cubicBezTo>
                      <a:pt x="-2113" y="855563"/>
                      <a:pt x="-339" y="800152"/>
                      <a:pt x="15493" y="730547"/>
                    </a:cubicBezTo>
                    <a:cubicBezTo>
                      <a:pt x="55891" y="552168"/>
                      <a:pt x="341680" y="26582"/>
                      <a:pt x="353691" y="4336"/>
                    </a:cubicBezTo>
                    <a:cubicBezTo>
                      <a:pt x="354646" y="2698"/>
                      <a:pt x="356011" y="1470"/>
                      <a:pt x="357512" y="788"/>
                    </a:cubicBezTo>
                    <a:cubicBezTo>
                      <a:pt x="359832" y="-304"/>
                      <a:pt x="362425" y="-304"/>
                      <a:pt x="364882" y="1061"/>
                    </a:cubicBezTo>
                    <a:cubicBezTo>
                      <a:pt x="368840" y="3244"/>
                      <a:pt x="370205" y="8294"/>
                      <a:pt x="368021" y="12252"/>
                    </a:cubicBezTo>
                    <a:close/>
                  </a:path>
                </a:pathLst>
              </a:custGeom>
              <a:solidFill>
                <a:srgbClr val="0A2E7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FD97BACF-B2C2-455B-A0F2-DB8D7FA32554}"/>
                  </a:ext>
                </a:extLst>
              </p:cNvPr>
              <p:cNvSpPr/>
              <p:nvPr/>
            </p:nvSpPr>
            <p:spPr>
              <a:xfrm>
                <a:off x="9155219" y="1669913"/>
                <a:ext cx="296708" cy="296708"/>
              </a:xfrm>
              <a:custGeom>
                <a:avLst/>
                <a:gdLst>
                  <a:gd name="connsiteX0" fmla="*/ 148354 w 296708"/>
                  <a:gd name="connsiteY0" fmla="*/ 296708 h 296708"/>
                  <a:gd name="connsiteX1" fmla="*/ 0 w 296708"/>
                  <a:gd name="connsiteY1" fmla="*/ 148354 h 296708"/>
                  <a:gd name="connsiteX2" fmla="*/ 148354 w 296708"/>
                  <a:gd name="connsiteY2" fmla="*/ 0 h 296708"/>
                  <a:gd name="connsiteX3" fmla="*/ 296708 w 296708"/>
                  <a:gd name="connsiteY3" fmla="*/ 148354 h 296708"/>
                  <a:gd name="connsiteX4" fmla="*/ 148354 w 296708"/>
                  <a:gd name="connsiteY4" fmla="*/ 296708 h 296708"/>
                  <a:gd name="connsiteX5" fmla="*/ 148354 w 296708"/>
                  <a:gd name="connsiteY5" fmla="*/ 18015 h 296708"/>
                  <a:gd name="connsiteX6" fmla="*/ 18015 w 296708"/>
                  <a:gd name="connsiteY6" fmla="*/ 148354 h 296708"/>
                  <a:gd name="connsiteX7" fmla="*/ 148354 w 296708"/>
                  <a:gd name="connsiteY7" fmla="*/ 278693 h 296708"/>
                  <a:gd name="connsiteX8" fmla="*/ 278693 w 296708"/>
                  <a:gd name="connsiteY8" fmla="*/ 148354 h 296708"/>
                  <a:gd name="connsiteX9" fmla="*/ 148354 w 296708"/>
                  <a:gd name="connsiteY9" fmla="*/ 18015 h 296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8" h="296708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242"/>
                      <a:pt x="230106" y="296708"/>
                      <a:pt x="148354" y="296708"/>
                    </a:cubicBezTo>
                    <a:close/>
                    <a:moveTo>
                      <a:pt x="148354" y="18015"/>
                    </a:moveTo>
                    <a:cubicBezTo>
                      <a:pt x="76429" y="18015"/>
                      <a:pt x="18015" y="76565"/>
                      <a:pt x="18015" y="148354"/>
                    </a:cubicBezTo>
                    <a:cubicBezTo>
                      <a:pt x="18015" y="220279"/>
                      <a:pt x="76565" y="278693"/>
                      <a:pt x="148354" y="278693"/>
                    </a:cubicBezTo>
                    <a:cubicBezTo>
                      <a:pt x="220279" y="278693"/>
                      <a:pt x="278693" y="220143"/>
                      <a:pt x="278693" y="148354"/>
                    </a:cubicBezTo>
                    <a:cubicBezTo>
                      <a:pt x="278829" y="76565"/>
                      <a:pt x="220279" y="18015"/>
                      <a:pt x="148354" y="180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1DF9B08B-C997-4CAB-92E9-72008AF3D10B}"/>
                  </a:ext>
                </a:extLst>
              </p:cNvPr>
              <p:cNvSpPr/>
              <p:nvPr/>
            </p:nvSpPr>
            <p:spPr>
              <a:xfrm>
                <a:off x="9483864" y="1736652"/>
                <a:ext cx="296707" cy="296707"/>
              </a:xfrm>
              <a:custGeom>
                <a:avLst/>
                <a:gdLst>
                  <a:gd name="connsiteX0" fmla="*/ 148354 w 296707"/>
                  <a:gd name="connsiteY0" fmla="*/ 296708 h 296707"/>
                  <a:gd name="connsiteX1" fmla="*/ 0 w 296707"/>
                  <a:gd name="connsiteY1" fmla="*/ 148354 h 296707"/>
                  <a:gd name="connsiteX2" fmla="*/ 148354 w 296707"/>
                  <a:gd name="connsiteY2" fmla="*/ 0 h 296707"/>
                  <a:gd name="connsiteX3" fmla="*/ 296708 w 296707"/>
                  <a:gd name="connsiteY3" fmla="*/ 148354 h 296707"/>
                  <a:gd name="connsiteX4" fmla="*/ 148354 w 296707"/>
                  <a:gd name="connsiteY4" fmla="*/ 296708 h 296707"/>
                  <a:gd name="connsiteX5" fmla="*/ 148354 w 296707"/>
                  <a:gd name="connsiteY5" fmla="*/ 17879 h 296707"/>
                  <a:gd name="connsiteX6" fmla="*/ 18015 w 296707"/>
                  <a:gd name="connsiteY6" fmla="*/ 148217 h 296707"/>
                  <a:gd name="connsiteX7" fmla="*/ 148354 w 296707"/>
                  <a:gd name="connsiteY7" fmla="*/ 278556 h 296707"/>
                  <a:gd name="connsiteX8" fmla="*/ 278693 w 296707"/>
                  <a:gd name="connsiteY8" fmla="*/ 148217 h 296707"/>
                  <a:gd name="connsiteX9" fmla="*/ 148354 w 296707"/>
                  <a:gd name="connsiteY9" fmla="*/ 17879 h 296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707" h="296707">
                    <a:moveTo>
                      <a:pt x="148354" y="296708"/>
                    </a:moveTo>
                    <a:cubicBezTo>
                      <a:pt x="66602" y="296708"/>
                      <a:pt x="0" y="230106"/>
                      <a:pt x="0" y="148354"/>
                    </a:cubicBezTo>
                    <a:cubicBezTo>
                      <a:pt x="0" y="66602"/>
                      <a:pt x="66602" y="0"/>
                      <a:pt x="148354" y="0"/>
                    </a:cubicBezTo>
                    <a:cubicBezTo>
                      <a:pt x="230106" y="0"/>
                      <a:pt x="296708" y="66602"/>
                      <a:pt x="296708" y="148354"/>
                    </a:cubicBezTo>
                    <a:cubicBezTo>
                      <a:pt x="296708" y="230106"/>
                      <a:pt x="230242" y="296708"/>
                      <a:pt x="148354" y="296708"/>
                    </a:cubicBezTo>
                    <a:close/>
                    <a:moveTo>
                      <a:pt x="148354" y="17879"/>
                    </a:moveTo>
                    <a:cubicBezTo>
                      <a:pt x="76429" y="17879"/>
                      <a:pt x="18015" y="76429"/>
                      <a:pt x="18015" y="148217"/>
                    </a:cubicBezTo>
                    <a:cubicBezTo>
                      <a:pt x="18015" y="220006"/>
                      <a:pt x="76565" y="278556"/>
                      <a:pt x="148354" y="278556"/>
                    </a:cubicBezTo>
                    <a:cubicBezTo>
                      <a:pt x="220279" y="278556"/>
                      <a:pt x="278693" y="220006"/>
                      <a:pt x="278693" y="148217"/>
                    </a:cubicBezTo>
                    <a:cubicBezTo>
                      <a:pt x="278693" y="76429"/>
                      <a:pt x="220279" y="17879"/>
                      <a:pt x="148354" y="17879"/>
                    </a:cubicBez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8348CB54-1D6F-4F38-84FD-9E4D25104F05}"/>
                  </a:ext>
                </a:extLst>
              </p:cNvPr>
              <p:cNvSpPr/>
              <p:nvPr/>
            </p:nvSpPr>
            <p:spPr>
              <a:xfrm>
                <a:off x="9440054" y="1812562"/>
                <a:ext cx="67421" cy="33956"/>
              </a:xfrm>
              <a:custGeom>
                <a:avLst/>
                <a:gdLst>
                  <a:gd name="connsiteX0" fmla="*/ 52272 w 67421"/>
                  <a:gd name="connsiteY0" fmla="*/ 33956 h 33956"/>
                  <a:gd name="connsiteX1" fmla="*/ 6142 w 67421"/>
                  <a:gd name="connsiteY1" fmla="*/ 20308 h 33956"/>
                  <a:gd name="connsiteX2" fmla="*/ 0 w 67421"/>
                  <a:gd name="connsiteY2" fmla="*/ 3521 h 33956"/>
                  <a:gd name="connsiteX3" fmla="*/ 67421 w 67421"/>
                  <a:gd name="connsiteY3" fmla="*/ 24266 h 33956"/>
                  <a:gd name="connsiteX4" fmla="*/ 52272 w 67421"/>
                  <a:gd name="connsiteY4" fmla="*/ 33956 h 33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7421" h="33956">
                    <a:moveTo>
                      <a:pt x="52272" y="33956"/>
                    </a:moveTo>
                    <a:cubicBezTo>
                      <a:pt x="36440" y="9663"/>
                      <a:pt x="7370" y="19899"/>
                      <a:pt x="6142" y="20308"/>
                    </a:cubicBezTo>
                    <a:lnTo>
                      <a:pt x="0" y="3521"/>
                    </a:lnTo>
                    <a:cubicBezTo>
                      <a:pt x="15149" y="-1938"/>
                      <a:pt x="48587" y="-4804"/>
                      <a:pt x="67421" y="24266"/>
                    </a:cubicBezTo>
                    <a:lnTo>
                      <a:pt x="52272" y="33956"/>
                    </a:lnTo>
                    <a:close/>
                  </a:path>
                </a:pathLst>
              </a:custGeom>
              <a:solidFill>
                <a:srgbClr val="FFFFFF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2E73CCC-4E56-4F77-8690-0896DC87E33A}"/>
                </a:ext>
              </a:extLst>
            </p:cNvPr>
            <p:cNvSpPr/>
            <p:nvPr/>
          </p:nvSpPr>
          <p:spPr>
            <a:xfrm flipH="1">
              <a:off x="8031150" y="4341786"/>
              <a:ext cx="2161047" cy="1112786"/>
            </a:xfrm>
            <a:custGeom>
              <a:avLst/>
              <a:gdLst>
                <a:gd name="connsiteX0" fmla="*/ 1486269 w 2161047"/>
                <a:gd name="connsiteY0" fmla="*/ 911961 h 1112786"/>
                <a:gd name="connsiteX1" fmla="*/ 1290011 w 2161047"/>
                <a:gd name="connsiteY1" fmla="*/ 1061953 h 1112786"/>
                <a:gd name="connsiteX2" fmla="*/ 211408 w 2161047"/>
                <a:gd name="connsiteY2" fmla="*/ 894901 h 1112786"/>
                <a:gd name="connsiteX3" fmla="*/ 251124 w 2161047"/>
                <a:gd name="connsiteY3" fmla="*/ 504977 h 1112786"/>
                <a:gd name="connsiteX4" fmla="*/ 245664 w 2161047"/>
                <a:gd name="connsiteY4" fmla="*/ 455434 h 1112786"/>
                <a:gd name="connsiteX5" fmla="*/ 0 w 2161047"/>
                <a:gd name="connsiteY5" fmla="*/ 0 h 1112786"/>
                <a:gd name="connsiteX6" fmla="*/ 666569 w 2161047"/>
                <a:gd name="connsiteY6" fmla="*/ 413535 h 1112786"/>
                <a:gd name="connsiteX7" fmla="*/ 666706 w 2161047"/>
                <a:gd name="connsiteY7" fmla="*/ 413535 h 1112786"/>
                <a:gd name="connsiteX8" fmla="*/ 874019 w 2161047"/>
                <a:gd name="connsiteY8" fmla="*/ 535548 h 1112786"/>
                <a:gd name="connsiteX9" fmla="*/ 1161310 w 2161047"/>
                <a:gd name="connsiteY9" fmla="*/ 571715 h 1112786"/>
                <a:gd name="connsiteX10" fmla="*/ 1550415 w 2161047"/>
                <a:gd name="connsiteY10" fmla="*/ 446427 h 1112786"/>
                <a:gd name="connsiteX11" fmla="*/ 2145469 w 2161047"/>
                <a:gd name="connsiteY11" fmla="*/ 175923 h 1112786"/>
                <a:gd name="connsiteX12" fmla="*/ 1486269 w 2161047"/>
                <a:gd name="connsiteY12" fmla="*/ 911961 h 1112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61047" h="1112786">
                  <a:moveTo>
                    <a:pt x="1486269" y="911961"/>
                  </a:moveTo>
                  <a:cubicBezTo>
                    <a:pt x="1444780" y="941713"/>
                    <a:pt x="1388277" y="1030698"/>
                    <a:pt x="1290011" y="1061953"/>
                  </a:cubicBezTo>
                  <a:cubicBezTo>
                    <a:pt x="732080" y="1239513"/>
                    <a:pt x="211408" y="894901"/>
                    <a:pt x="211408" y="894901"/>
                  </a:cubicBezTo>
                  <a:cubicBezTo>
                    <a:pt x="180427" y="742043"/>
                    <a:pt x="199671" y="568440"/>
                    <a:pt x="251124" y="504977"/>
                  </a:cubicBezTo>
                  <a:cubicBezTo>
                    <a:pt x="234882" y="482458"/>
                    <a:pt x="245664" y="455434"/>
                    <a:pt x="245664" y="455434"/>
                  </a:cubicBezTo>
                  <a:lnTo>
                    <a:pt x="0" y="0"/>
                  </a:lnTo>
                  <a:cubicBezTo>
                    <a:pt x="6005" y="3685"/>
                    <a:pt x="385420" y="243617"/>
                    <a:pt x="666569" y="413535"/>
                  </a:cubicBezTo>
                  <a:cubicBezTo>
                    <a:pt x="666569" y="413535"/>
                    <a:pt x="666569" y="413535"/>
                    <a:pt x="666706" y="413535"/>
                  </a:cubicBezTo>
                  <a:cubicBezTo>
                    <a:pt x="747775" y="462531"/>
                    <a:pt x="820519" y="505659"/>
                    <a:pt x="874019" y="535548"/>
                  </a:cubicBezTo>
                  <a:cubicBezTo>
                    <a:pt x="955498" y="581269"/>
                    <a:pt x="1059496" y="585773"/>
                    <a:pt x="1161310" y="571715"/>
                  </a:cubicBezTo>
                  <a:cubicBezTo>
                    <a:pt x="1359889" y="544283"/>
                    <a:pt x="1550415" y="446427"/>
                    <a:pt x="1550415" y="446427"/>
                  </a:cubicBezTo>
                  <a:cubicBezTo>
                    <a:pt x="1550415" y="446427"/>
                    <a:pt x="2025639" y="166233"/>
                    <a:pt x="2145469" y="175923"/>
                  </a:cubicBezTo>
                  <a:cubicBezTo>
                    <a:pt x="2238549" y="183293"/>
                    <a:pt x="1901306" y="697414"/>
                    <a:pt x="1486269" y="911961"/>
                  </a:cubicBezTo>
                  <a:close/>
                </a:path>
              </a:pathLst>
            </a:custGeom>
            <a:solidFill>
              <a:srgbClr val="1C55D1"/>
            </a:solidFill>
            <a:ln w="13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C274891B-8853-4339-8DC1-13245549DEAD}"/>
                </a:ext>
              </a:extLst>
            </p:cNvPr>
            <p:cNvGrpSpPr/>
            <p:nvPr/>
          </p:nvGrpSpPr>
          <p:grpSpPr>
            <a:xfrm flipH="1">
              <a:off x="7297246" y="4341678"/>
              <a:ext cx="3527814" cy="1799430"/>
              <a:chOff x="7609031" y="4341678"/>
              <a:chExt cx="3527814" cy="1799430"/>
            </a:xfrm>
            <a:solidFill>
              <a:schemeClr val="accent1"/>
            </a:solidFill>
          </p:grpSpPr>
          <p:grpSp>
            <p:nvGrpSpPr>
              <p:cNvPr id="51" name="组合 50">
                <a:extLst>
                  <a:ext uri="{FF2B5EF4-FFF2-40B4-BE49-F238E27FC236}">
                    <a16:creationId xmlns:a16="http://schemas.microsoft.com/office/drawing/2014/main" id="{C2C7C10F-B002-4401-AF44-EF5DDE4BD44D}"/>
                  </a:ext>
                </a:extLst>
              </p:cNvPr>
              <p:cNvGrpSpPr/>
              <p:nvPr/>
            </p:nvGrpSpPr>
            <p:grpSpPr>
              <a:xfrm>
                <a:off x="7609031" y="5391036"/>
                <a:ext cx="1068371" cy="750072"/>
                <a:chOff x="7609031" y="5391036"/>
                <a:chExt cx="1068371" cy="750072"/>
              </a:xfrm>
              <a:solidFill>
                <a:schemeClr val="accent1"/>
              </a:solidFill>
            </p:grpSpPr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45AAFE02-C79B-42E3-8A7F-02ABFE77F79B}"/>
                    </a:ext>
                  </a:extLst>
                </p:cNvPr>
                <p:cNvSpPr/>
                <p:nvPr/>
              </p:nvSpPr>
              <p:spPr>
                <a:xfrm>
                  <a:off x="7609031" y="5391036"/>
                  <a:ext cx="1068371" cy="750072"/>
                </a:xfrm>
                <a:custGeom>
                  <a:avLst/>
                  <a:gdLst>
                    <a:gd name="connsiteX0" fmla="*/ 1068371 w 1068371"/>
                    <a:gd name="connsiteY0" fmla="*/ 323468 h 750072"/>
                    <a:gd name="connsiteX1" fmla="*/ 989486 w 1068371"/>
                    <a:gd name="connsiteY1" fmla="*/ 339163 h 750072"/>
                    <a:gd name="connsiteX2" fmla="*/ 943492 w 1068371"/>
                    <a:gd name="connsiteY2" fmla="*/ 348717 h 750072"/>
                    <a:gd name="connsiteX3" fmla="*/ 871157 w 1068371"/>
                    <a:gd name="connsiteY3" fmla="*/ 364412 h 750072"/>
                    <a:gd name="connsiteX4" fmla="*/ 825300 w 1068371"/>
                    <a:gd name="connsiteY4" fmla="*/ 374648 h 750072"/>
                    <a:gd name="connsiteX5" fmla="*/ 266413 w 1068371"/>
                    <a:gd name="connsiteY5" fmla="*/ 553300 h 750072"/>
                    <a:gd name="connsiteX6" fmla="*/ 245123 w 1068371"/>
                    <a:gd name="connsiteY6" fmla="*/ 567222 h 750072"/>
                    <a:gd name="connsiteX7" fmla="*/ 24161 w 1068371"/>
                    <a:gd name="connsiteY7" fmla="*/ 747648 h 750072"/>
                    <a:gd name="connsiteX8" fmla="*/ 36717 w 1068371"/>
                    <a:gd name="connsiteY8" fmla="*/ 595473 h 750072"/>
                    <a:gd name="connsiteX9" fmla="*/ 142489 w 1068371"/>
                    <a:gd name="connsiteY9" fmla="*/ 448347 h 750072"/>
                    <a:gd name="connsiteX10" fmla="*/ 185890 w 1068371"/>
                    <a:gd name="connsiteY10" fmla="*/ 400989 h 750072"/>
                    <a:gd name="connsiteX11" fmla="*/ 440972 w 1068371"/>
                    <a:gd name="connsiteY11" fmla="*/ 202000 h 750072"/>
                    <a:gd name="connsiteX12" fmla="*/ 452982 w 1068371"/>
                    <a:gd name="connsiteY12" fmla="*/ 191355 h 750072"/>
                    <a:gd name="connsiteX13" fmla="*/ 625629 w 1068371"/>
                    <a:gd name="connsiteY13" fmla="*/ 8881 h 750072"/>
                    <a:gd name="connsiteX14" fmla="*/ 786267 w 1068371"/>
                    <a:gd name="connsiteY14" fmla="*/ 14203 h 750072"/>
                    <a:gd name="connsiteX15" fmla="*/ 815473 w 1068371"/>
                    <a:gd name="connsiteY15" fmla="*/ 22802 h 750072"/>
                    <a:gd name="connsiteX16" fmla="*/ 857509 w 1068371"/>
                    <a:gd name="connsiteY16" fmla="*/ 37678 h 750072"/>
                    <a:gd name="connsiteX17" fmla="*/ 910327 w 1068371"/>
                    <a:gd name="connsiteY17" fmla="*/ 60334 h 750072"/>
                    <a:gd name="connsiteX18" fmla="*/ 952226 w 1068371"/>
                    <a:gd name="connsiteY18" fmla="*/ 81079 h 750072"/>
                    <a:gd name="connsiteX19" fmla="*/ 999858 w 1068371"/>
                    <a:gd name="connsiteY19" fmla="*/ 107966 h 750072"/>
                    <a:gd name="connsiteX20" fmla="*/ 1068371 w 1068371"/>
                    <a:gd name="connsiteY20" fmla="*/ 323468 h 7500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68371" h="750072">
                      <a:moveTo>
                        <a:pt x="1068371" y="323468"/>
                      </a:moveTo>
                      <a:cubicBezTo>
                        <a:pt x="1068371" y="323468"/>
                        <a:pt x="1038346" y="329063"/>
                        <a:pt x="989486" y="339163"/>
                      </a:cubicBezTo>
                      <a:cubicBezTo>
                        <a:pt x="975565" y="342029"/>
                        <a:pt x="960142" y="345168"/>
                        <a:pt x="943492" y="348717"/>
                      </a:cubicBezTo>
                      <a:cubicBezTo>
                        <a:pt x="921382" y="353357"/>
                        <a:pt x="897089" y="358680"/>
                        <a:pt x="871157" y="364412"/>
                      </a:cubicBezTo>
                      <a:cubicBezTo>
                        <a:pt x="856417" y="367688"/>
                        <a:pt x="841132" y="371100"/>
                        <a:pt x="825300" y="374648"/>
                      </a:cubicBezTo>
                      <a:cubicBezTo>
                        <a:pt x="629724" y="419277"/>
                        <a:pt x="370684" y="486971"/>
                        <a:pt x="266413" y="553300"/>
                      </a:cubicBezTo>
                      <a:cubicBezTo>
                        <a:pt x="259044" y="557941"/>
                        <a:pt x="251947" y="562581"/>
                        <a:pt x="245123" y="567222"/>
                      </a:cubicBezTo>
                      <a:cubicBezTo>
                        <a:pt x="86260" y="674085"/>
                        <a:pt x="53641" y="766346"/>
                        <a:pt x="24161" y="747648"/>
                      </a:cubicBezTo>
                      <a:cubicBezTo>
                        <a:pt x="-6683" y="728132"/>
                        <a:pt x="-13507" y="648154"/>
                        <a:pt x="36717" y="595473"/>
                      </a:cubicBezTo>
                      <a:cubicBezTo>
                        <a:pt x="71520" y="559033"/>
                        <a:pt x="95813" y="505805"/>
                        <a:pt x="142489" y="448347"/>
                      </a:cubicBezTo>
                      <a:cubicBezTo>
                        <a:pt x="155046" y="432788"/>
                        <a:pt x="169376" y="416957"/>
                        <a:pt x="185890" y="400989"/>
                      </a:cubicBezTo>
                      <a:cubicBezTo>
                        <a:pt x="258907" y="330701"/>
                        <a:pt x="375734" y="257957"/>
                        <a:pt x="440972" y="202000"/>
                      </a:cubicBezTo>
                      <a:cubicBezTo>
                        <a:pt x="445203" y="198452"/>
                        <a:pt x="449160" y="194904"/>
                        <a:pt x="452982" y="191355"/>
                      </a:cubicBezTo>
                      <a:cubicBezTo>
                        <a:pt x="506619" y="141813"/>
                        <a:pt x="527637" y="39862"/>
                        <a:pt x="625629" y="8881"/>
                      </a:cubicBezTo>
                      <a:cubicBezTo>
                        <a:pt x="673534" y="-6269"/>
                        <a:pt x="730856" y="-400"/>
                        <a:pt x="786267" y="14203"/>
                      </a:cubicBezTo>
                      <a:cubicBezTo>
                        <a:pt x="796093" y="16797"/>
                        <a:pt x="805920" y="19663"/>
                        <a:pt x="815473" y="22802"/>
                      </a:cubicBezTo>
                      <a:cubicBezTo>
                        <a:pt x="829940" y="27442"/>
                        <a:pt x="843998" y="32492"/>
                        <a:pt x="857509" y="37678"/>
                      </a:cubicBezTo>
                      <a:cubicBezTo>
                        <a:pt x="876207" y="45048"/>
                        <a:pt x="894086" y="52691"/>
                        <a:pt x="910327" y="60334"/>
                      </a:cubicBezTo>
                      <a:cubicBezTo>
                        <a:pt x="925886" y="67567"/>
                        <a:pt x="940080" y="74665"/>
                        <a:pt x="952226" y="81079"/>
                      </a:cubicBezTo>
                      <a:cubicBezTo>
                        <a:pt x="981706" y="96501"/>
                        <a:pt x="999858" y="107966"/>
                        <a:pt x="999858" y="107966"/>
                      </a:cubicBezTo>
                      <a:lnTo>
                        <a:pt x="1068371" y="32346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D0F577F0-0AA2-4C1E-9361-3B5664F8C7AC}"/>
                    </a:ext>
                  </a:extLst>
                </p:cNvPr>
                <p:cNvSpPr/>
                <p:nvPr/>
              </p:nvSpPr>
              <p:spPr>
                <a:xfrm>
                  <a:off x="8050139" y="5391144"/>
                  <a:ext cx="345158" cy="206708"/>
                </a:xfrm>
                <a:custGeom>
                  <a:avLst/>
                  <a:gdLst>
                    <a:gd name="connsiteX0" fmla="*/ 345158 w 345158"/>
                    <a:gd name="connsiteY0" fmla="*/ 14232 h 206708"/>
                    <a:gd name="connsiteX1" fmla="*/ 0 w 345158"/>
                    <a:gd name="connsiteY1" fmla="*/ 201892 h 206708"/>
                    <a:gd name="connsiteX2" fmla="*/ 12010 w 345158"/>
                    <a:gd name="connsiteY2" fmla="*/ 191247 h 206708"/>
                    <a:gd name="connsiteX3" fmla="*/ 184658 w 345158"/>
                    <a:gd name="connsiteY3" fmla="*/ 8773 h 206708"/>
                    <a:gd name="connsiteX4" fmla="*/ 345158 w 345158"/>
                    <a:gd name="connsiteY4" fmla="*/ 14232 h 2067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5158" h="206708">
                      <a:moveTo>
                        <a:pt x="345158" y="14232"/>
                      </a:moveTo>
                      <a:cubicBezTo>
                        <a:pt x="287291" y="89979"/>
                        <a:pt x="153813" y="234921"/>
                        <a:pt x="0" y="201892"/>
                      </a:cubicBezTo>
                      <a:cubicBezTo>
                        <a:pt x="4231" y="198344"/>
                        <a:pt x="8189" y="194795"/>
                        <a:pt x="12010" y="191247"/>
                      </a:cubicBezTo>
                      <a:cubicBezTo>
                        <a:pt x="65647" y="141704"/>
                        <a:pt x="86665" y="39754"/>
                        <a:pt x="184658" y="8773"/>
                      </a:cubicBezTo>
                      <a:cubicBezTo>
                        <a:pt x="232426" y="-6240"/>
                        <a:pt x="289884" y="-372"/>
                        <a:pt x="345158" y="14232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8064A61E-3F07-47A5-B8D7-A60E21E14806}"/>
                    </a:ext>
                  </a:extLst>
                </p:cNvPr>
                <p:cNvSpPr/>
                <p:nvPr/>
              </p:nvSpPr>
              <p:spPr>
                <a:xfrm>
                  <a:off x="7609168" y="5839247"/>
                  <a:ext cx="245122" cy="301725"/>
                </a:xfrm>
                <a:custGeom>
                  <a:avLst/>
                  <a:gdLst>
                    <a:gd name="connsiteX0" fmla="*/ 245123 w 245122"/>
                    <a:gd name="connsiteY0" fmla="*/ 118874 h 301725"/>
                    <a:gd name="connsiteX1" fmla="*/ 24161 w 245122"/>
                    <a:gd name="connsiteY1" fmla="*/ 299301 h 301725"/>
                    <a:gd name="connsiteX2" fmla="*/ 36717 w 245122"/>
                    <a:gd name="connsiteY2" fmla="*/ 147126 h 301725"/>
                    <a:gd name="connsiteX3" fmla="*/ 142489 w 245122"/>
                    <a:gd name="connsiteY3" fmla="*/ 0 h 301725"/>
                    <a:gd name="connsiteX4" fmla="*/ 245123 w 245122"/>
                    <a:gd name="connsiteY4" fmla="*/ 118874 h 301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5122" h="301725">
                      <a:moveTo>
                        <a:pt x="245123" y="118874"/>
                      </a:moveTo>
                      <a:cubicBezTo>
                        <a:pt x="86260" y="225738"/>
                        <a:pt x="53641" y="317999"/>
                        <a:pt x="24161" y="299301"/>
                      </a:cubicBezTo>
                      <a:cubicBezTo>
                        <a:pt x="-6683" y="279784"/>
                        <a:pt x="-13507" y="199807"/>
                        <a:pt x="36717" y="147126"/>
                      </a:cubicBezTo>
                      <a:cubicBezTo>
                        <a:pt x="71520" y="110685"/>
                        <a:pt x="95813" y="57458"/>
                        <a:pt x="142489" y="0"/>
                      </a:cubicBezTo>
                      <a:cubicBezTo>
                        <a:pt x="181796" y="27978"/>
                        <a:pt x="223695" y="67557"/>
                        <a:pt x="245123" y="118874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5EDEC293-E6CA-4884-B8C0-D50AD9028487}"/>
                    </a:ext>
                  </a:extLst>
                </p:cNvPr>
                <p:cNvSpPr/>
                <p:nvPr/>
              </p:nvSpPr>
              <p:spPr>
                <a:xfrm>
                  <a:off x="8509908" y="5451506"/>
                  <a:ext cx="88608" cy="288246"/>
                </a:xfrm>
                <a:custGeom>
                  <a:avLst/>
                  <a:gdLst>
                    <a:gd name="connsiteX0" fmla="*/ 88609 w 88608"/>
                    <a:gd name="connsiteY0" fmla="*/ 278693 h 288246"/>
                    <a:gd name="connsiteX1" fmla="*/ 42615 w 88608"/>
                    <a:gd name="connsiteY1" fmla="*/ 288246 h 288246"/>
                    <a:gd name="connsiteX2" fmla="*/ 33 w 88608"/>
                    <a:gd name="connsiteY2" fmla="*/ 97447 h 288246"/>
                    <a:gd name="connsiteX3" fmla="*/ 9450 w 88608"/>
                    <a:gd name="connsiteY3" fmla="*/ 0 h 288246"/>
                    <a:gd name="connsiteX4" fmla="*/ 51349 w 88608"/>
                    <a:gd name="connsiteY4" fmla="*/ 20745 h 288246"/>
                    <a:gd name="connsiteX5" fmla="*/ 44798 w 88608"/>
                    <a:gd name="connsiteY5" fmla="*/ 98402 h 288246"/>
                    <a:gd name="connsiteX6" fmla="*/ 88609 w 88608"/>
                    <a:gd name="connsiteY6" fmla="*/ 278693 h 288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8608" h="288246">
                      <a:moveTo>
                        <a:pt x="88609" y="278693"/>
                      </a:moveTo>
                      <a:cubicBezTo>
                        <a:pt x="74688" y="281559"/>
                        <a:pt x="59265" y="284698"/>
                        <a:pt x="42615" y="288246"/>
                      </a:cubicBezTo>
                      <a:cubicBezTo>
                        <a:pt x="13681" y="235428"/>
                        <a:pt x="-786" y="171010"/>
                        <a:pt x="33" y="97447"/>
                      </a:cubicBezTo>
                      <a:cubicBezTo>
                        <a:pt x="442" y="60324"/>
                        <a:pt x="4810" y="26477"/>
                        <a:pt x="9450" y="0"/>
                      </a:cubicBezTo>
                      <a:cubicBezTo>
                        <a:pt x="25009" y="7233"/>
                        <a:pt x="39203" y="14330"/>
                        <a:pt x="51349" y="20745"/>
                      </a:cubicBezTo>
                      <a:cubicBezTo>
                        <a:pt x="47937" y="43128"/>
                        <a:pt x="45071" y="69741"/>
                        <a:pt x="44798" y="98402"/>
                      </a:cubicBezTo>
                      <a:cubicBezTo>
                        <a:pt x="44252" y="156270"/>
                        <a:pt x="53806" y="222599"/>
                        <a:pt x="88609" y="278693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0A6458D5-45AA-4208-A579-34C50A6B0337}"/>
                    </a:ext>
                  </a:extLst>
                </p:cNvPr>
                <p:cNvSpPr/>
                <p:nvPr/>
              </p:nvSpPr>
              <p:spPr>
                <a:xfrm>
                  <a:off x="8392708" y="5413974"/>
                  <a:ext cx="87616" cy="351709"/>
                </a:xfrm>
                <a:custGeom>
                  <a:avLst/>
                  <a:gdLst>
                    <a:gd name="connsiteX0" fmla="*/ 73969 w 87616"/>
                    <a:gd name="connsiteY0" fmla="*/ 14876 h 351709"/>
                    <a:gd name="connsiteX1" fmla="*/ 31933 w 87616"/>
                    <a:gd name="connsiteY1" fmla="*/ 0 h 351709"/>
                    <a:gd name="connsiteX2" fmla="*/ 3136 w 87616"/>
                    <a:gd name="connsiteY2" fmla="*/ 126654 h 351709"/>
                    <a:gd name="connsiteX3" fmla="*/ 41760 w 87616"/>
                    <a:gd name="connsiteY3" fmla="*/ 351709 h 351709"/>
                    <a:gd name="connsiteX4" fmla="*/ 87617 w 87616"/>
                    <a:gd name="connsiteY4" fmla="*/ 341473 h 351709"/>
                    <a:gd name="connsiteX5" fmla="*/ 73969 w 87616"/>
                    <a:gd name="connsiteY5" fmla="*/ 14876 h 351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616" h="351709">
                      <a:moveTo>
                        <a:pt x="73969" y="14876"/>
                      </a:moveTo>
                      <a:cubicBezTo>
                        <a:pt x="60321" y="9690"/>
                        <a:pt x="46263" y="4640"/>
                        <a:pt x="31933" y="0"/>
                      </a:cubicBezTo>
                      <a:cubicBezTo>
                        <a:pt x="22516" y="27159"/>
                        <a:pt x="9141" y="72880"/>
                        <a:pt x="3136" y="126654"/>
                      </a:cubicBezTo>
                      <a:cubicBezTo>
                        <a:pt x="-6691" y="213865"/>
                        <a:pt x="6684" y="290293"/>
                        <a:pt x="41760" y="351709"/>
                      </a:cubicBezTo>
                      <a:cubicBezTo>
                        <a:pt x="57455" y="348161"/>
                        <a:pt x="72741" y="344749"/>
                        <a:pt x="87617" y="341473"/>
                      </a:cubicBezTo>
                      <a:cubicBezTo>
                        <a:pt x="13235" y="227513"/>
                        <a:pt x="54043" y="73153"/>
                        <a:pt x="73969" y="1487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71D5863-33E4-4663-A9BC-FE265939BF2A}"/>
                  </a:ext>
                </a:extLst>
              </p:cNvPr>
              <p:cNvSpPr/>
              <p:nvPr/>
            </p:nvSpPr>
            <p:spPr>
              <a:xfrm>
                <a:off x="8605771" y="4341678"/>
                <a:ext cx="2531074" cy="1422905"/>
              </a:xfrm>
              <a:custGeom>
                <a:avLst/>
                <a:gdLst>
                  <a:gd name="connsiteX0" fmla="*/ 2417044 w 2531074"/>
                  <a:gd name="connsiteY0" fmla="*/ 546029 h 1422905"/>
                  <a:gd name="connsiteX1" fmla="*/ 1232941 w 2531074"/>
                  <a:gd name="connsiteY1" fmla="*/ 1215328 h 1422905"/>
                  <a:gd name="connsiteX2" fmla="*/ 779827 w 2531074"/>
                  <a:gd name="connsiteY2" fmla="*/ 1337204 h 1422905"/>
                  <a:gd name="connsiteX3" fmla="*/ 516693 w 2531074"/>
                  <a:gd name="connsiteY3" fmla="*/ 1390432 h 1422905"/>
                  <a:gd name="connsiteX4" fmla="*/ 121037 w 2531074"/>
                  <a:gd name="connsiteY4" fmla="*/ 1418683 h 1422905"/>
                  <a:gd name="connsiteX5" fmla="*/ 19086 w 2531074"/>
                  <a:gd name="connsiteY5" fmla="*/ 1071341 h 1422905"/>
                  <a:gd name="connsiteX6" fmla="*/ 619736 w 2531074"/>
                  <a:gd name="connsiteY6" fmla="*/ 864027 h 1422905"/>
                  <a:gd name="connsiteX7" fmla="*/ 767134 w 2531074"/>
                  <a:gd name="connsiteY7" fmla="*/ 778454 h 1422905"/>
                  <a:gd name="connsiteX8" fmla="*/ 797569 w 2531074"/>
                  <a:gd name="connsiteY8" fmla="*/ 756617 h 1422905"/>
                  <a:gd name="connsiteX9" fmla="*/ 1798788 w 2531074"/>
                  <a:gd name="connsiteY9" fmla="*/ 116389 h 1422905"/>
                  <a:gd name="connsiteX10" fmla="*/ 2316867 w 2531074"/>
                  <a:gd name="connsiteY10" fmla="*/ 20170 h 1422905"/>
                  <a:gd name="connsiteX11" fmla="*/ 2413359 w 2531074"/>
                  <a:gd name="connsiteY11" fmla="*/ 71760 h 1422905"/>
                  <a:gd name="connsiteX12" fmla="*/ 2417044 w 2531074"/>
                  <a:gd name="connsiteY12" fmla="*/ 546029 h 142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31074" h="1422905">
                    <a:moveTo>
                      <a:pt x="2417044" y="546029"/>
                    </a:moveTo>
                    <a:cubicBezTo>
                      <a:pt x="2207547" y="801792"/>
                      <a:pt x="1736690" y="1063425"/>
                      <a:pt x="1232941" y="1215328"/>
                    </a:cubicBezTo>
                    <a:cubicBezTo>
                      <a:pt x="1058110" y="1268009"/>
                      <a:pt x="907982" y="1307588"/>
                      <a:pt x="779827" y="1337204"/>
                    </a:cubicBezTo>
                    <a:cubicBezTo>
                      <a:pt x="678968" y="1360679"/>
                      <a:pt x="591621" y="1377739"/>
                      <a:pt x="516693" y="1390432"/>
                    </a:cubicBezTo>
                    <a:cubicBezTo>
                      <a:pt x="227355" y="1439018"/>
                      <a:pt x="121037" y="1418683"/>
                      <a:pt x="121037" y="1418683"/>
                    </a:cubicBezTo>
                    <a:cubicBezTo>
                      <a:pt x="121037" y="1418683"/>
                      <a:pt x="-57479" y="1361225"/>
                      <a:pt x="19086" y="1071341"/>
                    </a:cubicBezTo>
                    <a:cubicBezTo>
                      <a:pt x="19086" y="1071341"/>
                      <a:pt x="357557" y="993547"/>
                      <a:pt x="619736" y="864027"/>
                    </a:cubicBezTo>
                    <a:cubicBezTo>
                      <a:pt x="673236" y="837550"/>
                      <a:pt x="723461" y="809026"/>
                      <a:pt x="767134" y="778454"/>
                    </a:cubicBezTo>
                    <a:cubicBezTo>
                      <a:pt x="777370" y="771357"/>
                      <a:pt x="787470" y="763987"/>
                      <a:pt x="797569" y="756617"/>
                    </a:cubicBezTo>
                    <a:cubicBezTo>
                      <a:pt x="1041323" y="578101"/>
                      <a:pt x="1249592" y="335576"/>
                      <a:pt x="1798788" y="116389"/>
                    </a:cubicBezTo>
                    <a:cubicBezTo>
                      <a:pt x="1798788" y="116389"/>
                      <a:pt x="2086079" y="-58033"/>
                      <a:pt x="2316867" y="20170"/>
                    </a:cubicBezTo>
                    <a:cubicBezTo>
                      <a:pt x="2351260" y="31771"/>
                      <a:pt x="2383879" y="48558"/>
                      <a:pt x="2413359" y="71760"/>
                    </a:cubicBezTo>
                    <a:cubicBezTo>
                      <a:pt x="2580683" y="203463"/>
                      <a:pt x="2558437" y="373381"/>
                      <a:pt x="2417044" y="546029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42E1B4D7-6442-433D-94E7-F3903FEAD523}"/>
                  </a:ext>
                </a:extLst>
              </p:cNvPr>
              <p:cNvSpPr/>
              <p:nvPr/>
            </p:nvSpPr>
            <p:spPr>
              <a:xfrm>
                <a:off x="9225370" y="5098159"/>
                <a:ext cx="771522" cy="395383"/>
              </a:xfrm>
              <a:custGeom>
                <a:avLst/>
                <a:gdLst>
                  <a:gd name="connsiteX0" fmla="*/ 771523 w 771522"/>
                  <a:gd name="connsiteY0" fmla="*/ 380371 h 395383"/>
                  <a:gd name="connsiteX1" fmla="*/ 662338 w 771522"/>
                  <a:gd name="connsiteY1" fmla="*/ 395383 h 395383"/>
                  <a:gd name="connsiteX2" fmla="*/ 0 w 771522"/>
                  <a:gd name="connsiteY2" fmla="*/ 107410 h 395383"/>
                  <a:gd name="connsiteX3" fmla="*/ 147399 w 771522"/>
                  <a:gd name="connsiteY3" fmla="*/ 21837 h 395383"/>
                  <a:gd name="connsiteX4" fmla="*/ 177834 w 771522"/>
                  <a:gd name="connsiteY4" fmla="*/ 0 h 395383"/>
                  <a:gd name="connsiteX5" fmla="*/ 771523 w 771522"/>
                  <a:gd name="connsiteY5" fmla="*/ 380371 h 39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1522" h="395383">
                    <a:moveTo>
                      <a:pt x="771523" y="380371"/>
                    </a:moveTo>
                    <a:lnTo>
                      <a:pt x="662338" y="395383"/>
                    </a:lnTo>
                    <a:lnTo>
                      <a:pt x="0" y="107410"/>
                    </a:lnTo>
                    <a:cubicBezTo>
                      <a:pt x="53500" y="80933"/>
                      <a:pt x="103725" y="52409"/>
                      <a:pt x="147399" y="21837"/>
                    </a:cubicBezTo>
                    <a:cubicBezTo>
                      <a:pt x="157635" y="14740"/>
                      <a:pt x="167734" y="7370"/>
                      <a:pt x="177834" y="0"/>
                    </a:cubicBezTo>
                    <a:lnTo>
                      <a:pt x="771523" y="380371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B2F6EC7-B78C-48BB-A34D-F9E832A09743}"/>
                  </a:ext>
                </a:extLst>
              </p:cNvPr>
              <p:cNvSpPr/>
              <p:nvPr/>
            </p:nvSpPr>
            <p:spPr>
              <a:xfrm>
                <a:off x="8659387" y="5437176"/>
                <a:ext cx="726211" cy="294933"/>
              </a:xfrm>
              <a:custGeom>
                <a:avLst/>
                <a:gdLst>
                  <a:gd name="connsiteX0" fmla="*/ 726211 w 726211"/>
                  <a:gd name="connsiteY0" fmla="*/ 241706 h 294933"/>
                  <a:gd name="connsiteX1" fmla="*/ 463077 w 726211"/>
                  <a:gd name="connsiteY1" fmla="*/ 294934 h 294933"/>
                  <a:gd name="connsiteX2" fmla="*/ 0 w 726211"/>
                  <a:gd name="connsiteY2" fmla="*/ 130884 h 294933"/>
                  <a:gd name="connsiteX3" fmla="*/ 16378 w 726211"/>
                  <a:gd name="connsiteY3" fmla="*/ 0 h 294933"/>
                  <a:gd name="connsiteX4" fmla="*/ 726211 w 726211"/>
                  <a:gd name="connsiteY4" fmla="*/ 241706 h 29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6211" h="294933">
                    <a:moveTo>
                      <a:pt x="726211" y="241706"/>
                    </a:moveTo>
                    <a:cubicBezTo>
                      <a:pt x="625352" y="265181"/>
                      <a:pt x="538005" y="282241"/>
                      <a:pt x="463077" y="294934"/>
                    </a:cubicBezTo>
                    <a:cubicBezTo>
                      <a:pt x="252352" y="237748"/>
                      <a:pt x="0" y="130884"/>
                      <a:pt x="0" y="130884"/>
                    </a:cubicBezTo>
                    <a:lnTo>
                      <a:pt x="16378" y="0"/>
                    </a:lnTo>
                    <a:lnTo>
                      <a:pt x="726211" y="24170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DC73AE4F-C544-4BFA-A14B-201A3FFECD0A}"/>
                  </a:ext>
                </a:extLst>
              </p:cNvPr>
              <p:cNvSpPr/>
              <p:nvPr/>
            </p:nvSpPr>
            <p:spPr>
              <a:xfrm>
                <a:off x="10891471" y="4361848"/>
                <a:ext cx="245375" cy="525858"/>
              </a:xfrm>
              <a:custGeom>
                <a:avLst/>
                <a:gdLst>
                  <a:gd name="connsiteX0" fmla="*/ 131344 w 245375"/>
                  <a:gd name="connsiteY0" fmla="*/ 525858 h 525858"/>
                  <a:gd name="connsiteX1" fmla="*/ 31167 w 245375"/>
                  <a:gd name="connsiteY1" fmla="*/ 0 h 525858"/>
                  <a:gd name="connsiteX2" fmla="*/ 127659 w 245375"/>
                  <a:gd name="connsiteY2" fmla="*/ 51590 h 525858"/>
                  <a:gd name="connsiteX3" fmla="*/ 131344 w 245375"/>
                  <a:gd name="connsiteY3" fmla="*/ 525858 h 52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5375" h="525858">
                    <a:moveTo>
                      <a:pt x="131344" y="525858"/>
                    </a:moveTo>
                    <a:cubicBezTo>
                      <a:pt x="-41576" y="293569"/>
                      <a:pt x="-7184" y="98948"/>
                      <a:pt x="31167" y="0"/>
                    </a:cubicBezTo>
                    <a:cubicBezTo>
                      <a:pt x="65560" y="11601"/>
                      <a:pt x="98179" y="28524"/>
                      <a:pt x="127659" y="51590"/>
                    </a:cubicBezTo>
                    <a:cubicBezTo>
                      <a:pt x="294983" y="183293"/>
                      <a:pt x="272738" y="353211"/>
                      <a:pt x="131344" y="525858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559B68C4-1D52-4353-A012-16D433BE5645}"/>
                  </a:ext>
                </a:extLst>
              </p:cNvPr>
              <p:cNvSpPr/>
              <p:nvPr/>
            </p:nvSpPr>
            <p:spPr>
              <a:xfrm>
                <a:off x="8648605" y="4518655"/>
                <a:ext cx="1756737" cy="980755"/>
              </a:xfrm>
              <a:custGeom>
                <a:avLst/>
                <a:gdLst>
                  <a:gd name="connsiteX0" fmla="*/ 4913 w 1756737"/>
                  <a:gd name="connsiteY0" fmla="*/ 980756 h 980755"/>
                  <a:gd name="connsiteX1" fmla="*/ 973923 w 1756737"/>
                  <a:gd name="connsiteY1" fmla="*/ 585236 h 980755"/>
                  <a:gd name="connsiteX2" fmla="*/ 1724837 w 1756737"/>
                  <a:gd name="connsiteY2" fmla="*/ 146043 h 980755"/>
                  <a:gd name="connsiteX3" fmla="*/ 1750632 w 1756737"/>
                  <a:gd name="connsiteY3" fmla="*/ 46412 h 980755"/>
                  <a:gd name="connsiteX4" fmla="*/ 1639946 w 1756737"/>
                  <a:gd name="connsiteY4" fmla="*/ 9 h 980755"/>
                  <a:gd name="connsiteX5" fmla="*/ 1626844 w 1756737"/>
                  <a:gd name="connsiteY5" fmla="*/ 13111 h 980755"/>
                  <a:gd name="connsiteX6" fmla="*/ 1626844 w 1756737"/>
                  <a:gd name="connsiteY6" fmla="*/ 13111 h 980755"/>
                  <a:gd name="connsiteX7" fmla="*/ 1638991 w 1756737"/>
                  <a:gd name="connsiteY7" fmla="*/ 25394 h 980755"/>
                  <a:gd name="connsiteX8" fmla="*/ 1728113 w 1756737"/>
                  <a:gd name="connsiteY8" fmla="*/ 58150 h 980755"/>
                  <a:gd name="connsiteX9" fmla="*/ 1704638 w 1756737"/>
                  <a:gd name="connsiteY9" fmla="*/ 130893 h 980755"/>
                  <a:gd name="connsiteX10" fmla="*/ 962595 w 1756737"/>
                  <a:gd name="connsiteY10" fmla="*/ 562717 h 980755"/>
                  <a:gd name="connsiteX11" fmla="*/ 0 w 1756737"/>
                  <a:gd name="connsiteY11" fmla="*/ 956053 h 980755"/>
                  <a:gd name="connsiteX12" fmla="*/ 4913 w 1756737"/>
                  <a:gd name="connsiteY12" fmla="*/ 980756 h 980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56737" h="980755">
                    <a:moveTo>
                      <a:pt x="4913" y="980756"/>
                    </a:moveTo>
                    <a:cubicBezTo>
                      <a:pt x="181109" y="946226"/>
                      <a:pt x="543328" y="798418"/>
                      <a:pt x="973923" y="585236"/>
                    </a:cubicBezTo>
                    <a:cubicBezTo>
                      <a:pt x="1296016" y="425827"/>
                      <a:pt x="1668334" y="220424"/>
                      <a:pt x="1724837" y="146043"/>
                    </a:cubicBezTo>
                    <a:cubicBezTo>
                      <a:pt x="1755409" y="105918"/>
                      <a:pt x="1764007" y="72344"/>
                      <a:pt x="1750632" y="46412"/>
                    </a:cubicBezTo>
                    <a:cubicBezTo>
                      <a:pt x="1730569" y="7516"/>
                      <a:pt x="1668471" y="964"/>
                      <a:pt x="1639946" y="9"/>
                    </a:cubicBezTo>
                    <a:cubicBezTo>
                      <a:pt x="1632576" y="-264"/>
                      <a:pt x="1626571" y="5741"/>
                      <a:pt x="1626844" y="13111"/>
                    </a:cubicBezTo>
                    <a:lnTo>
                      <a:pt x="1626844" y="13111"/>
                    </a:lnTo>
                    <a:cubicBezTo>
                      <a:pt x="1626981" y="19799"/>
                      <a:pt x="1632303" y="25121"/>
                      <a:pt x="1638991" y="25394"/>
                    </a:cubicBezTo>
                    <a:cubicBezTo>
                      <a:pt x="1666969" y="26350"/>
                      <a:pt x="1715420" y="33310"/>
                      <a:pt x="1728113" y="58150"/>
                    </a:cubicBezTo>
                    <a:cubicBezTo>
                      <a:pt x="1738758" y="78758"/>
                      <a:pt x="1721152" y="109057"/>
                      <a:pt x="1704638" y="130893"/>
                    </a:cubicBezTo>
                    <a:cubicBezTo>
                      <a:pt x="1659054" y="190808"/>
                      <a:pt x="1347060" y="372464"/>
                      <a:pt x="962595" y="562717"/>
                    </a:cubicBezTo>
                    <a:cubicBezTo>
                      <a:pt x="631631" y="726493"/>
                      <a:pt x="204993" y="915928"/>
                      <a:pt x="0" y="956053"/>
                    </a:cubicBezTo>
                    <a:lnTo>
                      <a:pt x="4913" y="98075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5B212C6-7A85-47E4-B9EC-7DF1B41C4FEE}"/>
                  </a:ext>
                </a:extLst>
              </p:cNvPr>
              <p:cNvSpPr/>
              <p:nvPr/>
            </p:nvSpPr>
            <p:spPr>
              <a:xfrm>
                <a:off x="8569432" y="5368672"/>
                <a:ext cx="251547" cy="440796"/>
              </a:xfrm>
              <a:custGeom>
                <a:avLst/>
                <a:gdLst>
                  <a:gd name="connsiteX0" fmla="*/ 122164 w 251547"/>
                  <a:gd name="connsiteY0" fmla="*/ 8180 h 440796"/>
                  <a:gd name="connsiteX1" fmla="*/ 251547 w 251547"/>
                  <a:gd name="connsiteY1" fmla="*/ 415436 h 440796"/>
                  <a:gd name="connsiteX2" fmla="*/ 108516 w 251547"/>
                  <a:gd name="connsiteY2" fmla="*/ 424581 h 440796"/>
                  <a:gd name="connsiteX3" fmla="*/ 11615 w 251547"/>
                  <a:gd name="connsiteY3" fmla="*/ 21691 h 440796"/>
                  <a:gd name="connsiteX4" fmla="*/ 122164 w 251547"/>
                  <a:gd name="connsiteY4" fmla="*/ 8180 h 440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1547" h="440796">
                    <a:moveTo>
                      <a:pt x="122164" y="8180"/>
                    </a:moveTo>
                    <a:cubicBezTo>
                      <a:pt x="135266" y="162948"/>
                      <a:pt x="169113" y="304478"/>
                      <a:pt x="251547" y="415436"/>
                    </a:cubicBezTo>
                    <a:cubicBezTo>
                      <a:pt x="251547" y="415436"/>
                      <a:pt x="174845" y="465798"/>
                      <a:pt x="108516" y="424581"/>
                    </a:cubicBezTo>
                    <a:cubicBezTo>
                      <a:pt x="57882" y="393054"/>
                      <a:pt x="-32059" y="148481"/>
                      <a:pt x="11615" y="21691"/>
                    </a:cubicBezTo>
                    <a:cubicBezTo>
                      <a:pt x="55971" y="-282"/>
                      <a:pt x="93913" y="-6970"/>
                      <a:pt x="122164" y="818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91A91AC9-D4F9-47EA-8249-34B8BE6A87ED}"/>
                </a:ext>
              </a:extLst>
            </p:cNvPr>
            <p:cNvGrpSpPr/>
            <p:nvPr/>
          </p:nvGrpSpPr>
          <p:grpSpPr>
            <a:xfrm flipH="1">
              <a:off x="7487257" y="4270432"/>
              <a:ext cx="3442205" cy="1999987"/>
              <a:chOff x="7504629" y="4270432"/>
              <a:chExt cx="3442205" cy="1999987"/>
            </a:xfrm>
            <a:solidFill>
              <a:schemeClr val="accent1"/>
            </a:solidFill>
          </p:grpSpPr>
          <p:grpSp>
            <p:nvGrpSpPr>
              <p:cNvPr id="41" name="组合 40">
                <a:extLst>
                  <a:ext uri="{FF2B5EF4-FFF2-40B4-BE49-F238E27FC236}">
                    <a16:creationId xmlns:a16="http://schemas.microsoft.com/office/drawing/2014/main" id="{0F4A047F-D9CC-40BC-B03E-53CB196EB5F1}"/>
                  </a:ext>
                </a:extLst>
              </p:cNvPr>
              <p:cNvGrpSpPr/>
              <p:nvPr/>
            </p:nvGrpSpPr>
            <p:grpSpPr>
              <a:xfrm>
                <a:off x="9904496" y="5478534"/>
                <a:ext cx="1042339" cy="791884"/>
                <a:chOff x="9904496" y="5478534"/>
                <a:chExt cx="1042339" cy="791884"/>
              </a:xfrm>
              <a:solidFill>
                <a:schemeClr val="accent1"/>
              </a:solidFill>
            </p:grpSpPr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9033F6F2-F71E-44CF-B735-736428C1C4DF}"/>
                    </a:ext>
                  </a:extLst>
                </p:cNvPr>
                <p:cNvSpPr/>
                <p:nvPr/>
              </p:nvSpPr>
              <p:spPr>
                <a:xfrm>
                  <a:off x="9904496" y="5478651"/>
                  <a:ext cx="1042339" cy="791768"/>
                </a:xfrm>
                <a:custGeom>
                  <a:avLst/>
                  <a:gdLst>
                    <a:gd name="connsiteX0" fmla="*/ 0 w 1042339"/>
                    <a:gd name="connsiteY0" fmla="*/ 298361 h 791768"/>
                    <a:gd name="connsiteX1" fmla="*/ 77657 w 1042339"/>
                    <a:gd name="connsiteY1" fmla="*/ 319106 h 791768"/>
                    <a:gd name="connsiteX2" fmla="*/ 122832 w 1042339"/>
                    <a:gd name="connsiteY2" fmla="*/ 331662 h 791768"/>
                    <a:gd name="connsiteX3" fmla="*/ 193938 w 1042339"/>
                    <a:gd name="connsiteY3" fmla="*/ 351997 h 791768"/>
                    <a:gd name="connsiteX4" fmla="*/ 238977 w 1042339"/>
                    <a:gd name="connsiteY4" fmla="*/ 365236 h 791768"/>
                    <a:gd name="connsiteX5" fmla="*/ 785034 w 1042339"/>
                    <a:gd name="connsiteY5" fmla="*/ 580056 h 791768"/>
                    <a:gd name="connsiteX6" fmla="*/ 805370 w 1042339"/>
                    <a:gd name="connsiteY6" fmla="*/ 595341 h 791768"/>
                    <a:gd name="connsiteX7" fmla="*/ 1014048 w 1042339"/>
                    <a:gd name="connsiteY7" fmla="*/ 789826 h 791768"/>
                    <a:gd name="connsiteX8" fmla="*/ 1011455 w 1042339"/>
                    <a:gd name="connsiteY8" fmla="*/ 637241 h 791768"/>
                    <a:gd name="connsiteX9" fmla="*/ 915510 w 1042339"/>
                    <a:gd name="connsiteY9" fmla="*/ 483565 h 791768"/>
                    <a:gd name="connsiteX10" fmla="*/ 875248 w 1042339"/>
                    <a:gd name="connsiteY10" fmla="*/ 433476 h 791768"/>
                    <a:gd name="connsiteX11" fmla="*/ 633678 w 1042339"/>
                    <a:gd name="connsiteY11" fmla="*/ 218247 h 791768"/>
                    <a:gd name="connsiteX12" fmla="*/ 622486 w 1042339"/>
                    <a:gd name="connsiteY12" fmla="*/ 206919 h 791768"/>
                    <a:gd name="connsiteX13" fmla="*/ 462122 w 1042339"/>
                    <a:gd name="connsiteY13" fmla="*/ 13527 h 791768"/>
                    <a:gd name="connsiteX14" fmla="*/ 301485 w 1042339"/>
                    <a:gd name="connsiteY14" fmla="*/ 8340 h 791768"/>
                    <a:gd name="connsiteX15" fmla="*/ 271732 w 1042339"/>
                    <a:gd name="connsiteY15" fmla="*/ 14891 h 791768"/>
                    <a:gd name="connsiteX16" fmla="*/ 228741 w 1042339"/>
                    <a:gd name="connsiteY16" fmla="*/ 27038 h 791768"/>
                    <a:gd name="connsiteX17" fmla="*/ 174558 w 1042339"/>
                    <a:gd name="connsiteY17" fmla="*/ 46145 h 791768"/>
                    <a:gd name="connsiteX18" fmla="*/ 131431 w 1042339"/>
                    <a:gd name="connsiteY18" fmla="*/ 64161 h 791768"/>
                    <a:gd name="connsiteX19" fmla="*/ 82161 w 1042339"/>
                    <a:gd name="connsiteY19" fmla="*/ 87908 h 791768"/>
                    <a:gd name="connsiteX20" fmla="*/ 0 w 1042339"/>
                    <a:gd name="connsiteY20" fmla="*/ 298361 h 791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042339" h="791768">
                      <a:moveTo>
                        <a:pt x="0" y="298361"/>
                      </a:moveTo>
                      <a:cubicBezTo>
                        <a:pt x="0" y="298361"/>
                        <a:pt x="29616" y="306004"/>
                        <a:pt x="77657" y="319106"/>
                      </a:cubicBezTo>
                      <a:cubicBezTo>
                        <a:pt x="91305" y="322791"/>
                        <a:pt x="106455" y="327022"/>
                        <a:pt x="122832" y="331662"/>
                      </a:cubicBezTo>
                      <a:cubicBezTo>
                        <a:pt x="144533" y="337803"/>
                        <a:pt x="168417" y="344627"/>
                        <a:pt x="193938" y="351997"/>
                      </a:cubicBezTo>
                      <a:cubicBezTo>
                        <a:pt x="208405" y="356228"/>
                        <a:pt x="223555" y="360596"/>
                        <a:pt x="238977" y="365236"/>
                      </a:cubicBezTo>
                      <a:cubicBezTo>
                        <a:pt x="431278" y="422558"/>
                        <a:pt x="685267" y="507039"/>
                        <a:pt x="785034" y="580056"/>
                      </a:cubicBezTo>
                      <a:cubicBezTo>
                        <a:pt x="791995" y="585242"/>
                        <a:pt x="798819" y="590292"/>
                        <a:pt x="805370" y="595341"/>
                      </a:cubicBezTo>
                      <a:cubicBezTo>
                        <a:pt x="956999" y="712305"/>
                        <a:pt x="983340" y="806613"/>
                        <a:pt x="1014048" y="789826"/>
                      </a:cubicBezTo>
                      <a:cubicBezTo>
                        <a:pt x="1045985" y="772356"/>
                        <a:pt x="1058131" y="692925"/>
                        <a:pt x="1011455" y="637241"/>
                      </a:cubicBezTo>
                      <a:cubicBezTo>
                        <a:pt x="979109" y="598617"/>
                        <a:pt x="958364" y="544025"/>
                        <a:pt x="915510" y="483565"/>
                      </a:cubicBezTo>
                      <a:cubicBezTo>
                        <a:pt x="903909" y="467187"/>
                        <a:pt x="890807" y="450536"/>
                        <a:pt x="875248" y="433476"/>
                      </a:cubicBezTo>
                      <a:cubicBezTo>
                        <a:pt x="807008" y="358549"/>
                        <a:pt x="695230" y="278298"/>
                        <a:pt x="633678" y="218247"/>
                      </a:cubicBezTo>
                      <a:cubicBezTo>
                        <a:pt x="629720" y="214426"/>
                        <a:pt x="626035" y="210604"/>
                        <a:pt x="622486" y="206919"/>
                      </a:cubicBezTo>
                      <a:cubicBezTo>
                        <a:pt x="572125" y="153965"/>
                        <a:pt x="557931" y="50922"/>
                        <a:pt x="462122" y="13527"/>
                      </a:cubicBezTo>
                      <a:cubicBezTo>
                        <a:pt x="415309" y="-4625"/>
                        <a:pt x="357715" y="-2578"/>
                        <a:pt x="301485" y="8340"/>
                      </a:cubicBezTo>
                      <a:cubicBezTo>
                        <a:pt x="291522" y="10251"/>
                        <a:pt x="281559" y="12571"/>
                        <a:pt x="271732" y="14891"/>
                      </a:cubicBezTo>
                      <a:cubicBezTo>
                        <a:pt x="256992" y="18576"/>
                        <a:pt x="242662" y="22671"/>
                        <a:pt x="228741" y="27038"/>
                      </a:cubicBezTo>
                      <a:cubicBezTo>
                        <a:pt x="209497" y="33180"/>
                        <a:pt x="191345" y="39731"/>
                        <a:pt x="174558" y="46145"/>
                      </a:cubicBezTo>
                      <a:cubicBezTo>
                        <a:pt x="158590" y="52287"/>
                        <a:pt x="143987" y="58565"/>
                        <a:pt x="131431" y="64161"/>
                      </a:cubicBezTo>
                      <a:cubicBezTo>
                        <a:pt x="100995" y="77672"/>
                        <a:pt x="82161" y="87908"/>
                        <a:pt x="82161" y="87908"/>
                      </a:cubicBezTo>
                      <a:lnTo>
                        <a:pt x="0" y="29836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F354A9B8-31A9-449F-840D-550042A389B4}"/>
                    </a:ext>
                  </a:extLst>
                </p:cNvPr>
                <p:cNvSpPr/>
                <p:nvPr/>
              </p:nvSpPr>
              <p:spPr>
                <a:xfrm>
                  <a:off x="10206117" y="5478534"/>
                  <a:ext cx="332192" cy="220538"/>
                </a:xfrm>
                <a:custGeom>
                  <a:avLst/>
                  <a:gdLst>
                    <a:gd name="connsiteX0" fmla="*/ 0 w 332192"/>
                    <a:gd name="connsiteY0" fmla="*/ 8457 h 220538"/>
                    <a:gd name="connsiteX1" fmla="*/ 332193 w 332192"/>
                    <a:gd name="connsiteY1" fmla="*/ 218227 h 220538"/>
                    <a:gd name="connsiteX2" fmla="*/ 321001 w 332192"/>
                    <a:gd name="connsiteY2" fmla="*/ 206899 h 220538"/>
                    <a:gd name="connsiteX3" fmla="*/ 160637 w 332192"/>
                    <a:gd name="connsiteY3" fmla="*/ 13506 h 220538"/>
                    <a:gd name="connsiteX4" fmla="*/ 0 w 332192"/>
                    <a:gd name="connsiteY4" fmla="*/ 8457 h 220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192" h="220538">
                      <a:moveTo>
                        <a:pt x="0" y="8457"/>
                      </a:moveTo>
                      <a:cubicBezTo>
                        <a:pt x="52818" y="87888"/>
                        <a:pt x="176469" y="241155"/>
                        <a:pt x="332193" y="218227"/>
                      </a:cubicBezTo>
                      <a:cubicBezTo>
                        <a:pt x="328235" y="214405"/>
                        <a:pt x="324550" y="210584"/>
                        <a:pt x="321001" y="206899"/>
                      </a:cubicBezTo>
                      <a:cubicBezTo>
                        <a:pt x="270640" y="153945"/>
                        <a:pt x="256446" y="50902"/>
                        <a:pt x="160637" y="13506"/>
                      </a:cubicBezTo>
                      <a:cubicBezTo>
                        <a:pt x="113824" y="-4645"/>
                        <a:pt x="56093" y="-2598"/>
                        <a:pt x="0" y="845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C0247A7B-7DB3-4A84-B0E0-C521892474E6}"/>
                    </a:ext>
                  </a:extLst>
                </p:cNvPr>
                <p:cNvSpPr/>
                <p:nvPr/>
              </p:nvSpPr>
              <p:spPr>
                <a:xfrm>
                  <a:off x="10709866" y="5962079"/>
                  <a:ext cx="236969" cy="308204"/>
                </a:xfrm>
                <a:custGeom>
                  <a:avLst/>
                  <a:gdLst>
                    <a:gd name="connsiteX0" fmla="*/ 0 w 236969"/>
                    <a:gd name="connsiteY0" fmla="*/ 111777 h 308204"/>
                    <a:gd name="connsiteX1" fmla="*/ 208678 w 236969"/>
                    <a:gd name="connsiteY1" fmla="*/ 306262 h 308204"/>
                    <a:gd name="connsiteX2" fmla="*/ 206085 w 236969"/>
                    <a:gd name="connsiteY2" fmla="*/ 153677 h 308204"/>
                    <a:gd name="connsiteX3" fmla="*/ 110140 w 236969"/>
                    <a:gd name="connsiteY3" fmla="*/ 0 h 308204"/>
                    <a:gd name="connsiteX4" fmla="*/ 0 w 236969"/>
                    <a:gd name="connsiteY4" fmla="*/ 111777 h 308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6969" h="308204">
                      <a:moveTo>
                        <a:pt x="0" y="111777"/>
                      </a:moveTo>
                      <a:cubicBezTo>
                        <a:pt x="151629" y="228741"/>
                        <a:pt x="177970" y="323048"/>
                        <a:pt x="208678" y="306262"/>
                      </a:cubicBezTo>
                      <a:cubicBezTo>
                        <a:pt x="240615" y="288792"/>
                        <a:pt x="252761" y="209361"/>
                        <a:pt x="206085" y="153677"/>
                      </a:cubicBezTo>
                      <a:cubicBezTo>
                        <a:pt x="173739" y="115053"/>
                        <a:pt x="152994" y="60461"/>
                        <a:pt x="110140" y="0"/>
                      </a:cubicBezTo>
                      <a:cubicBezTo>
                        <a:pt x="69059" y="25249"/>
                        <a:pt x="24703" y="61962"/>
                        <a:pt x="0" y="111777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BFB15CB7-5769-4E0D-896E-B4C21A60B0E0}"/>
                    </a:ext>
                  </a:extLst>
                </p:cNvPr>
                <p:cNvSpPr/>
                <p:nvPr/>
              </p:nvSpPr>
              <p:spPr>
                <a:xfrm>
                  <a:off x="9982153" y="5524796"/>
                  <a:ext cx="100917" cy="285516"/>
                </a:xfrm>
                <a:custGeom>
                  <a:avLst/>
                  <a:gdLst>
                    <a:gd name="connsiteX0" fmla="*/ 0 w 100917"/>
                    <a:gd name="connsiteY0" fmla="*/ 272960 h 285516"/>
                    <a:gd name="connsiteX1" fmla="*/ 45175 w 100917"/>
                    <a:gd name="connsiteY1" fmla="*/ 285517 h 285516"/>
                    <a:gd name="connsiteX2" fmla="*/ 100176 w 100917"/>
                    <a:gd name="connsiteY2" fmla="*/ 97856 h 285516"/>
                    <a:gd name="connsiteX3" fmla="*/ 97037 w 100917"/>
                    <a:gd name="connsiteY3" fmla="*/ 0 h 285516"/>
                    <a:gd name="connsiteX4" fmla="*/ 53910 w 100917"/>
                    <a:gd name="connsiteY4" fmla="*/ 18015 h 285516"/>
                    <a:gd name="connsiteX5" fmla="*/ 55411 w 100917"/>
                    <a:gd name="connsiteY5" fmla="*/ 95946 h 285516"/>
                    <a:gd name="connsiteX6" fmla="*/ 0 w 100917"/>
                    <a:gd name="connsiteY6" fmla="*/ 272960 h 2855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917" h="285516">
                      <a:moveTo>
                        <a:pt x="0" y="272960"/>
                      </a:moveTo>
                      <a:cubicBezTo>
                        <a:pt x="13648" y="276646"/>
                        <a:pt x="28797" y="280877"/>
                        <a:pt x="45175" y="285517"/>
                      </a:cubicBezTo>
                      <a:cubicBezTo>
                        <a:pt x="77521" y="234610"/>
                        <a:pt x="96219" y="171283"/>
                        <a:pt x="100176" y="97856"/>
                      </a:cubicBezTo>
                      <a:cubicBezTo>
                        <a:pt x="102087" y="60734"/>
                        <a:pt x="100040" y="26750"/>
                        <a:pt x="97037" y="0"/>
                      </a:cubicBezTo>
                      <a:cubicBezTo>
                        <a:pt x="81069" y="6142"/>
                        <a:pt x="66466" y="12420"/>
                        <a:pt x="53910" y="18015"/>
                      </a:cubicBezTo>
                      <a:cubicBezTo>
                        <a:pt x="55957" y="40535"/>
                        <a:pt x="56912" y="67285"/>
                        <a:pt x="55411" y="95946"/>
                      </a:cubicBezTo>
                      <a:cubicBezTo>
                        <a:pt x="52272" y="153677"/>
                        <a:pt x="38351" y="219324"/>
                        <a:pt x="0" y="272960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B788BBD0-13D1-4186-95D6-4AB9B97F1859}"/>
                    </a:ext>
                  </a:extLst>
                </p:cNvPr>
                <p:cNvSpPr/>
                <p:nvPr/>
              </p:nvSpPr>
              <p:spPr>
                <a:xfrm>
                  <a:off x="10098434" y="5493542"/>
                  <a:ext cx="98828" cy="350344"/>
                </a:xfrm>
                <a:custGeom>
                  <a:avLst/>
                  <a:gdLst>
                    <a:gd name="connsiteX0" fmla="*/ 0 w 98828"/>
                    <a:gd name="connsiteY0" fmla="*/ 337106 h 350344"/>
                    <a:gd name="connsiteX1" fmla="*/ 45039 w 98828"/>
                    <a:gd name="connsiteY1" fmla="*/ 350345 h 350344"/>
                    <a:gd name="connsiteX2" fmla="*/ 98266 w 98828"/>
                    <a:gd name="connsiteY2" fmla="*/ 128292 h 350344"/>
                    <a:gd name="connsiteX3" fmla="*/ 77794 w 98828"/>
                    <a:gd name="connsiteY3" fmla="*/ 0 h 350344"/>
                    <a:gd name="connsiteX4" fmla="*/ 34802 w 98828"/>
                    <a:gd name="connsiteY4" fmla="*/ 12147 h 350344"/>
                    <a:gd name="connsiteX5" fmla="*/ 0 w 98828"/>
                    <a:gd name="connsiteY5" fmla="*/ 337106 h 350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8828" h="350344">
                      <a:moveTo>
                        <a:pt x="0" y="337106"/>
                      </a:moveTo>
                      <a:cubicBezTo>
                        <a:pt x="14467" y="341337"/>
                        <a:pt x="29616" y="345705"/>
                        <a:pt x="45039" y="350345"/>
                      </a:cubicBezTo>
                      <a:cubicBezTo>
                        <a:pt x="84072" y="291385"/>
                        <a:pt x="102360" y="215912"/>
                        <a:pt x="98266" y="128292"/>
                      </a:cubicBezTo>
                      <a:cubicBezTo>
                        <a:pt x="95809" y="74245"/>
                        <a:pt x="85437" y="27705"/>
                        <a:pt x="77794" y="0"/>
                      </a:cubicBezTo>
                      <a:cubicBezTo>
                        <a:pt x="63054" y="3685"/>
                        <a:pt x="48723" y="7779"/>
                        <a:pt x="34802" y="12147"/>
                      </a:cubicBezTo>
                      <a:cubicBezTo>
                        <a:pt x="50907" y="71652"/>
                        <a:pt x="81615" y="228332"/>
                        <a:pt x="0" y="337106"/>
                      </a:cubicBezTo>
                      <a:close/>
                    </a:path>
                  </a:pathLst>
                </a:custGeom>
                <a:solidFill>
                  <a:srgbClr val="93C3FD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A355511C-DB82-405A-9C20-00E020223C5E}"/>
                  </a:ext>
                </a:extLst>
              </p:cNvPr>
              <p:cNvSpPr/>
              <p:nvPr/>
            </p:nvSpPr>
            <p:spPr>
              <a:xfrm>
                <a:off x="7504629" y="4270432"/>
                <a:ext cx="2467043" cy="1554166"/>
              </a:xfrm>
              <a:custGeom>
                <a:avLst/>
                <a:gdLst>
                  <a:gd name="connsiteX0" fmla="*/ 2455824 w 2467043"/>
                  <a:gd name="connsiteY0" fmla="*/ 1213148 h 1554166"/>
                  <a:gd name="connsiteX1" fmla="*/ 2331354 w 2467043"/>
                  <a:gd name="connsiteY1" fmla="*/ 1553120 h 1554166"/>
                  <a:gd name="connsiteX2" fmla="*/ 1235145 w 2467043"/>
                  <a:gd name="connsiteY2" fmla="*/ 1277430 h 1554166"/>
                  <a:gd name="connsiteX3" fmla="*/ 117918 w 2467043"/>
                  <a:gd name="connsiteY3" fmla="*/ 559680 h 1554166"/>
                  <a:gd name="connsiteX4" fmla="*/ 131975 w 2467043"/>
                  <a:gd name="connsiteY4" fmla="*/ 59071 h 1554166"/>
                  <a:gd name="connsiteX5" fmla="*/ 271731 w 2467043"/>
                  <a:gd name="connsiteY5" fmla="*/ 5434 h 1554166"/>
                  <a:gd name="connsiteX6" fmla="*/ 769884 w 2467043"/>
                  <a:gd name="connsiteY6" fmla="*/ 123217 h 1554166"/>
                  <a:gd name="connsiteX7" fmla="*/ 1649908 w 2467043"/>
                  <a:gd name="connsiteY7" fmla="*/ 774637 h 1554166"/>
                  <a:gd name="connsiteX8" fmla="*/ 2455824 w 2467043"/>
                  <a:gd name="connsiteY8" fmla="*/ 1213148 h 15541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7043" h="1554166">
                    <a:moveTo>
                      <a:pt x="2455824" y="1213148"/>
                    </a:moveTo>
                    <a:cubicBezTo>
                      <a:pt x="2513282" y="1507535"/>
                      <a:pt x="2331354" y="1553120"/>
                      <a:pt x="2331354" y="1553120"/>
                    </a:cubicBezTo>
                    <a:cubicBezTo>
                      <a:pt x="2331354" y="1553120"/>
                      <a:pt x="2060304" y="1586421"/>
                      <a:pt x="1235145" y="1277430"/>
                    </a:cubicBezTo>
                    <a:cubicBezTo>
                      <a:pt x="759375" y="1099187"/>
                      <a:pt x="320727" y="820767"/>
                      <a:pt x="117918" y="559680"/>
                    </a:cubicBezTo>
                    <a:cubicBezTo>
                      <a:pt x="-30846" y="368062"/>
                      <a:pt x="-52410" y="185588"/>
                      <a:pt x="131975" y="59071"/>
                    </a:cubicBezTo>
                    <a:cubicBezTo>
                      <a:pt x="174421" y="29864"/>
                      <a:pt x="222052" y="13213"/>
                      <a:pt x="271731" y="5434"/>
                    </a:cubicBezTo>
                    <a:cubicBezTo>
                      <a:pt x="500062" y="-30460"/>
                      <a:pt x="769884" y="123217"/>
                      <a:pt x="769884" y="123217"/>
                    </a:cubicBezTo>
                    <a:cubicBezTo>
                      <a:pt x="1325631" y="388398"/>
                      <a:pt x="1186558" y="479566"/>
                      <a:pt x="1649908" y="774637"/>
                    </a:cubicBezTo>
                    <a:cubicBezTo>
                      <a:pt x="1914953" y="943735"/>
                      <a:pt x="2455824" y="1213148"/>
                      <a:pt x="2455824" y="1213148"/>
                    </a:cubicBezTo>
                    <a:close/>
                  </a:path>
                </a:pathLst>
              </a:custGeom>
              <a:solidFill>
                <a:srgbClr val="2A81EA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A7AE112D-4831-4F77-8920-8CE9FD24B490}"/>
                  </a:ext>
                </a:extLst>
              </p:cNvPr>
              <p:cNvSpPr/>
              <p:nvPr/>
            </p:nvSpPr>
            <p:spPr>
              <a:xfrm>
                <a:off x="7504629" y="4276002"/>
                <a:ext cx="276451" cy="554246"/>
              </a:xfrm>
              <a:custGeom>
                <a:avLst/>
                <a:gdLst>
                  <a:gd name="connsiteX0" fmla="*/ 271731 w 276451"/>
                  <a:gd name="connsiteY0" fmla="*/ 0 h 554246"/>
                  <a:gd name="connsiteX1" fmla="*/ 117918 w 276451"/>
                  <a:gd name="connsiteY1" fmla="*/ 554246 h 554246"/>
                  <a:gd name="connsiteX2" fmla="*/ 131975 w 276451"/>
                  <a:gd name="connsiteY2" fmla="*/ 53637 h 554246"/>
                  <a:gd name="connsiteX3" fmla="*/ 271731 w 276451"/>
                  <a:gd name="connsiteY3" fmla="*/ 0 h 55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51" h="554246">
                    <a:moveTo>
                      <a:pt x="271731" y="0"/>
                    </a:moveTo>
                    <a:cubicBezTo>
                      <a:pt x="280602" y="99494"/>
                      <a:pt x="295751" y="432369"/>
                      <a:pt x="117918" y="554246"/>
                    </a:cubicBezTo>
                    <a:cubicBezTo>
                      <a:pt x="-30846" y="362628"/>
                      <a:pt x="-52410" y="180154"/>
                      <a:pt x="131975" y="53637"/>
                    </a:cubicBezTo>
                    <a:cubicBezTo>
                      <a:pt x="174557" y="24430"/>
                      <a:pt x="222189" y="7779"/>
                      <a:pt x="271731" y="0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38D10946-5B54-40A0-9048-E6313721002E}"/>
                  </a:ext>
                </a:extLst>
              </p:cNvPr>
              <p:cNvSpPr/>
              <p:nvPr/>
            </p:nvSpPr>
            <p:spPr>
              <a:xfrm>
                <a:off x="8237417" y="4482207"/>
                <a:ext cx="1695193" cy="1085716"/>
              </a:xfrm>
              <a:custGeom>
                <a:avLst/>
                <a:gdLst>
                  <a:gd name="connsiteX0" fmla="*/ 1688779 w 1695193"/>
                  <a:gd name="connsiteY0" fmla="*/ 1085716 h 1085716"/>
                  <a:gd name="connsiteX1" fmla="*/ 747748 w 1695193"/>
                  <a:gd name="connsiteY1" fmla="*/ 627689 h 1085716"/>
                  <a:gd name="connsiteX2" fmla="*/ 27133 w 1695193"/>
                  <a:gd name="connsiteY2" fmla="*/ 140318 h 1085716"/>
                  <a:gd name="connsiteX3" fmla="*/ 7889 w 1695193"/>
                  <a:gd name="connsiteY3" fmla="*/ 39186 h 1085716"/>
                  <a:gd name="connsiteX4" fmla="*/ 121304 w 1695193"/>
                  <a:gd name="connsiteY4" fmla="*/ 153 h 1085716"/>
                  <a:gd name="connsiteX5" fmla="*/ 133587 w 1695193"/>
                  <a:gd name="connsiteY5" fmla="*/ 14074 h 1085716"/>
                  <a:gd name="connsiteX6" fmla="*/ 133587 w 1695193"/>
                  <a:gd name="connsiteY6" fmla="*/ 14074 h 1085716"/>
                  <a:gd name="connsiteX7" fmla="*/ 120622 w 1695193"/>
                  <a:gd name="connsiteY7" fmla="*/ 25538 h 1085716"/>
                  <a:gd name="connsiteX8" fmla="*/ 29589 w 1695193"/>
                  <a:gd name="connsiteY8" fmla="*/ 52288 h 1085716"/>
                  <a:gd name="connsiteX9" fmla="*/ 48287 w 1695193"/>
                  <a:gd name="connsiteY9" fmla="*/ 126397 h 1085716"/>
                  <a:gd name="connsiteX10" fmla="*/ 760441 w 1695193"/>
                  <a:gd name="connsiteY10" fmla="*/ 605852 h 1085716"/>
                  <a:gd name="connsiteX11" fmla="*/ 1695194 w 1695193"/>
                  <a:gd name="connsiteY11" fmla="*/ 1061286 h 1085716"/>
                  <a:gd name="connsiteX12" fmla="*/ 1688779 w 1695193"/>
                  <a:gd name="connsiteY12" fmla="*/ 1085716 h 1085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95193" h="1085716">
                    <a:moveTo>
                      <a:pt x="1688779" y="1085716"/>
                    </a:moveTo>
                    <a:cubicBezTo>
                      <a:pt x="1515313" y="1039723"/>
                      <a:pt x="1163467" y="868576"/>
                      <a:pt x="747748" y="627689"/>
                    </a:cubicBezTo>
                    <a:cubicBezTo>
                      <a:pt x="436846" y="447535"/>
                      <a:pt x="78722" y="218248"/>
                      <a:pt x="27133" y="140318"/>
                    </a:cubicBezTo>
                    <a:cubicBezTo>
                      <a:pt x="-709" y="98282"/>
                      <a:pt x="-7124" y="64162"/>
                      <a:pt x="7889" y="39186"/>
                    </a:cubicBezTo>
                    <a:cubicBezTo>
                      <a:pt x="30408" y="1654"/>
                      <a:pt x="92916" y="-802"/>
                      <a:pt x="121304" y="153"/>
                    </a:cubicBezTo>
                    <a:cubicBezTo>
                      <a:pt x="128674" y="426"/>
                      <a:pt x="134270" y="6704"/>
                      <a:pt x="133587" y="14074"/>
                    </a:cubicBezTo>
                    <a:lnTo>
                      <a:pt x="133587" y="14074"/>
                    </a:lnTo>
                    <a:cubicBezTo>
                      <a:pt x="132905" y="20761"/>
                      <a:pt x="127309" y="25674"/>
                      <a:pt x="120622" y="25538"/>
                    </a:cubicBezTo>
                    <a:cubicBezTo>
                      <a:pt x="92643" y="24719"/>
                      <a:pt x="43920" y="28404"/>
                      <a:pt x="29589" y="52288"/>
                    </a:cubicBezTo>
                    <a:cubicBezTo>
                      <a:pt x="17579" y="72214"/>
                      <a:pt x="33138" y="103605"/>
                      <a:pt x="48287" y="126397"/>
                    </a:cubicBezTo>
                    <a:cubicBezTo>
                      <a:pt x="89913" y="189178"/>
                      <a:pt x="389351" y="390759"/>
                      <a:pt x="760441" y="605852"/>
                    </a:cubicBezTo>
                    <a:cubicBezTo>
                      <a:pt x="1079941" y="791056"/>
                      <a:pt x="1493340" y="1007923"/>
                      <a:pt x="1695194" y="1061286"/>
                    </a:cubicBezTo>
                    <a:lnTo>
                      <a:pt x="1688779" y="1085716"/>
                    </a:ln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E1B50B4F-4C9D-44C7-BB9B-3C4A49EE3802}"/>
                  </a:ext>
                </a:extLst>
              </p:cNvPr>
              <p:cNvSpPr/>
              <p:nvPr/>
            </p:nvSpPr>
            <p:spPr>
              <a:xfrm>
                <a:off x="9740447" y="5437119"/>
                <a:ext cx="272221" cy="434993"/>
              </a:xfrm>
              <a:custGeom>
                <a:avLst/>
                <a:gdLst>
                  <a:gd name="connsiteX0" fmla="*/ 155724 w 272221"/>
                  <a:gd name="connsiteY0" fmla="*/ 6062 h 434993"/>
                  <a:gd name="connsiteX1" fmla="*/ 0 w 272221"/>
                  <a:gd name="connsiteY1" fmla="*/ 403902 h 434993"/>
                  <a:gd name="connsiteX2" fmla="*/ 142076 w 272221"/>
                  <a:gd name="connsiteY2" fmla="*/ 422327 h 434993"/>
                  <a:gd name="connsiteX3" fmla="*/ 265181 w 272221"/>
                  <a:gd name="connsiteY3" fmla="*/ 26671 h 434993"/>
                  <a:gd name="connsiteX4" fmla="*/ 155724 w 272221"/>
                  <a:gd name="connsiteY4" fmla="*/ 6062 h 434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221" h="434993">
                    <a:moveTo>
                      <a:pt x="155724" y="6062"/>
                    </a:moveTo>
                    <a:cubicBezTo>
                      <a:pt x="132522" y="159603"/>
                      <a:pt x="89394" y="298675"/>
                      <a:pt x="0" y="403902"/>
                    </a:cubicBezTo>
                    <a:cubicBezTo>
                      <a:pt x="0" y="403902"/>
                      <a:pt x="73290" y="459176"/>
                      <a:pt x="142076" y="422327"/>
                    </a:cubicBezTo>
                    <a:cubicBezTo>
                      <a:pt x="194757" y="394075"/>
                      <a:pt x="300393" y="155917"/>
                      <a:pt x="265181" y="26671"/>
                    </a:cubicBezTo>
                    <a:cubicBezTo>
                      <a:pt x="222326" y="1968"/>
                      <a:pt x="184931" y="-7176"/>
                      <a:pt x="155724" y="6062"/>
                    </a:cubicBezTo>
                    <a:close/>
                  </a:path>
                </a:pathLst>
              </a:custGeom>
              <a:solidFill>
                <a:srgbClr val="1C55D1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6CAF3FC6-89CC-49AD-A43B-01F8710BBFC1}"/>
                </a:ext>
              </a:extLst>
            </p:cNvPr>
            <p:cNvGrpSpPr/>
            <p:nvPr/>
          </p:nvGrpSpPr>
          <p:grpSpPr>
            <a:xfrm flipH="1">
              <a:off x="8588691" y="2568908"/>
              <a:ext cx="2071327" cy="1970501"/>
              <a:chOff x="7774073" y="2568908"/>
              <a:chExt cx="2071327" cy="1970501"/>
            </a:xfrm>
            <a:solidFill>
              <a:schemeClr val="accent1"/>
            </a:solidFill>
          </p:grpSpPr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051CC9BF-AEE7-40A1-A10C-316CF1C0EDBE}"/>
                  </a:ext>
                </a:extLst>
              </p:cNvPr>
              <p:cNvSpPr/>
              <p:nvPr/>
            </p:nvSpPr>
            <p:spPr>
              <a:xfrm>
                <a:off x="7774073" y="2568908"/>
                <a:ext cx="1377834" cy="1961108"/>
              </a:xfrm>
              <a:custGeom>
                <a:avLst/>
                <a:gdLst>
                  <a:gd name="connsiteX0" fmla="*/ 1365588 w 1377834"/>
                  <a:gd name="connsiteY0" fmla="*/ 1757592 h 1961108"/>
                  <a:gd name="connsiteX1" fmla="*/ 203868 w 1377834"/>
                  <a:gd name="connsiteY1" fmla="*/ 1665605 h 1961108"/>
                  <a:gd name="connsiteX2" fmla="*/ 2287 w 1377834"/>
                  <a:gd name="connsiteY2" fmla="*/ 1259030 h 1961108"/>
                  <a:gd name="connsiteX3" fmla="*/ 9384 w 1377834"/>
                  <a:gd name="connsiteY3" fmla="*/ 1110267 h 1961108"/>
                  <a:gd name="connsiteX4" fmla="*/ 736414 w 1377834"/>
                  <a:gd name="connsiteY4" fmla="*/ 0 h 1961108"/>
                  <a:gd name="connsiteX5" fmla="*/ 571410 w 1377834"/>
                  <a:gd name="connsiteY5" fmla="*/ 812330 h 1961108"/>
                  <a:gd name="connsiteX6" fmla="*/ 848737 w 1377834"/>
                  <a:gd name="connsiteY6" fmla="*/ 1336824 h 1961108"/>
                  <a:gd name="connsiteX7" fmla="*/ 1365588 w 1377834"/>
                  <a:gd name="connsiteY7" fmla="*/ 1757592 h 1961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7834" h="1961108">
                    <a:moveTo>
                      <a:pt x="1365588" y="1757592"/>
                    </a:moveTo>
                    <a:cubicBezTo>
                      <a:pt x="1316046" y="2055665"/>
                      <a:pt x="572911" y="2027413"/>
                      <a:pt x="203868" y="1665605"/>
                    </a:cubicBezTo>
                    <a:cubicBezTo>
                      <a:pt x="95094" y="1559013"/>
                      <a:pt x="18801" y="1423625"/>
                      <a:pt x="2287" y="1259030"/>
                    </a:cubicBezTo>
                    <a:cubicBezTo>
                      <a:pt x="-2490" y="1211535"/>
                      <a:pt x="376" y="1161720"/>
                      <a:pt x="9384" y="1110267"/>
                    </a:cubicBezTo>
                    <a:cubicBezTo>
                      <a:pt x="94548" y="622486"/>
                      <a:pt x="736414" y="0"/>
                      <a:pt x="736414" y="0"/>
                    </a:cubicBezTo>
                    <a:cubicBezTo>
                      <a:pt x="686326" y="116145"/>
                      <a:pt x="571410" y="812330"/>
                      <a:pt x="571410" y="812330"/>
                    </a:cubicBezTo>
                    <a:cubicBezTo>
                      <a:pt x="571410" y="812330"/>
                      <a:pt x="467821" y="1144660"/>
                      <a:pt x="848737" y="1336824"/>
                    </a:cubicBezTo>
                    <a:cubicBezTo>
                      <a:pt x="1239617" y="1533901"/>
                      <a:pt x="1429734" y="1371763"/>
                      <a:pt x="1365588" y="175759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AA81C5F0-0B95-4682-8F7C-1EF96E3F15BE}"/>
                  </a:ext>
                </a:extLst>
              </p:cNvPr>
              <p:cNvSpPr/>
              <p:nvPr/>
            </p:nvSpPr>
            <p:spPr>
              <a:xfrm>
                <a:off x="7774073" y="3679311"/>
                <a:ext cx="240625" cy="555337"/>
              </a:xfrm>
              <a:custGeom>
                <a:avLst/>
                <a:gdLst>
                  <a:gd name="connsiteX0" fmla="*/ 203868 w 240625"/>
                  <a:gd name="connsiteY0" fmla="*/ 555338 h 555337"/>
                  <a:gd name="connsiteX1" fmla="*/ 2287 w 240625"/>
                  <a:gd name="connsiteY1" fmla="*/ 148764 h 555337"/>
                  <a:gd name="connsiteX2" fmla="*/ 9384 w 240625"/>
                  <a:gd name="connsiteY2" fmla="*/ 0 h 555337"/>
                  <a:gd name="connsiteX3" fmla="*/ 203868 w 240625"/>
                  <a:gd name="connsiteY3" fmla="*/ 555338 h 55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625" h="555337">
                    <a:moveTo>
                      <a:pt x="203868" y="555338"/>
                    </a:moveTo>
                    <a:cubicBezTo>
                      <a:pt x="95094" y="448747"/>
                      <a:pt x="18801" y="313359"/>
                      <a:pt x="2287" y="148764"/>
                    </a:cubicBezTo>
                    <a:cubicBezTo>
                      <a:pt x="-2490" y="101268"/>
                      <a:pt x="376" y="51453"/>
                      <a:pt x="9384" y="0"/>
                    </a:cubicBezTo>
                    <a:cubicBezTo>
                      <a:pt x="124710" y="94444"/>
                      <a:pt x="322879" y="303532"/>
                      <a:pt x="203868" y="55533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2587DD02-9D18-4E65-AC05-8B4B29D12921}"/>
                  </a:ext>
                </a:extLst>
              </p:cNvPr>
              <p:cNvSpPr/>
              <p:nvPr/>
            </p:nvSpPr>
            <p:spPr>
              <a:xfrm>
                <a:off x="8355489" y="3125160"/>
                <a:ext cx="640278" cy="912002"/>
              </a:xfrm>
              <a:custGeom>
                <a:avLst/>
                <a:gdLst>
                  <a:gd name="connsiteX0" fmla="*/ 629267 w 640278"/>
                  <a:gd name="connsiteY0" fmla="*/ 912002 h 912002"/>
                  <a:gd name="connsiteX1" fmla="*/ 626947 w 640278"/>
                  <a:gd name="connsiteY1" fmla="*/ 911729 h 912002"/>
                  <a:gd name="connsiteX2" fmla="*/ 1048 w 640278"/>
                  <a:gd name="connsiteY2" fmla="*/ 422448 h 912002"/>
                  <a:gd name="connsiteX3" fmla="*/ 100133 w 640278"/>
                  <a:gd name="connsiteY3" fmla="*/ 130517 h 912002"/>
                  <a:gd name="connsiteX4" fmla="*/ 212456 w 640278"/>
                  <a:gd name="connsiteY4" fmla="*/ 2771 h 912002"/>
                  <a:gd name="connsiteX5" fmla="*/ 228151 w 640278"/>
                  <a:gd name="connsiteY5" fmla="*/ 3727 h 912002"/>
                  <a:gd name="connsiteX6" fmla="*/ 227196 w 640278"/>
                  <a:gd name="connsiteY6" fmla="*/ 19422 h 912002"/>
                  <a:gd name="connsiteX7" fmla="*/ 23158 w 640278"/>
                  <a:gd name="connsiteY7" fmla="*/ 420401 h 912002"/>
                  <a:gd name="connsiteX8" fmla="*/ 151859 w 640278"/>
                  <a:gd name="connsiteY8" fmla="*/ 696910 h 912002"/>
                  <a:gd name="connsiteX9" fmla="*/ 631451 w 640278"/>
                  <a:gd name="connsiteY9" fmla="*/ 889756 h 912002"/>
                  <a:gd name="connsiteX10" fmla="*/ 640049 w 640278"/>
                  <a:gd name="connsiteY10" fmla="*/ 902995 h 912002"/>
                  <a:gd name="connsiteX11" fmla="*/ 629267 w 640278"/>
                  <a:gd name="connsiteY11" fmla="*/ 912002 h 912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40278" h="912002">
                    <a:moveTo>
                      <a:pt x="629267" y="912002"/>
                    </a:moveTo>
                    <a:cubicBezTo>
                      <a:pt x="628448" y="912002"/>
                      <a:pt x="627766" y="911866"/>
                      <a:pt x="626947" y="911729"/>
                    </a:cubicBezTo>
                    <a:cubicBezTo>
                      <a:pt x="131796" y="808004"/>
                      <a:pt x="20292" y="647640"/>
                      <a:pt x="1048" y="422448"/>
                    </a:cubicBezTo>
                    <a:cubicBezTo>
                      <a:pt x="-6594" y="333190"/>
                      <a:pt x="27662" y="232331"/>
                      <a:pt x="100133" y="130517"/>
                    </a:cubicBezTo>
                    <a:cubicBezTo>
                      <a:pt x="154452" y="54224"/>
                      <a:pt x="210136" y="4818"/>
                      <a:pt x="212456" y="2771"/>
                    </a:cubicBezTo>
                    <a:cubicBezTo>
                      <a:pt x="217097" y="-1323"/>
                      <a:pt x="224057" y="-777"/>
                      <a:pt x="228151" y="3727"/>
                    </a:cubicBezTo>
                    <a:cubicBezTo>
                      <a:pt x="232246" y="8367"/>
                      <a:pt x="231700" y="15327"/>
                      <a:pt x="227196" y="19422"/>
                    </a:cubicBezTo>
                    <a:cubicBezTo>
                      <a:pt x="225012" y="21332"/>
                      <a:pt x="5825" y="216909"/>
                      <a:pt x="23158" y="420401"/>
                    </a:cubicBezTo>
                    <a:cubicBezTo>
                      <a:pt x="33667" y="542960"/>
                      <a:pt x="73383" y="628260"/>
                      <a:pt x="151859" y="696910"/>
                    </a:cubicBezTo>
                    <a:cubicBezTo>
                      <a:pt x="245348" y="778661"/>
                      <a:pt x="402164" y="841715"/>
                      <a:pt x="631451" y="889756"/>
                    </a:cubicBezTo>
                    <a:cubicBezTo>
                      <a:pt x="637456" y="890984"/>
                      <a:pt x="641277" y="896853"/>
                      <a:pt x="640049" y="902995"/>
                    </a:cubicBezTo>
                    <a:cubicBezTo>
                      <a:pt x="639093" y="908454"/>
                      <a:pt x="634453" y="912002"/>
                      <a:pt x="629267" y="9120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E6983522-1B0A-41E1-8C91-70DD086222DB}"/>
                  </a:ext>
                </a:extLst>
              </p:cNvPr>
              <p:cNvSpPr/>
              <p:nvPr/>
            </p:nvSpPr>
            <p:spPr>
              <a:xfrm>
                <a:off x="8440621" y="3212890"/>
                <a:ext cx="169347" cy="80318"/>
              </a:xfrm>
              <a:custGeom>
                <a:avLst/>
                <a:gdLst>
                  <a:gd name="connsiteX0" fmla="*/ 11179 w 169347"/>
                  <a:gd name="connsiteY0" fmla="*/ 80318 h 80318"/>
                  <a:gd name="connsiteX1" fmla="*/ 807 w 169347"/>
                  <a:gd name="connsiteY1" fmla="*/ 73221 h 80318"/>
                  <a:gd name="connsiteX2" fmla="*/ 7085 w 169347"/>
                  <a:gd name="connsiteY2" fmla="*/ 58754 h 80318"/>
                  <a:gd name="connsiteX3" fmla="*/ 154074 w 169347"/>
                  <a:gd name="connsiteY3" fmla="*/ 750 h 80318"/>
                  <a:gd name="connsiteX4" fmla="*/ 168541 w 169347"/>
                  <a:gd name="connsiteY4" fmla="*/ 7029 h 80318"/>
                  <a:gd name="connsiteX5" fmla="*/ 162263 w 169347"/>
                  <a:gd name="connsiteY5" fmla="*/ 21495 h 80318"/>
                  <a:gd name="connsiteX6" fmla="*/ 15274 w 169347"/>
                  <a:gd name="connsiteY6" fmla="*/ 79499 h 80318"/>
                  <a:gd name="connsiteX7" fmla="*/ 11179 w 169347"/>
                  <a:gd name="connsiteY7" fmla="*/ 80318 h 8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347" h="80318">
                    <a:moveTo>
                      <a:pt x="11179" y="80318"/>
                    </a:moveTo>
                    <a:cubicBezTo>
                      <a:pt x="6675" y="80318"/>
                      <a:pt x="2581" y="77589"/>
                      <a:pt x="807" y="73221"/>
                    </a:cubicBezTo>
                    <a:cubicBezTo>
                      <a:pt x="-1514" y="67489"/>
                      <a:pt x="1353" y="61075"/>
                      <a:pt x="7085" y="58754"/>
                    </a:cubicBezTo>
                    <a:lnTo>
                      <a:pt x="154074" y="750"/>
                    </a:lnTo>
                    <a:cubicBezTo>
                      <a:pt x="159806" y="-1433"/>
                      <a:pt x="166221" y="1296"/>
                      <a:pt x="168541" y="7029"/>
                    </a:cubicBezTo>
                    <a:cubicBezTo>
                      <a:pt x="170861" y="12761"/>
                      <a:pt x="167995" y="19175"/>
                      <a:pt x="162263" y="21495"/>
                    </a:cubicBezTo>
                    <a:lnTo>
                      <a:pt x="15274" y="79499"/>
                    </a:lnTo>
                    <a:cubicBezTo>
                      <a:pt x="14045" y="80182"/>
                      <a:pt x="12544" y="80318"/>
                      <a:pt x="11179" y="80318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247D586C-203B-4005-B616-F4DC7FECECD9}"/>
                  </a:ext>
                </a:extLst>
              </p:cNvPr>
              <p:cNvSpPr/>
              <p:nvPr/>
            </p:nvSpPr>
            <p:spPr>
              <a:xfrm>
                <a:off x="8497449" y="4440913"/>
                <a:ext cx="573519" cy="98496"/>
              </a:xfrm>
              <a:custGeom>
                <a:avLst/>
                <a:gdLst>
                  <a:gd name="connsiteX0" fmla="*/ 247102 w 573519"/>
                  <a:gd name="connsiteY0" fmla="*/ 98496 h 98496"/>
                  <a:gd name="connsiteX1" fmla="*/ 7852 w 573519"/>
                  <a:gd name="connsiteY1" fmla="*/ 61783 h 98496"/>
                  <a:gd name="connsiteX2" fmla="*/ 482 w 573519"/>
                  <a:gd name="connsiteY2" fmla="*/ 47862 h 98496"/>
                  <a:gd name="connsiteX3" fmla="*/ 14403 w 573519"/>
                  <a:gd name="connsiteY3" fmla="*/ 40492 h 98496"/>
                  <a:gd name="connsiteX4" fmla="*/ 406510 w 573519"/>
                  <a:gd name="connsiteY4" fmla="*/ 58371 h 98496"/>
                  <a:gd name="connsiteX5" fmla="*/ 556366 w 573519"/>
                  <a:gd name="connsiteY5" fmla="*/ 1731 h 98496"/>
                  <a:gd name="connsiteX6" fmla="*/ 571788 w 573519"/>
                  <a:gd name="connsiteY6" fmla="*/ 5143 h 98496"/>
                  <a:gd name="connsiteX7" fmla="*/ 568376 w 573519"/>
                  <a:gd name="connsiteY7" fmla="*/ 20429 h 98496"/>
                  <a:gd name="connsiteX8" fmla="*/ 412652 w 573519"/>
                  <a:gd name="connsiteY8" fmla="*/ 79798 h 98496"/>
                  <a:gd name="connsiteX9" fmla="*/ 247102 w 573519"/>
                  <a:gd name="connsiteY9" fmla="*/ 98496 h 9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3519" h="98496">
                    <a:moveTo>
                      <a:pt x="247102" y="98496"/>
                    </a:moveTo>
                    <a:cubicBezTo>
                      <a:pt x="177360" y="98496"/>
                      <a:pt x="96427" y="88942"/>
                      <a:pt x="7852" y="61783"/>
                    </a:cubicBezTo>
                    <a:cubicBezTo>
                      <a:pt x="1983" y="60009"/>
                      <a:pt x="-1292" y="53731"/>
                      <a:pt x="482" y="47862"/>
                    </a:cubicBezTo>
                    <a:cubicBezTo>
                      <a:pt x="2256" y="41993"/>
                      <a:pt x="8534" y="38718"/>
                      <a:pt x="14403" y="40492"/>
                    </a:cubicBezTo>
                    <a:cubicBezTo>
                      <a:pt x="181455" y="91808"/>
                      <a:pt x="319846" y="78570"/>
                      <a:pt x="406510" y="58371"/>
                    </a:cubicBezTo>
                    <a:cubicBezTo>
                      <a:pt x="500545" y="36534"/>
                      <a:pt x="555820" y="2004"/>
                      <a:pt x="556366" y="1731"/>
                    </a:cubicBezTo>
                    <a:cubicBezTo>
                      <a:pt x="561552" y="-1544"/>
                      <a:pt x="568376" y="-43"/>
                      <a:pt x="571788" y="5143"/>
                    </a:cubicBezTo>
                    <a:cubicBezTo>
                      <a:pt x="575064" y="10330"/>
                      <a:pt x="573562" y="17154"/>
                      <a:pt x="568376" y="20429"/>
                    </a:cubicBezTo>
                    <a:cubicBezTo>
                      <a:pt x="566056" y="21930"/>
                      <a:pt x="510099" y="57006"/>
                      <a:pt x="412652" y="79798"/>
                    </a:cubicBezTo>
                    <a:cubicBezTo>
                      <a:pt x="369115" y="90034"/>
                      <a:pt x="313022" y="98496"/>
                      <a:pt x="247102" y="9849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5F296CFE-E600-4315-92CE-709A8EB4360E}"/>
                  </a:ext>
                </a:extLst>
              </p:cNvPr>
              <p:cNvSpPr/>
              <p:nvPr/>
            </p:nvSpPr>
            <p:spPr>
              <a:xfrm>
                <a:off x="8136623" y="3695465"/>
                <a:ext cx="303086" cy="70101"/>
              </a:xfrm>
              <a:custGeom>
                <a:avLst/>
                <a:gdLst>
                  <a:gd name="connsiteX0" fmla="*/ 291976 w 303086"/>
                  <a:gd name="connsiteY0" fmla="*/ 70102 h 70101"/>
                  <a:gd name="connsiteX1" fmla="*/ 287063 w 303086"/>
                  <a:gd name="connsiteY1" fmla="*/ 69010 h 70101"/>
                  <a:gd name="connsiteX2" fmla="*/ 12192 w 303086"/>
                  <a:gd name="connsiteY2" fmla="*/ 24654 h 70101"/>
                  <a:gd name="connsiteX3" fmla="*/ 45 w 303086"/>
                  <a:gd name="connsiteY3" fmla="*/ 14554 h 70101"/>
                  <a:gd name="connsiteX4" fmla="*/ 10144 w 303086"/>
                  <a:gd name="connsiteY4" fmla="*/ 2408 h 70101"/>
                  <a:gd name="connsiteX5" fmla="*/ 296889 w 303086"/>
                  <a:gd name="connsiteY5" fmla="*/ 48947 h 70101"/>
                  <a:gd name="connsiteX6" fmla="*/ 301939 w 303086"/>
                  <a:gd name="connsiteY6" fmla="*/ 63824 h 70101"/>
                  <a:gd name="connsiteX7" fmla="*/ 291976 w 303086"/>
                  <a:gd name="connsiteY7" fmla="*/ 70102 h 70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3086" h="70101">
                    <a:moveTo>
                      <a:pt x="291976" y="70102"/>
                    </a:moveTo>
                    <a:cubicBezTo>
                      <a:pt x="290338" y="70102"/>
                      <a:pt x="288700" y="69692"/>
                      <a:pt x="287063" y="69010"/>
                    </a:cubicBezTo>
                    <a:cubicBezTo>
                      <a:pt x="285834" y="68464"/>
                      <a:pt x="165186" y="10323"/>
                      <a:pt x="12192" y="24654"/>
                    </a:cubicBezTo>
                    <a:cubicBezTo>
                      <a:pt x="6050" y="25200"/>
                      <a:pt x="591" y="20696"/>
                      <a:pt x="45" y="14554"/>
                    </a:cubicBezTo>
                    <a:cubicBezTo>
                      <a:pt x="-501" y="8413"/>
                      <a:pt x="4003" y="2954"/>
                      <a:pt x="10144" y="2408"/>
                    </a:cubicBezTo>
                    <a:cubicBezTo>
                      <a:pt x="169690" y="-12469"/>
                      <a:pt x="291840" y="46354"/>
                      <a:pt x="296889" y="48947"/>
                    </a:cubicBezTo>
                    <a:cubicBezTo>
                      <a:pt x="302349" y="51677"/>
                      <a:pt x="304669" y="58364"/>
                      <a:pt x="301939" y="63824"/>
                    </a:cubicBezTo>
                    <a:cubicBezTo>
                      <a:pt x="300028" y="67782"/>
                      <a:pt x="296070" y="70102"/>
                      <a:pt x="291976" y="7010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767A8F27-D76E-46EE-8D90-6E84C8CB9701}"/>
                  </a:ext>
                </a:extLst>
              </p:cNvPr>
              <p:cNvSpPr/>
              <p:nvPr/>
            </p:nvSpPr>
            <p:spPr>
              <a:xfrm>
                <a:off x="8252598" y="3623139"/>
                <a:ext cx="181989" cy="142427"/>
              </a:xfrm>
              <a:custGeom>
                <a:avLst/>
                <a:gdLst>
                  <a:gd name="connsiteX0" fmla="*/ 170815 w 181989"/>
                  <a:gd name="connsiteY0" fmla="*/ 142427 h 142427"/>
                  <a:gd name="connsiteX1" fmla="*/ 162217 w 181989"/>
                  <a:gd name="connsiteY1" fmla="*/ 138333 h 142427"/>
                  <a:gd name="connsiteX2" fmla="*/ 6493 w 181989"/>
                  <a:gd name="connsiteY2" fmla="*/ 21233 h 142427"/>
                  <a:gd name="connsiteX3" fmla="*/ 1034 w 181989"/>
                  <a:gd name="connsiteY3" fmla="*/ 6493 h 142427"/>
                  <a:gd name="connsiteX4" fmla="*/ 15773 w 181989"/>
                  <a:gd name="connsiteY4" fmla="*/ 1034 h 142427"/>
                  <a:gd name="connsiteX5" fmla="*/ 179413 w 181989"/>
                  <a:gd name="connsiteY5" fmla="*/ 124139 h 142427"/>
                  <a:gd name="connsiteX6" fmla="*/ 177912 w 181989"/>
                  <a:gd name="connsiteY6" fmla="*/ 139834 h 142427"/>
                  <a:gd name="connsiteX7" fmla="*/ 170815 w 181989"/>
                  <a:gd name="connsiteY7" fmla="*/ 142427 h 14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1989" h="142427">
                    <a:moveTo>
                      <a:pt x="170815" y="142427"/>
                    </a:moveTo>
                    <a:cubicBezTo>
                      <a:pt x="167676" y="142427"/>
                      <a:pt x="164400" y="141062"/>
                      <a:pt x="162217" y="138333"/>
                    </a:cubicBezTo>
                    <a:cubicBezTo>
                      <a:pt x="101483" y="65043"/>
                      <a:pt x="7448" y="21642"/>
                      <a:pt x="6493" y="21233"/>
                    </a:cubicBezTo>
                    <a:cubicBezTo>
                      <a:pt x="897" y="18640"/>
                      <a:pt x="-1559" y="12089"/>
                      <a:pt x="1034" y="6493"/>
                    </a:cubicBezTo>
                    <a:cubicBezTo>
                      <a:pt x="3627" y="897"/>
                      <a:pt x="10178" y="-1559"/>
                      <a:pt x="15773" y="1034"/>
                    </a:cubicBezTo>
                    <a:cubicBezTo>
                      <a:pt x="19868" y="2808"/>
                      <a:pt x="115268" y="46755"/>
                      <a:pt x="179413" y="124139"/>
                    </a:cubicBezTo>
                    <a:cubicBezTo>
                      <a:pt x="183371" y="128916"/>
                      <a:pt x="182689" y="135876"/>
                      <a:pt x="177912" y="139834"/>
                    </a:cubicBezTo>
                    <a:cubicBezTo>
                      <a:pt x="175865" y="141472"/>
                      <a:pt x="173408" y="142427"/>
                      <a:pt x="170815" y="142427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ABFAA8F0-6BC4-46AB-BAA3-46AE6D054839}"/>
                  </a:ext>
                </a:extLst>
              </p:cNvPr>
              <p:cNvGrpSpPr/>
              <p:nvPr/>
            </p:nvGrpSpPr>
            <p:grpSpPr>
              <a:xfrm>
                <a:off x="8999960" y="3363223"/>
                <a:ext cx="845440" cy="1140053"/>
                <a:chOff x="8999960" y="3363223"/>
                <a:chExt cx="845440" cy="1140053"/>
              </a:xfrm>
              <a:solidFill>
                <a:schemeClr val="accent1"/>
              </a:solidFill>
            </p:grpSpPr>
            <p:grpSp>
              <p:nvGrpSpPr>
                <p:cNvPr id="35" name="组合 34">
                  <a:extLst>
                    <a:ext uri="{FF2B5EF4-FFF2-40B4-BE49-F238E27FC236}">
                      <a16:creationId xmlns:a16="http://schemas.microsoft.com/office/drawing/2014/main" id="{2D6F02C8-AEF1-4591-B517-BCAC90E11375}"/>
                    </a:ext>
                  </a:extLst>
                </p:cNvPr>
                <p:cNvGrpSpPr/>
                <p:nvPr/>
              </p:nvGrpSpPr>
              <p:grpSpPr>
                <a:xfrm>
                  <a:off x="9298387" y="3363223"/>
                  <a:ext cx="547012" cy="1140053"/>
                  <a:chOff x="9298387" y="3363223"/>
                  <a:chExt cx="547012" cy="1140053"/>
                </a:xfrm>
                <a:solidFill>
                  <a:schemeClr val="accent1"/>
                </a:solidFill>
              </p:grpSpPr>
              <p:sp>
                <p:nvSpPr>
                  <p:cNvPr id="38" name="任意多边形: 形状 37">
                    <a:extLst>
                      <a:ext uri="{FF2B5EF4-FFF2-40B4-BE49-F238E27FC236}">
                        <a16:creationId xmlns:a16="http://schemas.microsoft.com/office/drawing/2014/main" id="{4669B08C-FE49-4B32-A21B-8DD30EB824C9}"/>
                      </a:ext>
                    </a:extLst>
                  </p:cNvPr>
                  <p:cNvSpPr/>
                  <p:nvPr/>
                </p:nvSpPr>
                <p:spPr>
                  <a:xfrm>
                    <a:off x="9298387" y="3983935"/>
                    <a:ext cx="366722" cy="392516"/>
                  </a:xfrm>
                  <a:custGeom>
                    <a:avLst/>
                    <a:gdLst>
                      <a:gd name="connsiteX0" fmla="*/ 0 w 366722"/>
                      <a:gd name="connsiteY0" fmla="*/ 280467 h 392516"/>
                      <a:gd name="connsiteX1" fmla="*/ 0 w 366722"/>
                      <a:gd name="connsiteY1" fmla="*/ 112050 h 392516"/>
                      <a:gd name="connsiteX2" fmla="*/ 112050 w 366722"/>
                      <a:gd name="connsiteY2" fmla="*/ 0 h 392516"/>
                      <a:gd name="connsiteX3" fmla="*/ 254672 w 366722"/>
                      <a:gd name="connsiteY3" fmla="*/ 0 h 392516"/>
                      <a:gd name="connsiteX4" fmla="*/ 366722 w 366722"/>
                      <a:gd name="connsiteY4" fmla="*/ 112050 h 392516"/>
                      <a:gd name="connsiteX5" fmla="*/ 366722 w 366722"/>
                      <a:gd name="connsiteY5" fmla="*/ 280467 h 392516"/>
                      <a:gd name="connsiteX6" fmla="*/ 254672 w 366722"/>
                      <a:gd name="connsiteY6" fmla="*/ 392517 h 392516"/>
                      <a:gd name="connsiteX7" fmla="*/ 112050 w 366722"/>
                      <a:gd name="connsiteY7" fmla="*/ 392517 h 392516"/>
                      <a:gd name="connsiteX8" fmla="*/ 0 w 366722"/>
                      <a:gd name="connsiteY8" fmla="*/ 280467 h 392516"/>
                      <a:gd name="connsiteX9" fmla="*/ 111914 w 366722"/>
                      <a:gd name="connsiteY9" fmla="*/ 57458 h 392516"/>
                      <a:gd name="connsiteX10" fmla="*/ 57458 w 366722"/>
                      <a:gd name="connsiteY10" fmla="*/ 111914 h 392516"/>
                      <a:gd name="connsiteX11" fmla="*/ 57458 w 366722"/>
                      <a:gd name="connsiteY11" fmla="*/ 280330 h 392516"/>
                      <a:gd name="connsiteX12" fmla="*/ 111914 w 366722"/>
                      <a:gd name="connsiteY12" fmla="*/ 334786 h 392516"/>
                      <a:gd name="connsiteX13" fmla="*/ 254536 w 366722"/>
                      <a:gd name="connsiteY13" fmla="*/ 334786 h 392516"/>
                      <a:gd name="connsiteX14" fmla="*/ 308991 w 366722"/>
                      <a:gd name="connsiteY14" fmla="*/ 280330 h 392516"/>
                      <a:gd name="connsiteX15" fmla="*/ 308991 w 366722"/>
                      <a:gd name="connsiteY15" fmla="*/ 111914 h 392516"/>
                      <a:gd name="connsiteX16" fmla="*/ 254536 w 366722"/>
                      <a:gd name="connsiteY16" fmla="*/ 57458 h 392516"/>
                      <a:gd name="connsiteX17" fmla="*/ 111914 w 366722"/>
                      <a:gd name="connsiteY17" fmla="*/ 57458 h 3925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366722" h="392516">
                        <a:moveTo>
                          <a:pt x="0" y="280467"/>
                        </a:moveTo>
                        <a:lnTo>
                          <a:pt x="0" y="112050"/>
                        </a:lnTo>
                        <a:cubicBezTo>
                          <a:pt x="0" y="50361"/>
                          <a:pt x="50225" y="0"/>
                          <a:pt x="112050" y="0"/>
                        </a:cubicBezTo>
                        <a:lnTo>
                          <a:pt x="254672" y="0"/>
                        </a:lnTo>
                        <a:cubicBezTo>
                          <a:pt x="316361" y="0"/>
                          <a:pt x="366722" y="50225"/>
                          <a:pt x="366722" y="112050"/>
                        </a:cubicBezTo>
                        <a:lnTo>
                          <a:pt x="366722" y="280467"/>
                        </a:lnTo>
                        <a:cubicBezTo>
                          <a:pt x="366722" y="342156"/>
                          <a:pt x="316497" y="392517"/>
                          <a:pt x="254672" y="392517"/>
                        </a:cubicBezTo>
                        <a:lnTo>
                          <a:pt x="112050" y="392517"/>
                        </a:lnTo>
                        <a:cubicBezTo>
                          <a:pt x="50225" y="392517"/>
                          <a:pt x="0" y="342292"/>
                          <a:pt x="0" y="280467"/>
                        </a:cubicBezTo>
                        <a:close/>
                        <a:moveTo>
                          <a:pt x="111914" y="57458"/>
                        </a:moveTo>
                        <a:cubicBezTo>
                          <a:pt x="81888" y="57458"/>
                          <a:pt x="57458" y="81888"/>
                          <a:pt x="57458" y="111914"/>
                        </a:cubicBezTo>
                        <a:lnTo>
                          <a:pt x="57458" y="280330"/>
                        </a:lnTo>
                        <a:cubicBezTo>
                          <a:pt x="57458" y="310356"/>
                          <a:pt x="81888" y="334786"/>
                          <a:pt x="111914" y="334786"/>
                        </a:cubicBezTo>
                        <a:lnTo>
                          <a:pt x="254536" y="334786"/>
                        </a:lnTo>
                        <a:cubicBezTo>
                          <a:pt x="284561" y="334786"/>
                          <a:pt x="308991" y="310356"/>
                          <a:pt x="308991" y="280330"/>
                        </a:cubicBezTo>
                        <a:lnTo>
                          <a:pt x="308991" y="111914"/>
                        </a:lnTo>
                        <a:cubicBezTo>
                          <a:pt x="308991" y="81888"/>
                          <a:pt x="284561" y="57458"/>
                          <a:pt x="254536" y="57458"/>
                        </a:cubicBezTo>
                        <a:lnTo>
                          <a:pt x="111914" y="57458"/>
                        </a:lnTo>
                        <a:close/>
                      </a:path>
                    </a:pathLst>
                  </a:custGeom>
                  <a:solidFill>
                    <a:srgbClr val="FD9B15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39" name="任意多边形: 形状 38">
                    <a:extLst>
                      <a:ext uri="{FF2B5EF4-FFF2-40B4-BE49-F238E27FC236}">
                        <a16:creationId xmlns:a16="http://schemas.microsoft.com/office/drawing/2014/main" id="{C76C48AA-6586-469A-8215-09285F2274A6}"/>
                      </a:ext>
                    </a:extLst>
                  </p:cNvPr>
                  <p:cNvSpPr/>
                  <p:nvPr/>
                </p:nvSpPr>
                <p:spPr>
                  <a:xfrm>
                    <a:off x="9427088" y="3892049"/>
                    <a:ext cx="418311" cy="611226"/>
                  </a:xfrm>
                  <a:custGeom>
                    <a:avLst/>
                    <a:gdLst>
                      <a:gd name="connsiteX0" fmla="*/ 0 w 418311"/>
                      <a:gd name="connsiteY0" fmla="*/ 579802 h 611226"/>
                      <a:gd name="connsiteX1" fmla="*/ 418312 w 418311"/>
                      <a:gd name="connsiteY1" fmla="*/ 579802 h 611226"/>
                      <a:gd name="connsiteX2" fmla="*/ 418312 w 418311"/>
                      <a:gd name="connsiteY2" fmla="*/ 7268 h 611226"/>
                      <a:gd name="connsiteX3" fmla="*/ 0 w 418311"/>
                      <a:gd name="connsiteY3" fmla="*/ 7268 h 611226"/>
                      <a:gd name="connsiteX4" fmla="*/ 0 w 418311"/>
                      <a:gd name="connsiteY4" fmla="*/ 579802 h 6112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8311" h="611226">
                        <a:moveTo>
                          <a:pt x="0" y="579802"/>
                        </a:moveTo>
                        <a:cubicBezTo>
                          <a:pt x="139483" y="621702"/>
                          <a:pt x="278829" y="621702"/>
                          <a:pt x="418312" y="579802"/>
                        </a:cubicBezTo>
                        <a:lnTo>
                          <a:pt x="418312" y="7268"/>
                        </a:lnTo>
                        <a:cubicBezTo>
                          <a:pt x="278829" y="-2423"/>
                          <a:pt x="139483" y="-2423"/>
                          <a:pt x="0" y="7268"/>
                        </a:cubicBezTo>
                        <a:lnTo>
                          <a:pt x="0" y="579802"/>
                        </a:lnTo>
                        <a:close/>
                      </a:path>
                    </a:pathLst>
                  </a:custGeom>
                  <a:solidFill>
                    <a:srgbClr val="FDC228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40" name="任意多边形: 形状 39">
                    <a:extLst>
                      <a:ext uri="{FF2B5EF4-FFF2-40B4-BE49-F238E27FC236}">
                        <a16:creationId xmlns:a16="http://schemas.microsoft.com/office/drawing/2014/main" id="{981EA879-917C-4C34-99BB-68743A9EC8B6}"/>
                      </a:ext>
                    </a:extLst>
                  </p:cNvPr>
                  <p:cNvSpPr/>
                  <p:nvPr/>
                </p:nvSpPr>
                <p:spPr>
                  <a:xfrm>
                    <a:off x="9610989" y="3363223"/>
                    <a:ext cx="187700" cy="476861"/>
                  </a:xfrm>
                  <a:custGeom>
                    <a:avLst/>
                    <a:gdLst>
                      <a:gd name="connsiteX0" fmla="*/ 121542 w 187700"/>
                      <a:gd name="connsiteY0" fmla="*/ 476862 h 476861"/>
                      <a:gd name="connsiteX1" fmla="*/ 166170 w 187700"/>
                      <a:gd name="connsiteY1" fmla="*/ 310629 h 476861"/>
                      <a:gd name="connsiteX2" fmla="*/ 94109 w 187700"/>
                      <a:gd name="connsiteY2" fmla="*/ 0 h 476861"/>
                      <a:gd name="connsiteX3" fmla="*/ 211 w 187700"/>
                      <a:gd name="connsiteY3" fmla="*/ 161593 h 476861"/>
                      <a:gd name="connsiteX4" fmla="*/ 121542 w 187700"/>
                      <a:gd name="connsiteY4" fmla="*/ 476862 h 4768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87700" h="476861">
                        <a:moveTo>
                          <a:pt x="121542" y="476862"/>
                        </a:moveTo>
                        <a:cubicBezTo>
                          <a:pt x="121542" y="476862"/>
                          <a:pt x="233455" y="431823"/>
                          <a:pt x="166170" y="310629"/>
                        </a:cubicBezTo>
                        <a:cubicBezTo>
                          <a:pt x="99022" y="189434"/>
                          <a:pt x="21502" y="94990"/>
                          <a:pt x="94109" y="0"/>
                        </a:cubicBezTo>
                        <a:cubicBezTo>
                          <a:pt x="94109" y="0"/>
                          <a:pt x="7171" y="26341"/>
                          <a:pt x="211" y="161593"/>
                        </a:cubicBezTo>
                        <a:cubicBezTo>
                          <a:pt x="-6750" y="296844"/>
                          <a:pt x="161394" y="389924"/>
                          <a:pt x="121542" y="47686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6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F28806AD-C825-489C-958A-15A0B3CD261B}"/>
                    </a:ext>
                  </a:extLst>
                </p:cNvPr>
                <p:cNvSpPr/>
                <p:nvPr/>
              </p:nvSpPr>
              <p:spPr>
                <a:xfrm>
                  <a:off x="9189340" y="3978453"/>
                  <a:ext cx="210998" cy="113846"/>
                </a:xfrm>
                <a:custGeom>
                  <a:avLst/>
                  <a:gdLst>
                    <a:gd name="connsiteX0" fmla="*/ 0 w 210998"/>
                    <a:gd name="connsiteY0" fmla="*/ 113847 h 113846"/>
                    <a:gd name="connsiteX1" fmla="*/ 109048 w 210998"/>
                    <a:gd name="connsiteY1" fmla="*/ 432 h 113846"/>
                    <a:gd name="connsiteX2" fmla="*/ 210998 w 210998"/>
                    <a:gd name="connsiteY2" fmla="*/ 89144 h 113846"/>
                    <a:gd name="connsiteX3" fmla="*/ 0 w 210998"/>
                    <a:gd name="connsiteY3" fmla="*/ 113847 h 113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0998" h="113846">
                      <a:moveTo>
                        <a:pt x="0" y="113847"/>
                      </a:moveTo>
                      <a:cubicBezTo>
                        <a:pt x="0" y="113847"/>
                        <a:pt x="48451" y="8211"/>
                        <a:pt x="109048" y="432"/>
                      </a:cubicBezTo>
                      <a:cubicBezTo>
                        <a:pt x="169645" y="-7211"/>
                        <a:pt x="210998" y="89144"/>
                        <a:pt x="210998" y="89144"/>
                      </a:cubicBezTo>
                      <a:lnTo>
                        <a:pt x="0" y="113847"/>
                      </a:lnTo>
                      <a:close/>
                    </a:path>
                  </a:pathLst>
                </a:custGeom>
                <a:solidFill>
                  <a:srgbClr val="FB9476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F53736B6-841F-4E92-A2CC-CD0D14F36F3E}"/>
                    </a:ext>
                  </a:extLst>
                </p:cNvPr>
                <p:cNvSpPr/>
                <p:nvPr/>
              </p:nvSpPr>
              <p:spPr>
                <a:xfrm>
                  <a:off x="8999960" y="4008319"/>
                  <a:ext cx="480148" cy="374694"/>
                </a:xfrm>
                <a:custGeom>
                  <a:avLst/>
                  <a:gdLst>
                    <a:gd name="connsiteX0" fmla="*/ 380043 w 480148"/>
                    <a:gd name="connsiteY0" fmla="*/ 7416 h 374694"/>
                    <a:gd name="connsiteX1" fmla="*/ 80196 w 480148"/>
                    <a:gd name="connsiteY1" fmla="*/ 90668 h 374694"/>
                    <a:gd name="connsiteX2" fmla="*/ 75828 w 480148"/>
                    <a:gd name="connsiteY2" fmla="*/ 90941 h 374694"/>
                    <a:gd name="connsiteX3" fmla="*/ 22055 w 480148"/>
                    <a:gd name="connsiteY3" fmla="*/ 95036 h 374694"/>
                    <a:gd name="connsiteX4" fmla="*/ 628 w 480148"/>
                    <a:gd name="connsiteY4" fmla="*/ 159591 h 374694"/>
                    <a:gd name="connsiteX5" fmla="*/ 17415 w 480148"/>
                    <a:gd name="connsiteY5" fmla="*/ 270140 h 374694"/>
                    <a:gd name="connsiteX6" fmla="*/ 48123 w 480148"/>
                    <a:gd name="connsiteY6" fmla="*/ 340973 h 374694"/>
                    <a:gd name="connsiteX7" fmla="*/ 110221 w 480148"/>
                    <a:gd name="connsiteY7" fmla="*/ 330464 h 374694"/>
                    <a:gd name="connsiteX8" fmla="*/ 115135 w 480148"/>
                    <a:gd name="connsiteY8" fmla="*/ 332921 h 374694"/>
                    <a:gd name="connsiteX9" fmla="*/ 417029 w 480148"/>
                    <a:gd name="connsiteY9" fmla="*/ 332239 h 374694"/>
                    <a:gd name="connsiteX10" fmla="*/ 380043 w 480148"/>
                    <a:gd name="connsiteY10" fmla="*/ 7416 h 374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80148" h="374694">
                      <a:moveTo>
                        <a:pt x="380043" y="7416"/>
                      </a:moveTo>
                      <a:cubicBezTo>
                        <a:pt x="307981" y="-29434"/>
                        <a:pt x="171910" y="82616"/>
                        <a:pt x="80196" y="90668"/>
                      </a:cubicBezTo>
                      <a:cubicBezTo>
                        <a:pt x="78694" y="90805"/>
                        <a:pt x="77193" y="90941"/>
                        <a:pt x="75828" y="90941"/>
                      </a:cubicBezTo>
                      <a:lnTo>
                        <a:pt x="22055" y="95036"/>
                      </a:lnTo>
                      <a:cubicBezTo>
                        <a:pt x="7588" y="114143"/>
                        <a:pt x="2402" y="135707"/>
                        <a:pt x="628" y="159591"/>
                      </a:cubicBezTo>
                      <a:cubicBezTo>
                        <a:pt x="-2102" y="197123"/>
                        <a:pt x="4176" y="234792"/>
                        <a:pt x="17415" y="270140"/>
                      </a:cubicBezTo>
                      <a:cubicBezTo>
                        <a:pt x="26832" y="295116"/>
                        <a:pt x="38433" y="323777"/>
                        <a:pt x="48123" y="340973"/>
                      </a:cubicBezTo>
                      <a:lnTo>
                        <a:pt x="110221" y="330464"/>
                      </a:lnTo>
                      <a:cubicBezTo>
                        <a:pt x="111859" y="331419"/>
                        <a:pt x="113497" y="332239"/>
                        <a:pt x="115135" y="332921"/>
                      </a:cubicBezTo>
                      <a:cubicBezTo>
                        <a:pt x="115135" y="332921"/>
                        <a:pt x="343056" y="427365"/>
                        <a:pt x="417029" y="332239"/>
                      </a:cubicBezTo>
                      <a:cubicBezTo>
                        <a:pt x="512565" y="209406"/>
                        <a:pt x="499190" y="68286"/>
                        <a:pt x="380043" y="7416"/>
                      </a:cubicBezTo>
                      <a:close/>
                    </a:path>
                  </a:pathLst>
                </a:custGeom>
                <a:solidFill>
                  <a:srgbClr val="FBB990"/>
                </a:solidFill>
                <a:ln w="136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F3E4D84C-2F20-4C01-89FE-7DC1603DE69F}"/>
                </a:ext>
              </a:extLst>
            </p:cNvPr>
            <p:cNvGrpSpPr/>
            <p:nvPr/>
          </p:nvGrpSpPr>
          <p:grpSpPr>
            <a:xfrm flipH="1">
              <a:off x="7623644" y="2505581"/>
              <a:ext cx="939323" cy="2438572"/>
              <a:chOff x="9871124" y="2505581"/>
              <a:chExt cx="939323" cy="2438572"/>
            </a:xfrm>
            <a:solidFill>
              <a:schemeClr val="accent1"/>
            </a:solidFill>
          </p:grpSpPr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23182876-F437-46B7-9AAC-F2E75ECCAEAC}"/>
                  </a:ext>
                </a:extLst>
              </p:cNvPr>
              <p:cNvSpPr/>
              <p:nvPr/>
            </p:nvSpPr>
            <p:spPr>
              <a:xfrm>
                <a:off x="9996757" y="2505581"/>
                <a:ext cx="813690" cy="2018819"/>
              </a:xfrm>
              <a:custGeom>
                <a:avLst/>
                <a:gdLst>
                  <a:gd name="connsiteX0" fmla="*/ 731397 w 813690"/>
                  <a:gd name="connsiteY0" fmla="*/ 1764962 h 2018819"/>
                  <a:gd name="connsiteX1" fmla="*/ 517260 w 813690"/>
                  <a:gd name="connsiteY1" fmla="*/ 1932969 h 2018819"/>
                  <a:gd name="connsiteX2" fmla="*/ 50498 w 813690"/>
                  <a:gd name="connsiteY2" fmla="*/ 1736301 h 2018819"/>
                  <a:gd name="connsiteX3" fmla="*/ 149992 w 813690"/>
                  <a:gd name="connsiteY3" fmla="*/ 857505 h 2018819"/>
                  <a:gd name="connsiteX4" fmla="*/ 0 w 813690"/>
                  <a:gd name="connsiteY4" fmla="*/ 0 h 2018819"/>
                  <a:gd name="connsiteX5" fmla="*/ 739723 w 813690"/>
                  <a:gd name="connsiteY5" fmla="*/ 1128691 h 2018819"/>
                  <a:gd name="connsiteX6" fmla="*/ 789129 w 813690"/>
                  <a:gd name="connsiteY6" fmla="*/ 1300520 h 2018819"/>
                  <a:gd name="connsiteX7" fmla="*/ 731397 w 813690"/>
                  <a:gd name="connsiteY7" fmla="*/ 1764962 h 2018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3690" h="2018819">
                    <a:moveTo>
                      <a:pt x="731397" y="1764962"/>
                    </a:moveTo>
                    <a:cubicBezTo>
                      <a:pt x="669845" y="1843848"/>
                      <a:pt x="584818" y="1887931"/>
                      <a:pt x="517260" y="1932969"/>
                    </a:cubicBezTo>
                    <a:cubicBezTo>
                      <a:pt x="354985" y="2041471"/>
                      <a:pt x="25795" y="2110121"/>
                      <a:pt x="50498" y="1736301"/>
                    </a:cubicBezTo>
                    <a:cubicBezTo>
                      <a:pt x="75337" y="1362482"/>
                      <a:pt x="357988" y="1513975"/>
                      <a:pt x="149992" y="857505"/>
                    </a:cubicBezTo>
                    <a:cubicBezTo>
                      <a:pt x="61279" y="577448"/>
                      <a:pt x="0" y="0"/>
                      <a:pt x="0" y="0"/>
                    </a:cubicBezTo>
                    <a:cubicBezTo>
                      <a:pt x="0" y="0"/>
                      <a:pt x="464715" y="325642"/>
                      <a:pt x="739723" y="1128691"/>
                    </a:cubicBezTo>
                    <a:cubicBezTo>
                      <a:pt x="761150" y="1191199"/>
                      <a:pt x="777391" y="1248384"/>
                      <a:pt x="789129" y="1300520"/>
                    </a:cubicBezTo>
                    <a:cubicBezTo>
                      <a:pt x="842492" y="1537586"/>
                      <a:pt x="802367" y="1674203"/>
                      <a:pt x="731397" y="1764962"/>
                    </a:cubicBezTo>
                    <a:close/>
                  </a:path>
                </a:pathLst>
              </a:custGeom>
              <a:solidFill>
                <a:srgbClr val="F2433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EC848954-F59F-48D7-8CC1-DBFCBD8EF0C7}"/>
                  </a:ext>
                </a:extLst>
              </p:cNvPr>
              <p:cNvSpPr/>
              <p:nvPr/>
            </p:nvSpPr>
            <p:spPr>
              <a:xfrm>
                <a:off x="10681641" y="3806101"/>
                <a:ext cx="128805" cy="464442"/>
              </a:xfrm>
              <a:custGeom>
                <a:avLst/>
                <a:gdLst>
                  <a:gd name="connsiteX0" fmla="*/ 46512 w 128805"/>
                  <a:gd name="connsiteY0" fmla="*/ 464442 h 464442"/>
                  <a:gd name="connsiteX1" fmla="*/ 104244 w 128805"/>
                  <a:gd name="connsiteY1" fmla="*/ 0 h 464442"/>
                  <a:gd name="connsiteX2" fmla="*/ 46512 w 128805"/>
                  <a:gd name="connsiteY2" fmla="*/ 464442 h 464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8805" h="464442">
                    <a:moveTo>
                      <a:pt x="46512" y="464442"/>
                    </a:moveTo>
                    <a:cubicBezTo>
                      <a:pt x="-54347" y="284425"/>
                      <a:pt x="29316" y="106455"/>
                      <a:pt x="104244" y="0"/>
                    </a:cubicBezTo>
                    <a:cubicBezTo>
                      <a:pt x="157607" y="237066"/>
                      <a:pt x="117482" y="373683"/>
                      <a:pt x="46512" y="46444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84EE6DB1-9CB6-4083-8143-7A74CC832289}"/>
                  </a:ext>
                </a:extLst>
              </p:cNvPr>
              <p:cNvSpPr/>
              <p:nvPr/>
            </p:nvSpPr>
            <p:spPr>
              <a:xfrm>
                <a:off x="10030875" y="3791325"/>
                <a:ext cx="335096" cy="517432"/>
              </a:xfrm>
              <a:custGeom>
                <a:avLst/>
                <a:gdLst>
                  <a:gd name="connsiteX0" fmla="*/ 15424 w 335096"/>
                  <a:gd name="connsiteY0" fmla="*/ 517432 h 517432"/>
                  <a:gd name="connsiteX1" fmla="*/ 4506 w 335096"/>
                  <a:gd name="connsiteY1" fmla="*/ 508697 h 517432"/>
                  <a:gd name="connsiteX2" fmla="*/ 19246 w 335096"/>
                  <a:gd name="connsiteY2" fmla="*/ 328271 h 517432"/>
                  <a:gd name="connsiteX3" fmla="*/ 318820 w 335096"/>
                  <a:gd name="connsiteY3" fmla="*/ 1264 h 517432"/>
                  <a:gd name="connsiteX4" fmla="*/ 333832 w 335096"/>
                  <a:gd name="connsiteY4" fmla="*/ 6041 h 517432"/>
                  <a:gd name="connsiteX5" fmla="*/ 329056 w 335096"/>
                  <a:gd name="connsiteY5" fmla="*/ 21053 h 517432"/>
                  <a:gd name="connsiteX6" fmla="*/ 40809 w 335096"/>
                  <a:gd name="connsiteY6" fmla="*/ 333593 h 517432"/>
                  <a:gd name="connsiteX7" fmla="*/ 26206 w 335096"/>
                  <a:gd name="connsiteY7" fmla="*/ 503921 h 517432"/>
                  <a:gd name="connsiteX8" fmla="*/ 17608 w 335096"/>
                  <a:gd name="connsiteY8" fmla="*/ 517159 h 517432"/>
                  <a:gd name="connsiteX9" fmla="*/ 15424 w 335096"/>
                  <a:gd name="connsiteY9" fmla="*/ 517432 h 51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5096" h="517432">
                    <a:moveTo>
                      <a:pt x="15424" y="517432"/>
                    </a:moveTo>
                    <a:cubicBezTo>
                      <a:pt x="10238" y="517432"/>
                      <a:pt x="5734" y="513884"/>
                      <a:pt x="4506" y="508697"/>
                    </a:cubicBezTo>
                    <a:cubicBezTo>
                      <a:pt x="3823" y="505558"/>
                      <a:pt x="-11735" y="429402"/>
                      <a:pt x="19246" y="328271"/>
                    </a:cubicBezTo>
                    <a:cubicBezTo>
                      <a:pt x="47770" y="235464"/>
                      <a:pt x="122834" y="103351"/>
                      <a:pt x="318820" y="1264"/>
                    </a:cubicBezTo>
                    <a:cubicBezTo>
                      <a:pt x="324279" y="-1602"/>
                      <a:pt x="330967" y="581"/>
                      <a:pt x="333832" y="6041"/>
                    </a:cubicBezTo>
                    <a:cubicBezTo>
                      <a:pt x="336699" y="11500"/>
                      <a:pt x="334515" y="18188"/>
                      <a:pt x="329056" y="21053"/>
                    </a:cubicBezTo>
                    <a:cubicBezTo>
                      <a:pt x="140440" y="119183"/>
                      <a:pt x="68242" y="245154"/>
                      <a:pt x="40809" y="333593"/>
                    </a:cubicBezTo>
                    <a:cubicBezTo>
                      <a:pt x="11057" y="429402"/>
                      <a:pt x="26070" y="503238"/>
                      <a:pt x="26206" y="503921"/>
                    </a:cubicBezTo>
                    <a:cubicBezTo>
                      <a:pt x="27434" y="509926"/>
                      <a:pt x="23613" y="515794"/>
                      <a:pt x="17608" y="517159"/>
                    </a:cubicBezTo>
                    <a:cubicBezTo>
                      <a:pt x="16925" y="517432"/>
                      <a:pt x="16243" y="517432"/>
                      <a:pt x="15424" y="517432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777EA09-9201-4502-9A55-345B6F3012D2}"/>
                  </a:ext>
                </a:extLst>
              </p:cNvPr>
              <p:cNvSpPr/>
              <p:nvPr/>
            </p:nvSpPr>
            <p:spPr>
              <a:xfrm>
                <a:off x="10202898" y="3725494"/>
                <a:ext cx="81915" cy="176055"/>
              </a:xfrm>
              <a:custGeom>
                <a:avLst/>
                <a:gdLst>
                  <a:gd name="connsiteX0" fmla="*/ 12227 w 81915"/>
                  <a:gd name="connsiteY0" fmla="*/ 176006 h 176055"/>
                  <a:gd name="connsiteX1" fmla="*/ 7587 w 81915"/>
                  <a:gd name="connsiteY1" fmla="*/ 175460 h 176055"/>
                  <a:gd name="connsiteX2" fmla="*/ 626 w 81915"/>
                  <a:gd name="connsiteY2" fmla="*/ 161403 h 176055"/>
                  <a:gd name="connsiteX3" fmla="*/ 60814 w 81915"/>
                  <a:gd name="connsiteY3" fmla="*/ 6088 h 176055"/>
                  <a:gd name="connsiteX4" fmla="*/ 75827 w 81915"/>
                  <a:gd name="connsiteY4" fmla="*/ 1175 h 176055"/>
                  <a:gd name="connsiteX5" fmla="*/ 80740 w 81915"/>
                  <a:gd name="connsiteY5" fmla="*/ 16188 h 176055"/>
                  <a:gd name="connsiteX6" fmla="*/ 21781 w 81915"/>
                  <a:gd name="connsiteY6" fmla="*/ 168500 h 176055"/>
                  <a:gd name="connsiteX7" fmla="*/ 12227 w 81915"/>
                  <a:gd name="connsiteY7" fmla="*/ 176006 h 176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915" h="176055">
                    <a:moveTo>
                      <a:pt x="12227" y="176006"/>
                    </a:moveTo>
                    <a:cubicBezTo>
                      <a:pt x="10726" y="176143"/>
                      <a:pt x="9088" y="176006"/>
                      <a:pt x="7587" y="175460"/>
                    </a:cubicBezTo>
                    <a:cubicBezTo>
                      <a:pt x="1718" y="173550"/>
                      <a:pt x="-1421" y="167135"/>
                      <a:pt x="626" y="161403"/>
                    </a:cubicBezTo>
                    <a:cubicBezTo>
                      <a:pt x="36657" y="53993"/>
                      <a:pt x="59859" y="7999"/>
                      <a:pt x="60814" y="6088"/>
                    </a:cubicBezTo>
                    <a:cubicBezTo>
                      <a:pt x="63544" y="629"/>
                      <a:pt x="70231" y="-1554"/>
                      <a:pt x="75827" y="1175"/>
                    </a:cubicBezTo>
                    <a:cubicBezTo>
                      <a:pt x="81286" y="3905"/>
                      <a:pt x="83470" y="10592"/>
                      <a:pt x="80740" y="16188"/>
                    </a:cubicBezTo>
                    <a:cubicBezTo>
                      <a:pt x="80467" y="16597"/>
                      <a:pt x="57266" y="62864"/>
                      <a:pt x="21781" y="168500"/>
                    </a:cubicBezTo>
                    <a:cubicBezTo>
                      <a:pt x="20280" y="172731"/>
                      <a:pt x="16458" y="175597"/>
                      <a:pt x="12227" y="176006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61FABC70-3E1D-46E4-8230-242A45AD6822}"/>
                  </a:ext>
                </a:extLst>
              </p:cNvPr>
              <p:cNvSpPr/>
              <p:nvPr/>
            </p:nvSpPr>
            <p:spPr>
              <a:xfrm>
                <a:off x="9919595" y="3105361"/>
                <a:ext cx="319277" cy="747143"/>
              </a:xfrm>
              <a:custGeom>
                <a:avLst/>
                <a:gdLst>
                  <a:gd name="connsiteX0" fmla="*/ 308086 w 319277"/>
                  <a:gd name="connsiteY0" fmla="*/ 747143 h 747143"/>
                  <a:gd name="connsiteX1" fmla="*/ 296895 w 319277"/>
                  <a:gd name="connsiteY1" fmla="*/ 735952 h 747143"/>
                  <a:gd name="connsiteX2" fmla="*/ 1552 w 319277"/>
                  <a:gd name="connsiteY2" fmla="*/ 16838 h 747143"/>
                  <a:gd name="connsiteX3" fmla="*/ 5510 w 319277"/>
                  <a:gd name="connsiteY3" fmla="*/ 1552 h 747143"/>
                  <a:gd name="connsiteX4" fmla="*/ 20796 w 319277"/>
                  <a:gd name="connsiteY4" fmla="*/ 5510 h 747143"/>
                  <a:gd name="connsiteX5" fmla="*/ 319278 w 319277"/>
                  <a:gd name="connsiteY5" fmla="*/ 735952 h 747143"/>
                  <a:gd name="connsiteX6" fmla="*/ 308086 w 319277"/>
                  <a:gd name="connsiteY6" fmla="*/ 747143 h 74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9277" h="747143">
                    <a:moveTo>
                      <a:pt x="308086" y="747143"/>
                    </a:moveTo>
                    <a:cubicBezTo>
                      <a:pt x="301945" y="747143"/>
                      <a:pt x="296895" y="742230"/>
                      <a:pt x="296895" y="735952"/>
                    </a:cubicBezTo>
                    <a:cubicBezTo>
                      <a:pt x="296895" y="517174"/>
                      <a:pt x="4554" y="21751"/>
                      <a:pt x="1552" y="16838"/>
                    </a:cubicBezTo>
                    <a:cubicBezTo>
                      <a:pt x="-1587" y="11515"/>
                      <a:pt x="187" y="4691"/>
                      <a:pt x="5510" y="1552"/>
                    </a:cubicBezTo>
                    <a:cubicBezTo>
                      <a:pt x="10833" y="-1587"/>
                      <a:pt x="17657" y="187"/>
                      <a:pt x="20796" y="5510"/>
                    </a:cubicBezTo>
                    <a:cubicBezTo>
                      <a:pt x="32942" y="26118"/>
                      <a:pt x="319278" y="511169"/>
                      <a:pt x="319278" y="735952"/>
                    </a:cubicBezTo>
                    <a:cubicBezTo>
                      <a:pt x="319278" y="742230"/>
                      <a:pt x="314228" y="747143"/>
                      <a:pt x="308086" y="747143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79FCD497-C972-43C8-BE81-E0780BC68C3E}"/>
                  </a:ext>
                </a:extLst>
              </p:cNvPr>
              <p:cNvSpPr/>
              <p:nvPr/>
            </p:nvSpPr>
            <p:spPr>
              <a:xfrm>
                <a:off x="9871124" y="3212751"/>
                <a:ext cx="160519" cy="77591"/>
              </a:xfrm>
              <a:custGeom>
                <a:avLst/>
                <a:gdLst>
                  <a:gd name="connsiteX0" fmla="*/ 149653 w 160519"/>
                  <a:gd name="connsiteY0" fmla="*/ 77591 h 77591"/>
                  <a:gd name="connsiteX1" fmla="*/ 142966 w 160519"/>
                  <a:gd name="connsiteY1" fmla="*/ 75408 h 77591"/>
                  <a:gd name="connsiteX2" fmla="*/ 8396 w 160519"/>
                  <a:gd name="connsiteY2" fmla="*/ 21908 h 77591"/>
                  <a:gd name="connsiteX3" fmla="*/ 344 w 160519"/>
                  <a:gd name="connsiteY3" fmla="*/ 8396 h 77591"/>
                  <a:gd name="connsiteX4" fmla="*/ 13855 w 160519"/>
                  <a:gd name="connsiteY4" fmla="*/ 344 h 77591"/>
                  <a:gd name="connsiteX5" fmla="*/ 156068 w 160519"/>
                  <a:gd name="connsiteY5" fmla="*/ 57529 h 77591"/>
                  <a:gd name="connsiteX6" fmla="*/ 158388 w 160519"/>
                  <a:gd name="connsiteY6" fmla="*/ 73088 h 77591"/>
                  <a:gd name="connsiteX7" fmla="*/ 149653 w 160519"/>
                  <a:gd name="connsiteY7" fmla="*/ 77591 h 7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0519" h="77591">
                    <a:moveTo>
                      <a:pt x="149653" y="77591"/>
                    </a:moveTo>
                    <a:cubicBezTo>
                      <a:pt x="147333" y="77591"/>
                      <a:pt x="145013" y="76909"/>
                      <a:pt x="142966" y="75408"/>
                    </a:cubicBezTo>
                    <a:cubicBezTo>
                      <a:pt x="105161" y="47156"/>
                      <a:pt x="9352" y="22181"/>
                      <a:pt x="8396" y="21908"/>
                    </a:cubicBezTo>
                    <a:cubicBezTo>
                      <a:pt x="2391" y="20406"/>
                      <a:pt x="-1158" y="14265"/>
                      <a:pt x="344" y="8396"/>
                    </a:cubicBezTo>
                    <a:cubicBezTo>
                      <a:pt x="1845" y="2391"/>
                      <a:pt x="7987" y="-1157"/>
                      <a:pt x="13855" y="344"/>
                    </a:cubicBezTo>
                    <a:cubicBezTo>
                      <a:pt x="17950" y="1436"/>
                      <a:pt x="114851" y="26684"/>
                      <a:pt x="156068" y="57529"/>
                    </a:cubicBezTo>
                    <a:cubicBezTo>
                      <a:pt x="160981" y="61214"/>
                      <a:pt x="161936" y="68174"/>
                      <a:pt x="158388" y="73088"/>
                    </a:cubicBezTo>
                    <a:cubicBezTo>
                      <a:pt x="156477" y="76090"/>
                      <a:pt x="153065" y="77591"/>
                      <a:pt x="149653" y="77591"/>
                    </a:cubicBezTo>
                    <a:close/>
                  </a:path>
                </a:pathLst>
              </a:custGeom>
              <a:solidFill>
                <a:srgbClr val="CC2228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721B9501-77E4-4F6C-B8AA-772C867AE041}"/>
                  </a:ext>
                </a:extLst>
              </p:cNvPr>
              <p:cNvSpPr/>
              <p:nvPr/>
            </p:nvSpPr>
            <p:spPr>
              <a:xfrm>
                <a:off x="9881547" y="4241957"/>
                <a:ext cx="473051" cy="702196"/>
              </a:xfrm>
              <a:custGeom>
                <a:avLst/>
                <a:gdLst>
                  <a:gd name="connsiteX0" fmla="*/ 3023 w 473051"/>
                  <a:gd name="connsiteY0" fmla="*/ 610811 h 702196"/>
                  <a:gd name="connsiteX1" fmla="*/ 8892 w 473051"/>
                  <a:gd name="connsiteY1" fmla="*/ 667860 h 702196"/>
                  <a:gd name="connsiteX2" fmla="*/ 36324 w 473051"/>
                  <a:gd name="connsiteY2" fmla="*/ 686694 h 702196"/>
                  <a:gd name="connsiteX3" fmla="*/ 44922 w 473051"/>
                  <a:gd name="connsiteY3" fmla="*/ 661445 h 702196"/>
                  <a:gd name="connsiteX4" fmla="*/ 60208 w 473051"/>
                  <a:gd name="connsiteY4" fmla="*/ 479927 h 702196"/>
                  <a:gd name="connsiteX5" fmla="*/ 99242 w 473051"/>
                  <a:gd name="connsiteY5" fmla="*/ 379068 h 702196"/>
                  <a:gd name="connsiteX6" fmla="*/ 83137 w 473051"/>
                  <a:gd name="connsiteY6" fmla="*/ 452903 h 702196"/>
                  <a:gd name="connsiteX7" fmla="*/ 83137 w 473051"/>
                  <a:gd name="connsiteY7" fmla="*/ 571368 h 702196"/>
                  <a:gd name="connsiteX8" fmla="*/ 87504 w 473051"/>
                  <a:gd name="connsiteY8" fmla="*/ 647115 h 702196"/>
                  <a:gd name="connsiteX9" fmla="*/ 87504 w 473051"/>
                  <a:gd name="connsiteY9" fmla="*/ 647115 h 702196"/>
                  <a:gd name="connsiteX10" fmla="*/ 116302 w 473051"/>
                  <a:gd name="connsiteY10" fmla="*/ 668679 h 702196"/>
                  <a:gd name="connsiteX11" fmla="*/ 132270 w 473051"/>
                  <a:gd name="connsiteY11" fmla="*/ 625005 h 702196"/>
                  <a:gd name="connsiteX12" fmla="*/ 142233 w 473051"/>
                  <a:gd name="connsiteY12" fmla="*/ 484976 h 702196"/>
                  <a:gd name="connsiteX13" fmla="*/ 174306 w 473051"/>
                  <a:gd name="connsiteY13" fmla="*/ 402952 h 702196"/>
                  <a:gd name="connsiteX14" fmla="*/ 159839 w 473051"/>
                  <a:gd name="connsiteY14" fmla="*/ 471738 h 702196"/>
                  <a:gd name="connsiteX15" fmla="*/ 156563 w 473051"/>
                  <a:gd name="connsiteY15" fmla="*/ 610128 h 702196"/>
                  <a:gd name="connsiteX16" fmla="*/ 174715 w 473051"/>
                  <a:gd name="connsiteY16" fmla="*/ 623640 h 702196"/>
                  <a:gd name="connsiteX17" fmla="*/ 207061 w 473051"/>
                  <a:gd name="connsiteY17" fmla="*/ 571778 h 702196"/>
                  <a:gd name="connsiteX18" fmla="*/ 222347 w 473051"/>
                  <a:gd name="connsiteY18" fmla="*/ 495485 h 702196"/>
                  <a:gd name="connsiteX19" fmla="*/ 247323 w 473051"/>
                  <a:gd name="connsiteY19" fmla="*/ 416463 h 702196"/>
                  <a:gd name="connsiteX20" fmla="*/ 233538 w 473051"/>
                  <a:gd name="connsiteY20" fmla="*/ 547075 h 702196"/>
                  <a:gd name="connsiteX21" fmla="*/ 255511 w 473051"/>
                  <a:gd name="connsiteY21" fmla="*/ 557857 h 702196"/>
                  <a:gd name="connsiteX22" fmla="*/ 314880 w 473051"/>
                  <a:gd name="connsiteY22" fmla="*/ 404180 h 702196"/>
                  <a:gd name="connsiteX23" fmla="*/ 315699 w 473051"/>
                  <a:gd name="connsiteY23" fmla="*/ 401041 h 702196"/>
                  <a:gd name="connsiteX24" fmla="*/ 316382 w 473051"/>
                  <a:gd name="connsiteY24" fmla="*/ 398175 h 702196"/>
                  <a:gd name="connsiteX25" fmla="*/ 318156 w 473051"/>
                  <a:gd name="connsiteY25" fmla="*/ 390941 h 702196"/>
                  <a:gd name="connsiteX26" fmla="*/ 318156 w 473051"/>
                  <a:gd name="connsiteY26" fmla="*/ 390941 h 702196"/>
                  <a:gd name="connsiteX27" fmla="*/ 341767 w 473051"/>
                  <a:gd name="connsiteY27" fmla="*/ 307825 h 702196"/>
                  <a:gd name="connsiteX28" fmla="*/ 418469 w 473051"/>
                  <a:gd name="connsiteY28" fmla="*/ 222798 h 702196"/>
                  <a:gd name="connsiteX29" fmla="*/ 352412 w 473051"/>
                  <a:gd name="connsiteY29" fmla="*/ 472 h 702196"/>
                  <a:gd name="connsiteX30" fmla="*/ 246913 w 473051"/>
                  <a:gd name="connsiteY30" fmla="*/ 33773 h 702196"/>
                  <a:gd name="connsiteX31" fmla="*/ 174033 w 473051"/>
                  <a:gd name="connsiteY31" fmla="*/ 90821 h 702196"/>
                  <a:gd name="connsiteX32" fmla="*/ 174033 w 473051"/>
                  <a:gd name="connsiteY32" fmla="*/ 90821 h 702196"/>
                  <a:gd name="connsiteX33" fmla="*/ 59935 w 473051"/>
                  <a:gd name="connsiteY33" fmla="*/ 264697 h 702196"/>
                  <a:gd name="connsiteX34" fmla="*/ 4934 w 473051"/>
                  <a:gd name="connsiteY34" fmla="*/ 466279 h 702196"/>
                  <a:gd name="connsiteX35" fmla="*/ 3023 w 473051"/>
                  <a:gd name="connsiteY35" fmla="*/ 610811 h 70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473051" h="702196">
                    <a:moveTo>
                      <a:pt x="3023" y="610811"/>
                    </a:moveTo>
                    <a:cubicBezTo>
                      <a:pt x="4797" y="630601"/>
                      <a:pt x="6571" y="651209"/>
                      <a:pt x="8892" y="667860"/>
                    </a:cubicBezTo>
                    <a:cubicBezTo>
                      <a:pt x="13396" y="699387"/>
                      <a:pt x="20629" y="716583"/>
                      <a:pt x="36324" y="686694"/>
                    </a:cubicBezTo>
                    <a:cubicBezTo>
                      <a:pt x="39873" y="680007"/>
                      <a:pt x="42602" y="671408"/>
                      <a:pt x="44922" y="661445"/>
                    </a:cubicBezTo>
                    <a:cubicBezTo>
                      <a:pt x="58434" y="603714"/>
                      <a:pt x="53930" y="502036"/>
                      <a:pt x="60208" y="479927"/>
                    </a:cubicBezTo>
                    <a:cubicBezTo>
                      <a:pt x="67305" y="454678"/>
                      <a:pt x="96649" y="383162"/>
                      <a:pt x="99242" y="379068"/>
                    </a:cubicBezTo>
                    <a:cubicBezTo>
                      <a:pt x="97877" y="382070"/>
                      <a:pt x="84638" y="425880"/>
                      <a:pt x="83137" y="452903"/>
                    </a:cubicBezTo>
                    <a:cubicBezTo>
                      <a:pt x="81636" y="478289"/>
                      <a:pt x="83137" y="508997"/>
                      <a:pt x="83137" y="571368"/>
                    </a:cubicBezTo>
                    <a:cubicBezTo>
                      <a:pt x="83137" y="598528"/>
                      <a:pt x="84092" y="626643"/>
                      <a:pt x="87504" y="647115"/>
                    </a:cubicBezTo>
                    <a:lnTo>
                      <a:pt x="87504" y="647115"/>
                    </a:lnTo>
                    <a:cubicBezTo>
                      <a:pt x="91872" y="673592"/>
                      <a:pt x="100470" y="686967"/>
                      <a:pt x="116302" y="668679"/>
                    </a:cubicBezTo>
                    <a:cubicBezTo>
                      <a:pt x="124081" y="659671"/>
                      <a:pt x="129131" y="643839"/>
                      <a:pt x="132270" y="625005"/>
                    </a:cubicBezTo>
                    <a:cubicBezTo>
                      <a:pt x="140868" y="576282"/>
                      <a:pt x="137729" y="507495"/>
                      <a:pt x="142233" y="484976"/>
                    </a:cubicBezTo>
                    <a:cubicBezTo>
                      <a:pt x="148238" y="454814"/>
                      <a:pt x="172805" y="405954"/>
                      <a:pt x="174306" y="402952"/>
                    </a:cubicBezTo>
                    <a:cubicBezTo>
                      <a:pt x="165025" y="434069"/>
                      <a:pt x="165025" y="430930"/>
                      <a:pt x="159839" y="471738"/>
                    </a:cubicBezTo>
                    <a:cubicBezTo>
                      <a:pt x="156154" y="500262"/>
                      <a:pt x="149603" y="576008"/>
                      <a:pt x="156563" y="610128"/>
                    </a:cubicBezTo>
                    <a:cubicBezTo>
                      <a:pt x="159566" y="624732"/>
                      <a:pt x="165161" y="631693"/>
                      <a:pt x="174715" y="623640"/>
                    </a:cubicBezTo>
                    <a:cubicBezTo>
                      <a:pt x="189455" y="611084"/>
                      <a:pt x="199828" y="592796"/>
                      <a:pt x="207061" y="571778"/>
                    </a:cubicBezTo>
                    <a:cubicBezTo>
                      <a:pt x="215250" y="548167"/>
                      <a:pt x="219481" y="521280"/>
                      <a:pt x="222347" y="495485"/>
                    </a:cubicBezTo>
                    <a:cubicBezTo>
                      <a:pt x="227533" y="446625"/>
                      <a:pt x="247323" y="416463"/>
                      <a:pt x="247323" y="416463"/>
                    </a:cubicBezTo>
                    <a:cubicBezTo>
                      <a:pt x="236404" y="469417"/>
                      <a:pt x="230399" y="520597"/>
                      <a:pt x="233538" y="547075"/>
                    </a:cubicBezTo>
                    <a:cubicBezTo>
                      <a:pt x="235722" y="565772"/>
                      <a:pt x="242682" y="572051"/>
                      <a:pt x="255511" y="557857"/>
                    </a:cubicBezTo>
                    <a:cubicBezTo>
                      <a:pt x="280760" y="530151"/>
                      <a:pt x="306146" y="438573"/>
                      <a:pt x="314880" y="404180"/>
                    </a:cubicBezTo>
                    <a:cubicBezTo>
                      <a:pt x="315153" y="403088"/>
                      <a:pt x="315426" y="401996"/>
                      <a:pt x="315699" y="401041"/>
                    </a:cubicBezTo>
                    <a:cubicBezTo>
                      <a:pt x="315972" y="399949"/>
                      <a:pt x="316245" y="398994"/>
                      <a:pt x="316382" y="398175"/>
                    </a:cubicBezTo>
                    <a:cubicBezTo>
                      <a:pt x="317610" y="393534"/>
                      <a:pt x="318156" y="390941"/>
                      <a:pt x="318156" y="390941"/>
                    </a:cubicBezTo>
                    <a:lnTo>
                      <a:pt x="318156" y="390941"/>
                    </a:lnTo>
                    <a:cubicBezTo>
                      <a:pt x="325389" y="362281"/>
                      <a:pt x="332077" y="333620"/>
                      <a:pt x="341767" y="307825"/>
                    </a:cubicBezTo>
                    <a:cubicBezTo>
                      <a:pt x="356097" y="269611"/>
                      <a:pt x="377388" y="238084"/>
                      <a:pt x="418469" y="222798"/>
                    </a:cubicBezTo>
                    <a:cubicBezTo>
                      <a:pt x="511548" y="188132"/>
                      <a:pt x="483024" y="11117"/>
                      <a:pt x="352412" y="472"/>
                    </a:cubicBezTo>
                    <a:cubicBezTo>
                      <a:pt x="314334" y="-2668"/>
                      <a:pt x="276802" y="10025"/>
                      <a:pt x="246913" y="33773"/>
                    </a:cubicBezTo>
                    <a:cubicBezTo>
                      <a:pt x="227942" y="48922"/>
                      <a:pt x="201056" y="70076"/>
                      <a:pt x="174033" y="90821"/>
                    </a:cubicBezTo>
                    <a:cubicBezTo>
                      <a:pt x="174033" y="90821"/>
                      <a:pt x="174033" y="90821"/>
                      <a:pt x="174033" y="90821"/>
                    </a:cubicBezTo>
                    <a:cubicBezTo>
                      <a:pt x="171440" y="94097"/>
                      <a:pt x="86549" y="199323"/>
                      <a:pt x="59935" y="264697"/>
                    </a:cubicBezTo>
                    <a:cubicBezTo>
                      <a:pt x="32912" y="331163"/>
                      <a:pt x="9983" y="436253"/>
                      <a:pt x="4934" y="466279"/>
                    </a:cubicBezTo>
                    <a:cubicBezTo>
                      <a:pt x="-116" y="496441"/>
                      <a:pt x="-2163" y="553626"/>
                      <a:pt x="3023" y="610811"/>
                    </a:cubicBezTo>
                    <a:close/>
                  </a:path>
                </a:pathLst>
              </a:custGeom>
              <a:solidFill>
                <a:srgbClr val="FBB990"/>
              </a:solidFill>
              <a:ln w="136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599240"/>
            <a:ext cx="6467929" cy="1453217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37184"/>
            <a:ext cx="6467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440913"/>
            <a:ext cx="646792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zh-CN" altLang="en-US" sz="2000" dirty="0"/>
              <a:t>汇报</a:t>
            </a:r>
            <a:r>
              <a:rPr lang="zh-CN" altLang="en-US" sz="2000"/>
              <a:t>人</a:t>
            </a:r>
            <a:r>
              <a:rPr lang="en-US" altLang="zh-CN" sz="2000"/>
              <a:t>:OfficePLUS</a:t>
            </a:r>
            <a:endParaRPr lang="zh-CN" altLang="en-US" sz="2000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做好自我防护</a:t>
            </a:r>
            <a:br>
              <a:rPr lang="en-US" altLang="zh-CN" dirty="0"/>
            </a:br>
            <a:r>
              <a:rPr lang="zh-CN" altLang="en-US" sz="4800" dirty="0"/>
              <a:t>预防“新型冠状病毒”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en-US" altLang="en-US" dirty="0"/>
          </a:p>
        </p:txBody>
      </p:sp>
      <p:grpSp>
        <p:nvGrpSpPr>
          <p:cNvPr id="10" name="组合 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10DB3C-B2E6-4AB8-8CEA-F1FD07F9BB4A}"/>
              </a:ext>
            </a:extLst>
          </p:cNvPr>
          <p:cNvGrpSpPr>
            <a:grpSpLocks noChangeAspect="1"/>
          </p:cNvGrpSpPr>
          <p:nvPr/>
        </p:nvGrpSpPr>
        <p:grpSpPr>
          <a:xfrm>
            <a:off x="901198" y="630418"/>
            <a:ext cx="1696860" cy="1355389"/>
            <a:chOff x="3321051" y="1211263"/>
            <a:chExt cx="5549900" cy="4433053"/>
          </a:xfrm>
          <a:solidFill>
            <a:schemeClr val="accent3"/>
          </a:solidFill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6DD90F3-C10D-4B1A-BE39-1CEF69A31E62}"/>
                </a:ext>
              </a:extLst>
            </p:cNvPr>
            <p:cNvSpPr/>
            <p:nvPr/>
          </p:nvSpPr>
          <p:spPr bwMode="auto">
            <a:xfrm>
              <a:off x="3431672" y="1211263"/>
              <a:ext cx="2752767" cy="2684463"/>
            </a:xfrm>
            <a:custGeom>
              <a:avLst/>
              <a:gdLst>
                <a:gd name="connsiteX0" fmla="*/ 923383 w 2752767"/>
                <a:gd name="connsiteY0" fmla="*/ 2595557 h 2684463"/>
                <a:gd name="connsiteX1" fmla="*/ 915962 w 2752767"/>
                <a:gd name="connsiteY1" fmla="*/ 2610375 h 2684463"/>
                <a:gd name="connsiteX2" fmla="*/ 918436 w 2752767"/>
                <a:gd name="connsiteY2" fmla="*/ 2612845 h 2684463"/>
                <a:gd name="connsiteX3" fmla="*/ 928331 w 2752767"/>
                <a:gd name="connsiteY3" fmla="*/ 2598027 h 2684463"/>
                <a:gd name="connsiteX4" fmla="*/ 923383 w 2752767"/>
                <a:gd name="connsiteY4" fmla="*/ 2595557 h 2684463"/>
                <a:gd name="connsiteX5" fmla="*/ 945647 w 2752767"/>
                <a:gd name="connsiteY5" fmla="*/ 2558513 h 2684463"/>
                <a:gd name="connsiteX6" fmla="*/ 938226 w 2752767"/>
                <a:gd name="connsiteY6" fmla="*/ 2573331 h 2684463"/>
                <a:gd name="connsiteX7" fmla="*/ 943173 w 2752767"/>
                <a:gd name="connsiteY7" fmla="*/ 2575800 h 2684463"/>
                <a:gd name="connsiteX8" fmla="*/ 950594 w 2752767"/>
                <a:gd name="connsiteY8" fmla="*/ 2560983 h 2684463"/>
                <a:gd name="connsiteX9" fmla="*/ 945647 w 2752767"/>
                <a:gd name="connsiteY9" fmla="*/ 2558513 h 2684463"/>
                <a:gd name="connsiteX10" fmla="*/ 1019858 w 2752767"/>
                <a:gd name="connsiteY10" fmla="*/ 2452320 h 2684463"/>
                <a:gd name="connsiteX11" fmla="*/ 1012437 w 2752767"/>
                <a:gd name="connsiteY11" fmla="*/ 2464668 h 2684463"/>
                <a:gd name="connsiteX12" fmla="*/ 1014911 w 2752767"/>
                <a:gd name="connsiteY12" fmla="*/ 2467138 h 2684463"/>
                <a:gd name="connsiteX13" fmla="*/ 1024806 w 2752767"/>
                <a:gd name="connsiteY13" fmla="*/ 2454790 h 2684463"/>
                <a:gd name="connsiteX14" fmla="*/ 1019858 w 2752767"/>
                <a:gd name="connsiteY14" fmla="*/ 2452320 h 2684463"/>
                <a:gd name="connsiteX15" fmla="*/ 1059438 w 2752767"/>
                <a:gd name="connsiteY15" fmla="*/ 2397989 h 2684463"/>
                <a:gd name="connsiteX16" fmla="*/ 1052016 w 2752767"/>
                <a:gd name="connsiteY16" fmla="*/ 2410337 h 2684463"/>
                <a:gd name="connsiteX17" fmla="*/ 1056964 w 2752767"/>
                <a:gd name="connsiteY17" fmla="*/ 2415276 h 2684463"/>
                <a:gd name="connsiteX18" fmla="*/ 1066859 w 2752767"/>
                <a:gd name="connsiteY18" fmla="*/ 2405398 h 2684463"/>
                <a:gd name="connsiteX19" fmla="*/ 1059438 w 2752767"/>
                <a:gd name="connsiteY19" fmla="*/ 2397989 h 2684463"/>
                <a:gd name="connsiteX20" fmla="*/ 1148491 w 2752767"/>
                <a:gd name="connsiteY20" fmla="*/ 2311552 h 2684463"/>
                <a:gd name="connsiteX21" fmla="*/ 1106438 w 2752767"/>
                <a:gd name="connsiteY21" fmla="*/ 2333779 h 2684463"/>
                <a:gd name="connsiteX22" fmla="*/ 1096543 w 2752767"/>
                <a:gd name="connsiteY22" fmla="*/ 2348597 h 2684463"/>
                <a:gd name="connsiteX23" fmla="*/ 1069332 w 2752767"/>
                <a:gd name="connsiteY23" fmla="*/ 2383171 h 2684463"/>
                <a:gd name="connsiteX24" fmla="*/ 1074280 w 2752767"/>
                <a:gd name="connsiteY24" fmla="*/ 2388110 h 2684463"/>
                <a:gd name="connsiteX25" fmla="*/ 1148491 w 2752767"/>
                <a:gd name="connsiteY25" fmla="*/ 2311552 h 2684463"/>
                <a:gd name="connsiteX26" fmla="*/ 1170755 w 2752767"/>
                <a:gd name="connsiteY26" fmla="*/ 2276978 h 2684463"/>
                <a:gd name="connsiteX27" fmla="*/ 1153439 w 2752767"/>
                <a:gd name="connsiteY27" fmla="*/ 2294265 h 2684463"/>
                <a:gd name="connsiteX28" fmla="*/ 1158386 w 2752767"/>
                <a:gd name="connsiteY28" fmla="*/ 2299204 h 2684463"/>
                <a:gd name="connsiteX29" fmla="*/ 1178176 w 2752767"/>
                <a:gd name="connsiteY29" fmla="*/ 2281917 h 2684463"/>
                <a:gd name="connsiteX30" fmla="*/ 1170755 w 2752767"/>
                <a:gd name="connsiteY30" fmla="*/ 2276978 h 2684463"/>
                <a:gd name="connsiteX31" fmla="*/ 715591 w 2752767"/>
                <a:gd name="connsiteY31" fmla="*/ 1943581 h 2684463"/>
                <a:gd name="connsiteX32" fmla="*/ 718065 w 2752767"/>
                <a:gd name="connsiteY32" fmla="*/ 1965807 h 2684463"/>
                <a:gd name="connsiteX33" fmla="*/ 715591 w 2752767"/>
                <a:gd name="connsiteY33" fmla="*/ 1943581 h 2684463"/>
                <a:gd name="connsiteX34" fmla="*/ 688084 w 2752767"/>
                <a:gd name="connsiteY34" fmla="*/ 510472 h 2684463"/>
                <a:gd name="connsiteX35" fmla="*/ 747541 w 2752767"/>
                <a:gd name="connsiteY35" fmla="*/ 522832 h 2684463"/>
                <a:gd name="connsiteX36" fmla="*/ 806998 w 2752767"/>
                <a:gd name="connsiteY36" fmla="*/ 540136 h 2684463"/>
                <a:gd name="connsiteX37" fmla="*/ 839204 w 2752767"/>
                <a:gd name="connsiteY37" fmla="*/ 540136 h 2684463"/>
                <a:gd name="connsiteX38" fmla="*/ 982892 w 2752767"/>
                <a:gd name="connsiteY38" fmla="*/ 517888 h 2684463"/>
                <a:gd name="connsiteX39" fmla="*/ 1020053 w 2752767"/>
                <a:gd name="connsiteY39" fmla="*/ 515416 h 2684463"/>
                <a:gd name="connsiteX40" fmla="*/ 1089420 w 2752767"/>
                <a:gd name="connsiteY40" fmla="*/ 515416 h 2684463"/>
                <a:gd name="connsiteX41" fmla="*/ 1188515 w 2752767"/>
                <a:gd name="connsiteY41" fmla="*/ 525304 h 2684463"/>
                <a:gd name="connsiteX42" fmla="*/ 1349545 w 2752767"/>
                <a:gd name="connsiteY42" fmla="*/ 589575 h 2684463"/>
                <a:gd name="connsiteX43" fmla="*/ 1361932 w 2752767"/>
                <a:gd name="connsiteY43" fmla="*/ 601935 h 2684463"/>
                <a:gd name="connsiteX44" fmla="*/ 1391660 w 2752767"/>
                <a:gd name="connsiteY44" fmla="*/ 678566 h 2684463"/>
                <a:gd name="connsiteX45" fmla="*/ 1379273 w 2752767"/>
                <a:gd name="connsiteY45" fmla="*/ 732949 h 2684463"/>
                <a:gd name="connsiteX46" fmla="*/ 1327248 w 2752767"/>
                <a:gd name="connsiteY46" fmla="*/ 782388 h 2684463"/>
                <a:gd name="connsiteX47" fmla="*/ 1250449 w 2752767"/>
                <a:gd name="connsiteY47" fmla="*/ 819468 h 2684463"/>
                <a:gd name="connsiteX48" fmla="*/ 1205857 w 2752767"/>
                <a:gd name="connsiteY48" fmla="*/ 829355 h 2684463"/>
                <a:gd name="connsiteX49" fmla="*/ 1121626 w 2752767"/>
                <a:gd name="connsiteY49" fmla="*/ 846659 h 2684463"/>
                <a:gd name="connsiteX50" fmla="*/ 1007666 w 2752767"/>
                <a:gd name="connsiteY50" fmla="*/ 824412 h 2684463"/>
                <a:gd name="connsiteX51" fmla="*/ 740109 w 2752767"/>
                <a:gd name="connsiteY51" fmla="*/ 604407 h 2684463"/>
                <a:gd name="connsiteX52" fmla="*/ 690561 w 2752767"/>
                <a:gd name="connsiteY52" fmla="*/ 542608 h 2684463"/>
                <a:gd name="connsiteX53" fmla="*/ 688084 w 2752767"/>
                <a:gd name="connsiteY53" fmla="*/ 510472 h 2684463"/>
                <a:gd name="connsiteX54" fmla="*/ 1472547 w 2752767"/>
                <a:gd name="connsiteY54" fmla="*/ 59271 h 2684463"/>
                <a:gd name="connsiteX55" fmla="*/ 1470074 w 2752767"/>
                <a:gd name="connsiteY55" fmla="*/ 71619 h 2684463"/>
                <a:gd name="connsiteX56" fmla="*/ 1484916 w 2752767"/>
                <a:gd name="connsiteY56" fmla="*/ 232143 h 2684463"/>
                <a:gd name="connsiteX57" fmla="*/ 1499758 w 2752767"/>
                <a:gd name="connsiteY57" fmla="*/ 446999 h 2684463"/>
                <a:gd name="connsiteX58" fmla="*/ 1504706 w 2752767"/>
                <a:gd name="connsiteY58" fmla="*/ 488982 h 2684463"/>
                <a:gd name="connsiteX59" fmla="*/ 1524495 w 2752767"/>
                <a:gd name="connsiteY59" fmla="*/ 605054 h 2684463"/>
                <a:gd name="connsiteX60" fmla="*/ 1551706 w 2752767"/>
                <a:gd name="connsiteY60" fmla="*/ 805092 h 2684463"/>
                <a:gd name="connsiteX61" fmla="*/ 1566549 w 2752767"/>
                <a:gd name="connsiteY61" fmla="*/ 832258 h 2684463"/>
                <a:gd name="connsiteX62" fmla="*/ 1561601 w 2752767"/>
                <a:gd name="connsiteY62" fmla="*/ 760639 h 2684463"/>
                <a:gd name="connsiteX63" fmla="*/ 1549233 w 2752767"/>
                <a:gd name="connsiteY63" fmla="*/ 686551 h 2684463"/>
                <a:gd name="connsiteX64" fmla="*/ 1541811 w 2752767"/>
                <a:gd name="connsiteY64" fmla="*/ 617402 h 2684463"/>
                <a:gd name="connsiteX65" fmla="*/ 1524495 w 2752767"/>
                <a:gd name="connsiteY65" fmla="*/ 498861 h 2684463"/>
                <a:gd name="connsiteX66" fmla="*/ 1522022 w 2752767"/>
                <a:gd name="connsiteY66" fmla="*/ 427242 h 2684463"/>
                <a:gd name="connsiteX67" fmla="*/ 1509653 w 2752767"/>
                <a:gd name="connsiteY67" fmla="*/ 338336 h 2684463"/>
                <a:gd name="connsiteX68" fmla="*/ 1497285 w 2752767"/>
                <a:gd name="connsiteY68" fmla="*/ 190160 h 2684463"/>
                <a:gd name="connsiteX69" fmla="*/ 1482442 w 2752767"/>
                <a:gd name="connsiteY69" fmla="*/ 81497 h 2684463"/>
                <a:gd name="connsiteX70" fmla="*/ 1472547 w 2752767"/>
                <a:gd name="connsiteY70" fmla="*/ 59271 h 2684463"/>
                <a:gd name="connsiteX71" fmla="*/ 1440389 w 2752767"/>
                <a:gd name="connsiteY71" fmla="*/ 0 h 2684463"/>
                <a:gd name="connsiteX72" fmla="*/ 1487390 w 2752767"/>
                <a:gd name="connsiteY72" fmla="*/ 22226 h 2684463"/>
                <a:gd name="connsiteX73" fmla="*/ 1672918 w 2752767"/>
                <a:gd name="connsiteY73" fmla="*/ 150646 h 2684463"/>
                <a:gd name="connsiteX74" fmla="*/ 1781762 w 2752767"/>
                <a:gd name="connsiteY74" fmla="*/ 244491 h 2684463"/>
                <a:gd name="connsiteX75" fmla="*/ 1831236 w 2752767"/>
                <a:gd name="connsiteY75" fmla="*/ 284005 h 2684463"/>
                <a:gd name="connsiteX76" fmla="*/ 1930184 w 2752767"/>
                <a:gd name="connsiteY76" fmla="*/ 358093 h 2684463"/>
                <a:gd name="connsiteX77" fmla="*/ 1967290 w 2752767"/>
                <a:gd name="connsiteY77" fmla="*/ 449468 h 2684463"/>
                <a:gd name="connsiteX78" fmla="*/ 1969764 w 2752767"/>
                <a:gd name="connsiteY78" fmla="*/ 560601 h 2684463"/>
                <a:gd name="connsiteX79" fmla="*/ 2068712 w 2752767"/>
                <a:gd name="connsiteY79" fmla="*/ 518618 h 2684463"/>
                <a:gd name="connsiteX80" fmla="*/ 2165187 w 2752767"/>
                <a:gd name="connsiteY80" fmla="*/ 479104 h 2684463"/>
                <a:gd name="connsiteX81" fmla="*/ 2014290 w 2752767"/>
                <a:gd name="connsiteY81" fmla="*/ 526026 h 2684463"/>
                <a:gd name="connsiteX82" fmla="*/ 2009343 w 2752767"/>
                <a:gd name="connsiteY82" fmla="*/ 501330 h 2684463"/>
                <a:gd name="connsiteX83" fmla="*/ 2078607 w 2752767"/>
                <a:gd name="connsiteY83" fmla="*/ 409955 h 2684463"/>
                <a:gd name="connsiteX84" fmla="*/ 2076133 w 2752767"/>
                <a:gd name="connsiteY84" fmla="*/ 387728 h 2684463"/>
                <a:gd name="connsiteX85" fmla="*/ 2058817 w 2752767"/>
                <a:gd name="connsiteY85" fmla="*/ 370441 h 2684463"/>
                <a:gd name="connsiteX86" fmla="*/ 1940079 w 2752767"/>
                <a:gd name="connsiteY86" fmla="*/ 256839 h 2684463"/>
                <a:gd name="connsiteX87" fmla="*/ 1920289 w 2752767"/>
                <a:gd name="connsiteY87" fmla="*/ 222265 h 2684463"/>
                <a:gd name="connsiteX88" fmla="*/ 1930184 w 2752767"/>
                <a:gd name="connsiteY88" fmla="*/ 195099 h 2684463"/>
                <a:gd name="connsiteX89" fmla="*/ 1954921 w 2752767"/>
                <a:gd name="connsiteY89" fmla="*/ 180281 h 2684463"/>
                <a:gd name="connsiteX90" fmla="*/ 1979659 w 2752767"/>
                <a:gd name="connsiteY90" fmla="*/ 162994 h 2684463"/>
                <a:gd name="connsiteX91" fmla="*/ 2095923 w 2752767"/>
                <a:gd name="connsiteY91" fmla="*/ 111132 h 2684463"/>
                <a:gd name="connsiteX92" fmla="*/ 2249293 w 2752767"/>
                <a:gd name="connsiteY92" fmla="*/ 69149 h 2684463"/>
                <a:gd name="connsiteX93" fmla="*/ 2306188 w 2752767"/>
                <a:gd name="connsiteY93" fmla="*/ 86436 h 2684463"/>
                <a:gd name="connsiteX94" fmla="*/ 2489243 w 2752767"/>
                <a:gd name="connsiteY94" fmla="*/ 239552 h 2684463"/>
                <a:gd name="connsiteX95" fmla="*/ 2523875 w 2752767"/>
                <a:gd name="connsiteY95" fmla="*/ 303762 h 2684463"/>
                <a:gd name="connsiteX96" fmla="*/ 2538717 w 2752767"/>
                <a:gd name="connsiteY96" fmla="*/ 321049 h 2684463"/>
                <a:gd name="connsiteX97" fmla="*/ 2585718 w 2752767"/>
                <a:gd name="connsiteY97" fmla="*/ 375380 h 2684463"/>
                <a:gd name="connsiteX98" fmla="*/ 2548612 w 2752767"/>
                <a:gd name="connsiteY98" fmla="*/ 390198 h 2684463"/>
                <a:gd name="connsiteX99" fmla="*/ 2457085 w 2752767"/>
                <a:gd name="connsiteY99" fmla="*/ 407485 h 2684463"/>
                <a:gd name="connsiteX100" fmla="*/ 2301241 w 2752767"/>
                <a:gd name="connsiteY100" fmla="*/ 446999 h 2684463"/>
                <a:gd name="connsiteX101" fmla="*/ 2199819 w 2752767"/>
                <a:gd name="connsiteY101" fmla="*/ 481573 h 2684463"/>
                <a:gd name="connsiteX102" fmla="*/ 2034080 w 2752767"/>
                <a:gd name="connsiteY102" fmla="*/ 550722 h 2684463"/>
                <a:gd name="connsiteX103" fmla="*/ 1972237 w 2752767"/>
                <a:gd name="connsiteY103" fmla="*/ 575419 h 2684463"/>
                <a:gd name="connsiteX104" fmla="*/ 1977185 w 2752767"/>
                <a:gd name="connsiteY104" fmla="*/ 691490 h 2684463"/>
                <a:gd name="connsiteX105" fmla="*/ 2039028 w 2752767"/>
                <a:gd name="connsiteY105" fmla="*/ 669264 h 2684463"/>
                <a:gd name="connsiteX106" fmla="*/ 2093449 w 2752767"/>
                <a:gd name="connsiteY106" fmla="*/ 654446 h 2684463"/>
                <a:gd name="connsiteX107" fmla="*/ 2103344 w 2752767"/>
                <a:gd name="connsiteY107" fmla="*/ 654446 h 2684463"/>
                <a:gd name="connsiteX108" fmla="*/ 2214661 w 2752767"/>
                <a:gd name="connsiteY108" fmla="*/ 624811 h 2684463"/>
                <a:gd name="connsiteX109" fmla="*/ 2298767 w 2752767"/>
                <a:gd name="connsiteY109" fmla="*/ 607523 h 2684463"/>
                <a:gd name="connsiteX110" fmla="*/ 2313610 w 2752767"/>
                <a:gd name="connsiteY110" fmla="*/ 605054 h 2684463"/>
                <a:gd name="connsiteX111" fmla="*/ 2476875 w 2752767"/>
                <a:gd name="connsiteY111" fmla="*/ 577888 h 2684463"/>
                <a:gd name="connsiteX112" fmla="*/ 2541191 w 2752767"/>
                <a:gd name="connsiteY112" fmla="*/ 592706 h 2684463"/>
                <a:gd name="connsiteX113" fmla="*/ 2701982 w 2752767"/>
                <a:gd name="connsiteY113" fmla="*/ 733473 h 2684463"/>
                <a:gd name="connsiteX114" fmla="*/ 2687140 w 2752767"/>
                <a:gd name="connsiteY114" fmla="*/ 792744 h 2684463"/>
                <a:gd name="connsiteX115" fmla="*/ 2669824 w 2752767"/>
                <a:gd name="connsiteY115" fmla="*/ 805092 h 2684463"/>
                <a:gd name="connsiteX116" fmla="*/ 2659929 w 2752767"/>
                <a:gd name="connsiteY116" fmla="*/ 812501 h 2684463"/>
                <a:gd name="connsiteX117" fmla="*/ 2518928 w 2752767"/>
                <a:gd name="connsiteY117" fmla="*/ 859423 h 2684463"/>
                <a:gd name="connsiteX118" fmla="*/ 2489243 w 2752767"/>
                <a:gd name="connsiteY118" fmla="*/ 864363 h 2684463"/>
                <a:gd name="connsiteX119" fmla="*/ 2372979 w 2752767"/>
                <a:gd name="connsiteY119" fmla="*/ 881650 h 2684463"/>
                <a:gd name="connsiteX120" fmla="*/ 2313610 w 2752767"/>
                <a:gd name="connsiteY120" fmla="*/ 879180 h 2684463"/>
                <a:gd name="connsiteX121" fmla="*/ 2244346 w 2752767"/>
                <a:gd name="connsiteY121" fmla="*/ 884119 h 2684463"/>
                <a:gd name="connsiteX122" fmla="*/ 2162713 w 2752767"/>
                <a:gd name="connsiteY122" fmla="*/ 896468 h 2684463"/>
                <a:gd name="connsiteX123" fmla="*/ 2155292 w 2752767"/>
                <a:gd name="connsiteY123" fmla="*/ 893998 h 2684463"/>
                <a:gd name="connsiteX124" fmla="*/ 2177555 w 2752767"/>
                <a:gd name="connsiteY124" fmla="*/ 879180 h 2684463"/>
                <a:gd name="connsiteX125" fmla="*/ 2204766 w 2752767"/>
                <a:gd name="connsiteY125" fmla="*/ 854484 h 2684463"/>
                <a:gd name="connsiteX126" fmla="*/ 2182503 w 2752767"/>
                <a:gd name="connsiteY126" fmla="*/ 854484 h 2684463"/>
                <a:gd name="connsiteX127" fmla="*/ 2118186 w 2752767"/>
                <a:gd name="connsiteY127" fmla="*/ 869302 h 2684463"/>
                <a:gd name="connsiteX128" fmla="*/ 2063765 w 2752767"/>
                <a:gd name="connsiteY128" fmla="*/ 886589 h 2684463"/>
                <a:gd name="connsiteX129" fmla="*/ 2041501 w 2752767"/>
                <a:gd name="connsiteY129" fmla="*/ 893998 h 2684463"/>
                <a:gd name="connsiteX130" fmla="*/ 2031606 w 2752767"/>
                <a:gd name="connsiteY130" fmla="*/ 898937 h 2684463"/>
                <a:gd name="connsiteX131" fmla="*/ 2021712 w 2752767"/>
                <a:gd name="connsiteY131" fmla="*/ 906346 h 2684463"/>
                <a:gd name="connsiteX132" fmla="*/ 1967290 w 2752767"/>
                <a:gd name="connsiteY132" fmla="*/ 928572 h 2684463"/>
                <a:gd name="connsiteX133" fmla="*/ 1952448 w 2752767"/>
                <a:gd name="connsiteY133" fmla="*/ 960677 h 2684463"/>
                <a:gd name="connsiteX134" fmla="*/ 1964816 w 2752767"/>
                <a:gd name="connsiteY134" fmla="*/ 1024887 h 2684463"/>
                <a:gd name="connsiteX135" fmla="*/ 1979659 w 2752767"/>
                <a:gd name="connsiteY135" fmla="*/ 1126141 h 2684463"/>
                <a:gd name="connsiteX136" fmla="*/ 1989553 w 2752767"/>
                <a:gd name="connsiteY136" fmla="*/ 1168124 h 2684463"/>
                <a:gd name="connsiteX137" fmla="*/ 2009343 w 2752767"/>
                <a:gd name="connsiteY137" fmla="*/ 1281726 h 2684463"/>
                <a:gd name="connsiteX138" fmla="*/ 2036554 w 2752767"/>
                <a:gd name="connsiteY138" fmla="*/ 1392859 h 2684463"/>
                <a:gd name="connsiteX139" fmla="*/ 2061291 w 2752767"/>
                <a:gd name="connsiteY139" fmla="*/ 1513869 h 2684463"/>
                <a:gd name="connsiteX140" fmla="*/ 2098397 w 2752767"/>
                <a:gd name="connsiteY140" fmla="*/ 1689211 h 2684463"/>
                <a:gd name="connsiteX141" fmla="*/ 2120660 w 2752767"/>
                <a:gd name="connsiteY141" fmla="*/ 1780587 h 2684463"/>
                <a:gd name="connsiteX142" fmla="*/ 2135502 w 2752767"/>
                <a:gd name="connsiteY142" fmla="*/ 1822570 h 2684463"/>
                <a:gd name="connsiteX143" fmla="*/ 2160239 w 2752767"/>
                <a:gd name="connsiteY143" fmla="*/ 1913946 h 2684463"/>
                <a:gd name="connsiteX144" fmla="*/ 2199819 w 2752767"/>
                <a:gd name="connsiteY144" fmla="*/ 2032487 h 2684463"/>
                <a:gd name="connsiteX145" fmla="*/ 2207240 w 2752767"/>
                <a:gd name="connsiteY145" fmla="*/ 2054713 h 2684463"/>
                <a:gd name="connsiteX146" fmla="*/ 2219609 w 2752767"/>
                <a:gd name="connsiteY146" fmla="*/ 2064592 h 2684463"/>
                <a:gd name="connsiteX147" fmla="*/ 2229503 w 2752767"/>
                <a:gd name="connsiteY147" fmla="*/ 2054713 h 2684463"/>
                <a:gd name="connsiteX148" fmla="*/ 2234451 w 2752767"/>
                <a:gd name="connsiteY148" fmla="*/ 2042365 h 2684463"/>
                <a:gd name="connsiteX149" fmla="*/ 2244346 w 2752767"/>
                <a:gd name="connsiteY149" fmla="*/ 1904067 h 2684463"/>
                <a:gd name="connsiteX150" fmla="*/ 2251767 w 2752767"/>
                <a:gd name="connsiteY150" fmla="*/ 1805283 h 2684463"/>
                <a:gd name="connsiteX151" fmla="*/ 2264135 w 2752767"/>
                <a:gd name="connsiteY151" fmla="*/ 1629941 h 2684463"/>
                <a:gd name="connsiteX152" fmla="*/ 2269083 w 2752767"/>
                <a:gd name="connsiteY152" fmla="*/ 1610184 h 2684463"/>
                <a:gd name="connsiteX153" fmla="*/ 2291346 w 2752767"/>
                <a:gd name="connsiteY153" fmla="*/ 1696620 h 2684463"/>
                <a:gd name="connsiteX154" fmla="*/ 2298767 w 2752767"/>
                <a:gd name="connsiteY154" fmla="*/ 1694151 h 2684463"/>
                <a:gd name="connsiteX155" fmla="*/ 2303715 w 2752767"/>
                <a:gd name="connsiteY155" fmla="*/ 1617593 h 2684463"/>
                <a:gd name="connsiteX156" fmla="*/ 2301241 w 2752767"/>
                <a:gd name="connsiteY156" fmla="*/ 1605245 h 2684463"/>
                <a:gd name="connsiteX157" fmla="*/ 2286399 w 2752767"/>
                <a:gd name="connsiteY157" fmla="*/ 1469416 h 2684463"/>
                <a:gd name="connsiteX158" fmla="*/ 2286399 w 2752767"/>
                <a:gd name="connsiteY158" fmla="*/ 1415085 h 2684463"/>
                <a:gd name="connsiteX159" fmla="*/ 2296294 w 2752767"/>
                <a:gd name="connsiteY159" fmla="*/ 1397798 h 2684463"/>
                <a:gd name="connsiteX160" fmla="*/ 2306188 w 2752767"/>
                <a:gd name="connsiteY160" fmla="*/ 1368163 h 2684463"/>
                <a:gd name="connsiteX161" fmla="*/ 2308662 w 2752767"/>
                <a:gd name="connsiteY161" fmla="*/ 1326179 h 2684463"/>
                <a:gd name="connsiteX162" fmla="*/ 2434822 w 2752767"/>
                <a:gd name="connsiteY162" fmla="*/ 1496582 h 2684463"/>
                <a:gd name="connsiteX163" fmla="*/ 2405137 w 2752767"/>
                <a:gd name="connsiteY163" fmla="*/ 1420024 h 2684463"/>
                <a:gd name="connsiteX164" fmla="*/ 2375452 w 2752767"/>
                <a:gd name="connsiteY164" fmla="*/ 1343466 h 2684463"/>
                <a:gd name="connsiteX165" fmla="*/ 2387821 w 2752767"/>
                <a:gd name="connsiteY165" fmla="*/ 1355815 h 2684463"/>
                <a:gd name="connsiteX166" fmla="*/ 2531296 w 2752767"/>
                <a:gd name="connsiteY166" fmla="*/ 1612654 h 2684463"/>
                <a:gd name="connsiteX167" fmla="*/ 2617876 w 2752767"/>
                <a:gd name="connsiteY167" fmla="*/ 1807753 h 2684463"/>
                <a:gd name="connsiteX168" fmla="*/ 2711877 w 2752767"/>
                <a:gd name="connsiteY168" fmla="*/ 2076940 h 2684463"/>
                <a:gd name="connsiteX169" fmla="*/ 2746509 w 2752767"/>
                <a:gd name="connsiteY169" fmla="*/ 2232525 h 2684463"/>
                <a:gd name="connsiteX170" fmla="*/ 2748983 w 2752767"/>
                <a:gd name="connsiteY170" fmla="*/ 2336249 h 2684463"/>
                <a:gd name="connsiteX171" fmla="*/ 2748983 w 2752767"/>
                <a:gd name="connsiteY171" fmla="*/ 2390580 h 2684463"/>
                <a:gd name="connsiteX172" fmla="*/ 2731667 w 2752767"/>
                <a:gd name="connsiteY172" fmla="*/ 2462198 h 2684463"/>
                <a:gd name="connsiteX173" fmla="*/ 2706930 w 2752767"/>
                <a:gd name="connsiteY173" fmla="*/ 2516530 h 2684463"/>
                <a:gd name="connsiteX174" fmla="*/ 2654982 w 2752767"/>
                <a:gd name="connsiteY174" fmla="*/ 2563452 h 2684463"/>
                <a:gd name="connsiteX175" fmla="*/ 2598087 w 2752767"/>
                <a:gd name="connsiteY175" fmla="*/ 2593088 h 2684463"/>
                <a:gd name="connsiteX176" fmla="*/ 2533770 w 2752767"/>
                <a:gd name="connsiteY176" fmla="*/ 2588148 h 2684463"/>
                <a:gd name="connsiteX177" fmla="*/ 2412558 w 2752767"/>
                <a:gd name="connsiteY177" fmla="*/ 2526408 h 2684463"/>
                <a:gd name="connsiteX178" fmla="*/ 2041501 w 2752767"/>
                <a:gd name="connsiteY178" fmla="*/ 2195481 h 2684463"/>
                <a:gd name="connsiteX179" fmla="*/ 1917816 w 2752767"/>
                <a:gd name="connsiteY179" fmla="*/ 2015200 h 2684463"/>
                <a:gd name="connsiteX180" fmla="*/ 1863394 w 2752767"/>
                <a:gd name="connsiteY180" fmla="*/ 1913946 h 2684463"/>
                <a:gd name="connsiteX181" fmla="*/ 1846078 w 2752767"/>
                <a:gd name="connsiteY181" fmla="*/ 1874432 h 2684463"/>
                <a:gd name="connsiteX182" fmla="*/ 1808972 w 2752767"/>
                <a:gd name="connsiteY182" fmla="*/ 1785526 h 2684463"/>
                <a:gd name="connsiteX183" fmla="*/ 1771867 w 2752767"/>
                <a:gd name="connsiteY183" fmla="*/ 1664515 h 2684463"/>
                <a:gd name="connsiteX184" fmla="*/ 1739708 w 2752767"/>
                <a:gd name="connsiteY184" fmla="*/ 1563262 h 2684463"/>
                <a:gd name="connsiteX185" fmla="*/ 1710024 w 2752767"/>
                <a:gd name="connsiteY185" fmla="*/ 1444720 h 2684463"/>
                <a:gd name="connsiteX186" fmla="*/ 1655602 w 2752767"/>
                <a:gd name="connsiteY186" fmla="*/ 1279257 h 2684463"/>
                <a:gd name="connsiteX187" fmla="*/ 1616023 w 2752767"/>
                <a:gd name="connsiteY187" fmla="*/ 1128611 h 2684463"/>
                <a:gd name="connsiteX188" fmla="*/ 1603654 w 2752767"/>
                <a:gd name="connsiteY188" fmla="*/ 1079219 h 2684463"/>
                <a:gd name="connsiteX189" fmla="*/ 1581391 w 2752767"/>
                <a:gd name="connsiteY189" fmla="*/ 1084158 h 2684463"/>
                <a:gd name="connsiteX190" fmla="*/ 1484916 w 2752767"/>
                <a:gd name="connsiteY190" fmla="*/ 1126141 h 2684463"/>
                <a:gd name="connsiteX191" fmla="*/ 1435442 w 2752767"/>
                <a:gd name="connsiteY191" fmla="*/ 1158246 h 2684463"/>
                <a:gd name="connsiteX192" fmla="*/ 1420600 w 2752767"/>
                <a:gd name="connsiteY192" fmla="*/ 1163185 h 2684463"/>
                <a:gd name="connsiteX193" fmla="*/ 1363704 w 2752767"/>
                <a:gd name="connsiteY193" fmla="*/ 1182942 h 2684463"/>
                <a:gd name="connsiteX194" fmla="*/ 1346388 w 2752767"/>
                <a:gd name="connsiteY194" fmla="*/ 1207638 h 2684463"/>
                <a:gd name="connsiteX195" fmla="*/ 1346388 w 2752767"/>
                <a:gd name="connsiteY195" fmla="*/ 1217517 h 2684463"/>
                <a:gd name="connsiteX196" fmla="*/ 1311756 w 2752767"/>
                <a:gd name="connsiteY196" fmla="*/ 1279257 h 2684463"/>
                <a:gd name="connsiteX197" fmla="*/ 1291966 w 2752767"/>
                <a:gd name="connsiteY197" fmla="*/ 1343466 h 2684463"/>
                <a:gd name="connsiteX198" fmla="*/ 1287019 w 2752767"/>
                <a:gd name="connsiteY198" fmla="*/ 1365693 h 2684463"/>
                <a:gd name="connsiteX199" fmla="*/ 1274650 w 2752767"/>
                <a:gd name="connsiteY199" fmla="*/ 1432372 h 2684463"/>
                <a:gd name="connsiteX200" fmla="*/ 1306809 w 2752767"/>
                <a:gd name="connsiteY200" fmla="*/ 1447190 h 2684463"/>
                <a:gd name="connsiteX201" fmla="*/ 1336493 w 2752767"/>
                <a:gd name="connsiteY201" fmla="*/ 1432372 h 2684463"/>
                <a:gd name="connsiteX202" fmla="*/ 1393389 w 2752767"/>
                <a:gd name="connsiteY202" fmla="*/ 1439781 h 2684463"/>
                <a:gd name="connsiteX203" fmla="*/ 1541811 w 2752767"/>
                <a:gd name="connsiteY203" fmla="*/ 1568201 h 2684463"/>
                <a:gd name="connsiteX204" fmla="*/ 1544285 w 2752767"/>
                <a:gd name="connsiteY204" fmla="*/ 1622532 h 2684463"/>
                <a:gd name="connsiteX205" fmla="*/ 1541811 w 2752767"/>
                <a:gd name="connsiteY205" fmla="*/ 1629941 h 2684463"/>
                <a:gd name="connsiteX206" fmla="*/ 1479969 w 2752767"/>
                <a:gd name="connsiteY206" fmla="*/ 1699090 h 2684463"/>
                <a:gd name="connsiteX207" fmla="*/ 1343914 w 2752767"/>
                <a:gd name="connsiteY207" fmla="*/ 1770709 h 2684463"/>
                <a:gd name="connsiteX208" fmla="*/ 1301861 w 2752767"/>
                <a:gd name="connsiteY208" fmla="*/ 1812692 h 2684463"/>
                <a:gd name="connsiteX209" fmla="*/ 1294440 w 2752767"/>
                <a:gd name="connsiteY209" fmla="*/ 1829979 h 2684463"/>
                <a:gd name="connsiteX210" fmla="*/ 1284545 w 2752767"/>
                <a:gd name="connsiteY210" fmla="*/ 1916415 h 2684463"/>
                <a:gd name="connsiteX211" fmla="*/ 1319177 w 2752767"/>
                <a:gd name="connsiteY211" fmla="*/ 1901598 h 2684463"/>
                <a:gd name="connsiteX212" fmla="*/ 1531917 w 2752767"/>
                <a:gd name="connsiteY212" fmla="*/ 1795405 h 2684463"/>
                <a:gd name="connsiteX213" fmla="*/ 1569022 w 2752767"/>
                <a:gd name="connsiteY213" fmla="*/ 1787996 h 2684463"/>
                <a:gd name="connsiteX214" fmla="*/ 1487390 w 2752767"/>
                <a:gd name="connsiteY214" fmla="*/ 1837388 h 2684463"/>
                <a:gd name="connsiteX215" fmla="*/ 1487390 w 2752767"/>
                <a:gd name="connsiteY215" fmla="*/ 1839858 h 2684463"/>
                <a:gd name="connsiteX216" fmla="*/ 1569022 w 2752767"/>
                <a:gd name="connsiteY216" fmla="*/ 1817631 h 2684463"/>
                <a:gd name="connsiteX217" fmla="*/ 1571496 w 2752767"/>
                <a:gd name="connsiteY217" fmla="*/ 1825040 h 2684463"/>
                <a:gd name="connsiteX218" fmla="*/ 1484916 w 2752767"/>
                <a:gd name="connsiteY218" fmla="*/ 1886780 h 2684463"/>
                <a:gd name="connsiteX219" fmla="*/ 1484916 w 2752767"/>
                <a:gd name="connsiteY219" fmla="*/ 1918885 h 2684463"/>
                <a:gd name="connsiteX220" fmla="*/ 1494811 w 2752767"/>
                <a:gd name="connsiteY220" fmla="*/ 1923824 h 2684463"/>
                <a:gd name="connsiteX221" fmla="*/ 1437915 w 2752767"/>
                <a:gd name="connsiteY221" fmla="*/ 1978156 h 2684463"/>
                <a:gd name="connsiteX222" fmla="*/ 1519548 w 2752767"/>
                <a:gd name="connsiteY222" fmla="*/ 1941111 h 2684463"/>
                <a:gd name="connsiteX223" fmla="*/ 1524495 w 2752767"/>
                <a:gd name="connsiteY223" fmla="*/ 1943581 h 2684463"/>
                <a:gd name="connsiteX224" fmla="*/ 1514601 w 2752767"/>
                <a:gd name="connsiteY224" fmla="*/ 1958399 h 2684463"/>
                <a:gd name="connsiteX225" fmla="*/ 1410705 w 2752767"/>
                <a:gd name="connsiteY225" fmla="*/ 2059653 h 2684463"/>
                <a:gd name="connsiteX226" fmla="*/ 1329072 w 2752767"/>
                <a:gd name="connsiteY226" fmla="*/ 2138680 h 2684463"/>
                <a:gd name="connsiteX227" fmla="*/ 1249913 w 2752767"/>
                <a:gd name="connsiteY227" fmla="*/ 2215238 h 2684463"/>
                <a:gd name="connsiteX228" fmla="*/ 1202913 w 2752767"/>
                <a:gd name="connsiteY228" fmla="*/ 2247343 h 2684463"/>
                <a:gd name="connsiteX229" fmla="*/ 1183123 w 2752767"/>
                <a:gd name="connsiteY229" fmla="*/ 2269569 h 2684463"/>
                <a:gd name="connsiteX230" fmla="*/ 1205387 w 2752767"/>
                <a:gd name="connsiteY230" fmla="*/ 2269569 h 2684463"/>
                <a:gd name="connsiteX231" fmla="*/ 1039648 w 2752767"/>
                <a:gd name="connsiteY231" fmla="*/ 2469607 h 2684463"/>
                <a:gd name="connsiteX232" fmla="*/ 898646 w 2752767"/>
                <a:gd name="connsiteY232" fmla="*/ 2684463 h 2684463"/>
                <a:gd name="connsiteX233" fmla="*/ 802171 w 2752767"/>
                <a:gd name="connsiteY233" fmla="*/ 2632601 h 2684463"/>
                <a:gd name="connsiteX234" fmla="*/ 784855 w 2752767"/>
                <a:gd name="connsiteY234" fmla="*/ 2598027 h 2684463"/>
                <a:gd name="connsiteX235" fmla="*/ 770013 w 2752767"/>
                <a:gd name="connsiteY235" fmla="*/ 2474547 h 2684463"/>
                <a:gd name="connsiteX236" fmla="*/ 760118 w 2752767"/>
                <a:gd name="connsiteY236" fmla="*/ 2402928 h 2684463"/>
                <a:gd name="connsiteX237" fmla="*/ 755171 w 2752767"/>
                <a:gd name="connsiteY237" fmla="*/ 2393049 h 2684463"/>
                <a:gd name="connsiteX238" fmla="*/ 720539 w 2752767"/>
                <a:gd name="connsiteY238" fmla="*/ 2328840 h 2684463"/>
                <a:gd name="connsiteX239" fmla="*/ 841751 w 2752767"/>
                <a:gd name="connsiteY239" fmla="*/ 2222647 h 2684463"/>
                <a:gd name="connsiteX240" fmla="*/ 817014 w 2752767"/>
                <a:gd name="connsiteY240" fmla="*/ 2197951 h 2684463"/>
                <a:gd name="connsiteX241" fmla="*/ 725486 w 2752767"/>
                <a:gd name="connsiteY241" fmla="*/ 2109045 h 2684463"/>
                <a:gd name="connsiteX242" fmla="*/ 683433 w 2752767"/>
                <a:gd name="connsiteY242" fmla="*/ 2002852 h 2684463"/>
                <a:gd name="connsiteX243" fmla="*/ 695802 w 2752767"/>
                <a:gd name="connsiteY243" fmla="*/ 1899128 h 2684463"/>
                <a:gd name="connsiteX244" fmla="*/ 700749 w 2752767"/>
                <a:gd name="connsiteY244" fmla="*/ 1894189 h 2684463"/>
                <a:gd name="connsiteX245" fmla="*/ 708170 w 2752767"/>
                <a:gd name="connsiteY245" fmla="*/ 1921355 h 2684463"/>
                <a:gd name="connsiteX246" fmla="*/ 715591 w 2752767"/>
                <a:gd name="connsiteY246" fmla="*/ 1941111 h 2684463"/>
                <a:gd name="connsiteX247" fmla="*/ 723013 w 2752767"/>
                <a:gd name="connsiteY247" fmla="*/ 1871962 h 2684463"/>
                <a:gd name="connsiteX248" fmla="*/ 732907 w 2752767"/>
                <a:gd name="connsiteY248" fmla="*/ 1928763 h 2684463"/>
                <a:gd name="connsiteX249" fmla="*/ 752697 w 2752767"/>
                <a:gd name="connsiteY249" fmla="*/ 1884310 h 2684463"/>
                <a:gd name="connsiteX250" fmla="*/ 774961 w 2752767"/>
                <a:gd name="connsiteY250" fmla="*/ 1849736 h 2684463"/>
                <a:gd name="connsiteX251" fmla="*/ 777434 w 2752767"/>
                <a:gd name="connsiteY251" fmla="*/ 1844797 h 2684463"/>
                <a:gd name="connsiteX252" fmla="*/ 804645 w 2752767"/>
                <a:gd name="connsiteY252" fmla="*/ 1721316 h 2684463"/>
                <a:gd name="connsiteX253" fmla="*/ 802171 w 2752767"/>
                <a:gd name="connsiteY253" fmla="*/ 1686742 h 2684463"/>
                <a:gd name="connsiteX254" fmla="*/ 821961 w 2752767"/>
                <a:gd name="connsiteY254" fmla="*/ 1694151 h 2684463"/>
                <a:gd name="connsiteX255" fmla="*/ 962963 w 2752767"/>
                <a:gd name="connsiteY255" fmla="*/ 1862084 h 2684463"/>
                <a:gd name="connsiteX256" fmla="*/ 975331 w 2752767"/>
                <a:gd name="connsiteY256" fmla="*/ 1963338 h 2684463"/>
                <a:gd name="connsiteX257" fmla="*/ 987700 w 2752767"/>
                <a:gd name="connsiteY257" fmla="*/ 2042365 h 2684463"/>
                <a:gd name="connsiteX258" fmla="*/ 987700 w 2752767"/>
                <a:gd name="connsiteY258" fmla="*/ 2067061 h 2684463"/>
                <a:gd name="connsiteX259" fmla="*/ 987700 w 2752767"/>
                <a:gd name="connsiteY259" fmla="*/ 2094227 h 2684463"/>
                <a:gd name="connsiteX260" fmla="*/ 1054490 w 2752767"/>
                <a:gd name="connsiteY260" fmla="*/ 2049774 h 2684463"/>
                <a:gd name="connsiteX261" fmla="*/ 1047069 w 2752767"/>
                <a:gd name="connsiteY261" fmla="*/ 1983095 h 2684463"/>
                <a:gd name="connsiteX262" fmla="*/ 1056964 w 2752767"/>
                <a:gd name="connsiteY262" fmla="*/ 1909007 h 2684463"/>
                <a:gd name="connsiteX263" fmla="*/ 1074280 w 2752767"/>
                <a:gd name="connsiteY263" fmla="*/ 1760830 h 2684463"/>
                <a:gd name="connsiteX264" fmla="*/ 1079227 w 2752767"/>
                <a:gd name="connsiteY264" fmla="*/ 1736134 h 2684463"/>
                <a:gd name="connsiteX265" fmla="*/ 1089122 w 2752767"/>
                <a:gd name="connsiteY265" fmla="*/ 1659576 h 2684463"/>
                <a:gd name="connsiteX266" fmla="*/ 1103964 w 2752767"/>
                <a:gd name="connsiteY266" fmla="*/ 1573140 h 2684463"/>
                <a:gd name="connsiteX267" fmla="*/ 1118807 w 2752767"/>
                <a:gd name="connsiteY267" fmla="*/ 1508930 h 2684463"/>
                <a:gd name="connsiteX268" fmla="*/ 1146017 w 2752767"/>
                <a:gd name="connsiteY268" fmla="*/ 1387919 h 2684463"/>
                <a:gd name="connsiteX269" fmla="*/ 1163333 w 2752767"/>
                <a:gd name="connsiteY269" fmla="*/ 1313831 h 2684463"/>
                <a:gd name="connsiteX270" fmla="*/ 1173228 w 2752767"/>
                <a:gd name="connsiteY270" fmla="*/ 1289135 h 2684463"/>
                <a:gd name="connsiteX271" fmla="*/ 1094069 w 2752767"/>
                <a:gd name="connsiteY271" fmla="*/ 1333588 h 2684463"/>
                <a:gd name="connsiteX272" fmla="*/ 1071806 w 2752767"/>
                <a:gd name="connsiteY272" fmla="*/ 1348406 h 2684463"/>
                <a:gd name="connsiteX273" fmla="*/ 1047069 w 2752767"/>
                <a:gd name="connsiteY273" fmla="*/ 1365693 h 2684463"/>
                <a:gd name="connsiteX274" fmla="*/ 1029753 w 2752767"/>
                <a:gd name="connsiteY274" fmla="*/ 1375571 h 2684463"/>
                <a:gd name="connsiteX275" fmla="*/ 997595 w 2752767"/>
                <a:gd name="connsiteY275" fmla="*/ 1395328 h 2684463"/>
                <a:gd name="connsiteX276" fmla="*/ 975331 w 2752767"/>
                <a:gd name="connsiteY276" fmla="*/ 1407676 h 2684463"/>
                <a:gd name="connsiteX277" fmla="*/ 930804 w 2752767"/>
                <a:gd name="connsiteY277" fmla="*/ 1427433 h 2684463"/>
                <a:gd name="connsiteX278" fmla="*/ 898646 w 2752767"/>
                <a:gd name="connsiteY278" fmla="*/ 1459538 h 2684463"/>
                <a:gd name="connsiteX279" fmla="*/ 878857 w 2752767"/>
                <a:gd name="connsiteY279" fmla="*/ 1474356 h 2684463"/>
                <a:gd name="connsiteX280" fmla="*/ 854119 w 2752767"/>
                <a:gd name="connsiteY280" fmla="*/ 1489173 h 2684463"/>
                <a:gd name="connsiteX281" fmla="*/ 834330 w 2752767"/>
                <a:gd name="connsiteY281" fmla="*/ 1496582 h 2684463"/>
                <a:gd name="connsiteX282" fmla="*/ 792277 w 2752767"/>
                <a:gd name="connsiteY282" fmla="*/ 1521278 h 2684463"/>
                <a:gd name="connsiteX283" fmla="*/ 782382 w 2752767"/>
                <a:gd name="connsiteY283" fmla="*/ 1528687 h 2684463"/>
                <a:gd name="connsiteX284" fmla="*/ 611695 w 2752767"/>
                <a:gd name="connsiteY284" fmla="*/ 1642289 h 2684463"/>
                <a:gd name="connsiteX285" fmla="*/ 535010 w 2752767"/>
                <a:gd name="connsiteY285" fmla="*/ 1696620 h 2684463"/>
                <a:gd name="connsiteX286" fmla="*/ 468220 w 2752767"/>
                <a:gd name="connsiteY286" fmla="*/ 1733664 h 2684463"/>
                <a:gd name="connsiteX287" fmla="*/ 441009 w 2752767"/>
                <a:gd name="connsiteY287" fmla="*/ 1750952 h 2684463"/>
                <a:gd name="connsiteX288" fmla="*/ 421219 w 2752767"/>
                <a:gd name="connsiteY288" fmla="*/ 1760830 h 2684463"/>
                <a:gd name="connsiteX289" fmla="*/ 391535 w 2752767"/>
                <a:gd name="connsiteY289" fmla="*/ 1773178 h 2684463"/>
                <a:gd name="connsiteX290" fmla="*/ 354429 w 2752767"/>
                <a:gd name="connsiteY290" fmla="*/ 1775648 h 2684463"/>
                <a:gd name="connsiteX291" fmla="*/ 270323 w 2752767"/>
                <a:gd name="connsiteY291" fmla="*/ 1731195 h 2684463"/>
                <a:gd name="connsiteX292" fmla="*/ 92216 w 2752767"/>
                <a:gd name="connsiteY292" fmla="*/ 1583018 h 2684463"/>
                <a:gd name="connsiteX293" fmla="*/ 22952 w 2752767"/>
                <a:gd name="connsiteY293" fmla="*/ 1496582 h 2684463"/>
                <a:gd name="connsiteX294" fmla="*/ 5636 w 2752767"/>
                <a:gd name="connsiteY294" fmla="*/ 1432372 h 2684463"/>
                <a:gd name="connsiteX295" fmla="*/ 3162 w 2752767"/>
                <a:gd name="connsiteY295" fmla="*/ 1390389 h 2684463"/>
                <a:gd name="connsiteX296" fmla="*/ 688 w 2752767"/>
                <a:gd name="connsiteY296" fmla="*/ 1370632 h 2684463"/>
                <a:gd name="connsiteX297" fmla="*/ 50163 w 2752767"/>
                <a:gd name="connsiteY297" fmla="*/ 1313831 h 2684463"/>
                <a:gd name="connsiteX298" fmla="*/ 87268 w 2752767"/>
                <a:gd name="connsiteY298" fmla="*/ 1316301 h 2684463"/>
                <a:gd name="connsiteX299" fmla="*/ 121900 w 2752767"/>
                <a:gd name="connsiteY299" fmla="*/ 1308892 h 2684463"/>
                <a:gd name="connsiteX300" fmla="*/ 270323 w 2752767"/>
                <a:gd name="connsiteY300" fmla="*/ 1286666 h 2684463"/>
                <a:gd name="connsiteX301" fmla="*/ 215901 w 2752767"/>
                <a:gd name="connsiteY301" fmla="*/ 1350875 h 2684463"/>
                <a:gd name="connsiteX302" fmla="*/ 386587 w 2752767"/>
                <a:gd name="connsiteY302" fmla="*/ 1269378 h 2684463"/>
                <a:gd name="connsiteX303" fmla="*/ 562221 w 2752767"/>
                <a:gd name="connsiteY303" fmla="*/ 1200229 h 2684463"/>
                <a:gd name="connsiteX304" fmla="*/ 544905 w 2752767"/>
                <a:gd name="connsiteY304" fmla="*/ 1212577 h 2684463"/>
                <a:gd name="connsiteX305" fmla="*/ 460799 w 2752767"/>
                <a:gd name="connsiteY305" fmla="*/ 1259500 h 2684463"/>
                <a:gd name="connsiteX306" fmla="*/ 394009 w 2752767"/>
                <a:gd name="connsiteY306" fmla="*/ 1301483 h 2684463"/>
                <a:gd name="connsiteX307" fmla="*/ 347008 w 2752767"/>
                <a:gd name="connsiteY307" fmla="*/ 1328649 h 2684463"/>
                <a:gd name="connsiteX308" fmla="*/ 277744 w 2752767"/>
                <a:gd name="connsiteY308" fmla="*/ 1358284 h 2684463"/>
                <a:gd name="connsiteX309" fmla="*/ 262902 w 2752767"/>
                <a:gd name="connsiteY309" fmla="*/ 1368163 h 2684463"/>
                <a:gd name="connsiteX310" fmla="*/ 334639 w 2752767"/>
                <a:gd name="connsiteY310" fmla="*/ 1343466 h 2684463"/>
                <a:gd name="connsiteX311" fmla="*/ 374219 w 2752767"/>
                <a:gd name="connsiteY311" fmla="*/ 1328649 h 2684463"/>
                <a:gd name="connsiteX312" fmla="*/ 381640 w 2752767"/>
                <a:gd name="connsiteY312" fmla="*/ 1323710 h 2684463"/>
                <a:gd name="connsiteX313" fmla="*/ 438535 w 2752767"/>
                <a:gd name="connsiteY313" fmla="*/ 1299014 h 2684463"/>
                <a:gd name="connsiteX314" fmla="*/ 485536 w 2752767"/>
                <a:gd name="connsiteY314" fmla="*/ 1279257 h 2684463"/>
                <a:gd name="connsiteX315" fmla="*/ 530063 w 2752767"/>
                <a:gd name="connsiteY315" fmla="*/ 1264439 h 2684463"/>
                <a:gd name="connsiteX316" fmla="*/ 535010 w 2752767"/>
                <a:gd name="connsiteY316" fmla="*/ 1261969 h 2684463"/>
                <a:gd name="connsiteX317" fmla="*/ 599327 w 2752767"/>
                <a:gd name="connsiteY317" fmla="*/ 1222456 h 2684463"/>
                <a:gd name="connsiteX318" fmla="*/ 614169 w 2752767"/>
                <a:gd name="connsiteY318" fmla="*/ 1215047 h 2684463"/>
                <a:gd name="connsiteX319" fmla="*/ 683433 w 2752767"/>
                <a:gd name="connsiteY319" fmla="*/ 1187881 h 2684463"/>
                <a:gd name="connsiteX320" fmla="*/ 745276 w 2752767"/>
                <a:gd name="connsiteY320" fmla="*/ 1158246 h 2684463"/>
                <a:gd name="connsiteX321" fmla="*/ 826909 w 2752767"/>
                <a:gd name="connsiteY321" fmla="*/ 1121202 h 2684463"/>
                <a:gd name="connsiteX322" fmla="*/ 841751 w 2752767"/>
                <a:gd name="connsiteY322" fmla="*/ 1113793 h 2684463"/>
                <a:gd name="connsiteX323" fmla="*/ 918436 w 2752767"/>
                <a:gd name="connsiteY323" fmla="*/ 1089097 h 2684463"/>
                <a:gd name="connsiteX324" fmla="*/ 1019858 w 2752767"/>
                <a:gd name="connsiteY324" fmla="*/ 1049583 h 2684463"/>
                <a:gd name="connsiteX325" fmla="*/ 1084175 w 2752767"/>
                <a:gd name="connsiteY325" fmla="*/ 1019948 h 2684463"/>
                <a:gd name="connsiteX326" fmla="*/ 1113859 w 2752767"/>
                <a:gd name="connsiteY326" fmla="*/ 1007600 h 2684463"/>
                <a:gd name="connsiteX327" fmla="*/ 1185597 w 2752767"/>
                <a:gd name="connsiteY327" fmla="*/ 975495 h 2684463"/>
                <a:gd name="connsiteX328" fmla="*/ 1217755 w 2752767"/>
                <a:gd name="connsiteY328" fmla="*/ 963147 h 2684463"/>
                <a:gd name="connsiteX329" fmla="*/ 1341441 w 2752767"/>
                <a:gd name="connsiteY329" fmla="*/ 916224 h 2684463"/>
                <a:gd name="connsiteX330" fmla="*/ 1413178 w 2752767"/>
                <a:gd name="connsiteY330" fmla="*/ 891528 h 2684463"/>
                <a:gd name="connsiteX331" fmla="*/ 1546759 w 2752767"/>
                <a:gd name="connsiteY331" fmla="*/ 839667 h 2684463"/>
                <a:gd name="connsiteX332" fmla="*/ 1536864 w 2752767"/>
                <a:gd name="connsiteY332" fmla="*/ 772987 h 2684463"/>
                <a:gd name="connsiteX333" fmla="*/ 1517074 w 2752767"/>
                <a:gd name="connsiteY333" fmla="*/ 632220 h 2684463"/>
                <a:gd name="connsiteX334" fmla="*/ 1487390 w 2752767"/>
                <a:gd name="connsiteY334" fmla="*/ 405015 h 2684463"/>
                <a:gd name="connsiteX335" fmla="*/ 1460179 w 2752767"/>
                <a:gd name="connsiteY335" fmla="*/ 229673 h 2684463"/>
                <a:gd name="connsiteX336" fmla="*/ 1445337 w 2752767"/>
                <a:gd name="connsiteY336" fmla="*/ 91375 h 2684463"/>
                <a:gd name="connsiteX337" fmla="*/ 1440389 w 2752767"/>
                <a:gd name="connsiteY337" fmla="*/ 37044 h 2684463"/>
                <a:gd name="connsiteX338" fmla="*/ 1428021 w 2752767"/>
                <a:gd name="connsiteY338" fmla="*/ 2470 h 2684463"/>
                <a:gd name="connsiteX339" fmla="*/ 1440389 w 2752767"/>
                <a:gd name="connsiteY339" fmla="*/ 0 h 268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</a:cxnLst>
              <a:rect l="l" t="t" r="r" b="b"/>
              <a:pathLst>
                <a:path w="2752767" h="2684463">
                  <a:moveTo>
                    <a:pt x="923383" y="2595557"/>
                  </a:moveTo>
                  <a:cubicBezTo>
                    <a:pt x="920910" y="2600496"/>
                    <a:pt x="918436" y="2605436"/>
                    <a:pt x="915962" y="2610375"/>
                  </a:cubicBezTo>
                  <a:cubicBezTo>
                    <a:pt x="915962" y="2612845"/>
                    <a:pt x="918436" y="2612845"/>
                    <a:pt x="918436" y="2612845"/>
                  </a:cubicBezTo>
                  <a:cubicBezTo>
                    <a:pt x="920910" y="2607905"/>
                    <a:pt x="923383" y="2602966"/>
                    <a:pt x="928331" y="2598027"/>
                  </a:cubicBezTo>
                  <a:cubicBezTo>
                    <a:pt x="925857" y="2595557"/>
                    <a:pt x="923383" y="2595557"/>
                    <a:pt x="923383" y="2595557"/>
                  </a:cubicBezTo>
                  <a:close/>
                  <a:moveTo>
                    <a:pt x="945647" y="2558513"/>
                  </a:moveTo>
                  <a:cubicBezTo>
                    <a:pt x="943173" y="2563452"/>
                    <a:pt x="940699" y="2568392"/>
                    <a:pt x="938226" y="2573331"/>
                  </a:cubicBezTo>
                  <a:cubicBezTo>
                    <a:pt x="938226" y="2573331"/>
                    <a:pt x="940699" y="2575800"/>
                    <a:pt x="943173" y="2575800"/>
                  </a:cubicBezTo>
                  <a:cubicBezTo>
                    <a:pt x="945647" y="2570861"/>
                    <a:pt x="948120" y="2565922"/>
                    <a:pt x="950594" y="2560983"/>
                  </a:cubicBezTo>
                  <a:cubicBezTo>
                    <a:pt x="950594" y="2558513"/>
                    <a:pt x="948120" y="2558513"/>
                    <a:pt x="945647" y="2558513"/>
                  </a:cubicBezTo>
                  <a:close/>
                  <a:moveTo>
                    <a:pt x="1019858" y="2452320"/>
                  </a:moveTo>
                  <a:cubicBezTo>
                    <a:pt x="1017384" y="2457259"/>
                    <a:pt x="1014911" y="2459729"/>
                    <a:pt x="1012437" y="2464668"/>
                  </a:cubicBezTo>
                  <a:cubicBezTo>
                    <a:pt x="1012437" y="2464668"/>
                    <a:pt x="1014911" y="2467138"/>
                    <a:pt x="1014911" y="2467138"/>
                  </a:cubicBezTo>
                  <a:cubicBezTo>
                    <a:pt x="1017384" y="2462198"/>
                    <a:pt x="1019858" y="2459729"/>
                    <a:pt x="1024806" y="2454790"/>
                  </a:cubicBezTo>
                  <a:cubicBezTo>
                    <a:pt x="1022332" y="2454790"/>
                    <a:pt x="1022332" y="2452320"/>
                    <a:pt x="1019858" y="2452320"/>
                  </a:cubicBezTo>
                  <a:close/>
                  <a:moveTo>
                    <a:pt x="1059438" y="2397989"/>
                  </a:moveTo>
                  <a:cubicBezTo>
                    <a:pt x="1056964" y="2402928"/>
                    <a:pt x="1054490" y="2405398"/>
                    <a:pt x="1052016" y="2410337"/>
                  </a:cubicBezTo>
                  <a:cubicBezTo>
                    <a:pt x="1054490" y="2410337"/>
                    <a:pt x="1054490" y="2412806"/>
                    <a:pt x="1056964" y="2415276"/>
                  </a:cubicBezTo>
                  <a:cubicBezTo>
                    <a:pt x="1059438" y="2410337"/>
                    <a:pt x="1064385" y="2407867"/>
                    <a:pt x="1066859" y="2405398"/>
                  </a:cubicBezTo>
                  <a:cubicBezTo>
                    <a:pt x="1064385" y="2402928"/>
                    <a:pt x="1061911" y="2400458"/>
                    <a:pt x="1059438" y="2397989"/>
                  </a:cubicBezTo>
                  <a:close/>
                  <a:moveTo>
                    <a:pt x="1148491" y="2311552"/>
                  </a:moveTo>
                  <a:cubicBezTo>
                    <a:pt x="1123754" y="2311552"/>
                    <a:pt x="1116333" y="2314022"/>
                    <a:pt x="1106438" y="2333779"/>
                  </a:cubicBezTo>
                  <a:cubicBezTo>
                    <a:pt x="1101491" y="2338718"/>
                    <a:pt x="1099017" y="2343657"/>
                    <a:pt x="1096543" y="2348597"/>
                  </a:cubicBezTo>
                  <a:cubicBezTo>
                    <a:pt x="1086648" y="2360945"/>
                    <a:pt x="1076753" y="2370823"/>
                    <a:pt x="1069332" y="2383171"/>
                  </a:cubicBezTo>
                  <a:cubicBezTo>
                    <a:pt x="1069332" y="2385641"/>
                    <a:pt x="1071806" y="2385641"/>
                    <a:pt x="1074280" y="2388110"/>
                  </a:cubicBezTo>
                  <a:cubicBezTo>
                    <a:pt x="1101491" y="2365884"/>
                    <a:pt x="1121280" y="2336249"/>
                    <a:pt x="1148491" y="2311552"/>
                  </a:cubicBezTo>
                  <a:close/>
                  <a:moveTo>
                    <a:pt x="1170755" y="2276978"/>
                  </a:moveTo>
                  <a:cubicBezTo>
                    <a:pt x="1165807" y="2281917"/>
                    <a:pt x="1158386" y="2289326"/>
                    <a:pt x="1153439" y="2294265"/>
                  </a:cubicBezTo>
                  <a:cubicBezTo>
                    <a:pt x="1153439" y="2296735"/>
                    <a:pt x="1155912" y="2299204"/>
                    <a:pt x="1158386" y="2299204"/>
                  </a:cubicBezTo>
                  <a:cubicBezTo>
                    <a:pt x="1163333" y="2294265"/>
                    <a:pt x="1170755" y="2289326"/>
                    <a:pt x="1178176" y="2281917"/>
                  </a:cubicBezTo>
                  <a:cubicBezTo>
                    <a:pt x="1175702" y="2279448"/>
                    <a:pt x="1173228" y="2279448"/>
                    <a:pt x="1170755" y="2276978"/>
                  </a:cubicBezTo>
                  <a:close/>
                  <a:moveTo>
                    <a:pt x="715591" y="1943581"/>
                  </a:moveTo>
                  <a:cubicBezTo>
                    <a:pt x="710644" y="1950990"/>
                    <a:pt x="710644" y="1958399"/>
                    <a:pt x="718065" y="1965807"/>
                  </a:cubicBezTo>
                  <a:cubicBezTo>
                    <a:pt x="718065" y="1958399"/>
                    <a:pt x="715591" y="1950990"/>
                    <a:pt x="715591" y="1943581"/>
                  </a:cubicBezTo>
                  <a:close/>
                  <a:moveTo>
                    <a:pt x="688084" y="510472"/>
                  </a:moveTo>
                  <a:cubicBezTo>
                    <a:pt x="710380" y="508000"/>
                    <a:pt x="727722" y="517888"/>
                    <a:pt x="747541" y="522832"/>
                  </a:cubicBezTo>
                  <a:cubicBezTo>
                    <a:pt x="767360" y="530248"/>
                    <a:pt x="787179" y="535192"/>
                    <a:pt x="806998" y="540136"/>
                  </a:cubicBezTo>
                  <a:cubicBezTo>
                    <a:pt x="816908" y="542608"/>
                    <a:pt x="829295" y="542608"/>
                    <a:pt x="839204" y="540136"/>
                  </a:cubicBezTo>
                  <a:cubicBezTo>
                    <a:pt x="886274" y="532720"/>
                    <a:pt x="935822" y="525304"/>
                    <a:pt x="982892" y="517888"/>
                  </a:cubicBezTo>
                  <a:cubicBezTo>
                    <a:pt x="995279" y="515416"/>
                    <a:pt x="1007666" y="515416"/>
                    <a:pt x="1020053" y="515416"/>
                  </a:cubicBezTo>
                  <a:cubicBezTo>
                    <a:pt x="1042349" y="512944"/>
                    <a:pt x="1064646" y="512944"/>
                    <a:pt x="1089420" y="515416"/>
                  </a:cubicBezTo>
                  <a:cubicBezTo>
                    <a:pt x="1121626" y="515416"/>
                    <a:pt x="1156309" y="517888"/>
                    <a:pt x="1188515" y="525304"/>
                  </a:cubicBezTo>
                  <a:cubicBezTo>
                    <a:pt x="1247972" y="535192"/>
                    <a:pt x="1297520" y="562383"/>
                    <a:pt x="1349545" y="589575"/>
                  </a:cubicBezTo>
                  <a:cubicBezTo>
                    <a:pt x="1354499" y="592047"/>
                    <a:pt x="1359454" y="596991"/>
                    <a:pt x="1361932" y="601935"/>
                  </a:cubicBezTo>
                  <a:cubicBezTo>
                    <a:pt x="1376796" y="626654"/>
                    <a:pt x="1386705" y="651374"/>
                    <a:pt x="1391660" y="678566"/>
                  </a:cubicBezTo>
                  <a:cubicBezTo>
                    <a:pt x="1399092" y="698341"/>
                    <a:pt x="1391660" y="720589"/>
                    <a:pt x="1379273" y="732949"/>
                  </a:cubicBezTo>
                  <a:cubicBezTo>
                    <a:pt x="1364409" y="752725"/>
                    <a:pt x="1347067" y="767556"/>
                    <a:pt x="1327248" y="782388"/>
                  </a:cubicBezTo>
                  <a:cubicBezTo>
                    <a:pt x="1302474" y="802164"/>
                    <a:pt x="1275223" y="807108"/>
                    <a:pt x="1250449" y="819468"/>
                  </a:cubicBezTo>
                  <a:cubicBezTo>
                    <a:pt x="1238062" y="826883"/>
                    <a:pt x="1220721" y="826883"/>
                    <a:pt x="1205857" y="829355"/>
                  </a:cubicBezTo>
                  <a:cubicBezTo>
                    <a:pt x="1178605" y="834299"/>
                    <a:pt x="1148877" y="839243"/>
                    <a:pt x="1121626" y="846659"/>
                  </a:cubicBezTo>
                  <a:cubicBezTo>
                    <a:pt x="1079510" y="854075"/>
                    <a:pt x="1042349" y="844187"/>
                    <a:pt x="1007666" y="824412"/>
                  </a:cubicBezTo>
                  <a:cubicBezTo>
                    <a:pt x="906093" y="765084"/>
                    <a:pt x="816908" y="690925"/>
                    <a:pt x="740109" y="604407"/>
                  </a:cubicBezTo>
                  <a:cubicBezTo>
                    <a:pt x="722767" y="584631"/>
                    <a:pt x="705426" y="562383"/>
                    <a:pt x="690561" y="542608"/>
                  </a:cubicBezTo>
                  <a:cubicBezTo>
                    <a:pt x="683129" y="527776"/>
                    <a:pt x="683129" y="527776"/>
                    <a:pt x="688084" y="510472"/>
                  </a:cubicBezTo>
                  <a:close/>
                  <a:moveTo>
                    <a:pt x="1472547" y="59271"/>
                  </a:moveTo>
                  <a:cubicBezTo>
                    <a:pt x="1470074" y="66679"/>
                    <a:pt x="1470074" y="69149"/>
                    <a:pt x="1470074" y="71619"/>
                  </a:cubicBezTo>
                  <a:cubicBezTo>
                    <a:pt x="1475021" y="125950"/>
                    <a:pt x="1482442" y="177812"/>
                    <a:pt x="1484916" y="232143"/>
                  </a:cubicBezTo>
                  <a:cubicBezTo>
                    <a:pt x="1492337" y="303762"/>
                    <a:pt x="1494811" y="375380"/>
                    <a:pt x="1499758" y="446999"/>
                  </a:cubicBezTo>
                  <a:cubicBezTo>
                    <a:pt x="1499758" y="459347"/>
                    <a:pt x="1502232" y="474164"/>
                    <a:pt x="1504706" y="488982"/>
                  </a:cubicBezTo>
                  <a:cubicBezTo>
                    <a:pt x="1512127" y="526026"/>
                    <a:pt x="1517074" y="565540"/>
                    <a:pt x="1524495" y="605054"/>
                  </a:cubicBezTo>
                  <a:cubicBezTo>
                    <a:pt x="1534390" y="671733"/>
                    <a:pt x="1541811" y="738413"/>
                    <a:pt x="1551706" y="805092"/>
                  </a:cubicBezTo>
                  <a:cubicBezTo>
                    <a:pt x="1554180" y="814970"/>
                    <a:pt x="1554180" y="824849"/>
                    <a:pt x="1566549" y="832258"/>
                  </a:cubicBezTo>
                  <a:cubicBezTo>
                    <a:pt x="1566549" y="805092"/>
                    <a:pt x="1566549" y="782866"/>
                    <a:pt x="1561601" y="760639"/>
                  </a:cubicBezTo>
                  <a:cubicBezTo>
                    <a:pt x="1554180" y="735943"/>
                    <a:pt x="1549233" y="711247"/>
                    <a:pt x="1549233" y="686551"/>
                  </a:cubicBezTo>
                  <a:cubicBezTo>
                    <a:pt x="1549233" y="661855"/>
                    <a:pt x="1544285" y="639628"/>
                    <a:pt x="1541811" y="617402"/>
                  </a:cubicBezTo>
                  <a:cubicBezTo>
                    <a:pt x="1531917" y="577888"/>
                    <a:pt x="1524495" y="538374"/>
                    <a:pt x="1524495" y="498861"/>
                  </a:cubicBezTo>
                  <a:cubicBezTo>
                    <a:pt x="1526969" y="474164"/>
                    <a:pt x="1524495" y="449468"/>
                    <a:pt x="1522022" y="427242"/>
                  </a:cubicBezTo>
                  <a:cubicBezTo>
                    <a:pt x="1519548" y="397607"/>
                    <a:pt x="1512127" y="367971"/>
                    <a:pt x="1509653" y="338336"/>
                  </a:cubicBezTo>
                  <a:cubicBezTo>
                    <a:pt x="1504706" y="288944"/>
                    <a:pt x="1502232" y="239552"/>
                    <a:pt x="1497285" y="190160"/>
                  </a:cubicBezTo>
                  <a:cubicBezTo>
                    <a:pt x="1494811" y="153116"/>
                    <a:pt x="1487390" y="116071"/>
                    <a:pt x="1482442" y="81497"/>
                  </a:cubicBezTo>
                  <a:cubicBezTo>
                    <a:pt x="1482442" y="74088"/>
                    <a:pt x="1477495" y="69149"/>
                    <a:pt x="1472547" y="59271"/>
                  </a:cubicBezTo>
                  <a:close/>
                  <a:moveTo>
                    <a:pt x="1440389" y="0"/>
                  </a:moveTo>
                  <a:cubicBezTo>
                    <a:pt x="1457705" y="7409"/>
                    <a:pt x="1475021" y="12348"/>
                    <a:pt x="1487390" y="22226"/>
                  </a:cubicBezTo>
                  <a:cubicBezTo>
                    <a:pt x="1549233" y="64210"/>
                    <a:pt x="1611075" y="106193"/>
                    <a:pt x="1672918" y="150646"/>
                  </a:cubicBezTo>
                  <a:cubicBezTo>
                    <a:pt x="1710024" y="180281"/>
                    <a:pt x="1744656" y="214856"/>
                    <a:pt x="1781762" y="244491"/>
                  </a:cubicBezTo>
                  <a:cubicBezTo>
                    <a:pt x="1796604" y="259309"/>
                    <a:pt x="1813920" y="274126"/>
                    <a:pt x="1831236" y="284005"/>
                  </a:cubicBezTo>
                  <a:cubicBezTo>
                    <a:pt x="1868341" y="306231"/>
                    <a:pt x="1900500" y="330927"/>
                    <a:pt x="1930184" y="358093"/>
                  </a:cubicBezTo>
                  <a:cubicBezTo>
                    <a:pt x="1954921" y="382789"/>
                    <a:pt x="1969764" y="412424"/>
                    <a:pt x="1967290" y="449468"/>
                  </a:cubicBezTo>
                  <a:cubicBezTo>
                    <a:pt x="1967290" y="484043"/>
                    <a:pt x="1969764" y="521087"/>
                    <a:pt x="1969764" y="560601"/>
                  </a:cubicBezTo>
                  <a:cubicBezTo>
                    <a:pt x="2004396" y="545783"/>
                    <a:pt x="2036554" y="530966"/>
                    <a:pt x="2068712" y="518618"/>
                  </a:cubicBezTo>
                  <a:cubicBezTo>
                    <a:pt x="2100870" y="506269"/>
                    <a:pt x="2133029" y="493921"/>
                    <a:pt x="2165187" y="479104"/>
                  </a:cubicBezTo>
                  <a:cubicBezTo>
                    <a:pt x="2110765" y="484043"/>
                    <a:pt x="2061291" y="503800"/>
                    <a:pt x="2014290" y="526026"/>
                  </a:cubicBezTo>
                  <a:cubicBezTo>
                    <a:pt x="1999448" y="518618"/>
                    <a:pt x="1999448" y="511209"/>
                    <a:pt x="2009343" y="501330"/>
                  </a:cubicBezTo>
                  <a:cubicBezTo>
                    <a:pt x="2031606" y="471695"/>
                    <a:pt x="2053870" y="439590"/>
                    <a:pt x="2078607" y="409955"/>
                  </a:cubicBezTo>
                  <a:cubicBezTo>
                    <a:pt x="2083554" y="402546"/>
                    <a:pt x="2083554" y="395137"/>
                    <a:pt x="2076133" y="387728"/>
                  </a:cubicBezTo>
                  <a:cubicBezTo>
                    <a:pt x="2071186" y="380319"/>
                    <a:pt x="2066238" y="375380"/>
                    <a:pt x="2058817" y="370441"/>
                  </a:cubicBezTo>
                  <a:cubicBezTo>
                    <a:pt x="2014290" y="338336"/>
                    <a:pt x="1974711" y="301292"/>
                    <a:pt x="1940079" y="256839"/>
                  </a:cubicBezTo>
                  <a:cubicBezTo>
                    <a:pt x="1932658" y="246961"/>
                    <a:pt x="1925237" y="234613"/>
                    <a:pt x="1920289" y="222265"/>
                  </a:cubicBezTo>
                  <a:cubicBezTo>
                    <a:pt x="1915342" y="209917"/>
                    <a:pt x="1920289" y="204977"/>
                    <a:pt x="1930184" y="195099"/>
                  </a:cubicBezTo>
                  <a:cubicBezTo>
                    <a:pt x="1940079" y="190160"/>
                    <a:pt x="1947500" y="185220"/>
                    <a:pt x="1954921" y="180281"/>
                  </a:cubicBezTo>
                  <a:cubicBezTo>
                    <a:pt x="1962343" y="172872"/>
                    <a:pt x="1969764" y="165464"/>
                    <a:pt x="1979659" y="162994"/>
                  </a:cubicBezTo>
                  <a:cubicBezTo>
                    <a:pt x="2016764" y="145707"/>
                    <a:pt x="2056344" y="125950"/>
                    <a:pt x="2095923" y="111132"/>
                  </a:cubicBezTo>
                  <a:cubicBezTo>
                    <a:pt x="2145397" y="91375"/>
                    <a:pt x="2194871" y="76558"/>
                    <a:pt x="2249293" y="69149"/>
                  </a:cubicBezTo>
                  <a:cubicBezTo>
                    <a:pt x="2269083" y="66679"/>
                    <a:pt x="2288872" y="74088"/>
                    <a:pt x="2306188" y="86436"/>
                  </a:cubicBezTo>
                  <a:cubicBezTo>
                    <a:pt x="2375452" y="128420"/>
                    <a:pt x="2437295" y="177812"/>
                    <a:pt x="2489243" y="239552"/>
                  </a:cubicBezTo>
                  <a:cubicBezTo>
                    <a:pt x="2504085" y="259309"/>
                    <a:pt x="2521401" y="276596"/>
                    <a:pt x="2523875" y="303762"/>
                  </a:cubicBezTo>
                  <a:cubicBezTo>
                    <a:pt x="2523875" y="308701"/>
                    <a:pt x="2533770" y="316110"/>
                    <a:pt x="2538717" y="321049"/>
                  </a:cubicBezTo>
                  <a:cubicBezTo>
                    <a:pt x="2556033" y="335866"/>
                    <a:pt x="2575823" y="350684"/>
                    <a:pt x="2585718" y="375380"/>
                  </a:cubicBezTo>
                  <a:cubicBezTo>
                    <a:pt x="2573349" y="382789"/>
                    <a:pt x="2563455" y="387728"/>
                    <a:pt x="2548612" y="390198"/>
                  </a:cubicBezTo>
                  <a:cubicBezTo>
                    <a:pt x="2518928" y="395137"/>
                    <a:pt x="2486769" y="400076"/>
                    <a:pt x="2457085" y="407485"/>
                  </a:cubicBezTo>
                  <a:cubicBezTo>
                    <a:pt x="2405137" y="419833"/>
                    <a:pt x="2353189" y="432181"/>
                    <a:pt x="2301241" y="446999"/>
                  </a:cubicBezTo>
                  <a:cubicBezTo>
                    <a:pt x="2266609" y="456877"/>
                    <a:pt x="2234451" y="469225"/>
                    <a:pt x="2199819" y="481573"/>
                  </a:cubicBezTo>
                  <a:cubicBezTo>
                    <a:pt x="2145397" y="503800"/>
                    <a:pt x="2088502" y="526026"/>
                    <a:pt x="2034080" y="550722"/>
                  </a:cubicBezTo>
                  <a:cubicBezTo>
                    <a:pt x="2014290" y="558131"/>
                    <a:pt x="1992027" y="565540"/>
                    <a:pt x="1972237" y="575419"/>
                  </a:cubicBezTo>
                  <a:cubicBezTo>
                    <a:pt x="1969764" y="612463"/>
                    <a:pt x="1977185" y="649507"/>
                    <a:pt x="1977185" y="691490"/>
                  </a:cubicBezTo>
                  <a:cubicBezTo>
                    <a:pt x="1999448" y="681612"/>
                    <a:pt x="2019238" y="674203"/>
                    <a:pt x="2039028" y="669264"/>
                  </a:cubicBezTo>
                  <a:cubicBezTo>
                    <a:pt x="2056344" y="661855"/>
                    <a:pt x="2073660" y="659385"/>
                    <a:pt x="2093449" y="654446"/>
                  </a:cubicBezTo>
                  <a:cubicBezTo>
                    <a:pt x="2095923" y="654446"/>
                    <a:pt x="2100870" y="656916"/>
                    <a:pt x="2103344" y="654446"/>
                  </a:cubicBezTo>
                  <a:cubicBezTo>
                    <a:pt x="2137976" y="637159"/>
                    <a:pt x="2177555" y="637159"/>
                    <a:pt x="2214661" y="624811"/>
                  </a:cubicBezTo>
                  <a:cubicBezTo>
                    <a:pt x="2241872" y="614932"/>
                    <a:pt x="2271557" y="612463"/>
                    <a:pt x="2298767" y="607523"/>
                  </a:cubicBezTo>
                  <a:cubicBezTo>
                    <a:pt x="2303715" y="607523"/>
                    <a:pt x="2308662" y="607523"/>
                    <a:pt x="2313610" y="605054"/>
                  </a:cubicBezTo>
                  <a:cubicBezTo>
                    <a:pt x="2365558" y="590236"/>
                    <a:pt x="2422453" y="587767"/>
                    <a:pt x="2476875" y="577888"/>
                  </a:cubicBezTo>
                  <a:cubicBezTo>
                    <a:pt x="2499138" y="572949"/>
                    <a:pt x="2521401" y="580358"/>
                    <a:pt x="2541191" y="592706"/>
                  </a:cubicBezTo>
                  <a:cubicBezTo>
                    <a:pt x="2600560" y="632220"/>
                    <a:pt x="2654982" y="676672"/>
                    <a:pt x="2701982" y="733473"/>
                  </a:cubicBezTo>
                  <a:cubicBezTo>
                    <a:pt x="2721772" y="758169"/>
                    <a:pt x="2729193" y="770518"/>
                    <a:pt x="2687140" y="792744"/>
                  </a:cubicBezTo>
                  <a:cubicBezTo>
                    <a:pt x="2679719" y="797683"/>
                    <a:pt x="2674772" y="802622"/>
                    <a:pt x="2669824" y="805092"/>
                  </a:cubicBezTo>
                  <a:cubicBezTo>
                    <a:pt x="2667350" y="807562"/>
                    <a:pt x="2664877" y="812501"/>
                    <a:pt x="2659929" y="812501"/>
                  </a:cubicBezTo>
                  <a:cubicBezTo>
                    <a:pt x="2612929" y="827318"/>
                    <a:pt x="2570876" y="856954"/>
                    <a:pt x="2518928" y="859423"/>
                  </a:cubicBezTo>
                  <a:cubicBezTo>
                    <a:pt x="2509033" y="859423"/>
                    <a:pt x="2499138" y="861893"/>
                    <a:pt x="2489243" y="864363"/>
                  </a:cubicBezTo>
                  <a:cubicBezTo>
                    <a:pt x="2452138" y="876711"/>
                    <a:pt x="2412558" y="881650"/>
                    <a:pt x="2372979" y="881650"/>
                  </a:cubicBezTo>
                  <a:cubicBezTo>
                    <a:pt x="2353189" y="881650"/>
                    <a:pt x="2333399" y="881650"/>
                    <a:pt x="2313610" y="879180"/>
                  </a:cubicBezTo>
                  <a:cubicBezTo>
                    <a:pt x="2291346" y="876711"/>
                    <a:pt x="2266609" y="881650"/>
                    <a:pt x="2244346" y="884119"/>
                  </a:cubicBezTo>
                  <a:cubicBezTo>
                    <a:pt x="2217135" y="886589"/>
                    <a:pt x="2189924" y="891528"/>
                    <a:pt x="2162713" y="896468"/>
                  </a:cubicBezTo>
                  <a:cubicBezTo>
                    <a:pt x="2160239" y="896468"/>
                    <a:pt x="2157766" y="893998"/>
                    <a:pt x="2155292" y="893998"/>
                  </a:cubicBezTo>
                  <a:cubicBezTo>
                    <a:pt x="2160239" y="884119"/>
                    <a:pt x="2165187" y="879180"/>
                    <a:pt x="2177555" y="879180"/>
                  </a:cubicBezTo>
                  <a:cubicBezTo>
                    <a:pt x="2197345" y="879180"/>
                    <a:pt x="2202293" y="874241"/>
                    <a:pt x="2204766" y="854484"/>
                  </a:cubicBezTo>
                  <a:cubicBezTo>
                    <a:pt x="2197345" y="847075"/>
                    <a:pt x="2189924" y="852015"/>
                    <a:pt x="2182503" y="854484"/>
                  </a:cubicBezTo>
                  <a:cubicBezTo>
                    <a:pt x="2162713" y="861893"/>
                    <a:pt x="2140450" y="869302"/>
                    <a:pt x="2118186" y="869302"/>
                  </a:cubicBezTo>
                  <a:cubicBezTo>
                    <a:pt x="2098397" y="871771"/>
                    <a:pt x="2081081" y="881650"/>
                    <a:pt x="2063765" y="886589"/>
                  </a:cubicBezTo>
                  <a:cubicBezTo>
                    <a:pt x="2056344" y="889059"/>
                    <a:pt x="2048922" y="889059"/>
                    <a:pt x="2041501" y="893998"/>
                  </a:cubicBezTo>
                  <a:cubicBezTo>
                    <a:pt x="2036554" y="893998"/>
                    <a:pt x="2034080" y="896468"/>
                    <a:pt x="2031606" y="898937"/>
                  </a:cubicBezTo>
                  <a:cubicBezTo>
                    <a:pt x="2026659" y="901407"/>
                    <a:pt x="2024185" y="908816"/>
                    <a:pt x="2021712" y="906346"/>
                  </a:cubicBezTo>
                  <a:cubicBezTo>
                    <a:pt x="1999448" y="901407"/>
                    <a:pt x="1987080" y="926103"/>
                    <a:pt x="1967290" y="928572"/>
                  </a:cubicBezTo>
                  <a:cubicBezTo>
                    <a:pt x="1952448" y="931042"/>
                    <a:pt x="1949974" y="940920"/>
                    <a:pt x="1952448" y="960677"/>
                  </a:cubicBezTo>
                  <a:cubicBezTo>
                    <a:pt x="1957395" y="982904"/>
                    <a:pt x="1962343" y="1002661"/>
                    <a:pt x="1964816" y="1024887"/>
                  </a:cubicBezTo>
                  <a:cubicBezTo>
                    <a:pt x="1972237" y="1059462"/>
                    <a:pt x="1974711" y="1091567"/>
                    <a:pt x="1979659" y="1126141"/>
                  </a:cubicBezTo>
                  <a:cubicBezTo>
                    <a:pt x="1982132" y="1138489"/>
                    <a:pt x="1987080" y="1153307"/>
                    <a:pt x="1989553" y="1168124"/>
                  </a:cubicBezTo>
                  <a:cubicBezTo>
                    <a:pt x="1996974" y="1205168"/>
                    <a:pt x="2001922" y="1242213"/>
                    <a:pt x="2009343" y="1281726"/>
                  </a:cubicBezTo>
                  <a:cubicBezTo>
                    <a:pt x="2016764" y="1318770"/>
                    <a:pt x="2029133" y="1355815"/>
                    <a:pt x="2036554" y="1392859"/>
                  </a:cubicBezTo>
                  <a:cubicBezTo>
                    <a:pt x="2046449" y="1434842"/>
                    <a:pt x="2048922" y="1474356"/>
                    <a:pt x="2061291" y="1513869"/>
                  </a:cubicBezTo>
                  <a:cubicBezTo>
                    <a:pt x="2078607" y="1570670"/>
                    <a:pt x="2081081" y="1632411"/>
                    <a:pt x="2098397" y="1689211"/>
                  </a:cubicBezTo>
                  <a:cubicBezTo>
                    <a:pt x="2108291" y="1718847"/>
                    <a:pt x="2113239" y="1750952"/>
                    <a:pt x="2120660" y="1780587"/>
                  </a:cubicBezTo>
                  <a:cubicBezTo>
                    <a:pt x="2125607" y="1795405"/>
                    <a:pt x="2130555" y="1807753"/>
                    <a:pt x="2135502" y="1822570"/>
                  </a:cubicBezTo>
                  <a:cubicBezTo>
                    <a:pt x="2145397" y="1852206"/>
                    <a:pt x="2155292" y="1884310"/>
                    <a:pt x="2160239" y="1913946"/>
                  </a:cubicBezTo>
                  <a:cubicBezTo>
                    <a:pt x="2167661" y="1955929"/>
                    <a:pt x="2184977" y="1995443"/>
                    <a:pt x="2199819" y="2032487"/>
                  </a:cubicBezTo>
                  <a:cubicBezTo>
                    <a:pt x="2202293" y="2039896"/>
                    <a:pt x="2202293" y="2047305"/>
                    <a:pt x="2207240" y="2054713"/>
                  </a:cubicBezTo>
                  <a:cubicBezTo>
                    <a:pt x="2209714" y="2059653"/>
                    <a:pt x="2214661" y="2064592"/>
                    <a:pt x="2219609" y="2064592"/>
                  </a:cubicBezTo>
                  <a:cubicBezTo>
                    <a:pt x="2222082" y="2064592"/>
                    <a:pt x="2227030" y="2059653"/>
                    <a:pt x="2229503" y="2054713"/>
                  </a:cubicBezTo>
                  <a:cubicBezTo>
                    <a:pt x="2231977" y="2052244"/>
                    <a:pt x="2231977" y="2047305"/>
                    <a:pt x="2234451" y="2042365"/>
                  </a:cubicBezTo>
                  <a:cubicBezTo>
                    <a:pt x="2236925" y="1995443"/>
                    <a:pt x="2239398" y="1950990"/>
                    <a:pt x="2244346" y="1904067"/>
                  </a:cubicBezTo>
                  <a:cubicBezTo>
                    <a:pt x="2246819" y="1871962"/>
                    <a:pt x="2249293" y="1839858"/>
                    <a:pt x="2251767" y="1805283"/>
                  </a:cubicBezTo>
                  <a:cubicBezTo>
                    <a:pt x="2256714" y="1746012"/>
                    <a:pt x="2259188" y="1686742"/>
                    <a:pt x="2264135" y="1629941"/>
                  </a:cubicBezTo>
                  <a:cubicBezTo>
                    <a:pt x="2264135" y="1622532"/>
                    <a:pt x="2264135" y="1617593"/>
                    <a:pt x="2269083" y="1610184"/>
                  </a:cubicBezTo>
                  <a:cubicBezTo>
                    <a:pt x="2276504" y="1639819"/>
                    <a:pt x="2283925" y="1666985"/>
                    <a:pt x="2291346" y="1696620"/>
                  </a:cubicBezTo>
                  <a:cubicBezTo>
                    <a:pt x="2296294" y="1694151"/>
                    <a:pt x="2298767" y="1694151"/>
                    <a:pt x="2298767" y="1694151"/>
                  </a:cubicBezTo>
                  <a:cubicBezTo>
                    <a:pt x="2306188" y="1669455"/>
                    <a:pt x="2316083" y="1644759"/>
                    <a:pt x="2303715" y="1617593"/>
                  </a:cubicBezTo>
                  <a:cubicBezTo>
                    <a:pt x="2301241" y="1612654"/>
                    <a:pt x="2301241" y="1610184"/>
                    <a:pt x="2301241" y="1605245"/>
                  </a:cubicBezTo>
                  <a:cubicBezTo>
                    <a:pt x="2296294" y="1560792"/>
                    <a:pt x="2288872" y="1513869"/>
                    <a:pt x="2286399" y="1469416"/>
                  </a:cubicBezTo>
                  <a:cubicBezTo>
                    <a:pt x="2283925" y="1452129"/>
                    <a:pt x="2283925" y="1432372"/>
                    <a:pt x="2286399" y="1415085"/>
                  </a:cubicBezTo>
                  <a:cubicBezTo>
                    <a:pt x="2286399" y="1410146"/>
                    <a:pt x="2291346" y="1400267"/>
                    <a:pt x="2296294" y="1397798"/>
                  </a:cubicBezTo>
                  <a:cubicBezTo>
                    <a:pt x="2306188" y="1390389"/>
                    <a:pt x="2306188" y="1380511"/>
                    <a:pt x="2306188" y="1368163"/>
                  </a:cubicBezTo>
                  <a:cubicBezTo>
                    <a:pt x="2306188" y="1353345"/>
                    <a:pt x="2306188" y="1340997"/>
                    <a:pt x="2308662" y="1326179"/>
                  </a:cubicBezTo>
                  <a:cubicBezTo>
                    <a:pt x="2358136" y="1378041"/>
                    <a:pt x="2392768" y="1439781"/>
                    <a:pt x="2434822" y="1496582"/>
                  </a:cubicBezTo>
                  <a:cubicBezTo>
                    <a:pt x="2432348" y="1469416"/>
                    <a:pt x="2415032" y="1447190"/>
                    <a:pt x="2405137" y="1420024"/>
                  </a:cubicBezTo>
                  <a:cubicBezTo>
                    <a:pt x="2395242" y="1395328"/>
                    <a:pt x="2385347" y="1370632"/>
                    <a:pt x="2375452" y="1343466"/>
                  </a:cubicBezTo>
                  <a:cubicBezTo>
                    <a:pt x="2380400" y="1348406"/>
                    <a:pt x="2382874" y="1350875"/>
                    <a:pt x="2387821" y="1355815"/>
                  </a:cubicBezTo>
                  <a:cubicBezTo>
                    <a:pt x="2447190" y="1434842"/>
                    <a:pt x="2494191" y="1521278"/>
                    <a:pt x="2531296" y="1612654"/>
                  </a:cubicBezTo>
                  <a:cubicBezTo>
                    <a:pt x="2558507" y="1679333"/>
                    <a:pt x="2585718" y="1743543"/>
                    <a:pt x="2617876" y="1807753"/>
                  </a:cubicBezTo>
                  <a:cubicBezTo>
                    <a:pt x="2657456" y="1894189"/>
                    <a:pt x="2684666" y="1985564"/>
                    <a:pt x="2711877" y="2076940"/>
                  </a:cubicBezTo>
                  <a:cubicBezTo>
                    <a:pt x="2726720" y="2128802"/>
                    <a:pt x="2741562" y="2180663"/>
                    <a:pt x="2746509" y="2232525"/>
                  </a:cubicBezTo>
                  <a:cubicBezTo>
                    <a:pt x="2751457" y="2267100"/>
                    <a:pt x="2756404" y="2299204"/>
                    <a:pt x="2748983" y="2336249"/>
                  </a:cubicBezTo>
                  <a:cubicBezTo>
                    <a:pt x="2744036" y="2353536"/>
                    <a:pt x="2748983" y="2373293"/>
                    <a:pt x="2748983" y="2390580"/>
                  </a:cubicBezTo>
                  <a:cubicBezTo>
                    <a:pt x="2751457" y="2417746"/>
                    <a:pt x="2746509" y="2439972"/>
                    <a:pt x="2731667" y="2462198"/>
                  </a:cubicBezTo>
                  <a:cubicBezTo>
                    <a:pt x="2719298" y="2477016"/>
                    <a:pt x="2714351" y="2499243"/>
                    <a:pt x="2706930" y="2516530"/>
                  </a:cubicBezTo>
                  <a:cubicBezTo>
                    <a:pt x="2694561" y="2536287"/>
                    <a:pt x="2679719" y="2553574"/>
                    <a:pt x="2654982" y="2563452"/>
                  </a:cubicBezTo>
                  <a:cubicBezTo>
                    <a:pt x="2635192" y="2573331"/>
                    <a:pt x="2620350" y="2588148"/>
                    <a:pt x="2598087" y="2593088"/>
                  </a:cubicBezTo>
                  <a:cubicBezTo>
                    <a:pt x="2575823" y="2595557"/>
                    <a:pt x="2556033" y="2595557"/>
                    <a:pt x="2533770" y="2588148"/>
                  </a:cubicBezTo>
                  <a:cubicBezTo>
                    <a:pt x="2489243" y="2575800"/>
                    <a:pt x="2449664" y="2551104"/>
                    <a:pt x="2412558" y="2526408"/>
                  </a:cubicBezTo>
                  <a:cubicBezTo>
                    <a:pt x="2274030" y="2432563"/>
                    <a:pt x="2150345" y="2321431"/>
                    <a:pt x="2041501" y="2195481"/>
                  </a:cubicBezTo>
                  <a:cubicBezTo>
                    <a:pt x="1992027" y="2141150"/>
                    <a:pt x="1949974" y="2081879"/>
                    <a:pt x="1917816" y="2015200"/>
                  </a:cubicBezTo>
                  <a:cubicBezTo>
                    <a:pt x="1900500" y="1980625"/>
                    <a:pt x="1880710" y="1948520"/>
                    <a:pt x="1863394" y="1913946"/>
                  </a:cubicBezTo>
                  <a:cubicBezTo>
                    <a:pt x="1858447" y="1901598"/>
                    <a:pt x="1851025" y="1886780"/>
                    <a:pt x="1846078" y="1874432"/>
                  </a:cubicBezTo>
                  <a:cubicBezTo>
                    <a:pt x="1833709" y="1844797"/>
                    <a:pt x="1818867" y="1815161"/>
                    <a:pt x="1808972" y="1785526"/>
                  </a:cubicBezTo>
                  <a:cubicBezTo>
                    <a:pt x="1796604" y="1746012"/>
                    <a:pt x="1784235" y="1706499"/>
                    <a:pt x="1771867" y="1664515"/>
                  </a:cubicBezTo>
                  <a:cubicBezTo>
                    <a:pt x="1759498" y="1629941"/>
                    <a:pt x="1749603" y="1597836"/>
                    <a:pt x="1739708" y="1563262"/>
                  </a:cubicBezTo>
                  <a:cubicBezTo>
                    <a:pt x="1729814" y="1523748"/>
                    <a:pt x="1722392" y="1484234"/>
                    <a:pt x="1710024" y="1444720"/>
                  </a:cubicBezTo>
                  <a:cubicBezTo>
                    <a:pt x="1692708" y="1390389"/>
                    <a:pt x="1672918" y="1336058"/>
                    <a:pt x="1655602" y="1279257"/>
                  </a:cubicBezTo>
                  <a:cubicBezTo>
                    <a:pt x="1640760" y="1229865"/>
                    <a:pt x="1628391" y="1180472"/>
                    <a:pt x="1616023" y="1128611"/>
                  </a:cubicBezTo>
                  <a:cubicBezTo>
                    <a:pt x="1611075" y="1113793"/>
                    <a:pt x="1606128" y="1096506"/>
                    <a:pt x="1603654" y="1079219"/>
                  </a:cubicBezTo>
                  <a:cubicBezTo>
                    <a:pt x="1596233" y="1079219"/>
                    <a:pt x="1588812" y="1081688"/>
                    <a:pt x="1581391" y="1084158"/>
                  </a:cubicBezTo>
                  <a:cubicBezTo>
                    <a:pt x="1549233" y="1098975"/>
                    <a:pt x="1517074" y="1111323"/>
                    <a:pt x="1484916" y="1126141"/>
                  </a:cubicBezTo>
                  <a:cubicBezTo>
                    <a:pt x="1467600" y="1136019"/>
                    <a:pt x="1450284" y="1148368"/>
                    <a:pt x="1435442" y="1158246"/>
                  </a:cubicBezTo>
                  <a:cubicBezTo>
                    <a:pt x="1430494" y="1160716"/>
                    <a:pt x="1425547" y="1160716"/>
                    <a:pt x="1420600" y="1163185"/>
                  </a:cubicBezTo>
                  <a:cubicBezTo>
                    <a:pt x="1403284" y="1170594"/>
                    <a:pt x="1383494" y="1175533"/>
                    <a:pt x="1363704" y="1182942"/>
                  </a:cubicBezTo>
                  <a:cubicBezTo>
                    <a:pt x="1351336" y="1187881"/>
                    <a:pt x="1338967" y="1190351"/>
                    <a:pt x="1346388" y="1207638"/>
                  </a:cubicBezTo>
                  <a:cubicBezTo>
                    <a:pt x="1348862" y="1210108"/>
                    <a:pt x="1346388" y="1215047"/>
                    <a:pt x="1346388" y="1217517"/>
                  </a:cubicBezTo>
                  <a:cubicBezTo>
                    <a:pt x="1334020" y="1237273"/>
                    <a:pt x="1321651" y="1257030"/>
                    <a:pt x="1311756" y="1279257"/>
                  </a:cubicBezTo>
                  <a:cubicBezTo>
                    <a:pt x="1304335" y="1299014"/>
                    <a:pt x="1299388" y="1321240"/>
                    <a:pt x="1291966" y="1343466"/>
                  </a:cubicBezTo>
                  <a:cubicBezTo>
                    <a:pt x="1289493" y="1350875"/>
                    <a:pt x="1287019" y="1358284"/>
                    <a:pt x="1287019" y="1365693"/>
                  </a:cubicBezTo>
                  <a:cubicBezTo>
                    <a:pt x="1282072" y="1387919"/>
                    <a:pt x="1277124" y="1410146"/>
                    <a:pt x="1274650" y="1432372"/>
                  </a:cubicBezTo>
                  <a:cubicBezTo>
                    <a:pt x="1274650" y="1447190"/>
                    <a:pt x="1289493" y="1454599"/>
                    <a:pt x="1306809" y="1447190"/>
                  </a:cubicBezTo>
                  <a:cubicBezTo>
                    <a:pt x="1316704" y="1442251"/>
                    <a:pt x="1326598" y="1437312"/>
                    <a:pt x="1336493" y="1432372"/>
                  </a:cubicBezTo>
                  <a:cubicBezTo>
                    <a:pt x="1356283" y="1422494"/>
                    <a:pt x="1376073" y="1427433"/>
                    <a:pt x="1393389" y="1439781"/>
                  </a:cubicBezTo>
                  <a:cubicBezTo>
                    <a:pt x="1450284" y="1474356"/>
                    <a:pt x="1499758" y="1516339"/>
                    <a:pt x="1541811" y="1568201"/>
                  </a:cubicBezTo>
                  <a:cubicBezTo>
                    <a:pt x="1561601" y="1592897"/>
                    <a:pt x="1561601" y="1597836"/>
                    <a:pt x="1544285" y="1622532"/>
                  </a:cubicBezTo>
                  <a:cubicBezTo>
                    <a:pt x="1544285" y="1625002"/>
                    <a:pt x="1541811" y="1627471"/>
                    <a:pt x="1541811" y="1629941"/>
                  </a:cubicBezTo>
                  <a:cubicBezTo>
                    <a:pt x="1534390" y="1664515"/>
                    <a:pt x="1507179" y="1681803"/>
                    <a:pt x="1479969" y="1699090"/>
                  </a:cubicBezTo>
                  <a:cubicBezTo>
                    <a:pt x="1435442" y="1726256"/>
                    <a:pt x="1388441" y="1746012"/>
                    <a:pt x="1343914" y="1770709"/>
                  </a:cubicBezTo>
                  <a:cubicBezTo>
                    <a:pt x="1326598" y="1783057"/>
                    <a:pt x="1311756" y="1795405"/>
                    <a:pt x="1301861" y="1812692"/>
                  </a:cubicBezTo>
                  <a:cubicBezTo>
                    <a:pt x="1296914" y="1817631"/>
                    <a:pt x="1294440" y="1822570"/>
                    <a:pt x="1294440" y="1829979"/>
                  </a:cubicBezTo>
                  <a:cubicBezTo>
                    <a:pt x="1291966" y="1857145"/>
                    <a:pt x="1289493" y="1884310"/>
                    <a:pt x="1284545" y="1916415"/>
                  </a:cubicBezTo>
                  <a:cubicBezTo>
                    <a:pt x="1296914" y="1911476"/>
                    <a:pt x="1309282" y="1909007"/>
                    <a:pt x="1319177" y="1901598"/>
                  </a:cubicBezTo>
                  <a:cubicBezTo>
                    <a:pt x="1385968" y="1859614"/>
                    <a:pt x="1460179" y="1827509"/>
                    <a:pt x="1531917" y="1795405"/>
                  </a:cubicBezTo>
                  <a:cubicBezTo>
                    <a:pt x="1544285" y="1790465"/>
                    <a:pt x="1556654" y="1787996"/>
                    <a:pt x="1569022" y="1787996"/>
                  </a:cubicBezTo>
                  <a:cubicBezTo>
                    <a:pt x="1541811" y="1805283"/>
                    <a:pt x="1514601" y="1820101"/>
                    <a:pt x="1487390" y="1837388"/>
                  </a:cubicBezTo>
                  <a:cubicBezTo>
                    <a:pt x="1487390" y="1837388"/>
                    <a:pt x="1487390" y="1839858"/>
                    <a:pt x="1487390" y="1839858"/>
                  </a:cubicBezTo>
                  <a:cubicBezTo>
                    <a:pt x="1514601" y="1832449"/>
                    <a:pt x="1541811" y="1825040"/>
                    <a:pt x="1569022" y="1817631"/>
                  </a:cubicBezTo>
                  <a:cubicBezTo>
                    <a:pt x="1571496" y="1820101"/>
                    <a:pt x="1571496" y="1822570"/>
                    <a:pt x="1571496" y="1825040"/>
                  </a:cubicBezTo>
                  <a:cubicBezTo>
                    <a:pt x="1546759" y="1849736"/>
                    <a:pt x="1512127" y="1864554"/>
                    <a:pt x="1484916" y="1886780"/>
                  </a:cubicBezTo>
                  <a:cubicBezTo>
                    <a:pt x="1497285" y="1896658"/>
                    <a:pt x="1489863" y="1906537"/>
                    <a:pt x="1484916" y="1918885"/>
                  </a:cubicBezTo>
                  <a:cubicBezTo>
                    <a:pt x="1487390" y="1921355"/>
                    <a:pt x="1489863" y="1921355"/>
                    <a:pt x="1494811" y="1923824"/>
                  </a:cubicBezTo>
                  <a:cubicBezTo>
                    <a:pt x="1477495" y="1943581"/>
                    <a:pt x="1452758" y="1950990"/>
                    <a:pt x="1437915" y="1978156"/>
                  </a:cubicBezTo>
                  <a:cubicBezTo>
                    <a:pt x="1467600" y="1965807"/>
                    <a:pt x="1494811" y="1953459"/>
                    <a:pt x="1519548" y="1941111"/>
                  </a:cubicBezTo>
                  <a:cubicBezTo>
                    <a:pt x="1522022" y="1941111"/>
                    <a:pt x="1522022" y="1943581"/>
                    <a:pt x="1524495" y="1943581"/>
                  </a:cubicBezTo>
                  <a:cubicBezTo>
                    <a:pt x="1519548" y="1948520"/>
                    <a:pt x="1517074" y="1953459"/>
                    <a:pt x="1514601" y="1958399"/>
                  </a:cubicBezTo>
                  <a:cubicBezTo>
                    <a:pt x="1479969" y="1992973"/>
                    <a:pt x="1445337" y="2027548"/>
                    <a:pt x="1410705" y="2059653"/>
                  </a:cubicBezTo>
                  <a:cubicBezTo>
                    <a:pt x="1381020" y="2084349"/>
                    <a:pt x="1356283" y="2111514"/>
                    <a:pt x="1329072" y="2138680"/>
                  </a:cubicBezTo>
                  <a:cubicBezTo>
                    <a:pt x="1304335" y="2165846"/>
                    <a:pt x="1277124" y="2190542"/>
                    <a:pt x="1249913" y="2215238"/>
                  </a:cubicBezTo>
                  <a:cubicBezTo>
                    <a:pt x="1235071" y="2227586"/>
                    <a:pt x="1217755" y="2237464"/>
                    <a:pt x="1202913" y="2247343"/>
                  </a:cubicBezTo>
                  <a:cubicBezTo>
                    <a:pt x="1197965" y="2252282"/>
                    <a:pt x="1193018" y="2259691"/>
                    <a:pt x="1183123" y="2269569"/>
                  </a:cubicBezTo>
                  <a:cubicBezTo>
                    <a:pt x="1193018" y="2269569"/>
                    <a:pt x="1197965" y="2269569"/>
                    <a:pt x="1205387" y="2269569"/>
                  </a:cubicBezTo>
                  <a:cubicBezTo>
                    <a:pt x="1148491" y="2336249"/>
                    <a:pt x="1089122" y="2400458"/>
                    <a:pt x="1039648" y="2469607"/>
                  </a:cubicBezTo>
                  <a:cubicBezTo>
                    <a:pt x="987700" y="2538756"/>
                    <a:pt x="945647" y="2612845"/>
                    <a:pt x="898646" y="2684463"/>
                  </a:cubicBezTo>
                  <a:cubicBezTo>
                    <a:pt x="859067" y="2677054"/>
                    <a:pt x="829382" y="2654828"/>
                    <a:pt x="802171" y="2632601"/>
                  </a:cubicBezTo>
                  <a:cubicBezTo>
                    <a:pt x="789803" y="2622723"/>
                    <a:pt x="784855" y="2612845"/>
                    <a:pt x="784855" y="2598027"/>
                  </a:cubicBezTo>
                  <a:cubicBezTo>
                    <a:pt x="779908" y="2556044"/>
                    <a:pt x="777434" y="2514060"/>
                    <a:pt x="770013" y="2474547"/>
                  </a:cubicBezTo>
                  <a:cubicBezTo>
                    <a:pt x="765066" y="2449850"/>
                    <a:pt x="760118" y="2427624"/>
                    <a:pt x="760118" y="2402928"/>
                  </a:cubicBezTo>
                  <a:cubicBezTo>
                    <a:pt x="757645" y="2400458"/>
                    <a:pt x="757645" y="2395519"/>
                    <a:pt x="755171" y="2393049"/>
                  </a:cubicBezTo>
                  <a:cubicBezTo>
                    <a:pt x="742802" y="2370823"/>
                    <a:pt x="732907" y="2351066"/>
                    <a:pt x="720539" y="2328840"/>
                  </a:cubicBezTo>
                  <a:cubicBezTo>
                    <a:pt x="762592" y="2291796"/>
                    <a:pt x="799698" y="2257221"/>
                    <a:pt x="841751" y="2222647"/>
                  </a:cubicBezTo>
                  <a:cubicBezTo>
                    <a:pt x="831856" y="2212768"/>
                    <a:pt x="824435" y="2205359"/>
                    <a:pt x="817014" y="2197951"/>
                  </a:cubicBezTo>
                  <a:cubicBezTo>
                    <a:pt x="787329" y="2168315"/>
                    <a:pt x="755171" y="2138680"/>
                    <a:pt x="725486" y="2109045"/>
                  </a:cubicBezTo>
                  <a:cubicBezTo>
                    <a:pt x="695802" y="2079409"/>
                    <a:pt x="683433" y="2044835"/>
                    <a:pt x="683433" y="2002852"/>
                  </a:cubicBezTo>
                  <a:cubicBezTo>
                    <a:pt x="683433" y="1968277"/>
                    <a:pt x="680959" y="1933703"/>
                    <a:pt x="695802" y="1899128"/>
                  </a:cubicBezTo>
                  <a:cubicBezTo>
                    <a:pt x="695802" y="1899128"/>
                    <a:pt x="698275" y="1896658"/>
                    <a:pt x="700749" y="1894189"/>
                  </a:cubicBezTo>
                  <a:cubicBezTo>
                    <a:pt x="703223" y="1904067"/>
                    <a:pt x="705697" y="1913946"/>
                    <a:pt x="708170" y="1921355"/>
                  </a:cubicBezTo>
                  <a:cubicBezTo>
                    <a:pt x="710644" y="1928763"/>
                    <a:pt x="713118" y="1933703"/>
                    <a:pt x="715591" y="1941111"/>
                  </a:cubicBezTo>
                  <a:cubicBezTo>
                    <a:pt x="715591" y="1918885"/>
                    <a:pt x="710644" y="1896658"/>
                    <a:pt x="723013" y="1871962"/>
                  </a:cubicBezTo>
                  <a:cubicBezTo>
                    <a:pt x="725486" y="1889250"/>
                    <a:pt x="727960" y="1906537"/>
                    <a:pt x="732907" y="1928763"/>
                  </a:cubicBezTo>
                  <a:cubicBezTo>
                    <a:pt x="740329" y="1911476"/>
                    <a:pt x="745276" y="1896658"/>
                    <a:pt x="752697" y="1884310"/>
                  </a:cubicBezTo>
                  <a:cubicBezTo>
                    <a:pt x="757645" y="1871962"/>
                    <a:pt x="757645" y="1857145"/>
                    <a:pt x="774961" y="1849736"/>
                  </a:cubicBezTo>
                  <a:cubicBezTo>
                    <a:pt x="774961" y="1849736"/>
                    <a:pt x="777434" y="1847266"/>
                    <a:pt x="777434" y="1844797"/>
                  </a:cubicBezTo>
                  <a:cubicBezTo>
                    <a:pt x="787329" y="1805283"/>
                    <a:pt x="802171" y="1765769"/>
                    <a:pt x="804645" y="1721316"/>
                  </a:cubicBezTo>
                  <a:cubicBezTo>
                    <a:pt x="804645" y="1711438"/>
                    <a:pt x="802171" y="1701560"/>
                    <a:pt x="802171" y="1686742"/>
                  </a:cubicBezTo>
                  <a:cubicBezTo>
                    <a:pt x="809593" y="1689211"/>
                    <a:pt x="817014" y="1689211"/>
                    <a:pt x="821961" y="1694151"/>
                  </a:cubicBezTo>
                  <a:cubicBezTo>
                    <a:pt x="873909" y="1726256"/>
                    <a:pt x="960489" y="1847266"/>
                    <a:pt x="962963" y="1862084"/>
                  </a:cubicBezTo>
                  <a:cubicBezTo>
                    <a:pt x="970384" y="1894189"/>
                    <a:pt x="975331" y="1928763"/>
                    <a:pt x="975331" y="1963338"/>
                  </a:cubicBezTo>
                  <a:cubicBezTo>
                    <a:pt x="975331" y="1988034"/>
                    <a:pt x="982752" y="2015200"/>
                    <a:pt x="987700" y="2042365"/>
                  </a:cubicBezTo>
                  <a:cubicBezTo>
                    <a:pt x="987700" y="2049774"/>
                    <a:pt x="987700" y="2059653"/>
                    <a:pt x="987700" y="2067061"/>
                  </a:cubicBezTo>
                  <a:cubicBezTo>
                    <a:pt x="987700" y="2076940"/>
                    <a:pt x="987700" y="2084349"/>
                    <a:pt x="987700" y="2094227"/>
                  </a:cubicBezTo>
                  <a:cubicBezTo>
                    <a:pt x="1017384" y="2086818"/>
                    <a:pt x="1034700" y="2067061"/>
                    <a:pt x="1054490" y="2049774"/>
                  </a:cubicBezTo>
                  <a:cubicBezTo>
                    <a:pt x="1032227" y="2030017"/>
                    <a:pt x="1044595" y="2005321"/>
                    <a:pt x="1047069" y="1983095"/>
                  </a:cubicBezTo>
                  <a:cubicBezTo>
                    <a:pt x="1047069" y="1958399"/>
                    <a:pt x="1054490" y="1933703"/>
                    <a:pt x="1056964" y="1909007"/>
                  </a:cubicBezTo>
                  <a:cubicBezTo>
                    <a:pt x="1064385" y="1859614"/>
                    <a:pt x="1069332" y="1810222"/>
                    <a:pt x="1074280" y="1760830"/>
                  </a:cubicBezTo>
                  <a:cubicBezTo>
                    <a:pt x="1076753" y="1750952"/>
                    <a:pt x="1079227" y="1743543"/>
                    <a:pt x="1079227" y="1736134"/>
                  </a:cubicBezTo>
                  <a:cubicBezTo>
                    <a:pt x="1084175" y="1711438"/>
                    <a:pt x="1086648" y="1684272"/>
                    <a:pt x="1089122" y="1659576"/>
                  </a:cubicBezTo>
                  <a:cubicBezTo>
                    <a:pt x="1094069" y="1629941"/>
                    <a:pt x="1099017" y="1602775"/>
                    <a:pt x="1103964" y="1573140"/>
                  </a:cubicBezTo>
                  <a:cubicBezTo>
                    <a:pt x="1108912" y="1553383"/>
                    <a:pt x="1113859" y="1531157"/>
                    <a:pt x="1118807" y="1508930"/>
                  </a:cubicBezTo>
                  <a:cubicBezTo>
                    <a:pt x="1128701" y="1469416"/>
                    <a:pt x="1136123" y="1427433"/>
                    <a:pt x="1146017" y="1387919"/>
                  </a:cubicBezTo>
                  <a:cubicBezTo>
                    <a:pt x="1150965" y="1363223"/>
                    <a:pt x="1155912" y="1338527"/>
                    <a:pt x="1163333" y="1313831"/>
                  </a:cubicBezTo>
                  <a:cubicBezTo>
                    <a:pt x="1165807" y="1306422"/>
                    <a:pt x="1168281" y="1296544"/>
                    <a:pt x="1173228" y="1289135"/>
                  </a:cubicBezTo>
                  <a:cubicBezTo>
                    <a:pt x="1153439" y="1291605"/>
                    <a:pt x="1106438" y="1318770"/>
                    <a:pt x="1094069" y="1333588"/>
                  </a:cubicBezTo>
                  <a:cubicBezTo>
                    <a:pt x="1086648" y="1338527"/>
                    <a:pt x="1079227" y="1343466"/>
                    <a:pt x="1071806" y="1348406"/>
                  </a:cubicBezTo>
                  <a:cubicBezTo>
                    <a:pt x="1064385" y="1355815"/>
                    <a:pt x="1056964" y="1360754"/>
                    <a:pt x="1047069" y="1365693"/>
                  </a:cubicBezTo>
                  <a:cubicBezTo>
                    <a:pt x="1042122" y="1368163"/>
                    <a:pt x="1034700" y="1370632"/>
                    <a:pt x="1029753" y="1375571"/>
                  </a:cubicBezTo>
                  <a:cubicBezTo>
                    <a:pt x="1017384" y="1382980"/>
                    <a:pt x="1007490" y="1387919"/>
                    <a:pt x="997595" y="1395328"/>
                  </a:cubicBezTo>
                  <a:cubicBezTo>
                    <a:pt x="990174" y="1400267"/>
                    <a:pt x="982752" y="1405207"/>
                    <a:pt x="975331" y="1407676"/>
                  </a:cubicBezTo>
                  <a:cubicBezTo>
                    <a:pt x="960489" y="1415085"/>
                    <a:pt x="945647" y="1420024"/>
                    <a:pt x="930804" y="1427433"/>
                  </a:cubicBezTo>
                  <a:cubicBezTo>
                    <a:pt x="915962" y="1434842"/>
                    <a:pt x="903594" y="1444720"/>
                    <a:pt x="898646" y="1459538"/>
                  </a:cubicBezTo>
                  <a:cubicBezTo>
                    <a:pt x="896173" y="1469416"/>
                    <a:pt x="888751" y="1474356"/>
                    <a:pt x="878857" y="1474356"/>
                  </a:cubicBezTo>
                  <a:cubicBezTo>
                    <a:pt x="868962" y="1474356"/>
                    <a:pt x="859067" y="1479295"/>
                    <a:pt x="854119" y="1489173"/>
                  </a:cubicBezTo>
                  <a:cubicBezTo>
                    <a:pt x="849172" y="1494113"/>
                    <a:pt x="841751" y="1496582"/>
                    <a:pt x="834330" y="1496582"/>
                  </a:cubicBezTo>
                  <a:cubicBezTo>
                    <a:pt x="817014" y="1501521"/>
                    <a:pt x="802171" y="1506461"/>
                    <a:pt x="792277" y="1521278"/>
                  </a:cubicBezTo>
                  <a:cubicBezTo>
                    <a:pt x="789803" y="1523748"/>
                    <a:pt x="787329" y="1526217"/>
                    <a:pt x="782382" y="1528687"/>
                  </a:cubicBezTo>
                  <a:cubicBezTo>
                    <a:pt x="725486" y="1565731"/>
                    <a:pt x="668591" y="1602775"/>
                    <a:pt x="611695" y="1642289"/>
                  </a:cubicBezTo>
                  <a:cubicBezTo>
                    <a:pt x="584484" y="1659576"/>
                    <a:pt x="562221" y="1679333"/>
                    <a:pt x="535010" y="1696620"/>
                  </a:cubicBezTo>
                  <a:cubicBezTo>
                    <a:pt x="512747" y="1708968"/>
                    <a:pt x="490483" y="1721316"/>
                    <a:pt x="468220" y="1733664"/>
                  </a:cubicBezTo>
                  <a:cubicBezTo>
                    <a:pt x="458325" y="1738604"/>
                    <a:pt x="450904" y="1746012"/>
                    <a:pt x="441009" y="1750952"/>
                  </a:cubicBezTo>
                  <a:cubicBezTo>
                    <a:pt x="436062" y="1753421"/>
                    <a:pt x="428641" y="1758360"/>
                    <a:pt x="421219" y="1760830"/>
                  </a:cubicBezTo>
                  <a:cubicBezTo>
                    <a:pt x="411325" y="1765769"/>
                    <a:pt x="401430" y="1768239"/>
                    <a:pt x="391535" y="1773178"/>
                  </a:cubicBezTo>
                  <a:cubicBezTo>
                    <a:pt x="379166" y="1778117"/>
                    <a:pt x="366798" y="1780587"/>
                    <a:pt x="354429" y="1775648"/>
                  </a:cubicBezTo>
                  <a:cubicBezTo>
                    <a:pt x="322271" y="1765769"/>
                    <a:pt x="295060" y="1748482"/>
                    <a:pt x="270323" y="1731195"/>
                  </a:cubicBezTo>
                  <a:cubicBezTo>
                    <a:pt x="203533" y="1689211"/>
                    <a:pt x="146637" y="1637350"/>
                    <a:pt x="92216" y="1583018"/>
                  </a:cubicBezTo>
                  <a:cubicBezTo>
                    <a:pt x="65005" y="1555853"/>
                    <a:pt x="42741" y="1526217"/>
                    <a:pt x="22952" y="1496582"/>
                  </a:cubicBezTo>
                  <a:cubicBezTo>
                    <a:pt x="8109" y="1476825"/>
                    <a:pt x="688" y="1457068"/>
                    <a:pt x="5636" y="1432372"/>
                  </a:cubicBezTo>
                  <a:cubicBezTo>
                    <a:pt x="8109" y="1417555"/>
                    <a:pt x="3162" y="1402737"/>
                    <a:pt x="3162" y="1390389"/>
                  </a:cubicBezTo>
                  <a:cubicBezTo>
                    <a:pt x="3162" y="1382980"/>
                    <a:pt x="688" y="1378041"/>
                    <a:pt x="688" y="1370632"/>
                  </a:cubicBezTo>
                  <a:cubicBezTo>
                    <a:pt x="-4259" y="1340997"/>
                    <a:pt x="18004" y="1313831"/>
                    <a:pt x="50163" y="1313831"/>
                  </a:cubicBezTo>
                  <a:cubicBezTo>
                    <a:pt x="62531" y="1313831"/>
                    <a:pt x="74900" y="1311362"/>
                    <a:pt x="87268" y="1316301"/>
                  </a:cubicBezTo>
                  <a:cubicBezTo>
                    <a:pt x="99637" y="1318770"/>
                    <a:pt x="112005" y="1313831"/>
                    <a:pt x="121900" y="1308892"/>
                  </a:cubicBezTo>
                  <a:cubicBezTo>
                    <a:pt x="168901" y="1291605"/>
                    <a:pt x="218375" y="1286666"/>
                    <a:pt x="270323" y="1286666"/>
                  </a:cubicBezTo>
                  <a:cubicBezTo>
                    <a:pt x="257954" y="1316301"/>
                    <a:pt x="230744" y="1326179"/>
                    <a:pt x="215901" y="1350875"/>
                  </a:cubicBezTo>
                  <a:cubicBezTo>
                    <a:pt x="272797" y="1323710"/>
                    <a:pt x="329692" y="1296544"/>
                    <a:pt x="386587" y="1269378"/>
                  </a:cubicBezTo>
                  <a:cubicBezTo>
                    <a:pt x="443483" y="1242213"/>
                    <a:pt x="500378" y="1215047"/>
                    <a:pt x="562221" y="1200229"/>
                  </a:cubicBezTo>
                  <a:cubicBezTo>
                    <a:pt x="557274" y="1205168"/>
                    <a:pt x="552326" y="1210108"/>
                    <a:pt x="544905" y="1212577"/>
                  </a:cubicBezTo>
                  <a:cubicBezTo>
                    <a:pt x="517694" y="1229865"/>
                    <a:pt x="490483" y="1244682"/>
                    <a:pt x="460799" y="1259500"/>
                  </a:cubicBezTo>
                  <a:cubicBezTo>
                    <a:pt x="438535" y="1271848"/>
                    <a:pt x="413798" y="1281726"/>
                    <a:pt x="394009" y="1301483"/>
                  </a:cubicBezTo>
                  <a:cubicBezTo>
                    <a:pt x="381640" y="1313831"/>
                    <a:pt x="361850" y="1318770"/>
                    <a:pt x="347008" y="1328649"/>
                  </a:cubicBezTo>
                  <a:cubicBezTo>
                    <a:pt x="324745" y="1338527"/>
                    <a:pt x="300007" y="1348406"/>
                    <a:pt x="277744" y="1358284"/>
                  </a:cubicBezTo>
                  <a:cubicBezTo>
                    <a:pt x="272797" y="1360754"/>
                    <a:pt x="270323" y="1363223"/>
                    <a:pt x="262902" y="1368163"/>
                  </a:cubicBezTo>
                  <a:cubicBezTo>
                    <a:pt x="292586" y="1365693"/>
                    <a:pt x="312376" y="1350875"/>
                    <a:pt x="334639" y="1343466"/>
                  </a:cubicBezTo>
                  <a:cubicBezTo>
                    <a:pt x="349482" y="1338527"/>
                    <a:pt x="361850" y="1333588"/>
                    <a:pt x="374219" y="1328649"/>
                  </a:cubicBezTo>
                  <a:cubicBezTo>
                    <a:pt x="376693" y="1326179"/>
                    <a:pt x="381640" y="1326179"/>
                    <a:pt x="381640" y="1323710"/>
                  </a:cubicBezTo>
                  <a:cubicBezTo>
                    <a:pt x="398956" y="1308892"/>
                    <a:pt x="418746" y="1306422"/>
                    <a:pt x="438535" y="1299014"/>
                  </a:cubicBezTo>
                  <a:cubicBezTo>
                    <a:pt x="453378" y="1294074"/>
                    <a:pt x="470694" y="1286666"/>
                    <a:pt x="485536" y="1279257"/>
                  </a:cubicBezTo>
                  <a:cubicBezTo>
                    <a:pt x="500378" y="1271848"/>
                    <a:pt x="510273" y="1259500"/>
                    <a:pt x="530063" y="1264439"/>
                  </a:cubicBezTo>
                  <a:cubicBezTo>
                    <a:pt x="530063" y="1264439"/>
                    <a:pt x="532536" y="1261969"/>
                    <a:pt x="535010" y="1261969"/>
                  </a:cubicBezTo>
                  <a:cubicBezTo>
                    <a:pt x="557274" y="1247152"/>
                    <a:pt x="577063" y="1234804"/>
                    <a:pt x="599327" y="1222456"/>
                  </a:cubicBezTo>
                  <a:cubicBezTo>
                    <a:pt x="604274" y="1219986"/>
                    <a:pt x="609222" y="1217517"/>
                    <a:pt x="614169" y="1215047"/>
                  </a:cubicBezTo>
                  <a:cubicBezTo>
                    <a:pt x="638906" y="1212577"/>
                    <a:pt x="661169" y="1202699"/>
                    <a:pt x="683433" y="1187881"/>
                  </a:cubicBezTo>
                  <a:cubicBezTo>
                    <a:pt x="703223" y="1175533"/>
                    <a:pt x="725486" y="1168124"/>
                    <a:pt x="745276" y="1158246"/>
                  </a:cubicBezTo>
                  <a:cubicBezTo>
                    <a:pt x="772487" y="1145898"/>
                    <a:pt x="799698" y="1133550"/>
                    <a:pt x="826909" y="1121202"/>
                  </a:cubicBezTo>
                  <a:cubicBezTo>
                    <a:pt x="831856" y="1118732"/>
                    <a:pt x="836803" y="1113793"/>
                    <a:pt x="841751" y="1113793"/>
                  </a:cubicBezTo>
                  <a:cubicBezTo>
                    <a:pt x="868962" y="1113793"/>
                    <a:pt x="891225" y="1098975"/>
                    <a:pt x="918436" y="1089097"/>
                  </a:cubicBezTo>
                  <a:cubicBezTo>
                    <a:pt x="950594" y="1076749"/>
                    <a:pt x="982752" y="1056992"/>
                    <a:pt x="1019858" y="1049583"/>
                  </a:cubicBezTo>
                  <a:cubicBezTo>
                    <a:pt x="1042122" y="1044644"/>
                    <a:pt x="1061911" y="1029826"/>
                    <a:pt x="1084175" y="1019948"/>
                  </a:cubicBezTo>
                  <a:cubicBezTo>
                    <a:pt x="1094069" y="1015009"/>
                    <a:pt x="1103964" y="1010069"/>
                    <a:pt x="1113859" y="1007600"/>
                  </a:cubicBezTo>
                  <a:cubicBezTo>
                    <a:pt x="1141070" y="1000191"/>
                    <a:pt x="1163333" y="992782"/>
                    <a:pt x="1185597" y="975495"/>
                  </a:cubicBezTo>
                  <a:cubicBezTo>
                    <a:pt x="1195492" y="970556"/>
                    <a:pt x="1207860" y="968086"/>
                    <a:pt x="1217755" y="963147"/>
                  </a:cubicBezTo>
                  <a:cubicBezTo>
                    <a:pt x="1259808" y="948329"/>
                    <a:pt x="1299388" y="933512"/>
                    <a:pt x="1341441" y="916224"/>
                  </a:cubicBezTo>
                  <a:cubicBezTo>
                    <a:pt x="1363704" y="908816"/>
                    <a:pt x="1390915" y="901407"/>
                    <a:pt x="1413178" y="891528"/>
                  </a:cubicBezTo>
                  <a:cubicBezTo>
                    <a:pt x="1457705" y="874241"/>
                    <a:pt x="1502232" y="856954"/>
                    <a:pt x="1546759" y="839667"/>
                  </a:cubicBezTo>
                  <a:cubicBezTo>
                    <a:pt x="1544285" y="817440"/>
                    <a:pt x="1539338" y="795214"/>
                    <a:pt x="1536864" y="772987"/>
                  </a:cubicBezTo>
                  <a:cubicBezTo>
                    <a:pt x="1529443" y="726065"/>
                    <a:pt x="1522022" y="679142"/>
                    <a:pt x="1517074" y="632220"/>
                  </a:cubicBezTo>
                  <a:cubicBezTo>
                    <a:pt x="1507179" y="558131"/>
                    <a:pt x="1497285" y="481573"/>
                    <a:pt x="1487390" y="405015"/>
                  </a:cubicBezTo>
                  <a:cubicBezTo>
                    <a:pt x="1479969" y="348215"/>
                    <a:pt x="1470074" y="288944"/>
                    <a:pt x="1460179" y="229673"/>
                  </a:cubicBezTo>
                  <a:cubicBezTo>
                    <a:pt x="1455231" y="185220"/>
                    <a:pt x="1450284" y="138298"/>
                    <a:pt x="1445337" y="91375"/>
                  </a:cubicBezTo>
                  <a:cubicBezTo>
                    <a:pt x="1442863" y="74088"/>
                    <a:pt x="1442863" y="56801"/>
                    <a:pt x="1440389" y="37044"/>
                  </a:cubicBezTo>
                  <a:cubicBezTo>
                    <a:pt x="1437915" y="27166"/>
                    <a:pt x="1430494" y="14818"/>
                    <a:pt x="1428021" y="2470"/>
                  </a:cubicBezTo>
                  <a:cubicBezTo>
                    <a:pt x="1430494" y="2470"/>
                    <a:pt x="1435442" y="0"/>
                    <a:pt x="14403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11EBAC2-444B-4521-9CBF-007CF5F6FF22}"/>
                </a:ext>
              </a:extLst>
            </p:cNvPr>
            <p:cNvSpPr/>
            <p:nvPr/>
          </p:nvSpPr>
          <p:spPr bwMode="auto">
            <a:xfrm>
              <a:off x="5989627" y="2033588"/>
              <a:ext cx="2333637" cy="1413505"/>
            </a:xfrm>
            <a:custGeom>
              <a:avLst/>
              <a:gdLst>
                <a:gd name="connsiteX0" fmla="*/ 527777 w 2333637"/>
                <a:gd name="connsiteY0" fmla="*/ 919162 h 1413505"/>
                <a:gd name="connsiteX1" fmla="*/ 535205 w 2333637"/>
                <a:gd name="connsiteY1" fmla="*/ 946355 h 1413505"/>
                <a:gd name="connsiteX2" fmla="*/ 545108 w 2333637"/>
                <a:gd name="connsiteY2" fmla="*/ 995797 h 1413505"/>
                <a:gd name="connsiteX3" fmla="*/ 589673 w 2333637"/>
                <a:gd name="connsiteY3" fmla="*/ 1178730 h 1413505"/>
                <a:gd name="connsiteX4" fmla="*/ 587198 w 2333637"/>
                <a:gd name="connsiteY4" fmla="*/ 1265253 h 1413505"/>
                <a:gd name="connsiteX5" fmla="*/ 577294 w 2333637"/>
                <a:gd name="connsiteY5" fmla="*/ 1289974 h 1413505"/>
                <a:gd name="connsiteX6" fmla="*/ 564915 w 2333637"/>
                <a:gd name="connsiteY6" fmla="*/ 1319639 h 1413505"/>
                <a:gd name="connsiteX7" fmla="*/ 532729 w 2333637"/>
                <a:gd name="connsiteY7" fmla="*/ 1381441 h 1413505"/>
                <a:gd name="connsiteX8" fmla="*/ 505495 w 2333637"/>
                <a:gd name="connsiteY8" fmla="*/ 1401218 h 1413505"/>
                <a:gd name="connsiteX9" fmla="*/ 455978 w 2333637"/>
                <a:gd name="connsiteY9" fmla="*/ 1408634 h 1413505"/>
                <a:gd name="connsiteX10" fmla="*/ 391606 w 2333637"/>
                <a:gd name="connsiteY10" fmla="*/ 1376497 h 1413505"/>
                <a:gd name="connsiteX11" fmla="*/ 213345 w 2333637"/>
                <a:gd name="connsiteY11" fmla="*/ 1235588 h 1413505"/>
                <a:gd name="connsiteX12" fmla="*/ 131642 w 2333637"/>
                <a:gd name="connsiteY12" fmla="*/ 1144121 h 1413505"/>
                <a:gd name="connsiteX13" fmla="*/ 114311 w 2333637"/>
                <a:gd name="connsiteY13" fmla="*/ 1099624 h 1413505"/>
                <a:gd name="connsiteX14" fmla="*/ 146497 w 2333637"/>
                <a:gd name="connsiteY14" fmla="*/ 1099624 h 1413505"/>
                <a:gd name="connsiteX15" fmla="*/ 198490 w 2333637"/>
                <a:gd name="connsiteY15" fmla="*/ 1079847 h 1413505"/>
                <a:gd name="connsiteX16" fmla="*/ 280193 w 2333637"/>
                <a:gd name="connsiteY16" fmla="*/ 993325 h 1413505"/>
                <a:gd name="connsiteX17" fmla="*/ 287620 w 2333637"/>
                <a:gd name="connsiteY17" fmla="*/ 988380 h 1413505"/>
                <a:gd name="connsiteX18" fmla="*/ 359420 w 2333637"/>
                <a:gd name="connsiteY18" fmla="*/ 953771 h 1413505"/>
                <a:gd name="connsiteX19" fmla="*/ 396558 w 2333637"/>
                <a:gd name="connsiteY19" fmla="*/ 938939 h 1413505"/>
                <a:gd name="connsiteX20" fmla="*/ 448550 w 2333637"/>
                <a:gd name="connsiteY20" fmla="*/ 931523 h 1413505"/>
                <a:gd name="connsiteX21" fmla="*/ 517874 w 2333637"/>
                <a:gd name="connsiteY21" fmla="*/ 921634 h 1413505"/>
                <a:gd name="connsiteX22" fmla="*/ 527777 w 2333637"/>
                <a:gd name="connsiteY22" fmla="*/ 919162 h 1413505"/>
                <a:gd name="connsiteX23" fmla="*/ 842279 w 2333637"/>
                <a:gd name="connsiteY23" fmla="*/ 740642 h 1413505"/>
                <a:gd name="connsiteX24" fmla="*/ 753243 w 2333637"/>
                <a:gd name="connsiteY24" fmla="*/ 770268 h 1413505"/>
                <a:gd name="connsiteX25" fmla="*/ 696359 w 2333637"/>
                <a:gd name="connsiteY25" fmla="*/ 824582 h 1413505"/>
                <a:gd name="connsiteX26" fmla="*/ 688939 w 2333637"/>
                <a:gd name="connsiteY26" fmla="*/ 836926 h 1413505"/>
                <a:gd name="connsiteX27" fmla="*/ 656787 w 2333637"/>
                <a:gd name="connsiteY27" fmla="*/ 923334 h 1413505"/>
                <a:gd name="connsiteX28" fmla="*/ 671626 w 2333637"/>
                <a:gd name="connsiteY28" fmla="*/ 1123307 h 1413505"/>
                <a:gd name="connsiteX29" fmla="*/ 708725 w 2333637"/>
                <a:gd name="connsiteY29" fmla="*/ 1147995 h 1413505"/>
                <a:gd name="connsiteX30" fmla="*/ 797761 w 2333637"/>
                <a:gd name="connsiteY30" fmla="*/ 1130714 h 1413505"/>
                <a:gd name="connsiteX31" fmla="*/ 857119 w 2333637"/>
                <a:gd name="connsiteY31" fmla="*/ 1101088 h 1413505"/>
                <a:gd name="connsiteX32" fmla="*/ 899164 w 2333637"/>
                <a:gd name="connsiteY32" fmla="*/ 1068993 h 1413505"/>
                <a:gd name="connsiteX33" fmla="*/ 958521 w 2333637"/>
                <a:gd name="connsiteY33" fmla="*/ 1022086 h 1413505"/>
                <a:gd name="connsiteX34" fmla="*/ 988200 w 2333637"/>
                <a:gd name="connsiteY34" fmla="*/ 997398 h 1413505"/>
                <a:gd name="connsiteX35" fmla="*/ 1054977 w 2333637"/>
                <a:gd name="connsiteY35" fmla="*/ 925803 h 1413505"/>
                <a:gd name="connsiteX36" fmla="*/ 1146487 w 2333637"/>
                <a:gd name="connsiteY36" fmla="*/ 807300 h 1413505"/>
                <a:gd name="connsiteX37" fmla="*/ 1124228 w 2333637"/>
                <a:gd name="connsiteY37" fmla="*/ 794956 h 1413505"/>
                <a:gd name="connsiteX38" fmla="*/ 990673 w 2333637"/>
                <a:gd name="connsiteY38" fmla="*/ 748049 h 1413505"/>
                <a:gd name="connsiteX39" fmla="*/ 918949 w 2333637"/>
                <a:gd name="connsiteY39" fmla="*/ 740642 h 1413505"/>
                <a:gd name="connsiteX40" fmla="*/ 842279 w 2333637"/>
                <a:gd name="connsiteY40" fmla="*/ 740642 h 1413505"/>
                <a:gd name="connsiteX41" fmla="*/ 326006 w 2333637"/>
                <a:gd name="connsiteY41" fmla="*/ 127884 h 1413505"/>
                <a:gd name="connsiteX42" fmla="*/ 338380 w 2333637"/>
                <a:gd name="connsiteY42" fmla="*/ 130355 h 1413505"/>
                <a:gd name="connsiteX43" fmla="*/ 380455 w 2333637"/>
                <a:gd name="connsiteY43" fmla="*/ 150129 h 1413505"/>
                <a:gd name="connsiteX44" fmla="*/ 585876 w 2333637"/>
                <a:gd name="connsiteY44" fmla="*/ 303373 h 1413505"/>
                <a:gd name="connsiteX45" fmla="*/ 674975 w 2333637"/>
                <a:gd name="connsiteY45" fmla="*/ 412127 h 1413505"/>
                <a:gd name="connsiteX46" fmla="*/ 709624 w 2333637"/>
                <a:gd name="connsiteY46" fmla="*/ 471447 h 1413505"/>
                <a:gd name="connsiteX47" fmla="*/ 672500 w 2333637"/>
                <a:gd name="connsiteY47" fmla="*/ 486277 h 1413505"/>
                <a:gd name="connsiteX48" fmla="*/ 536377 w 2333637"/>
                <a:gd name="connsiteY48" fmla="*/ 501107 h 1413505"/>
                <a:gd name="connsiteX49" fmla="*/ 516577 w 2333637"/>
                <a:gd name="connsiteY49" fmla="*/ 506050 h 1413505"/>
                <a:gd name="connsiteX50" fmla="*/ 479453 w 2333637"/>
                <a:gd name="connsiteY50" fmla="*/ 513465 h 1413505"/>
                <a:gd name="connsiteX51" fmla="*/ 462128 w 2333637"/>
                <a:gd name="connsiteY51" fmla="*/ 515937 h 1413505"/>
                <a:gd name="connsiteX52" fmla="*/ 400254 w 2333637"/>
                <a:gd name="connsiteY52" fmla="*/ 518409 h 1413505"/>
                <a:gd name="connsiteX53" fmla="*/ 348280 w 2333637"/>
                <a:gd name="connsiteY53" fmla="*/ 543126 h 1413505"/>
                <a:gd name="connsiteX54" fmla="*/ 345805 w 2333637"/>
                <a:gd name="connsiteY54" fmla="*/ 550541 h 1413505"/>
                <a:gd name="connsiteX55" fmla="*/ 298781 w 2333637"/>
                <a:gd name="connsiteY55" fmla="*/ 607389 h 1413505"/>
                <a:gd name="connsiteX56" fmla="*/ 266607 w 2333637"/>
                <a:gd name="connsiteY56" fmla="*/ 664238 h 1413505"/>
                <a:gd name="connsiteX57" fmla="*/ 259182 w 2333637"/>
                <a:gd name="connsiteY57" fmla="*/ 684011 h 1413505"/>
                <a:gd name="connsiteX58" fmla="*/ 254232 w 2333637"/>
                <a:gd name="connsiteY58" fmla="*/ 711200 h 1413505"/>
                <a:gd name="connsiteX59" fmla="*/ 397779 w 2333637"/>
                <a:gd name="connsiteY59" fmla="*/ 639521 h 1413505"/>
                <a:gd name="connsiteX60" fmla="*/ 561127 w 2333637"/>
                <a:gd name="connsiteY60" fmla="*/ 627163 h 1413505"/>
                <a:gd name="connsiteX61" fmla="*/ 509153 w 2333637"/>
                <a:gd name="connsiteY61" fmla="*/ 686483 h 1413505"/>
                <a:gd name="connsiteX62" fmla="*/ 536377 w 2333637"/>
                <a:gd name="connsiteY62" fmla="*/ 740860 h 1413505"/>
                <a:gd name="connsiteX63" fmla="*/ 519052 w 2333637"/>
                <a:gd name="connsiteY63" fmla="*/ 805123 h 1413505"/>
                <a:gd name="connsiteX64" fmla="*/ 444804 w 2333637"/>
                <a:gd name="connsiteY64" fmla="*/ 854557 h 1413505"/>
                <a:gd name="connsiteX65" fmla="*/ 442329 w 2333637"/>
                <a:gd name="connsiteY65" fmla="*/ 854557 h 1413505"/>
                <a:gd name="connsiteX66" fmla="*/ 343330 w 2333637"/>
                <a:gd name="connsiteY66" fmla="*/ 894104 h 1413505"/>
                <a:gd name="connsiteX67" fmla="*/ 246807 w 2333637"/>
                <a:gd name="connsiteY67" fmla="*/ 886689 h 1413505"/>
                <a:gd name="connsiteX68" fmla="*/ 93360 w 2333637"/>
                <a:gd name="connsiteY68" fmla="*/ 755690 h 1413505"/>
                <a:gd name="connsiteX69" fmla="*/ 90885 w 2333637"/>
                <a:gd name="connsiteY69" fmla="*/ 693898 h 1413505"/>
                <a:gd name="connsiteX70" fmla="*/ 113159 w 2333637"/>
                <a:gd name="connsiteY70" fmla="*/ 649408 h 1413505"/>
                <a:gd name="connsiteX71" fmla="*/ 167608 w 2333637"/>
                <a:gd name="connsiteY71" fmla="*/ 580201 h 1413505"/>
                <a:gd name="connsiteX72" fmla="*/ 261657 w 2333637"/>
                <a:gd name="connsiteY72" fmla="*/ 496164 h 1413505"/>
                <a:gd name="connsiteX73" fmla="*/ 293831 w 2333637"/>
                <a:gd name="connsiteY73" fmla="*/ 471447 h 1413505"/>
                <a:gd name="connsiteX74" fmla="*/ 251757 w 2333637"/>
                <a:gd name="connsiteY74" fmla="*/ 436843 h 1413505"/>
                <a:gd name="connsiteX75" fmla="*/ 53760 w 2333637"/>
                <a:gd name="connsiteY75" fmla="*/ 261354 h 1413505"/>
                <a:gd name="connsiteX76" fmla="*/ 11686 w 2333637"/>
                <a:gd name="connsiteY76" fmla="*/ 206977 h 1413505"/>
                <a:gd name="connsiteX77" fmla="*/ 1786 w 2333637"/>
                <a:gd name="connsiteY77" fmla="*/ 187204 h 1413505"/>
                <a:gd name="connsiteX78" fmla="*/ 21586 w 2333637"/>
                <a:gd name="connsiteY78" fmla="*/ 160016 h 1413505"/>
                <a:gd name="connsiteX79" fmla="*/ 80985 w 2333637"/>
                <a:gd name="connsiteY79" fmla="*/ 164959 h 1413505"/>
                <a:gd name="connsiteX80" fmla="*/ 140384 w 2333637"/>
                <a:gd name="connsiteY80" fmla="*/ 182261 h 1413505"/>
                <a:gd name="connsiteX81" fmla="*/ 160183 w 2333637"/>
                <a:gd name="connsiteY81" fmla="*/ 184732 h 1413505"/>
                <a:gd name="connsiteX82" fmla="*/ 132959 w 2333637"/>
                <a:gd name="connsiteY82" fmla="*/ 152601 h 1413505"/>
                <a:gd name="connsiteX83" fmla="*/ 135434 w 2333637"/>
                <a:gd name="connsiteY83" fmla="*/ 147657 h 1413505"/>
                <a:gd name="connsiteX84" fmla="*/ 197308 w 2333637"/>
                <a:gd name="connsiteY84" fmla="*/ 167431 h 1413505"/>
                <a:gd name="connsiteX85" fmla="*/ 172558 w 2333637"/>
                <a:gd name="connsiteY85" fmla="*/ 135299 h 1413505"/>
                <a:gd name="connsiteX86" fmla="*/ 256707 w 2333637"/>
                <a:gd name="connsiteY86" fmla="*/ 142714 h 1413505"/>
                <a:gd name="connsiteX87" fmla="*/ 254232 w 2333637"/>
                <a:gd name="connsiteY87" fmla="*/ 130355 h 1413505"/>
                <a:gd name="connsiteX88" fmla="*/ 283931 w 2333637"/>
                <a:gd name="connsiteY88" fmla="*/ 130355 h 1413505"/>
                <a:gd name="connsiteX89" fmla="*/ 326006 w 2333637"/>
                <a:gd name="connsiteY89" fmla="*/ 127884 h 1413505"/>
                <a:gd name="connsiteX90" fmla="*/ 1465533 w 2333637"/>
                <a:gd name="connsiteY90" fmla="*/ 0 h 1413505"/>
                <a:gd name="connsiteX91" fmla="*/ 1539730 w 2333637"/>
                <a:gd name="connsiteY91" fmla="*/ 17282 h 1413505"/>
                <a:gd name="connsiteX92" fmla="*/ 1628767 w 2333637"/>
                <a:gd name="connsiteY92" fmla="*/ 74064 h 1413505"/>
                <a:gd name="connsiteX93" fmla="*/ 1801893 w 2333637"/>
                <a:gd name="connsiteY93" fmla="*/ 227130 h 1413505"/>
                <a:gd name="connsiteX94" fmla="*/ 1853831 w 2333637"/>
                <a:gd name="connsiteY94" fmla="*/ 288851 h 1413505"/>
                <a:gd name="connsiteX95" fmla="*/ 1851357 w 2333637"/>
                <a:gd name="connsiteY95" fmla="*/ 399947 h 1413505"/>
                <a:gd name="connsiteX96" fmla="*/ 1811786 w 2333637"/>
                <a:gd name="connsiteY96" fmla="*/ 459198 h 1413505"/>
                <a:gd name="connsiteX97" fmla="*/ 1742535 w 2333637"/>
                <a:gd name="connsiteY97" fmla="*/ 550544 h 1413505"/>
                <a:gd name="connsiteX98" fmla="*/ 1715330 w 2333637"/>
                <a:gd name="connsiteY98" fmla="*/ 592514 h 1413505"/>
                <a:gd name="connsiteX99" fmla="*/ 1707910 w 2333637"/>
                <a:gd name="connsiteY99" fmla="*/ 599920 h 1413505"/>
                <a:gd name="connsiteX100" fmla="*/ 1646079 w 2333637"/>
                <a:gd name="connsiteY100" fmla="*/ 654234 h 1413505"/>
                <a:gd name="connsiteX101" fmla="*/ 1623820 w 2333637"/>
                <a:gd name="connsiteY101" fmla="*/ 678922 h 1413505"/>
                <a:gd name="connsiteX102" fmla="*/ 1648552 w 2333637"/>
                <a:gd name="connsiteY102" fmla="*/ 683860 h 1413505"/>
                <a:gd name="connsiteX103" fmla="*/ 1774687 w 2333637"/>
                <a:gd name="connsiteY103" fmla="*/ 701141 h 1413505"/>
                <a:gd name="connsiteX104" fmla="*/ 1997278 w 2333637"/>
                <a:gd name="connsiteY104" fmla="*/ 743111 h 1413505"/>
                <a:gd name="connsiteX105" fmla="*/ 2022010 w 2333637"/>
                <a:gd name="connsiteY105" fmla="*/ 755455 h 1413505"/>
                <a:gd name="connsiteX106" fmla="*/ 2096207 w 2333637"/>
                <a:gd name="connsiteY106" fmla="*/ 841863 h 1413505"/>
                <a:gd name="connsiteX107" fmla="*/ 2256967 w 2333637"/>
                <a:gd name="connsiteY107" fmla="*/ 1162808 h 1413505"/>
                <a:gd name="connsiteX108" fmla="*/ 2326217 w 2333637"/>
                <a:gd name="connsiteY108" fmla="*/ 1345500 h 1413505"/>
                <a:gd name="connsiteX109" fmla="*/ 2333637 w 2333637"/>
                <a:gd name="connsiteY109" fmla="*/ 1365250 h 1413505"/>
                <a:gd name="connsiteX110" fmla="*/ 2096207 w 2333637"/>
                <a:gd name="connsiteY110" fmla="*/ 1214653 h 1413505"/>
                <a:gd name="connsiteX111" fmla="*/ 1947813 w 2333637"/>
                <a:gd name="connsiteY111" fmla="*/ 1147995 h 1413505"/>
                <a:gd name="connsiteX112" fmla="*/ 1866197 w 2333637"/>
                <a:gd name="connsiteY112" fmla="*/ 1110963 h 1413505"/>
                <a:gd name="connsiteX113" fmla="*/ 1796946 w 2333637"/>
                <a:gd name="connsiteY113" fmla="*/ 1081337 h 1413505"/>
                <a:gd name="connsiteX114" fmla="*/ 1586722 w 2333637"/>
                <a:gd name="connsiteY114" fmla="*/ 999867 h 1413505"/>
                <a:gd name="connsiteX115" fmla="*/ 1514998 w 2333637"/>
                <a:gd name="connsiteY115" fmla="*/ 977648 h 1413505"/>
                <a:gd name="connsiteX116" fmla="*/ 1416069 w 2333637"/>
                <a:gd name="connsiteY116" fmla="*/ 940615 h 1413505"/>
                <a:gd name="connsiteX117" fmla="*/ 1374024 w 2333637"/>
                <a:gd name="connsiteY117" fmla="*/ 933209 h 1413505"/>
                <a:gd name="connsiteX118" fmla="*/ 1356711 w 2333637"/>
                <a:gd name="connsiteY118" fmla="*/ 923334 h 1413505"/>
                <a:gd name="connsiteX119" fmla="*/ 1275095 w 2333637"/>
                <a:gd name="connsiteY119" fmla="*/ 1002336 h 1413505"/>
                <a:gd name="connsiteX120" fmla="*/ 1186058 w 2333637"/>
                <a:gd name="connsiteY120" fmla="*/ 1071462 h 1413505"/>
                <a:gd name="connsiteX121" fmla="*/ 1084656 w 2333637"/>
                <a:gd name="connsiteY121" fmla="*/ 1143058 h 1413505"/>
                <a:gd name="connsiteX122" fmla="*/ 1027772 w 2333637"/>
                <a:gd name="connsiteY122" fmla="*/ 1177621 h 1413505"/>
                <a:gd name="connsiteX123" fmla="*/ 951101 w 2333637"/>
                <a:gd name="connsiteY123" fmla="*/ 1209715 h 1413505"/>
                <a:gd name="connsiteX124" fmla="*/ 921423 w 2333637"/>
                <a:gd name="connsiteY124" fmla="*/ 1224528 h 1413505"/>
                <a:gd name="connsiteX125" fmla="*/ 847226 w 2333637"/>
                <a:gd name="connsiteY125" fmla="*/ 1246747 h 1413505"/>
                <a:gd name="connsiteX126" fmla="*/ 775502 w 2333637"/>
                <a:gd name="connsiteY126" fmla="*/ 1236872 h 1413505"/>
                <a:gd name="connsiteX127" fmla="*/ 661734 w 2333637"/>
                <a:gd name="connsiteY127" fmla="*/ 1147995 h 1413505"/>
                <a:gd name="connsiteX128" fmla="*/ 617215 w 2333637"/>
                <a:gd name="connsiteY128" fmla="*/ 1044305 h 1413505"/>
                <a:gd name="connsiteX129" fmla="*/ 622162 w 2333637"/>
                <a:gd name="connsiteY129" fmla="*/ 878895 h 1413505"/>
                <a:gd name="connsiteX130" fmla="*/ 654314 w 2333637"/>
                <a:gd name="connsiteY130" fmla="*/ 807300 h 1413505"/>
                <a:gd name="connsiteX131" fmla="*/ 686466 w 2333637"/>
                <a:gd name="connsiteY131" fmla="*/ 752986 h 1413505"/>
                <a:gd name="connsiteX132" fmla="*/ 857119 w 2333637"/>
                <a:gd name="connsiteY132" fmla="*/ 644359 h 1413505"/>
                <a:gd name="connsiteX133" fmla="*/ 1042611 w 2333637"/>
                <a:gd name="connsiteY133" fmla="*/ 624608 h 1413505"/>
                <a:gd name="connsiteX134" fmla="*/ 1131647 w 2333637"/>
                <a:gd name="connsiteY134" fmla="*/ 622139 h 1413505"/>
                <a:gd name="connsiteX135" fmla="*/ 1242943 w 2333637"/>
                <a:gd name="connsiteY135" fmla="*/ 636952 h 1413505"/>
                <a:gd name="connsiteX136" fmla="*/ 1255309 w 2333637"/>
                <a:gd name="connsiteY136" fmla="*/ 639421 h 1413505"/>
                <a:gd name="connsiteX137" fmla="*/ 1282514 w 2333637"/>
                <a:gd name="connsiteY137" fmla="*/ 622139 h 1413505"/>
                <a:gd name="connsiteX138" fmla="*/ 1287461 w 2333637"/>
                <a:gd name="connsiteY138" fmla="*/ 609795 h 1413505"/>
                <a:gd name="connsiteX139" fmla="*/ 1319613 w 2333637"/>
                <a:gd name="connsiteY139" fmla="*/ 548075 h 1413505"/>
                <a:gd name="connsiteX140" fmla="*/ 1378970 w 2333637"/>
                <a:gd name="connsiteY140" fmla="*/ 429572 h 1413505"/>
                <a:gd name="connsiteX141" fmla="*/ 1381444 w 2333637"/>
                <a:gd name="connsiteY141" fmla="*/ 419697 h 1413505"/>
                <a:gd name="connsiteX142" fmla="*/ 1299827 w 2333637"/>
                <a:gd name="connsiteY142" fmla="*/ 422166 h 1413505"/>
                <a:gd name="connsiteX143" fmla="*/ 1193478 w 2333637"/>
                <a:gd name="connsiteY143" fmla="*/ 478949 h 1413505"/>
                <a:gd name="connsiteX144" fmla="*/ 1168746 w 2333637"/>
                <a:gd name="connsiteY144" fmla="*/ 486355 h 1413505"/>
                <a:gd name="connsiteX145" fmla="*/ 1114335 w 2333637"/>
                <a:gd name="connsiteY145" fmla="*/ 498699 h 1413505"/>
                <a:gd name="connsiteX146" fmla="*/ 1064870 w 2333637"/>
                <a:gd name="connsiteY146" fmla="*/ 493761 h 1413505"/>
                <a:gd name="connsiteX147" fmla="*/ 980780 w 2333637"/>
                <a:gd name="connsiteY147" fmla="*/ 444385 h 1413505"/>
                <a:gd name="connsiteX148" fmla="*/ 777975 w 2333637"/>
                <a:gd name="connsiteY148" fmla="*/ 261694 h 1413505"/>
                <a:gd name="connsiteX149" fmla="*/ 748297 w 2333637"/>
                <a:gd name="connsiteY149" fmla="*/ 212317 h 1413505"/>
                <a:gd name="connsiteX150" fmla="*/ 745823 w 2333637"/>
                <a:gd name="connsiteY150" fmla="*/ 199973 h 1413505"/>
                <a:gd name="connsiteX151" fmla="*/ 733457 w 2333637"/>
                <a:gd name="connsiteY151" fmla="*/ 162941 h 1413505"/>
                <a:gd name="connsiteX152" fmla="*/ 716145 w 2333637"/>
                <a:gd name="connsiteY152" fmla="*/ 125909 h 1413505"/>
                <a:gd name="connsiteX153" fmla="*/ 765609 w 2333637"/>
                <a:gd name="connsiteY153" fmla="*/ 120971 h 1413505"/>
                <a:gd name="connsiteX154" fmla="*/ 874431 w 2333637"/>
                <a:gd name="connsiteY154" fmla="*/ 120971 h 1413505"/>
                <a:gd name="connsiteX155" fmla="*/ 1022825 w 2333637"/>
                <a:gd name="connsiteY155" fmla="*/ 91346 h 1413505"/>
                <a:gd name="connsiteX156" fmla="*/ 1037665 w 2333637"/>
                <a:gd name="connsiteY156" fmla="*/ 88877 h 1413505"/>
                <a:gd name="connsiteX157" fmla="*/ 1136594 w 2333637"/>
                <a:gd name="connsiteY157" fmla="*/ 51845 h 1413505"/>
                <a:gd name="connsiteX158" fmla="*/ 1148960 w 2333637"/>
                <a:gd name="connsiteY158" fmla="*/ 49376 h 1413505"/>
                <a:gd name="connsiteX159" fmla="*/ 1193478 w 2333637"/>
                <a:gd name="connsiteY159" fmla="*/ 44438 h 1413505"/>
                <a:gd name="connsiteX160" fmla="*/ 1309720 w 2333637"/>
                <a:gd name="connsiteY160" fmla="*/ 7406 h 1413505"/>
                <a:gd name="connsiteX161" fmla="*/ 1339399 w 2333637"/>
                <a:gd name="connsiteY161" fmla="*/ 2469 h 1413505"/>
                <a:gd name="connsiteX162" fmla="*/ 1465533 w 2333637"/>
                <a:gd name="connsiteY162" fmla="*/ 0 h 141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2333637" h="1413505">
                  <a:moveTo>
                    <a:pt x="527777" y="919162"/>
                  </a:moveTo>
                  <a:cubicBezTo>
                    <a:pt x="530253" y="929050"/>
                    <a:pt x="532729" y="936467"/>
                    <a:pt x="535205" y="946355"/>
                  </a:cubicBezTo>
                  <a:cubicBezTo>
                    <a:pt x="537681" y="963660"/>
                    <a:pt x="540156" y="980964"/>
                    <a:pt x="545108" y="995797"/>
                  </a:cubicBezTo>
                  <a:cubicBezTo>
                    <a:pt x="574818" y="1055127"/>
                    <a:pt x="582246" y="1116929"/>
                    <a:pt x="589673" y="1178730"/>
                  </a:cubicBezTo>
                  <a:cubicBezTo>
                    <a:pt x="592149" y="1208395"/>
                    <a:pt x="589673" y="1235588"/>
                    <a:pt x="587198" y="1265253"/>
                  </a:cubicBezTo>
                  <a:cubicBezTo>
                    <a:pt x="587198" y="1272670"/>
                    <a:pt x="579770" y="1282558"/>
                    <a:pt x="577294" y="1289974"/>
                  </a:cubicBezTo>
                  <a:cubicBezTo>
                    <a:pt x="572342" y="1299862"/>
                    <a:pt x="567391" y="1309751"/>
                    <a:pt x="564915" y="1319639"/>
                  </a:cubicBezTo>
                  <a:cubicBezTo>
                    <a:pt x="564915" y="1344360"/>
                    <a:pt x="552536" y="1364136"/>
                    <a:pt x="532729" y="1381441"/>
                  </a:cubicBezTo>
                  <a:cubicBezTo>
                    <a:pt x="522826" y="1386385"/>
                    <a:pt x="512922" y="1393801"/>
                    <a:pt x="505495" y="1401218"/>
                  </a:cubicBezTo>
                  <a:cubicBezTo>
                    <a:pt x="490640" y="1416050"/>
                    <a:pt x="473309" y="1416050"/>
                    <a:pt x="455978" y="1408634"/>
                  </a:cubicBezTo>
                  <a:cubicBezTo>
                    <a:pt x="433695" y="1398746"/>
                    <a:pt x="411413" y="1388857"/>
                    <a:pt x="391606" y="1376497"/>
                  </a:cubicBezTo>
                  <a:cubicBezTo>
                    <a:pt x="327234" y="1336944"/>
                    <a:pt x="267814" y="1289974"/>
                    <a:pt x="213345" y="1235588"/>
                  </a:cubicBezTo>
                  <a:cubicBezTo>
                    <a:pt x="186111" y="1205923"/>
                    <a:pt x="158876" y="1173786"/>
                    <a:pt x="131642" y="1144121"/>
                  </a:cubicBezTo>
                  <a:cubicBezTo>
                    <a:pt x="121739" y="1131761"/>
                    <a:pt x="116787" y="1116929"/>
                    <a:pt x="114311" y="1099624"/>
                  </a:cubicBezTo>
                  <a:cubicBezTo>
                    <a:pt x="126690" y="1099624"/>
                    <a:pt x="136594" y="1099624"/>
                    <a:pt x="146497" y="1099624"/>
                  </a:cubicBezTo>
                  <a:cubicBezTo>
                    <a:pt x="166304" y="1102096"/>
                    <a:pt x="183635" y="1097152"/>
                    <a:pt x="198490" y="1079847"/>
                  </a:cubicBezTo>
                  <a:cubicBezTo>
                    <a:pt x="225724" y="1052654"/>
                    <a:pt x="252959" y="1022989"/>
                    <a:pt x="280193" y="993325"/>
                  </a:cubicBezTo>
                  <a:cubicBezTo>
                    <a:pt x="282669" y="993325"/>
                    <a:pt x="285145" y="990852"/>
                    <a:pt x="287620" y="988380"/>
                  </a:cubicBezTo>
                  <a:cubicBezTo>
                    <a:pt x="309903" y="978492"/>
                    <a:pt x="334661" y="966132"/>
                    <a:pt x="359420" y="953771"/>
                  </a:cubicBezTo>
                  <a:cubicBezTo>
                    <a:pt x="369323" y="948827"/>
                    <a:pt x="381702" y="941411"/>
                    <a:pt x="396558" y="938939"/>
                  </a:cubicBezTo>
                  <a:cubicBezTo>
                    <a:pt x="413888" y="933995"/>
                    <a:pt x="431219" y="931523"/>
                    <a:pt x="448550" y="931523"/>
                  </a:cubicBezTo>
                  <a:cubicBezTo>
                    <a:pt x="473309" y="933995"/>
                    <a:pt x="495591" y="933995"/>
                    <a:pt x="517874" y="921634"/>
                  </a:cubicBezTo>
                  <a:cubicBezTo>
                    <a:pt x="520350" y="919162"/>
                    <a:pt x="522826" y="921634"/>
                    <a:pt x="527777" y="919162"/>
                  </a:cubicBezTo>
                  <a:close/>
                  <a:moveTo>
                    <a:pt x="842279" y="740642"/>
                  </a:moveTo>
                  <a:cubicBezTo>
                    <a:pt x="807654" y="740642"/>
                    <a:pt x="777975" y="748049"/>
                    <a:pt x="753243" y="770268"/>
                  </a:cubicBezTo>
                  <a:cubicBezTo>
                    <a:pt x="733457" y="787549"/>
                    <a:pt x="713671" y="807300"/>
                    <a:pt x="696359" y="824582"/>
                  </a:cubicBezTo>
                  <a:cubicBezTo>
                    <a:pt x="693886" y="827050"/>
                    <a:pt x="691412" y="831988"/>
                    <a:pt x="688939" y="836926"/>
                  </a:cubicBezTo>
                  <a:cubicBezTo>
                    <a:pt x="671626" y="864082"/>
                    <a:pt x="664207" y="893708"/>
                    <a:pt x="656787" y="923334"/>
                  </a:cubicBezTo>
                  <a:cubicBezTo>
                    <a:pt x="637001" y="992460"/>
                    <a:pt x="646894" y="1059118"/>
                    <a:pt x="671626" y="1123307"/>
                  </a:cubicBezTo>
                  <a:cubicBezTo>
                    <a:pt x="679046" y="1138120"/>
                    <a:pt x="691412" y="1145526"/>
                    <a:pt x="708725" y="1147995"/>
                  </a:cubicBezTo>
                  <a:cubicBezTo>
                    <a:pt x="738404" y="1147995"/>
                    <a:pt x="768082" y="1143058"/>
                    <a:pt x="797761" y="1130714"/>
                  </a:cubicBezTo>
                  <a:cubicBezTo>
                    <a:pt x="817547" y="1123307"/>
                    <a:pt x="839806" y="1118370"/>
                    <a:pt x="857119" y="1101088"/>
                  </a:cubicBezTo>
                  <a:cubicBezTo>
                    <a:pt x="869485" y="1088744"/>
                    <a:pt x="884324" y="1078869"/>
                    <a:pt x="899164" y="1068993"/>
                  </a:cubicBezTo>
                  <a:cubicBezTo>
                    <a:pt x="918949" y="1054181"/>
                    <a:pt x="938735" y="1039368"/>
                    <a:pt x="958521" y="1022086"/>
                  </a:cubicBezTo>
                  <a:cubicBezTo>
                    <a:pt x="968414" y="1014680"/>
                    <a:pt x="980780" y="1007273"/>
                    <a:pt x="988200" y="997398"/>
                  </a:cubicBezTo>
                  <a:cubicBezTo>
                    <a:pt x="1010459" y="972710"/>
                    <a:pt x="1032718" y="948022"/>
                    <a:pt x="1054977" y="925803"/>
                  </a:cubicBezTo>
                  <a:cubicBezTo>
                    <a:pt x="1092076" y="891239"/>
                    <a:pt x="1116808" y="849270"/>
                    <a:pt x="1146487" y="807300"/>
                  </a:cubicBezTo>
                  <a:cubicBezTo>
                    <a:pt x="1139067" y="802362"/>
                    <a:pt x="1131647" y="797425"/>
                    <a:pt x="1124228" y="794956"/>
                  </a:cubicBezTo>
                  <a:cubicBezTo>
                    <a:pt x="1079709" y="777674"/>
                    <a:pt x="1035191" y="762861"/>
                    <a:pt x="990673" y="748049"/>
                  </a:cubicBezTo>
                  <a:cubicBezTo>
                    <a:pt x="968414" y="743111"/>
                    <a:pt x="943682" y="740642"/>
                    <a:pt x="918949" y="740642"/>
                  </a:cubicBezTo>
                  <a:cubicBezTo>
                    <a:pt x="894217" y="738173"/>
                    <a:pt x="867012" y="740642"/>
                    <a:pt x="842279" y="740642"/>
                  </a:cubicBezTo>
                  <a:close/>
                  <a:moveTo>
                    <a:pt x="326006" y="127884"/>
                  </a:moveTo>
                  <a:cubicBezTo>
                    <a:pt x="328481" y="125412"/>
                    <a:pt x="335906" y="127884"/>
                    <a:pt x="338380" y="130355"/>
                  </a:cubicBezTo>
                  <a:cubicBezTo>
                    <a:pt x="353230" y="137771"/>
                    <a:pt x="368080" y="142714"/>
                    <a:pt x="380455" y="150129"/>
                  </a:cubicBezTo>
                  <a:cubicBezTo>
                    <a:pt x="452229" y="197091"/>
                    <a:pt x="524002" y="244053"/>
                    <a:pt x="585876" y="303373"/>
                  </a:cubicBezTo>
                  <a:cubicBezTo>
                    <a:pt x="620526" y="337976"/>
                    <a:pt x="650225" y="372580"/>
                    <a:pt x="674975" y="412127"/>
                  </a:cubicBezTo>
                  <a:cubicBezTo>
                    <a:pt x="684875" y="431900"/>
                    <a:pt x="697249" y="451674"/>
                    <a:pt x="709624" y="471447"/>
                  </a:cubicBezTo>
                  <a:cubicBezTo>
                    <a:pt x="697249" y="483805"/>
                    <a:pt x="682400" y="483805"/>
                    <a:pt x="672500" y="486277"/>
                  </a:cubicBezTo>
                  <a:cubicBezTo>
                    <a:pt x="625476" y="491220"/>
                    <a:pt x="580926" y="496164"/>
                    <a:pt x="536377" y="501107"/>
                  </a:cubicBezTo>
                  <a:cubicBezTo>
                    <a:pt x="528952" y="501107"/>
                    <a:pt x="524002" y="503579"/>
                    <a:pt x="516577" y="506050"/>
                  </a:cubicBezTo>
                  <a:cubicBezTo>
                    <a:pt x="504203" y="508522"/>
                    <a:pt x="491828" y="510994"/>
                    <a:pt x="479453" y="513465"/>
                  </a:cubicBezTo>
                  <a:cubicBezTo>
                    <a:pt x="472028" y="513465"/>
                    <a:pt x="467078" y="513465"/>
                    <a:pt x="462128" y="515937"/>
                  </a:cubicBezTo>
                  <a:cubicBezTo>
                    <a:pt x="442329" y="523352"/>
                    <a:pt x="420054" y="520880"/>
                    <a:pt x="400254" y="518409"/>
                  </a:cubicBezTo>
                  <a:cubicBezTo>
                    <a:pt x="377980" y="513465"/>
                    <a:pt x="358180" y="518409"/>
                    <a:pt x="348280" y="543126"/>
                  </a:cubicBezTo>
                  <a:cubicBezTo>
                    <a:pt x="348280" y="545597"/>
                    <a:pt x="345805" y="548069"/>
                    <a:pt x="345805" y="550541"/>
                  </a:cubicBezTo>
                  <a:cubicBezTo>
                    <a:pt x="323531" y="565371"/>
                    <a:pt x="311156" y="587616"/>
                    <a:pt x="298781" y="607389"/>
                  </a:cubicBezTo>
                  <a:cubicBezTo>
                    <a:pt x="286406" y="624691"/>
                    <a:pt x="276507" y="644464"/>
                    <a:pt x="266607" y="664238"/>
                  </a:cubicBezTo>
                  <a:cubicBezTo>
                    <a:pt x="264132" y="669181"/>
                    <a:pt x="259182" y="676596"/>
                    <a:pt x="259182" y="684011"/>
                  </a:cubicBezTo>
                  <a:cubicBezTo>
                    <a:pt x="254232" y="691426"/>
                    <a:pt x="254232" y="701313"/>
                    <a:pt x="254232" y="711200"/>
                  </a:cubicBezTo>
                  <a:cubicBezTo>
                    <a:pt x="298781" y="681540"/>
                    <a:pt x="345805" y="654351"/>
                    <a:pt x="397779" y="639521"/>
                  </a:cubicBezTo>
                  <a:cubicBezTo>
                    <a:pt x="452229" y="622219"/>
                    <a:pt x="504203" y="624691"/>
                    <a:pt x="561127" y="627163"/>
                  </a:cubicBezTo>
                  <a:cubicBezTo>
                    <a:pt x="543802" y="646936"/>
                    <a:pt x="511628" y="651879"/>
                    <a:pt x="509153" y="686483"/>
                  </a:cubicBezTo>
                  <a:cubicBezTo>
                    <a:pt x="516577" y="703785"/>
                    <a:pt x="528952" y="721086"/>
                    <a:pt x="536377" y="740860"/>
                  </a:cubicBezTo>
                  <a:cubicBezTo>
                    <a:pt x="548752" y="765577"/>
                    <a:pt x="533902" y="787822"/>
                    <a:pt x="519052" y="805123"/>
                  </a:cubicBezTo>
                  <a:cubicBezTo>
                    <a:pt x="499253" y="827368"/>
                    <a:pt x="472028" y="842199"/>
                    <a:pt x="444804" y="854557"/>
                  </a:cubicBezTo>
                  <a:cubicBezTo>
                    <a:pt x="442329" y="854557"/>
                    <a:pt x="442329" y="854557"/>
                    <a:pt x="442329" y="854557"/>
                  </a:cubicBezTo>
                  <a:cubicBezTo>
                    <a:pt x="410154" y="874330"/>
                    <a:pt x="377980" y="884217"/>
                    <a:pt x="343330" y="894104"/>
                  </a:cubicBezTo>
                  <a:cubicBezTo>
                    <a:pt x="308681" y="906462"/>
                    <a:pt x="278981" y="903990"/>
                    <a:pt x="246807" y="886689"/>
                  </a:cubicBezTo>
                  <a:cubicBezTo>
                    <a:pt x="187408" y="852085"/>
                    <a:pt x="137909" y="807595"/>
                    <a:pt x="93360" y="755690"/>
                  </a:cubicBezTo>
                  <a:cubicBezTo>
                    <a:pt x="78510" y="735916"/>
                    <a:pt x="78510" y="716143"/>
                    <a:pt x="90885" y="693898"/>
                  </a:cubicBezTo>
                  <a:cubicBezTo>
                    <a:pt x="98310" y="679068"/>
                    <a:pt x="103259" y="664238"/>
                    <a:pt x="113159" y="649408"/>
                  </a:cubicBezTo>
                  <a:cubicBezTo>
                    <a:pt x="128009" y="624691"/>
                    <a:pt x="142859" y="599974"/>
                    <a:pt x="167608" y="580201"/>
                  </a:cubicBezTo>
                  <a:cubicBezTo>
                    <a:pt x="202258" y="557956"/>
                    <a:pt x="234432" y="530767"/>
                    <a:pt x="261657" y="496164"/>
                  </a:cubicBezTo>
                  <a:cubicBezTo>
                    <a:pt x="269082" y="488749"/>
                    <a:pt x="278981" y="483805"/>
                    <a:pt x="293831" y="471447"/>
                  </a:cubicBezTo>
                  <a:cubicBezTo>
                    <a:pt x="274032" y="456617"/>
                    <a:pt x="264132" y="444259"/>
                    <a:pt x="251757" y="436843"/>
                  </a:cubicBezTo>
                  <a:cubicBezTo>
                    <a:pt x="177508" y="384938"/>
                    <a:pt x="113159" y="325618"/>
                    <a:pt x="53760" y="261354"/>
                  </a:cubicBezTo>
                  <a:cubicBezTo>
                    <a:pt x="38911" y="244053"/>
                    <a:pt x="26536" y="224279"/>
                    <a:pt x="11686" y="206977"/>
                  </a:cubicBezTo>
                  <a:cubicBezTo>
                    <a:pt x="9211" y="202034"/>
                    <a:pt x="6736" y="194619"/>
                    <a:pt x="1786" y="187204"/>
                  </a:cubicBezTo>
                  <a:cubicBezTo>
                    <a:pt x="-3164" y="169902"/>
                    <a:pt x="1786" y="160016"/>
                    <a:pt x="21586" y="160016"/>
                  </a:cubicBezTo>
                  <a:cubicBezTo>
                    <a:pt x="41385" y="162487"/>
                    <a:pt x="61185" y="164959"/>
                    <a:pt x="80985" y="164959"/>
                  </a:cubicBezTo>
                  <a:cubicBezTo>
                    <a:pt x="100784" y="167431"/>
                    <a:pt x="120584" y="174846"/>
                    <a:pt x="140384" y="182261"/>
                  </a:cubicBezTo>
                  <a:cubicBezTo>
                    <a:pt x="145334" y="184732"/>
                    <a:pt x="150284" y="182261"/>
                    <a:pt x="160183" y="184732"/>
                  </a:cubicBezTo>
                  <a:cubicBezTo>
                    <a:pt x="150284" y="172374"/>
                    <a:pt x="142859" y="162487"/>
                    <a:pt x="132959" y="152601"/>
                  </a:cubicBezTo>
                  <a:cubicBezTo>
                    <a:pt x="135434" y="150129"/>
                    <a:pt x="135434" y="147657"/>
                    <a:pt x="135434" y="147657"/>
                  </a:cubicBezTo>
                  <a:cubicBezTo>
                    <a:pt x="155234" y="152601"/>
                    <a:pt x="175033" y="160016"/>
                    <a:pt x="197308" y="167431"/>
                  </a:cubicBezTo>
                  <a:cubicBezTo>
                    <a:pt x="187408" y="155072"/>
                    <a:pt x="182458" y="147657"/>
                    <a:pt x="172558" y="135299"/>
                  </a:cubicBezTo>
                  <a:cubicBezTo>
                    <a:pt x="204733" y="137771"/>
                    <a:pt x="229482" y="140242"/>
                    <a:pt x="256707" y="142714"/>
                  </a:cubicBezTo>
                  <a:cubicBezTo>
                    <a:pt x="256707" y="137771"/>
                    <a:pt x="254232" y="135299"/>
                    <a:pt x="254232" y="130355"/>
                  </a:cubicBezTo>
                  <a:cubicBezTo>
                    <a:pt x="264132" y="130355"/>
                    <a:pt x="274032" y="130355"/>
                    <a:pt x="283931" y="130355"/>
                  </a:cubicBezTo>
                  <a:cubicBezTo>
                    <a:pt x="298781" y="130355"/>
                    <a:pt x="311156" y="140242"/>
                    <a:pt x="326006" y="127884"/>
                  </a:cubicBezTo>
                  <a:close/>
                  <a:moveTo>
                    <a:pt x="1465533" y="0"/>
                  </a:moveTo>
                  <a:cubicBezTo>
                    <a:pt x="1490266" y="0"/>
                    <a:pt x="1517471" y="4938"/>
                    <a:pt x="1539730" y="17282"/>
                  </a:cubicBezTo>
                  <a:cubicBezTo>
                    <a:pt x="1569409" y="34563"/>
                    <a:pt x="1599088" y="51845"/>
                    <a:pt x="1628767" y="74064"/>
                  </a:cubicBezTo>
                  <a:cubicBezTo>
                    <a:pt x="1690597" y="118503"/>
                    <a:pt x="1749955" y="167879"/>
                    <a:pt x="1801893" y="227130"/>
                  </a:cubicBezTo>
                  <a:cubicBezTo>
                    <a:pt x="1819205" y="246881"/>
                    <a:pt x="1836518" y="266631"/>
                    <a:pt x="1853831" y="288851"/>
                  </a:cubicBezTo>
                  <a:cubicBezTo>
                    <a:pt x="1883509" y="328351"/>
                    <a:pt x="1876090" y="353039"/>
                    <a:pt x="1851357" y="399947"/>
                  </a:cubicBezTo>
                  <a:cubicBezTo>
                    <a:pt x="1841464" y="419697"/>
                    <a:pt x="1826625" y="439448"/>
                    <a:pt x="1811786" y="459198"/>
                  </a:cubicBezTo>
                  <a:cubicBezTo>
                    <a:pt x="1789527" y="488824"/>
                    <a:pt x="1767267" y="520918"/>
                    <a:pt x="1742535" y="550544"/>
                  </a:cubicBezTo>
                  <a:cubicBezTo>
                    <a:pt x="1732642" y="565357"/>
                    <a:pt x="1725223" y="577701"/>
                    <a:pt x="1715330" y="592514"/>
                  </a:cubicBezTo>
                  <a:cubicBezTo>
                    <a:pt x="1712856" y="594983"/>
                    <a:pt x="1710383" y="597451"/>
                    <a:pt x="1707910" y="599920"/>
                  </a:cubicBezTo>
                  <a:cubicBezTo>
                    <a:pt x="1688124" y="617202"/>
                    <a:pt x="1665865" y="634483"/>
                    <a:pt x="1646079" y="654234"/>
                  </a:cubicBezTo>
                  <a:cubicBezTo>
                    <a:pt x="1638659" y="659171"/>
                    <a:pt x="1633713" y="669047"/>
                    <a:pt x="1623820" y="678922"/>
                  </a:cubicBezTo>
                  <a:cubicBezTo>
                    <a:pt x="1633713" y="681391"/>
                    <a:pt x="1641133" y="683860"/>
                    <a:pt x="1648552" y="683860"/>
                  </a:cubicBezTo>
                  <a:cubicBezTo>
                    <a:pt x="1690597" y="688797"/>
                    <a:pt x="1732642" y="693735"/>
                    <a:pt x="1774687" y="701141"/>
                  </a:cubicBezTo>
                  <a:cubicBezTo>
                    <a:pt x="1848884" y="713485"/>
                    <a:pt x="1923081" y="728298"/>
                    <a:pt x="1997278" y="743111"/>
                  </a:cubicBezTo>
                  <a:cubicBezTo>
                    <a:pt x="2004698" y="745580"/>
                    <a:pt x="2014590" y="750517"/>
                    <a:pt x="2022010" y="755455"/>
                  </a:cubicBezTo>
                  <a:cubicBezTo>
                    <a:pt x="2051689" y="780143"/>
                    <a:pt x="2076421" y="809769"/>
                    <a:pt x="2096207" y="841863"/>
                  </a:cubicBezTo>
                  <a:cubicBezTo>
                    <a:pt x="2162984" y="943084"/>
                    <a:pt x="2212449" y="1051712"/>
                    <a:pt x="2256967" y="1162808"/>
                  </a:cubicBezTo>
                  <a:cubicBezTo>
                    <a:pt x="2281699" y="1224528"/>
                    <a:pt x="2303958" y="1286248"/>
                    <a:pt x="2326217" y="1345500"/>
                  </a:cubicBezTo>
                  <a:cubicBezTo>
                    <a:pt x="2328691" y="1352906"/>
                    <a:pt x="2331164" y="1357844"/>
                    <a:pt x="2333637" y="1365250"/>
                  </a:cubicBezTo>
                  <a:cubicBezTo>
                    <a:pt x="2256967" y="1308468"/>
                    <a:pt x="2175350" y="1261560"/>
                    <a:pt x="2096207" y="1214653"/>
                  </a:cubicBezTo>
                  <a:cubicBezTo>
                    <a:pt x="2046742" y="1189965"/>
                    <a:pt x="1997278" y="1170214"/>
                    <a:pt x="1947813" y="1147995"/>
                  </a:cubicBezTo>
                  <a:cubicBezTo>
                    <a:pt x="1920608" y="1135651"/>
                    <a:pt x="1893402" y="1123307"/>
                    <a:pt x="1866197" y="1110963"/>
                  </a:cubicBezTo>
                  <a:cubicBezTo>
                    <a:pt x="1843938" y="1101088"/>
                    <a:pt x="1821679" y="1088744"/>
                    <a:pt x="1796946" y="1081337"/>
                  </a:cubicBezTo>
                  <a:cubicBezTo>
                    <a:pt x="1725223" y="1059118"/>
                    <a:pt x="1660919" y="1022086"/>
                    <a:pt x="1586722" y="999867"/>
                  </a:cubicBezTo>
                  <a:cubicBezTo>
                    <a:pt x="1564463" y="994929"/>
                    <a:pt x="1539730" y="987523"/>
                    <a:pt x="1514998" y="977648"/>
                  </a:cubicBezTo>
                  <a:cubicBezTo>
                    <a:pt x="1482846" y="965304"/>
                    <a:pt x="1448221" y="952959"/>
                    <a:pt x="1416069" y="940615"/>
                  </a:cubicBezTo>
                  <a:cubicBezTo>
                    <a:pt x="1401229" y="935678"/>
                    <a:pt x="1388863" y="935678"/>
                    <a:pt x="1374024" y="933209"/>
                  </a:cubicBezTo>
                  <a:cubicBezTo>
                    <a:pt x="1369077" y="930740"/>
                    <a:pt x="1364131" y="925803"/>
                    <a:pt x="1356711" y="923334"/>
                  </a:cubicBezTo>
                  <a:cubicBezTo>
                    <a:pt x="1336925" y="957897"/>
                    <a:pt x="1304773" y="980116"/>
                    <a:pt x="1275095" y="1002336"/>
                  </a:cubicBezTo>
                  <a:cubicBezTo>
                    <a:pt x="1245416" y="1027024"/>
                    <a:pt x="1218210" y="1051712"/>
                    <a:pt x="1186058" y="1071462"/>
                  </a:cubicBezTo>
                  <a:cubicBezTo>
                    <a:pt x="1153906" y="1096150"/>
                    <a:pt x="1124228" y="1125776"/>
                    <a:pt x="1084656" y="1143058"/>
                  </a:cubicBezTo>
                  <a:cubicBezTo>
                    <a:pt x="1064870" y="1152933"/>
                    <a:pt x="1047557" y="1167746"/>
                    <a:pt x="1027772" y="1177621"/>
                  </a:cubicBezTo>
                  <a:cubicBezTo>
                    <a:pt x="1003039" y="1189965"/>
                    <a:pt x="975834" y="1199840"/>
                    <a:pt x="951101" y="1209715"/>
                  </a:cubicBezTo>
                  <a:cubicBezTo>
                    <a:pt x="941209" y="1214653"/>
                    <a:pt x="931316" y="1222059"/>
                    <a:pt x="921423" y="1224528"/>
                  </a:cubicBezTo>
                  <a:cubicBezTo>
                    <a:pt x="896690" y="1234403"/>
                    <a:pt x="871958" y="1241810"/>
                    <a:pt x="847226" y="1246747"/>
                  </a:cubicBezTo>
                  <a:cubicBezTo>
                    <a:pt x="822494" y="1254154"/>
                    <a:pt x="797761" y="1246747"/>
                    <a:pt x="775502" y="1236872"/>
                  </a:cubicBezTo>
                  <a:cubicBezTo>
                    <a:pt x="730984" y="1214653"/>
                    <a:pt x="693886" y="1185027"/>
                    <a:pt x="661734" y="1147995"/>
                  </a:cubicBezTo>
                  <a:cubicBezTo>
                    <a:pt x="637001" y="1118370"/>
                    <a:pt x="624635" y="1081337"/>
                    <a:pt x="617215" y="1044305"/>
                  </a:cubicBezTo>
                  <a:cubicBezTo>
                    <a:pt x="604849" y="989992"/>
                    <a:pt x="607322" y="933209"/>
                    <a:pt x="622162" y="878895"/>
                  </a:cubicBezTo>
                  <a:cubicBezTo>
                    <a:pt x="629582" y="854207"/>
                    <a:pt x="641948" y="829519"/>
                    <a:pt x="654314" y="807300"/>
                  </a:cubicBezTo>
                  <a:cubicBezTo>
                    <a:pt x="664207" y="787549"/>
                    <a:pt x="676573" y="770268"/>
                    <a:pt x="686466" y="752986"/>
                  </a:cubicBezTo>
                  <a:cubicBezTo>
                    <a:pt x="728511" y="693735"/>
                    <a:pt x="785395" y="659171"/>
                    <a:pt x="857119" y="644359"/>
                  </a:cubicBezTo>
                  <a:cubicBezTo>
                    <a:pt x="918949" y="632015"/>
                    <a:pt x="980780" y="627077"/>
                    <a:pt x="1042611" y="624608"/>
                  </a:cubicBezTo>
                  <a:cubicBezTo>
                    <a:pt x="1072290" y="622139"/>
                    <a:pt x="1101969" y="619671"/>
                    <a:pt x="1131647" y="622139"/>
                  </a:cubicBezTo>
                  <a:cubicBezTo>
                    <a:pt x="1168746" y="622139"/>
                    <a:pt x="1205844" y="624608"/>
                    <a:pt x="1242943" y="636952"/>
                  </a:cubicBezTo>
                  <a:cubicBezTo>
                    <a:pt x="1247889" y="636952"/>
                    <a:pt x="1250362" y="639421"/>
                    <a:pt x="1255309" y="639421"/>
                  </a:cubicBezTo>
                  <a:cubicBezTo>
                    <a:pt x="1275095" y="641890"/>
                    <a:pt x="1277568" y="639421"/>
                    <a:pt x="1282514" y="622139"/>
                  </a:cubicBezTo>
                  <a:cubicBezTo>
                    <a:pt x="1284988" y="617202"/>
                    <a:pt x="1284988" y="612264"/>
                    <a:pt x="1287461" y="609795"/>
                  </a:cubicBezTo>
                  <a:cubicBezTo>
                    <a:pt x="1302300" y="590045"/>
                    <a:pt x="1312193" y="570294"/>
                    <a:pt x="1319613" y="548075"/>
                  </a:cubicBezTo>
                  <a:cubicBezTo>
                    <a:pt x="1339399" y="508574"/>
                    <a:pt x="1359184" y="469073"/>
                    <a:pt x="1378970" y="429572"/>
                  </a:cubicBezTo>
                  <a:cubicBezTo>
                    <a:pt x="1381444" y="427104"/>
                    <a:pt x="1378970" y="424635"/>
                    <a:pt x="1381444" y="419697"/>
                  </a:cubicBezTo>
                  <a:cubicBezTo>
                    <a:pt x="1351765" y="407353"/>
                    <a:pt x="1324559" y="409822"/>
                    <a:pt x="1299827" y="422166"/>
                  </a:cubicBezTo>
                  <a:cubicBezTo>
                    <a:pt x="1262728" y="441917"/>
                    <a:pt x="1228103" y="461667"/>
                    <a:pt x="1193478" y="478949"/>
                  </a:cubicBezTo>
                  <a:cubicBezTo>
                    <a:pt x="1186058" y="483886"/>
                    <a:pt x="1176165" y="483886"/>
                    <a:pt x="1168746" y="486355"/>
                  </a:cubicBezTo>
                  <a:cubicBezTo>
                    <a:pt x="1151433" y="491293"/>
                    <a:pt x="1131647" y="493761"/>
                    <a:pt x="1114335" y="498699"/>
                  </a:cubicBezTo>
                  <a:cubicBezTo>
                    <a:pt x="1097022" y="503637"/>
                    <a:pt x="1079709" y="501168"/>
                    <a:pt x="1064870" y="493761"/>
                  </a:cubicBezTo>
                  <a:cubicBezTo>
                    <a:pt x="1035191" y="476480"/>
                    <a:pt x="1007986" y="461667"/>
                    <a:pt x="980780" y="444385"/>
                  </a:cubicBezTo>
                  <a:cubicBezTo>
                    <a:pt x="904110" y="392540"/>
                    <a:pt x="837333" y="330820"/>
                    <a:pt x="777975" y="261694"/>
                  </a:cubicBezTo>
                  <a:cubicBezTo>
                    <a:pt x="765609" y="246881"/>
                    <a:pt x="758190" y="229599"/>
                    <a:pt x="748297" y="212317"/>
                  </a:cubicBezTo>
                  <a:cubicBezTo>
                    <a:pt x="745823" y="209849"/>
                    <a:pt x="743350" y="204911"/>
                    <a:pt x="745823" y="199973"/>
                  </a:cubicBezTo>
                  <a:cubicBezTo>
                    <a:pt x="753243" y="185161"/>
                    <a:pt x="740877" y="175285"/>
                    <a:pt x="733457" y="162941"/>
                  </a:cubicBezTo>
                  <a:cubicBezTo>
                    <a:pt x="726038" y="153066"/>
                    <a:pt x="716145" y="140722"/>
                    <a:pt x="716145" y="125909"/>
                  </a:cubicBezTo>
                  <a:cubicBezTo>
                    <a:pt x="733457" y="120971"/>
                    <a:pt x="748297" y="118503"/>
                    <a:pt x="765609" y="120971"/>
                  </a:cubicBezTo>
                  <a:cubicBezTo>
                    <a:pt x="802708" y="123440"/>
                    <a:pt x="837333" y="120971"/>
                    <a:pt x="874431" y="120971"/>
                  </a:cubicBezTo>
                  <a:cubicBezTo>
                    <a:pt x="926369" y="116034"/>
                    <a:pt x="975834" y="108627"/>
                    <a:pt x="1022825" y="91346"/>
                  </a:cubicBezTo>
                  <a:cubicBezTo>
                    <a:pt x="1027772" y="88877"/>
                    <a:pt x="1032718" y="88877"/>
                    <a:pt x="1037665" y="88877"/>
                  </a:cubicBezTo>
                  <a:cubicBezTo>
                    <a:pt x="1072290" y="81470"/>
                    <a:pt x="1104442" y="69126"/>
                    <a:pt x="1136594" y="51845"/>
                  </a:cubicBezTo>
                  <a:cubicBezTo>
                    <a:pt x="1139067" y="49376"/>
                    <a:pt x="1146487" y="49376"/>
                    <a:pt x="1148960" y="49376"/>
                  </a:cubicBezTo>
                  <a:cubicBezTo>
                    <a:pt x="1163799" y="54314"/>
                    <a:pt x="1178639" y="46907"/>
                    <a:pt x="1193478" y="44438"/>
                  </a:cubicBezTo>
                  <a:cubicBezTo>
                    <a:pt x="1233050" y="32094"/>
                    <a:pt x="1272621" y="19750"/>
                    <a:pt x="1309720" y="7406"/>
                  </a:cubicBezTo>
                  <a:cubicBezTo>
                    <a:pt x="1319613" y="4938"/>
                    <a:pt x="1329506" y="2469"/>
                    <a:pt x="1339399" y="2469"/>
                  </a:cubicBezTo>
                  <a:cubicBezTo>
                    <a:pt x="1381444" y="2469"/>
                    <a:pt x="1423488" y="0"/>
                    <a:pt x="1465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DA82A811-B8D1-48FD-B4CE-FF60AAECA058}"/>
                </a:ext>
              </a:extLst>
            </p:cNvPr>
            <p:cNvSpPr/>
            <p:nvPr/>
          </p:nvSpPr>
          <p:spPr bwMode="auto">
            <a:xfrm>
              <a:off x="4459288" y="4468813"/>
              <a:ext cx="30163" cy="20638"/>
            </a:xfrm>
            <a:custGeom>
              <a:avLst/>
              <a:gdLst>
                <a:gd name="T0" fmla="*/ 5 w 12"/>
                <a:gd name="T1" fmla="*/ 8 h 8"/>
                <a:gd name="T2" fmla="*/ 0 w 12"/>
                <a:gd name="T3" fmla="*/ 8 h 8"/>
                <a:gd name="T4" fmla="*/ 12 w 12"/>
                <a:gd name="T5" fmla="*/ 1 h 8"/>
                <a:gd name="T6" fmla="*/ 11 w 12"/>
                <a:gd name="T7" fmla="*/ 4 h 8"/>
                <a:gd name="T8" fmla="*/ 5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5" y="8"/>
                  </a:moveTo>
                  <a:cubicBezTo>
                    <a:pt x="4" y="8"/>
                    <a:pt x="3" y="8"/>
                    <a:pt x="0" y="8"/>
                  </a:cubicBezTo>
                  <a:cubicBezTo>
                    <a:pt x="3" y="3"/>
                    <a:pt x="7" y="0"/>
                    <a:pt x="12" y="1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9" y="6"/>
                    <a:pt x="7" y="7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714A036-7E32-4524-BAF5-D9D812EBF147}"/>
                </a:ext>
              </a:extLst>
            </p:cNvPr>
            <p:cNvSpPr/>
            <p:nvPr/>
          </p:nvSpPr>
          <p:spPr bwMode="auto">
            <a:xfrm>
              <a:off x="4502151" y="3522663"/>
              <a:ext cx="77788" cy="76200"/>
            </a:xfrm>
            <a:custGeom>
              <a:avLst/>
              <a:gdLst>
                <a:gd name="T0" fmla="*/ 0 w 32"/>
                <a:gd name="T1" fmla="*/ 29 h 31"/>
                <a:gd name="T2" fmla="*/ 11 w 32"/>
                <a:gd name="T3" fmla="*/ 15 h 31"/>
                <a:gd name="T4" fmla="*/ 15 w 32"/>
                <a:gd name="T5" fmla="*/ 9 h 31"/>
                <a:gd name="T6" fmla="*/ 32 w 32"/>
                <a:gd name="T7" fmla="*/ 0 h 31"/>
                <a:gd name="T8" fmla="*/ 2 w 32"/>
                <a:gd name="T9" fmla="*/ 31 h 31"/>
                <a:gd name="T10" fmla="*/ 0 w 32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0" y="29"/>
                  </a:moveTo>
                  <a:cubicBezTo>
                    <a:pt x="3" y="24"/>
                    <a:pt x="7" y="20"/>
                    <a:pt x="11" y="15"/>
                  </a:cubicBezTo>
                  <a:cubicBezTo>
                    <a:pt x="12" y="13"/>
                    <a:pt x="13" y="11"/>
                    <a:pt x="15" y="9"/>
                  </a:cubicBezTo>
                  <a:cubicBezTo>
                    <a:pt x="19" y="1"/>
                    <a:pt x="22" y="0"/>
                    <a:pt x="32" y="0"/>
                  </a:cubicBezTo>
                  <a:cubicBezTo>
                    <a:pt x="21" y="10"/>
                    <a:pt x="13" y="22"/>
                    <a:pt x="2" y="31"/>
                  </a:cubicBezTo>
                  <a:cubicBezTo>
                    <a:pt x="1" y="30"/>
                    <a:pt x="0" y="30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7A49B57-1546-408F-8E56-59FCCBD13BC0}"/>
                </a:ext>
              </a:extLst>
            </p:cNvPr>
            <p:cNvSpPr/>
            <p:nvPr/>
          </p:nvSpPr>
          <p:spPr bwMode="auto">
            <a:xfrm>
              <a:off x="4586288" y="3487738"/>
              <a:ext cx="23813" cy="22225"/>
            </a:xfrm>
            <a:custGeom>
              <a:avLst/>
              <a:gdLst>
                <a:gd name="T0" fmla="*/ 10 w 10"/>
                <a:gd name="T1" fmla="*/ 2 h 9"/>
                <a:gd name="T2" fmla="*/ 2 w 10"/>
                <a:gd name="T3" fmla="*/ 9 h 9"/>
                <a:gd name="T4" fmla="*/ 0 w 10"/>
                <a:gd name="T5" fmla="*/ 7 h 9"/>
                <a:gd name="T6" fmla="*/ 7 w 10"/>
                <a:gd name="T7" fmla="*/ 0 h 9"/>
                <a:gd name="T8" fmla="*/ 1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7" y="5"/>
                    <a:pt x="4" y="7"/>
                    <a:pt x="2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2" y="5"/>
                    <a:pt x="5" y="2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2CCAE1B-BED1-41A0-8387-8FE481DDAAEA}"/>
                </a:ext>
              </a:extLst>
            </p:cNvPr>
            <p:cNvSpPr/>
            <p:nvPr/>
          </p:nvSpPr>
          <p:spPr bwMode="auto">
            <a:xfrm>
              <a:off x="4445001" y="3663950"/>
              <a:ext cx="11113" cy="14288"/>
            </a:xfrm>
            <a:custGeom>
              <a:avLst/>
              <a:gdLst>
                <a:gd name="T0" fmla="*/ 5 w 5"/>
                <a:gd name="T1" fmla="*/ 1 h 6"/>
                <a:gd name="T2" fmla="*/ 1 w 5"/>
                <a:gd name="T3" fmla="*/ 6 h 6"/>
                <a:gd name="T4" fmla="*/ 0 w 5"/>
                <a:gd name="T5" fmla="*/ 5 h 6"/>
                <a:gd name="T6" fmla="*/ 3 w 5"/>
                <a:gd name="T7" fmla="*/ 0 h 6"/>
                <a:gd name="T8" fmla="*/ 5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0"/>
                    <a:pt x="4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CE59B7AD-8201-426A-B1B0-3DFE0A93E30B}"/>
                </a:ext>
              </a:extLst>
            </p:cNvPr>
            <p:cNvSpPr/>
            <p:nvPr/>
          </p:nvSpPr>
          <p:spPr bwMode="auto">
            <a:xfrm>
              <a:off x="4348163" y="3806825"/>
              <a:ext cx="12700" cy="17463"/>
            </a:xfrm>
            <a:custGeom>
              <a:avLst/>
              <a:gdLst>
                <a:gd name="T0" fmla="*/ 5 w 5"/>
                <a:gd name="T1" fmla="*/ 1 h 7"/>
                <a:gd name="T2" fmla="*/ 1 w 5"/>
                <a:gd name="T3" fmla="*/ 7 h 7"/>
                <a:gd name="T4" fmla="*/ 0 w 5"/>
                <a:gd name="T5" fmla="*/ 6 h 7"/>
                <a:gd name="T6" fmla="*/ 3 w 5"/>
                <a:gd name="T7" fmla="*/ 0 h 7"/>
                <a:gd name="T8" fmla="*/ 5 w 5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1"/>
                  </a:moveTo>
                  <a:cubicBezTo>
                    <a:pt x="3" y="3"/>
                    <a:pt x="2" y="5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1" y="4"/>
                    <a:pt x="2" y="2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C092391-4932-4659-B539-B891C7F8B0BD}"/>
                </a:ext>
              </a:extLst>
            </p:cNvPr>
            <p:cNvSpPr/>
            <p:nvPr/>
          </p:nvSpPr>
          <p:spPr bwMode="auto">
            <a:xfrm>
              <a:off x="4370388" y="3770313"/>
              <a:ext cx="12700" cy="17463"/>
            </a:xfrm>
            <a:custGeom>
              <a:avLst/>
              <a:gdLst>
                <a:gd name="T0" fmla="*/ 0 w 5"/>
                <a:gd name="T1" fmla="*/ 6 h 7"/>
                <a:gd name="T2" fmla="*/ 3 w 5"/>
                <a:gd name="T3" fmla="*/ 0 h 7"/>
                <a:gd name="T4" fmla="*/ 5 w 5"/>
                <a:gd name="T5" fmla="*/ 1 h 7"/>
                <a:gd name="T6" fmla="*/ 2 w 5"/>
                <a:gd name="T7" fmla="*/ 7 h 7"/>
                <a:gd name="T8" fmla="*/ 0 w 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4"/>
                    <a:pt x="2" y="2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8A69963-FE93-4CAE-921D-5310373A1F89}"/>
                </a:ext>
              </a:extLst>
            </p:cNvPr>
            <p:cNvSpPr/>
            <p:nvPr/>
          </p:nvSpPr>
          <p:spPr bwMode="auto">
            <a:xfrm>
              <a:off x="4484688" y="3609975"/>
              <a:ext cx="14288" cy="17463"/>
            </a:xfrm>
            <a:custGeom>
              <a:avLst/>
              <a:gdLst>
                <a:gd name="T0" fmla="*/ 6 w 6"/>
                <a:gd name="T1" fmla="*/ 3 h 7"/>
                <a:gd name="T2" fmla="*/ 2 w 6"/>
                <a:gd name="T3" fmla="*/ 7 h 7"/>
                <a:gd name="T4" fmla="*/ 0 w 6"/>
                <a:gd name="T5" fmla="*/ 5 h 7"/>
                <a:gd name="T6" fmla="*/ 3 w 6"/>
                <a:gd name="T7" fmla="*/ 0 h 7"/>
                <a:gd name="T8" fmla="*/ 6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cubicBezTo>
                    <a:pt x="5" y="4"/>
                    <a:pt x="3" y="5"/>
                    <a:pt x="2" y="7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2F6F2B8-FF0A-4533-BBE9-8D8A0BF5FA61}"/>
                </a:ext>
              </a:extLst>
            </p:cNvPr>
            <p:cNvSpPr/>
            <p:nvPr/>
          </p:nvSpPr>
          <p:spPr bwMode="auto">
            <a:xfrm>
              <a:off x="4143376" y="3154363"/>
              <a:ext cx="6350" cy="22225"/>
            </a:xfrm>
            <a:custGeom>
              <a:avLst/>
              <a:gdLst>
                <a:gd name="T0" fmla="*/ 2 w 3"/>
                <a:gd name="T1" fmla="*/ 0 h 9"/>
                <a:gd name="T2" fmla="*/ 3 w 3"/>
                <a:gd name="T3" fmla="*/ 9 h 9"/>
                <a:gd name="T4" fmla="*/ 2 w 3"/>
                <a:gd name="T5" fmla="*/ 0 h 9"/>
                <a:gd name="T6" fmla="*/ 2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2" y="3"/>
                    <a:pt x="3" y="6"/>
                    <a:pt x="3" y="9"/>
                  </a:cubicBezTo>
                  <a:cubicBezTo>
                    <a:pt x="0" y="6"/>
                    <a:pt x="0" y="3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CE3DB34-5B98-44E4-89E7-FF129C543F6B}"/>
                </a:ext>
              </a:extLst>
            </p:cNvPr>
            <p:cNvSpPr/>
            <p:nvPr/>
          </p:nvSpPr>
          <p:spPr bwMode="auto">
            <a:xfrm>
              <a:off x="4322763" y="4529138"/>
              <a:ext cx="55563" cy="28575"/>
            </a:xfrm>
            <a:custGeom>
              <a:avLst/>
              <a:gdLst>
                <a:gd name="T0" fmla="*/ 0 w 22"/>
                <a:gd name="T1" fmla="*/ 12 h 12"/>
                <a:gd name="T2" fmla="*/ 22 w 22"/>
                <a:gd name="T3" fmla="*/ 0 h 12"/>
                <a:gd name="T4" fmla="*/ 0 w 2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0" y="12"/>
                  </a:moveTo>
                  <a:cubicBezTo>
                    <a:pt x="6" y="7"/>
                    <a:pt x="11" y="0"/>
                    <a:pt x="22" y="0"/>
                  </a:cubicBezTo>
                  <a:cubicBezTo>
                    <a:pt x="15" y="7"/>
                    <a:pt x="8" y="10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729509A-1087-4D19-B0C0-CE24F3922BA8}"/>
                </a:ext>
              </a:extLst>
            </p:cNvPr>
            <p:cNvSpPr/>
            <p:nvPr/>
          </p:nvSpPr>
          <p:spPr bwMode="auto">
            <a:xfrm>
              <a:off x="7304088" y="3281363"/>
              <a:ext cx="34925" cy="206375"/>
            </a:xfrm>
            <a:custGeom>
              <a:avLst/>
              <a:gdLst>
                <a:gd name="T0" fmla="*/ 7 w 14"/>
                <a:gd name="T1" fmla="*/ 0 h 84"/>
                <a:gd name="T2" fmla="*/ 10 w 14"/>
                <a:gd name="T3" fmla="*/ 7 h 84"/>
                <a:gd name="T4" fmla="*/ 14 w 14"/>
                <a:gd name="T5" fmla="*/ 57 h 84"/>
                <a:gd name="T6" fmla="*/ 14 w 14"/>
                <a:gd name="T7" fmla="*/ 60 h 84"/>
                <a:gd name="T8" fmla="*/ 9 w 14"/>
                <a:gd name="T9" fmla="*/ 84 h 84"/>
                <a:gd name="T10" fmla="*/ 7 w 14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4">
                  <a:moveTo>
                    <a:pt x="7" y="0"/>
                  </a:moveTo>
                  <a:cubicBezTo>
                    <a:pt x="8" y="4"/>
                    <a:pt x="9" y="5"/>
                    <a:pt x="10" y="7"/>
                  </a:cubicBezTo>
                  <a:cubicBezTo>
                    <a:pt x="11" y="24"/>
                    <a:pt x="13" y="40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2" y="68"/>
                    <a:pt x="11" y="76"/>
                    <a:pt x="9" y="84"/>
                  </a:cubicBezTo>
                  <a:cubicBezTo>
                    <a:pt x="0" y="71"/>
                    <a:pt x="4" y="2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1DBD410-7005-465F-8BC3-4985F6DB011A}"/>
                </a:ext>
              </a:extLst>
            </p:cNvPr>
            <p:cNvSpPr/>
            <p:nvPr/>
          </p:nvSpPr>
          <p:spPr bwMode="auto">
            <a:xfrm>
              <a:off x="7165976" y="4233863"/>
              <a:ext cx="30163" cy="47625"/>
            </a:xfrm>
            <a:custGeom>
              <a:avLst/>
              <a:gdLst>
                <a:gd name="T0" fmla="*/ 1 w 12"/>
                <a:gd name="T1" fmla="*/ 0 h 19"/>
                <a:gd name="T2" fmla="*/ 12 w 12"/>
                <a:gd name="T3" fmla="*/ 14 h 19"/>
                <a:gd name="T4" fmla="*/ 5 w 12"/>
                <a:gd name="T5" fmla="*/ 19 h 19"/>
                <a:gd name="T6" fmla="*/ 1 w 1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0"/>
                  </a:moveTo>
                  <a:cubicBezTo>
                    <a:pt x="5" y="6"/>
                    <a:pt x="8" y="9"/>
                    <a:pt x="12" y="14"/>
                  </a:cubicBezTo>
                  <a:cubicBezTo>
                    <a:pt x="10" y="15"/>
                    <a:pt x="8" y="17"/>
                    <a:pt x="5" y="19"/>
                  </a:cubicBezTo>
                  <a:cubicBezTo>
                    <a:pt x="1" y="14"/>
                    <a:pt x="0" y="9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EB1DD80-BE5C-40EC-9B3E-B593B24D1D51}"/>
                </a:ext>
              </a:extLst>
            </p:cNvPr>
            <p:cNvSpPr/>
            <p:nvPr/>
          </p:nvSpPr>
          <p:spPr bwMode="auto">
            <a:xfrm>
              <a:off x="3427460" y="3333843"/>
              <a:ext cx="2945932" cy="2310473"/>
            </a:xfrm>
            <a:custGeom>
              <a:avLst/>
              <a:gdLst>
                <a:gd name="connsiteX0" fmla="*/ 873079 w 2945932"/>
                <a:gd name="connsiteY0" fmla="*/ 1590582 h 2310473"/>
                <a:gd name="connsiteX1" fmla="*/ 861173 w 2945932"/>
                <a:gd name="connsiteY1" fmla="*/ 1627095 h 2310473"/>
                <a:gd name="connsiteX2" fmla="*/ 873079 w 2945932"/>
                <a:gd name="connsiteY2" fmla="*/ 1590582 h 2310473"/>
                <a:gd name="connsiteX3" fmla="*/ 938166 w 2945932"/>
                <a:gd name="connsiteY3" fmla="*/ 1350870 h 2310473"/>
                <a:gd name="connsiteX4" fmla="*/ 858978 w 2945932"/>
                <a:gd name="connsiteY4" fmla="*/ 1579470 h 2310473"/>
                <a:gd name="connsiteX5" fmla="*/ 858978 w 2945932"/>
                <a:gd name="connsiteY5" fmla="*/ 1527851 h 2310473"/>
                <a:gd name="connsiteX6" fmla="*/ 938166 w 2945932"/>
                <a:gd name="connsiteY6" fmla="*/ 1350870 h 2310473"/>
                <a:gd name="connsiteX7" fmla="*/ 853780 w 2945932"/>
                <a:gd name="connsiteY7" fmla="*/ 1249180 h 2310473"/>
                <a:gd name="connsiteX8" fmla="*/ 853780 w 2945932"/>
                <a:gd name="connsiteY8" fmla="*/ 1251652 h 2310473"/>
                <a:gd name="connsiteX9" fmla="*/ 856255 w 2945932"/>
                <a:gd name="connsiteY9" fmla="*/ 1249180 h 2310473"/>
                <a:gd name="connsiteX10" fmla="*/ 853780 w 2945932"/>
                <a:gd name="connsiteY10" fmla="*/ 1249180 h 2310473"/>
                <a:gd name="connsiteX11" fmla="*/ 950279 w 2945932"/>
                <a:gd name="connsiteY11" fmla="*/ 1194803 h 2310473"/>
                <a:gd name="connsiteX12" fmla="*/ 895844 w 2945932"/>
                <a:gd name="connsiteY12" fmla="*/ 1224463 h 2310473"/>
                <a:gd name="connsiteX13" fmla="*/ 950279 w 2945932"/>
                <a:gd name="connsiteY13" fmla="*/ 1194803 h 2310473"/>
                <a:gd name="connsiteX14" fmla="*/ 1648037 w 2945932"/>
                <a:gd name="connsiteY14" fmla="*/ 908086 h 2310473"/>
                <a:gd name="connsiteX15" fmla="*/ 1610922 w 2945932"/>
                <a:gd name="connsiteY15" fmla="*/ 915501 h 2310473"/>
                <a:gd name="connsiteX16" fmla="*/ 1541641 w 2945932"/>
                <a:gd name="connsiteY16" fmla="*/ 940218 h 2310473"/>
                <a:gd name="connsiteX17" fmla="*/ 1529270 w 2945932"/>
                <a:gd name="connsiteY17" fmla="*/ 942689 h 2310473"/>
                <a:gd name="connsiteX18" fmla="*/ 1516898 w 2945932"/>
                <a:gd name="connsiteY18" fmla="*/ 917973 h 2310473"/>
                <a:gd name="connsiteX19" fmla="*/ 1511949 w 2945932"/>
                <a:gd name="connsiteY19" fmla="*/ 932803 h 2310473"/>
                <a:gd name="connsiteX20" fmla="*/ 1474835 w 2945932"/>
                <a:gd name="connsiteY20" fmla="*/ 967406 h 2310473"/>
                <a:gd name="connsiteX21" fmla="*/ 1395656 w 2945932"/>
                <a:gd name="connsiteY21" fmla="*/ 999539 h 2310473"/>
                <a:gd name="connsiteX22" fmla="*/ 1370913 w 2945932"/>
                <a:gd name="connsiteY22" fmla="*/ 1006954 h 2310473"/>
                <a:gd name="connsiteX23" fmla="*/ 1356067 w 2945932"/>
                <a:gd name="connsiteY23" fmla="*/ 1041557 h 2310473"/>
                <a:gd name="connsiteX24" fmla="*/ 1422874 w 2945932"/>
                <a:gd name="connsiteY24" fmla="*/ 1155256 h 2310473"/>
                <a:gd name="connsiteX25" fmla="*/ 1437720 w 2945932"/>
                <a:gd name="connsiteY25" fmla="*/ 1184916 h 2310473"/>
                <a:gd name="connsiteX26" fmla="*/ 1529270 w 2945932"/>
                <a:gd name="connsiteY26" fmla="*/ 1128067 h 2310473"/>
                <a:gd name="connsiteX27" fmla="*/ 1531744 w 2945932"/>
                <a:gd name="connsiteY27" fmla="*/ 1128067 h 2310473"/>
                <a:gd name="connsiteX28" fmla="*/ 1529270 w 2945932"/>
                <a:gd name="connsiteY28" fmla="*/ 1125595 h 2310473"/>
                <a:gd name="connsiteX29" fmla="*/ 1554013 w 2945932"/>
                <a:gd name="connsiteY29" fmla="*/ 1093463 h 2310473"/>
                <a:gd name="connsiteX30" fmla="*/ 1576282 w 2945932"/>
                <a:gd name="connsiteY30" fmla="*/ 1068746 h 2310473"/>
                <a:gd name="connsiteX31" fmla="*/ 1633191 w 2945932"/>
                <a:gd name="connsiteY31" fmla="*/ 977293 h 2310473"/>
                <a:gd name="connsiteX32" fmla="*/ 1643088 w 2945932"/>
                <a:gd name="connsiteY32" fmla="*/ 955048 h 2310473"/>
                <a:gd name="connsiteX33" fmla="*/ 1657934 w 2945932"/>
                <a:gd name="connsiteY33" fmla="*/ 925388 h 2310473"/>
                <a:gd name="connsiteX34" fmla="*/ 1660409 w 2945932"/>
                <a:gd name="connsiteY34" fmla="*/ 913029 h 2310473"/>
                <a:gd name="connsiteX35" fmla="*/ 1648037 w 2945932"/>
                <a:gd name="connsiteY35" fmla="*/ 908086 h 2310473"/>
                <a:gd name="connsiteX36" fmla="*/ 2630342 w 2945932"/>
                <a:gd name="connsiteY36" fmla="*/ 814161 h 2310473"/>
                <a:gd name="connsiteX37" fmla="*/ 2603124 w 2945932"/>
                <a:gd name="connsiteY37" fmla="*/ 824048 h 2310473"/>
                <a:gd name="connsiteX38" fmla="*/ 2486831 w 2945932"/>
                <a:gd name="connsiteY38" fmla="*/ 908086 h 2310473"/>
                <a:gd name="connsiteX39" fmla="*/ 2439819 w 2945932"/>
                <a:gd name="connsiteY39" fmla="*/ 979765 h 2310473"/>
                <a:gd name="connsiteX40" fmla="*/ 2424973 w 2945932"/>
                <a:gd name="connsiteY40" fmla="*/ 1026727 h 2310473"/>
                <a:gd name="connsiteX41" fmla="*/ 2410127 w 2945932"/>
                <a:gd name="connsiteY41" fmla="*/ 1105822 h 2310473"/>
                <a:gd name="connsiteX42" fmla="*/ 2417550 w 2945932"/>
                <a:gd name="connsiteY42" fmla="*/ 1123123 h 2310473"/>
                <a:gd name="connsiteX43" fmla="*/ 2479408 w 2945932"/>
                <a:gd name="connsiteY43" fmla="*/ 1175029 h 2310473"/>
                <a:gd name="connsiteX44" fmla="*/ 2528895 w 2945932"/>
                <a:gd name="connsiteY44" fmla="*/ 1187388 h 2310473"/>
                <a:gd name="connsiteX45" fmla="*/ 2563535 w 2945932"/>
                <a:gd name="connsiteY45" fmla="*/ 1155256 h 2310473"/>
                <a:gd name="connsiteX46" fmla="*/ 2610547 w 2945932"/>
                <a:gd name="connsiteY46" fmla="*/ 1066274 h 2310473"/>
                <a:gd name="connsiteX47" fmla="*/ 2613022 w 2945932"/>
                <a:gd name="connsiteY47" fmla="*/ 1056388 h 2310473"/>
                <a:gd name="connsiteX48" fmla="*/ 2637765 w 2945932"/>
                <a:gd name="connsiteY48" fmla="*/ 950105 h 2310473"/>
                <a:gd name="connsiteX49" fmla="*/ 2655085 w 2945932"/>
                <a:gd name="connsiteY49" fmla="*/ 848765 h 2310473"/>
                <a:gd name="connsiteX50" fmla="*/ 2655085 w 2945932"/>
                <a:gd name="connsiteY50" fmla="*/ 836406 h 2310473"/>
                <a:gd name="connsiteX51" fmla="*/ 2630342 w 2945932"/>
                <a:gd name="connsiteY51" fmla="*/ 814161 h 2310473"/>
                <a:gd name="connsiteX52" fmla="*/ 1426585 w 2945932"/>
                <a:gd name="connsiteY52" fmla="*/ 354 h 2310473"/>
                <a:gd name="connsiteX53" fmla="*/ 1447617 w 2945932"/>
                <a:gd name="connsiteY53" fmla="*/ 10859 h 2310473"/>
                <a:gd name="connsiteX54" fmla="*/ 1643088 w 2945932"/>
                <a:gd name="connsiteY54" fmla="*/ 141859 h 2310473"/>
                <a:gd name="connsiteX55" fmla="*/ 1707421 w 2945932"/>
                <a:gd name="connsiteY55" fmla="*/ 208595 h 2310473"/>
                <a:gd name="connsiteX56" fmla="*/ 1714844 w 2945932"/>
                <a:gd name="connsiteY56" fmla="*/ 250614 h 2310473"/>
                <a:gd name="connsiteX57" fmla="*/ 1709895 w 2945932"/>
                <a:gd name="connsiteY57" fmla="*/ 272859 h 2310473"/>
                <a:gd name="connsiteX58" fmla="*/ 1695049 w 2945932"/>
                <a:gd name="connsiteY58" fmla="*/ 337123 h 2310473"/>
                <a:gd name="connsiteX59" fmla="*/ 1680203 w 2945932"/>
                <a:gd name="connsiteY59" fmla="*/ 379142 h 2310473"/>
                <a:gd name="connsiteX60" fmla="*/ 1625768 w 2945932"/>
                <a:gd name="connsiteY60" fmla="*/ 463180 h 2310473"/>
                <a:gd name="connsiteX61" fmla="*/ 1618345 w 2945932"/>
                <a:gd name="connsiteY61" fmla="*/ 473067 h 2310473"/>
                <a:gd name="connsiteX62" fmla="*/ 1539167 w 2945932"/>
                <a:gd name="connsiteY62" fmla="*/ 633727 h 2310473"/>
                <a:gd name="connsiteX63" fmla="*/ 1534218 w 2945932"/>
                <a:gd name="connsiteY63" fmla="*/ 646086 h 2310473"/>
                <a:gd name="connsiteX64" fmla="*/ 1549064 w 2945932"/>
                <a:gd name="connsiteY64" fmla="*/ 633727 h 2310473"/>
                <a:gd name="connsiteX65" fmla="*/ 1598551 w 2945932"/>
                <a:gd name="connsiteY65" fmla="*/ 532387 h 2310473"/>
                <a:gd name="connsiteX66" fmla="*/ 1623294 w 2945932"/>
                <a:gd name="connsiteY66" fmla="*/ 497784 h 2310473"/>
                <a:gd name="connsiteX67" fmla="*/ 1613396 w 2945932"/>
                <a:gd name="connsiteY67" fmla="*/ 552161 h 2310473"/>
                <a:gd name="connsiteX68" fmla="*/ 1586179 w 2945932"/>
                <a:gd name="connsiteY68" fmla="*/ 613954 h 2310473"/>
                <a:gd name="connsiteX69" fmla="*/ 1581230 w 2945932"/>
                <a:gd name="connsiteY69" fmla="*/ 633727 h 2310473"/>
                <a:gd name="connsiteX70" fmla="*/ 1596076 w 2945932"/>
                <a:gd name="connsiteY70" fmla="*/ 633727 h 2310473"/>
                <a:gd name="connsiteX71" fmla="*/ 1685152 w 2945932"/>
                <a:gd name="connsiteY71" fmla="*/ 606538 h 2310473"/>
                <a:gd name="connsiteX72" fmla="*/ 1754433 w 2945932"/>
                <a:gd name="connsiteY72" fmla="*/ 589237 h 2310473"/>
                <a:gd name="connsiteX73" fmla="*/ 1823714 w 2945932"/>
                <a:gd name="connsiteY73" fmla="*/ 527444 h 2310473"/>
                <a:gd name="connsiteX74" fmla="*/ 1833611 w 2945932"/>
                <a:gd name="connsiteY74" fmla="*/ 495312 h 2310473"/>
                <a:gd name="connsiteX75" fmla="*/ 1873200 w 2945932"/>
                <a:gd name="connsiteY75" fmla="*/ 515086 h 2310473"/>
                <a:gd name="connsiteX76" fmla="*/ 2019185 w 2945932"/>
                <a:gd name="connsiteY76" fmla="*/ 616425 h 2310473"/>
                <a:gd name="connsiteX77" fmla="*/ 2140427 w 2945932"/>
                <a:gd name="connsiteY77" fmla="*/ 695520 h 2310473"/>
                <a:gd name="connsiteX78" fmla="*/ 2152798 w 2945932"/>
                <a:gd name="connsiteY78" fmla="*/ 651029 h 2310473"/>
                <a:gd name="connsiteX79" fmla="*/ 2177541 w 2945932"/>
                <a:gd name="connsiteY79" fmla="*/ 613954 h 2310473"/>
                <a:gd name="connsiteX80" fmla="*/ 2118158 w 2945932"/>
                <a:gd name="connsiteY80" fmla="*/ 557104 h 2310473"/>
                <a:gd name="connsiteX81" fmla="*/ 2120632 w 2945932"/>
                <a:gd name="connsiteY81" fmla="*/ 552161 h 2310473"/>
                <a:gd name="connsiteX82" fmla="*/ 2133004 w 2945932"/>
                <a:gd name="connsiteY82" fmla="*/ 554633 h 2310473"/>
                <a:gd name="connsiteX83" fmla="*/ 2241874 w 2945932"/>
                <a:gd name="connsiteY83" fmla="*/ 591708 h 2310473"/>
                <a:gd name="connsiteX84" fmla="*/ 2350744 w 2945932"/>
                <a:gd name="connsiteY84" fmla="*/ 641142 h 2310473"/>
                <a:gd name="connsiteX85" fmla="*/ 2422499 w 2945932"/>
                <a:gd name="connsiteY85" fmla="*/ 702935 h 2310473"/>
                <a:gd name="connsiteX86" fmla="*/ 2439819 w 2945932"/>
                <a:gd name="connsiteY86" fmla="*/ 754840 h 2310473"/>
                <a:gd name="connsiteX87" fmla="*/ 2439819 w 2945932"/>
                <a:gd name="connsiteY87" fmla="*/ 786972 h 2310473"/>
                <a:gd name="connsiteX88" fmla="*/ 2489306 w 2945932"/>
                <a:gd name="connsiteY88" fmla="*/ 752369 h 2310473"/>
                <a:gd name="connsiteX89" fmla="*/ 2573432 w 2945932"/>
                <a:gd name="connsiteY89" fmla="*/ 688104 h 2310473"/>
                <a:gd name="connsiteX90" fmla="*/ 2637765 w 2945932"/>
                <a:gd name="connsiteY90" fmla="*/ 638670 h 2310473"/>
                <a:gd name="connsiteX91" fmla="*/ 2647662 w 2945932"/>
                <a:gd name="connsiteY91" fmla="*/ 631255 h 2310473"/>
                <a:gd name="connsiteX92" fmla="*/ 2667457 w 2945932"/>
                <a:gd name="connsiteY92" fmla="*/ 604067 h 2310473"/>
                <a:gd name="connsiteX93" fmla="*/ 2731789 w 2945932"/>
                <a:gd name="connsiteY93" fmla="*/ 628784 h 2310473"/>
                <a:gd name="connsiteX94" fmla="*/ 2924786 w 2945932"/>
                <a:gd name="connsiteY94" fmla="*/ 794388 h 2310473"/>
                <a:gd name="connsiteX95" fmla="*/ 2937158 w 2945932"/>
                <a:gd name="connsiteY95" fmla="*/ 811689 h 2310473"/>
                <a:gd name="connsiteX96" fmla="*/ 2939632 w 2945932"/>
                <a:gd name="connsiteY96" fmla="*/ 858652 h 2310473"/>
                <a:gd name="connsiteX97" fmla="*/ 2932209 w 2945932"/>
                <a:gd name="connsiteY97" fmla="*/ 883369 h 2310473"/>
                <a:gd name="connsiteX98" fmla="*/ 2902517 w 2945932"/>
                <a:gd name="connsiteY98" fmla="*/ 999539 h 2310473"/>
                <a:gd name="connsiteX99" fmla="*/ 2877774 w 2945932"/>
                <a:gd name="connsiteY99" fmla="*/ 1046501 h 2310473"/>
                <a:gd name="connsiteX100" fmla="*/ 2843133 w 2945932"/>
                <a:gd name="connsiteY100" fmla="*/ 1135482 h 2310473"/>
                <a:gd name="connsiteX101" fmla="*/ 2838185 w 2945932"/>
                <a:gd name="connsiteY101" fmla="*/ 1150312 h 2310473"/>
                <a:gd name="connsiteX102" fmla="*/ 2808493 w 2945932"/>
                <a:gd name="connsiteY102" fmla="*/ 1189859 h 2310473"/>
                <a:gd name="connsiteX103" fmla="*/ 2781275 w 2945932"/>
                <a:gd name="connsiteY103" fmla="*/ 1264010 h 2310473"/>
                <a:gd name="connsiteX104" fmla="*/ 2778801 w 2945932"/>
                <a:gd name="connsiteY104" fmla="*/ 1264010 h 2310473"/>
                <a:gd name="connsiteX105" fmla="*/ 2778801 w 2945932"/>
                <a:gd name="connsiteY105" fmla="*/ 1266482 h 2310473"/>
                <a:gd name="connsiteX106" fmla="*/ 2773852 w 2945932"/>
                <a:gd name="connsiteY106" fmla="*/ 1276369 h 2310473"/>
                <a:gd name="connsiteX107" fmla="*/ 2744161 w 2945932"/>
                <a:gd name="connsiteY107" fmla="*/ 1313444 h 2310473"/>
                <a:gd name="connsiteX108" fmla="*/ 2702097 w 2945932"/>
                <a:gd name="connsiteY108" fmla="*/ 1357935 h 2310473"/>
                <a:gd name="connsiteX109" fmla="*/ 2674880 w 2945932"/>
                <a:gd name="connsiteY109" fmla="*/ 1362878 h 2310473"/>
                <a:gd name="connsiteX110" fmla="*/ 2620445 w 2945932"/>
                <a:gd name="connsiteY110" fmla="*/ 1340633 h 2310473"/>
                <a:gd name="connsiteX111" fmla="*/ 2442294 w 2945932"/>
                <a:gd name="connsiteY111" fmla="*/ 1204690 h 2310473"/>
                <a:gd name="connsiteX112" fmla="*/ 2420025 w 2945932"/>
                <a:gd name="connsiteY112" fmla="*/ 1187388 h 2310473"/>
                <a:gd name="connsiteX113" fmla="*/ 2410127 w 2945932"/>
                <a:gd name="connsiteY113" fmla="*/ 1184916 h 2310473"/>
                <a:gd name="connsiteX114" fmla="*/ 2385384 w 2945932"/>
                <a:gd name="connsiteY114" fmla="*/ 1367822 h 2310473"/>
                <a:gd name="connsiteX115" fmla="*/ 2345795 w 2945932"/>
                <a:gd name="connsiteY115" fmla="*/ 1362878 h 2310473"/>
                <a:gd name="connsiteX116" fmla="*/ 2254245 w 2945932"/>
                <a:gd name="connsiteY116" fmla="*/ 1306029 h 2310473"/>
                <a:gd name="connsiteX117" fmla="*/ 2093414 w 2945932"/>
                <a:gd name="connsiteY117" fmla="*/ 1145369 h 2310473"/>
                <a:gd name="connsiteX118" fmla="*/ 2073620 w 2945932"/>
                <a:gd name="connsiteY118" fmla="*/ 1061331 h 2310473"/>
                <a:gd name="connsiteX119" fmla="*/ 2081043 w 2945932"/>
                <a:gd name="connsiteY119" fmla="*/ 982237 h 2310473"/>
                <a:gd name="connsiteX120" fmla="*/ 2076094 w 2945932"/>
                <a:gd name="connsiteY120" fmla="*/ 982237 h 2310473"/>
                <a:gd name="connsiteX121" fmla="*/ 2034031 w 2945932"/>
                <a:gd name="connsiteY121" fmla="*/ 1056388 h 2310473"/>
                <a:gd name="connsiteX122" fmla="*/ 2009288 w 2945932"/>
                <a:gd name="connsiteY122" fmla="*/ 1110765 h 2310473"/>
                <a:gd name="connsiteX123" fmla="*/ 2009288 w 2945932"/>
                <a:gd name="connsiteY123" fmla="*/ 1113237 h 2310473"/>
                <a:gd name="connsiteX124" fmla="*/ 1969698 w 2945932"/>
                <a:gd name="connsiteY124" fmla="*/ 1197274 h 2310473"/>
                <a:gd name="connsiteX125" fmla="*/ 1907840 w 2945932"/>
                <a:gd name="connsiteY125" fmla="*/ 1328274 h 2310473"/>
                <a:gd name="connsiteX126" fmla="*/ 1888046 w 2945932"/>
                <a:gd name="connsiteY126" fmla="*/ 1392539 h 2310473"/>
                <a:gd name="connsiteX127" fmla="*/ 1868251 w 2945932"/>
                <a:gd name="connsiteY127" fmla="*/ 1434557 h 2310473"/>
                <a:gd name="connsiteX128" fmla="*/ 1761856 w 2945932"/>
                <a:gd name="connsiteY128" fmla="*/ 1558142 h 2310473"/>
                <a:gd name="connsiteX129" fmla="*/ 1761856 w 2945932"/>
                <a:gd name="connsiteY129" fmla="*/ 1563086 h 2310473"/>
                <a:gd name="connsiteX130" fmla="*/ 1494629 w 2945932"/>
                <a:gd name="connsiteY130" fmla="*/ 1624878 h 2310473"/>
                <a:gd name="connsiteX131" fmla="*/ 1348644 w 2945932"/>
                <a:gd name="connsiteY131" fmla="*/ 1214576 h 2310473"/>
                <a:gd name="connsiteX132" fmla="*/ 1348644 w 2945932"/>
                <a:gd name="connsiteY132" fmla="*/ 1212105 h 2310473"/>
                <a:gd name="connsiteX133" fmla="*/ 1321427 w 2945932"/>
                <a:gd name="connsiteY133" fmla="*/ 1088520 h 2310473"/>
                <a:gd name="connsiteX134" fmla="*/ 1301632 w 2945932"/>
                <a:gd name="connsiteY134" fmla="*/ 1068746 h 2310473"/>
                <a:gd name="connsiteX135" fmla="*/ 1266992 w 2945932"/>
                <a:gd name="connsiteY135" fmla="*/ 1150312 h 2310473"/>
                <a:gd name="connsiteX136" fmla="*/ 1222454 w 2945932"/>
                <a:gd name="connsiteY136" fmla="*/ 1264010 h 2310473"/>
                <a:gd name="connsiteX137" fmla="*/ 1219980 w 2945932"/>
                <a:gd name="connsiteY137" fmla="*/ 1273897 h 2310473"/>
                <a:gd name="connsiteX138" fmla="*/ 1177916 w 2945932"/>
                <a:gd name="connsiteY138" fmla="*/ 1407369 h 2310473"/>
                <a:gd name="connsiteX139" fmla="*/ 1128430 w 2945932"/>
                <a:gd name="connsiteY139" fmla="*/ 1563086 h 2310473"/>
                <a:gd name="connsiteX140" fmla="*/ 1091315 w 2945932"/>
                <a:gd name="connsiteY140" fmla="*/ 1701501 h 2310473"/>
                <a:gd name="connsiteX141" fmla="*/ 1066572 w 2945932"/>
                <a:gd name="connsiteY141" fmla="*/ 1812727 h 2310473"/>
                <a:gd name="connsiteX142" fmla="*/ 1056674 w 2945932"/>
                <a:gd name="connsiteY142" fmla="*/ 1839916 h 2310473"/>
                <a:gd name="connsiteX143" fmla="*/ 1039354 w 2945932"/>
                <a:gd name="connsiteY143" fmla="*/ 1916539 h 2310473"/>
                <a:gd name="connsiteX144" fmla="*/ 1019560 w 2945932"/>
                <a:gd name="connsiteY144" fmla="*/ 2054954 h 2310473"/>
                <a:gd name="connsiteX145" fmla="*/ 1019560 w 2945932"/>
                <a:gd name="connsiteY145" fmla="*/ 2059897 h 2310473"/>
                <a:gd name="connsiteX146" fmla="*/ 987394 w 2945932"/>
                <a:gd name="connsiteY146" fmla="*/ 2235388 h 2310473"/>
                <a:gd name="connsiteX147" fmla="*/ 972548 w 2945932"/>
                <a:gd name="connsiteY147" fmla="*/ 2294709 h 2310473"/>
                <a:gd name="connsiteX148" fmla="*/ 945330 w 2945932"/>
                <a:gd name="connsiteY148" fmla="*/ 2307067 h 2310473"/>
                <a:gd name="connsiteX149" fmla="*/ 866152 w 2945932"/>
                <a:gd name="connsiteY149" fmla="*/ 2267520 h 2310473"/>
                <a:gd name="connsiteX150" fmla="*/ 861203 w 2945932"/>
                <a:gd name="connsiteY150" fmla="*/ 2250218 h 2310473"/>
                <a:gd name="connsiteX151" fmla="*/ 866152 w 2945932"/>
                <a:gd name="connsiteY151" fmla="*/ 2121690 h 2310473"/>
                <a:gd name="connsiteX152" fmla="*/ 866152 w 2945932"/>
                <a:gd name="connsiteY152" fmla="*/ 2101916 h 2310473"/>
                <a:gd name="connsiteX153" fmla="*/ 866152 w 2945932"/>
                <a:gd name="connsiteY153" fmla="*/ 2052482 h 2310473"/>
                <a:gd name="connsiteX154" fmla="*/ 868626 w 2945932"/>
                <a:gd name="connsiteY154" fmla="*/ 2037652 h 2310473"/>
                <a:gd name="connsiteX155" fmla="*/ 863678 w 2945932"/>
                <a:gd name="connsiteY155" fmla="*/ 1953614 h 2310473"/>
                <a:gd name="connsiteX156" fmla="*/ 856255 w 2945932"/>
                <a:gd name="connsiteY156" fmla="*/ 1933841 h 2310473"/>
                <a:gd name="connsiteX157" fmla="*/ 858729 w 2945932"/>
                <a:gd name="connsiteY157" fmla="*/ 1901709 h 2310473"/>
                <a:gd name="connsiteX158" fmla="*/ 856255 w 2945932"/>
                <a:gd name="connsiteY158" fmla="*/ 1886878 h 2310473"/>
                <a:gd name="connsiteX159" fmla="*/ 861203 w 2945932"/>
                <a:gd name="connsiteY159" fmla="*/ 1822614 h 2310473"/>
                <a:gd name="connsiteX160" fmla="*/ 861203 w 2945932"/>
                <a:gd name="connsiteY160" fmla="*/ 1699029 h 2310473"/>
                <a:gd name="connsiteX161" fmla="*/ 858729 w 2945932"/>
                <a:gd name="connsiteY161" fmla="*/ 1679256 h 2310473"/>
                <a:gd name="connsiteX162" fmla="*/ 873575 w 2945932"/>
                <a:gd name="connsiteY162" fmla="*/ 1614991 h 2310473"/>
                <a:gd name="connsiteX163" fmla="*/ 923061 w 2945932"/>
                <a:gd name="connsiteY163" fmla="*/ 1511180 h 2310473"/>
                <a:gd name="connsiteX164" fmla="*/ 937907 w 2945932"/>
                <a:gd name="connsiteY164" fmla="*/ 1503765 h 2310473"/>
                <a:gd name="connsiteX165" fmla="*/ 913164 w 2945932"/>
                <a:gd name="connsiteY165" fmla="*/ 1585331 h 2310473"/>
                <a:gd name="connsiteX166" fmla="*/ 932958 w 2945932"/>
                <a:gd name="connsiteY166" fmla="*/ 1565558 h 2310473"/>
                <a:gd name="connsiteX167" fmla="*/ 962650 w 2945932"/>
                <a:gd name="connsiteY167" fmla="*/ 1474105 h 2310473"/>
                <a:gd name="connsiteX168" fmla="*/ 989868 w 2945932"/>
                <a:gd name="connsiteY168" fmla="*/ 1395010 h 2310473"/>
                <a:gd name="connsiteX169" fmla="*/ 999765 w 2945932"/>
                <a:gd name="connsiteY169" fmla="*/ 1365350 h 2310473"/>
                <a:gd name="connsiteX170" fmla="*/ 1017085 w 2945932"/>
                <a:gd name="connsiteY170" fmla="*/ 1313444 h 2310473"/>
                <a:gd name="connsiteX171" fmla="*/ 1041829 w 2945932"/>
                <a:gd name="connsiteY171" fmla="*/ 1234350 h 2310473"/>
                <a:gd name="connsiteX172" fmla="*/ 1064097 w 2945932"/>
                <a:gd name="connsiteY172" fmla="*/ 1165142 h 2310473"/>
                <a:gd name="connsiteX173" fmla="*/ 1078943 w 2945932"/>
                <a:gd name="connsiteY173" fmla="*/ 1140425 h 2310473"/>
                <a:gd name="connsiteX174" fmla="*/ 1059149 w 2945932"/>
                <a:gd name="connsiteY174" fmla="*/ 1145369 h 2310473"/>
                <a:gd name="connsiteX175" fmla="*/ 1061623 w 2945932"/>
                <a:gd name="connsiteY175" fmla="*/ 1137954 h 2310473"/>
                <a:gd name="connsiteX176" fmla="*/ 1031931 w 2945932"/>
                <a:gd name="connsiteY176" fmla="*/ 1155256 h 2310473"/>
                <a:gd name="connsiteX177" fmla="*/ 1044303 w 2945932"/>
                <a:gd name="connsiteY177" fmla="*/ 1155256 h 2310473"/>
                <a:gd name="connsiteX178" fmla="*/ 970073 w 2945932"/>
                <a:gd name="connsiteY178" fmla="*/ 1204690 h 2310473"/>
                <a:gd name="connsiteX179" fmla="*/ 868626 w 2945932"/>
                <a:gd name="connsiteY179" fmla="*/ 1266482 h 2310473"/>
                <a:gd name="connsiteX180" fmla="*/ 853780 w 2945932"/>
                <a:gd name="connsiteY180" fmla="*/ 1273897 h 2310473"/>
                <a:gd name="connsiteX181" fmla="*/ 292110 w 2945932"/>
                <a:gd name="connsiteY181" fmla="*/ 1575444 h 2310473"/>
                <a:gd name="connsiteX182" fmla="*/ 287161 w 2945932"/>
                <a:gd name="connsiteY182" fmla="*/ 1580388 h 2310473"/>
                <a:gd name="connsiteX183" fmla="*/ 252520 w 2945932"/>
                <a:gd name="connsiteY183" fmla="*/ 1560614 h 2310473"/>
                <a:gd name="connsiteX184" fmla="*/ 153548 w 2945932"/>
                <a:gd name="connsiteY184" fmla="*/ 1488935 h 2310473"/>
                <a:gd name="connsiteX185" fmla="*/ 32306 w 2945932"/>
                <a:gd name="connsiteY185" fmla="*/ 1365350 h 2310473"/>
                <a:gd name="connsiteX186" fmla="*/ 7563 w 2945932"/>
                <a:gd name="connsiteY186" fmla="*/ 1328274 h 2310473"/>
                <a:gd name="connsiteX187" fmla="*/ 17460 w 2945932"/>
                <a:gd name="connsiteY187" fmla="*/ 1286256 h 2310473"/>
                <a:gd name="connsiteX188" fmla="*/ 61998 w 2945932"/>
                <a:gd name="connsiteY188" fmla="*/ 1261539 h 2310473"/>
                <a:gd name="connsiteX189" fmla="*/ 106536 w 2945932"/>
                <a:gd name="connsiteY189" fmla="*/ 1234350 h 2310473"/>
                <a:gd name="connsiteX190" fmla="*/ 136227 w 2945932"/>
                <a:gd name="connsiteY190" fmla="*/ 1219520 h 2310473"/>
                <a:gd name="connsiteX191" fmla="*/ 180765 w 2945932"/>
                <a:gd name="connsiteY191" fmla="*/ 1189859 h 2310473"/>
                <a:gd name="connsiteX192" fmla="*/ 205508 w 2945932"/>
                <a:gd name="connsiteY192" fmla="*/ 1177501 h 2310473"/>
                <a:gd name="connsiteX193" fmla="*/ 277264 w 2945932"/>
                <a:gd name="connsiteY193" fmla="*/ 1140425 h 2310473"/>
                <a:gd name="connsiteX194" fmla="*/ 321801 w 2945932"/>
                <a:gd name="connsiteY194" fmla="*/ 1120652 h 2310473"/>
                <a:gd name="connsiteX195" fmla="*/ 329224 w 2945932"/>
                <a:gd name="connsiteY195" fmla="*/ 1115708 h 2310473"/>
                <a:gd name="connsiteX196" fmla="*/ 848832 w 2945932"/>
                <a:gd name="connsiteY196" fmla="*/ 895727 h 2310473"/>
                <a:gd name="connsiteX197" fmla="*/ 868626 w 2945932"/>
                <a:gd name="connsiteY197" fmla="*/ 888312 h 2310473"/>
                <a:gd name="connsiteX198" fmla="*/ 923061 w 2945932"/>
                <a:gd name="connsiteY198" fmla="*/ 868539 h 2310473"/>
                <a:gd name="connsiteX199" fmla="*/ 1017085 w 2945932"/>
                <a:gd name="connsiteY199" fmla="*/ 831463 h 2310473"/>
                <a:gd name="connsiteX200" fmla="*/ 1061623 w 2945932"/>
                <a:gd name="connsiteY200" fmla="*/ 811689 h 2310473"/>
                <a:gd name="connsiteX201" fmla="*/ 1145750 w 2945932"/>
                <a:gd name="connsiteY201" fmla="*/ 772142 h 2310473"/>
                <a:gd name="connsiteX202" fmla="*/ 1163070 w 2945932"/>
                <a:gd name="connsiteY202" fmla="*/ 769671 h 2310473"/>
                <a:gd name="connsiteX203" fmla="*/ 1306581 w 2945932"/>
                <a:gd name="connsiteY203" fmla="*/ 376670 h 2310473"/>
                <a:gd name="connsiteX204" fmla="*/ 1309055 w 2945932"/>
                <a:gd name="connsiteY204" fmla="*/ 376670 h 2310473"/>
                <a:gd name="connsiteX205" fmla="*/ 1182865 w 2945932"/>
                <a:gd name="connsiteY205" fmla="*/ 754840 h 2310473"/>
                <a:gd name="connsiteX206" fmla="*/ 1200185 w 2945932"/>
                <a:gd name="connsiteY206" fmla="*/ 754840 h 2310473"/>
                <a:gd name="connsiteX207" fmla="*/ 1207608 w 2945932"/>
                <a:gd name="connsiteY207" fmla="*/ 735067 h 2310473"/>
                <a:gd name="connsiteX208" fmla="*/ 1234825 w 2945932"/>
                <a:gd name="connsiteY208" fmla="*/ 641142 h 2310473"/>
                <a:gd name="connsiteX209" fmla="*/ 1257094 w 2945932"/>
                <a:gd name="connsiteY209" fmla="*/ 576878 h 2310473"/>
                <a:gd name="connsiteX210" fmla="*/ 1262043 w 2945932"/>
                <a:gd name="connsiteY210" fmla="*/ 566991 h 2310473"/>
                <a:gd name="connsiteX211" fmla="*/ 1296683 w 2945932"/>
                <a:gd name="connsiteY211" fmla="*/ 470595 h 2310473"/>
                <a:gd name="connsiteX212" fmla="*/ 1309055 w 2945932"/>
                <a:gd name="connsiteY212" fmla="*/ 433519 h 2310473"/>
                <a:gd name="connsiteX213" fmla="*/ 1341221 w 2945932"/>
                <a:gd name="connsiteY213" fmla="*/ 354425 h 2310473"/>
                <a:gd name="connsiteX214" fmla="*/ 1368439 w 2945932"/>
                <a:gd name="connsiteY214" fmla="*/ 277802 h 2310473"/>
                <a:gd name="connsiteX215" fmla="*/ 1370913 w 2945932"/>
                <a:gd name="connsiteY215" fmla="*/ 270387 h 2310473"/>
                <a:gd name="connsiteX216" fmla="*/ 1395656 w 2945932"/>
                <a:gd name="connsiteY216" fmla="*/ 159161 h 2310473"/>
                <a:gd name="connsiteX217" fmla="*/ 1408028 w 2945932"/>
                <a:gd name="connsiteY217" fmla="*/ 25689 h 2310473"/>
                <a:gd name="connsiteX218" fmla="*/ 1405554 w 2945932"/>
                <a:gd name="connsiteY218" fmla="*/ 8387 h 2310473"/>
                <a:gd name="connsiteX219" fmla="*/ 1426585 w 2945932"/>
                <a:gd name="connsiteY219" fmla="*/ 354 h 231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945932" h="2310473">
                  <a:moveTo>
                    <a:pt x="873079" y="1590582"/>
                  </a:moveTo>
                  <a:cubicBezTo>
                    <a:pt x="868317" y="1602753"/>
                    <a:pt x="865935" y="1614924"/>
                    <a:pt x="861173" y="1627095"/>
                  </a:cubicBezTo>
                  <a:cubicBezTo>
                    <a:pt x="858791" y="1610056"/>
                    <a:pt x="858791" y="1610056"/>
                    <a:pt x="873079" y="1590582"/>
                  </a:cubicBezTo>
                  <a:close/>
                  <a:moveTo>
                    <a:pt x="938166" y="1350870"/>
                  </a:moveTo>
                  <a:cubicBezTo>
                    <a:pt x="913420" y="1424612"/>
                    <a:pt x="878775" y="1498354"/>
                    <a:pt x="858978" y="1579470"/>
                  </a:cubicBezTo>
                  <a:cubicBezTo>
                    <a:pt x="854028" y="1557348"/>
                    <a:pt x="854028" y="1545057"/>
                    <a:pt x="858978" y="1527851"/>
                  </a:cubicBezTo>
                  <a:cubicBezTo>
                    <a:pt x="881249" y="1466399"/>
                    <a:pt x="908470" y="1407406"/>
                    <a:pt x="938166" y="1350870"/>
                  </a:cubicBezTo>
                  <a:close/>
                  <a:moveTo>
                    <a:pt x="853780" y="1249180"/>
                  </a:moveTo>
                  <a:cubicBezTo>
                    <a:pt x="853780" y="1249180"/>
                    <a:pt x="853780" y="1249180"/>
                    <a:pt x="853780" y="1251652"/>
                  </a:cubicBezTo>
                  <a:cubicBezTo>
                    <a:pt x="853780" y="1251652"/>
                    <a:pt x="856255" y="1249180"/>
                    <a:pt x="856255" y="1249180"/>
                  </a:cubicBezTo>
                  <a:cubicBezTo>
                    <a:pt x="856255" y="1249180"/>
                    <a:pt x="853780" y="1249180"/>
                    <a:pt x="853780" y="1249180"/>
                  </a:cubicBezTo>
                  <a:close/>
                  <a:moveTo>
                    <a:pt x="950279" y="1194803"/>
                  </a:moveTo>
                  <a:cubicBezTo>
                    <a:pt x="923061" y="1194803"/>
                    <a:pt x="910690" y="1212105"/>
                    <a:pt x="895844" y="1224463"/>
                  </a:cubicBezTo>
                  <a:cubicBezTo>
                    <a:pt x="915638" y="1219520"/>
                    <a:pt x="932958" y="1212105"/>
                    <a:pt x="950279" y="1194803"/>
                  </a:cubicBezTo>
                  <a:close/>
                  <a:moveTo>
                    <a:pt x="1648037" y="908086"/>
                  </a:moveTo>
                  <a:cubicBezTo>
                    <a:pt x="1635665" y="910557"/>
                    <a:pt x="1623294" y="910557"/>
                    <a:pt x="1610922" y="915501"/>
                  </a:cubicBezTo>
                  <a:cubicBezTo>
                    <a:pt x="1588653" y="922916"/>
                    <a:pt x="1566384" y="932803"/>
                    <a:pt x="1541641" y="940218"/>
                  </a:cubicBezTo>
                  <a:cubicBezTo>
                    <a:pt x="1539167" y="942689"/>
                    <a:pt x="1534218" y="942689"/>
                    <a:pt x="1529270" y="942689"/>
                  </a:cubicBezTo>
                  <a:cubicBezTo>
                    <a:pt x="1524321" y="935274"/>
                    <a:pt x="1521847" y="927859"/>
                    <a:pt x="1516898" y="917973"/>
                  </a:cubicBezTo>
                  <a:cubicBezTo>
                    <a:pt x="1514424" y="925388"/>
                    <a:pt x="1511949" y="930331"/>
                    <a:pt x="1511949" y="932803"/>
                  </a:cubicBezTo>
                  <a:cubicBezTo>
                    <a:pt x="1509475" y="957520"/>
                    <a:pt x="1492155" y="964935"/>
                    <a:pt x="1474835" y="967406"/>
                  </a:cubicBezTo>
                  <a:cubicBezTo>
                    <a:pt x="1445143" y="972350"/>
                    <a:pt x="1420399" y="987180"/>
                    <a:pt x="1395656" y="999539"/>
                  </a:cubicBezTo>
                  <a:cubicBezTo>
                    <a:pt x="1388233" y="1002010"/>
                    <a:pt x="1378336" y="1004482"/>
                    <a:pt x="1370913" y="1006954"/>
                  </a:cubicBezTo>
                  <a:cubicBezTo>
                    <a:pt x="1351119" y="1014369"/>
                    <a:pt x="1346170" y="1024256"/>
                    <a:pt x="1356067" y="1041557"/>
                  </a:cubicBezTo>
                  <a:cubicBezTo>
                    <a:pt x="1378336" y="1081105"/>
                    <a:pt x="1398131" y="1118180"/>
                    <a:pt x="1422874" y="1155256"/>
                  </a:cubicBezTo>
                  <a:cubicBezTo>
                    <a:pt x="1430297" y="1165142"/>
                    <a:pt x="1435245" y="1175029"/>
                    <a:pt x="1437720" y="1184916"/>
                  </a:cubicBezTo>
                  <a:cubicBezTo>
                    <a:pt x="1474835" y="1170086"/>
                    <a:pt x="1516898" y="1150312"/>
                    <a:pt x="1529270" y="1128067"/>
                  </a:cubicBezTo>
                  <a:cubicBezTo>
                    <a:pt x="1529270" y="1128067"/>
                    <a:pt x="1529270" y="1128067"/>
                    <a:pt x="1531744" y="1128067"/>
                  </a:cubicBezTo>
                  <a:cubicBezTo>
                    <a:pt x="1529270" y="1125595"/>
                    <a:pt x="1529270" y="1125595"/>
                    <a:pt x="1529270" y="1125595"/>
                  </a:cubicBezTo>
                  <a:cubicBezTo>
                    <a:pt x="1531744" y="1113237"/>
                    <a:pt x="1539167" y="1100878"/>
                    <a:pt x="1554013" y="1093463"/>
                  </a:cubicBezTo>
                  <a:cubicBezTo>
                    <a:pt x="1563910" y="1088520"/>
                    <a:pt x="1571333" y="1078633"/>
                    <a:pt x="1576282" y="1068746"/>
                  </a:cubicBezTo>
                  <a:cubicBezTo>
                    <a:pt x="1596076" y="1039086"/>
                    <a:pt x="1615871" y="1006954"/>
                    <a:pt x="1633191" y="977293"/>
                  </a:cubicBezTo>
                  <a:cubicBezTo>
                    <a:pt x="1638140" y="969878"/>
                    <a:pt x="1640614" y="962463"/>
                    <a:pt x="1643088" y="955048"/>
                  </a:cubicBezTo>
                  <a:cubicBezTo>
                    <a:pt x="1645563" y="942689"/>
                    <a:pt x="1648037" y="932803"/>
                    <a:pt x="1657934" y="925388"/>
                  </a:cubicBezTo>
                  <a:cubicBezTo>
                    <a:pt x="1660409" y="922916"/>
                    <a:pt x="1660409" y="915501"/>
                    <a:pt x="1660409" y="913029"/>
                  </a:cubicBezTo>
                  <a:cubicBezTo>
                    <a:pt x="1657934" y="910557"/>
                    <a:pt x="1652986" y="908086"/>
                    <a:pt x="1648037" y="908086"/>
                  </a:cubicBezTo>
                  <a:close/>
                  <a:moveTo>
                    <a:pt x="2630342" y="814161"/>
                  </a:moveTo>
                  <a:cubicBezTo>
                    <a:pt x="2620445" y="816633"/>
                    <a:pt x="2610547" y="819104"/>
                    <a:pt x="2603124" y="824048"/>
                  </a:cubicBezTo>
                  <a:cubicBezTo>
                    <a:pt x="2563535" y="853708"/>
                    <a:pt x="2526420" y="880897"/>
                    <a:pt x="2486831" y="908086"/>
                  </a:cubicBezTo>
                  <a:cubicBezTo>
                    <a:pt x="2464562" y="927859"/>
                    <a:pt x="2447242" y="950105"/>
                    <a:pt x="2439819" y="979765"/>
                  </a:cubicBezTo>
                  <a:cubicBezTo>
                    <a:pt x="2437345" y="994595"/>
                    <a:pt x="2427448" y="1009425"/>
                    <a:pt x="2424973" y="1026727"/>
                  </a:cubicBezTo>
                  <a:cubicBezTo>
                    <a:pt x="2417550" y="1051444"/>
                    <a:pt x="2412602" y="1078633"/>
                    <a:pt x="2410127" y="1105822"/>
                  </a:cubicBezTo>
                  <a:cubicBezTo>
                    <a:pt x="2407653" y="1110765"/>
                    <a:pt x="2412602" y="1118180"/>
                    <a:pt x="2417550" y="1123123"/>
                  </a:cubicBezTo>
                  <a:cubicBezTo>
                    <a:pt x="2437345" y="1140425"/>
                    <a:pt x="2457139" y="1160199"/>
                    <a:pt x="2479408" y="1175029"/>
                  </a:cubicBezTo>
                  <a:cubicBezTo>
                    <a:pt x="2494254" y="1187388"/>
                    <a:pt x="2511574" y="1194803"/>
                    <a:pt x="2528895" y="1187388"/>
                  </a:cubicBezTo>
                  <a:cubicBezTo>
                    <a:pt x="2543741" y="1179973"/>
                    <a:pt x="2556112" y="1167614"/>
                    <a:pt x="2563535" y="1155256"/>
                  </a:cubicBezTo>
                  <a:cubicBezTo>
                    <a:pt x="2580855" y="1125595"/>
                    <a:pt x="2595701" y="1095935"/>
                    <a:pt x="2610547" y="1066274"/>
                  </a:cubicBezTo>
                  <a:cubicBezTo>
                    <a:pt x="2610547" y="1063803"/>
                    <a:pt x="2613022" y="1058859"/>
                    <a:pt x="2613022" y="1056388"/>
                  </a:cubicBezTo>
                  <a:cubicBezTo>
                    <a:pt x="2622919" y="1019312"/>
                    <a:pt x="2630342" y="984708"/>
                    <a:pt x="2637765" y="950105"/>
                  </a:cubicBezTo>
                  <a:cubicBezTo>
                    <a:pt x="2645188" y="915501"/>
                    <a:pt x="2650136" y="878425"/>
                    <a:pt x="2655085" y="848765"/>
                  </a:cubicBezTo>
                  <a:cubicBezTo>
                    <a:pt x="2655085" y="841350"/>
                    <a:pt x="2655085" y="838878"/>
                    <a:pt x="2655085" y="836406"/>
                  </a:cubicBezTo>
                  <a:cubicBezTo>
                    <a:pt x="2655085" y="814161"/>
                    <a:pt x="2650136" y="809218"/>
                    <a:pt x="2630342" y="814161"/>
                  </a:cubicBezTo>
                  <a:close/>
                  <a:moveTo>
                    <a:pt x="1426585" y="354"/>
                  </a:moveTo>
                  <a:cubicBezTo>
                    <a:pt x="1433390" y="1590"/>
                    <a:pt x="1440194" y="5916"/>
                    <a:pt x="1447617" y="10859"/>
                  </a:cubicBezTo>
                  <a:cubicBezTo>
                    <a:pt x="1511949" y="52878"/>
                    <a:pt x="1583705" y="92425"/>
                    <a:pt x="1643088" y="141859"/>
                  </a:cubicBezTo>
                  <a:cubicBezTo>
                    <a:pt x="1667831" y="161633"/>
                    <a:pt x="1687626" y="186350"/>
                    <a:pt x="1707421" y="208595"/>
                  </a:cubicBezTo>
                  <a:cubicBezTo>
                    <a:pt x="1719792" y="220953"/>
                    <a:pt x="1719792" y="233312"/>
                    <a:pt x="1714844" y="250614"/>
                  </a:cubicBezTo>
                  <a:cubicBezTo>
                    <a:pt x="1712369" y="258029"/>
                    <a:pt x="1709895" y="265444"/>
                    <a:pt x="1709895" y="272859"/>
                  </a:cubicBezTo>
                  <a:cubicBezTo>
                    <a:pt x="1709895" y="295104"/>
                    <a:pt x="1704946" y="314878"/>
                    <a:pt x="1695049" y="337123"/>
                  </a:cubicBezTo>
                  <a:cubicBezTo>
                    <a:pt x="1687626" y="349482"/>
                    <a:pt x="1685152" y="364312"/>
                    <a:pt x="1680203" y="379142"/>
                  </a:cubicBezTo>
                  <a:cubicBezTo>
                    <a:pt x="1665357" y="411274"/>
                    <a:pt x="1645563" y="435991"/>
                    <a:pt x="1625768" y="463180"/>
                  </a:cubicBezTo>
                  <a:cubicBezTo>
                    <a:pt x="1623294" y="465652"/>
                    <a:pt x="1620819" y="470595"/>
                    <a:pt x="1618345" y="473067"/>
                  </a:cubicBezTo>
                  <a:cubicBezTo>
                    <a:pt x="1591128" y="527444"/>
                    <a:pt x="1563910" y="581821"/>
                    <a:pt x="1539167" y="633727"/>
                  </a:cubicBezTo>
                  <a:cubicBezTo>
                    <a:pt x="1536693" y="636199"/>
                    <a:pt x="1536693" y="641142"/>
                    <a:pt x="1534218" y="646086"/>
                  </a:cubicBezTo>
                  <a:cubicBezTo>
                    <a:pt x="1544115" y="646086"/>
                    <a:pt x="1546590" y="638670"/>
                    <a:pt x="1549064" y="633727"/>
                  </a:cubicBezTo>
                  <a:cubicBezTo>
                    <a:pt x="1566384" y="601595"/>
                    <a:pt x="1581230" y="566991"/>
                    <a:pt x="1598551" y="532387"/>
                  </a:cubicBezTo>
                  <a:cubicBezTo>
                    <a:pt x="1605973" y="522501"/>
                    <a:pt x="1613396" y="512614"/>
                    <a:pt x="1623294" y="497784"/>
                  </a:cubicBezTo>
                  <a:cubicBezTo>
                    <a:pt x="1625768" y="520029"/>
                    <a:pt x="1618345" y="534859"/>
                    <a:pt x="1613396" y="552161"/>
                  </a:cubicBezTo>
                  <a:cubicBezTo>
                    <a:pt x="1605973" y="571935"/>
                    <a:pt x="1596076" y="594180"/>
                    <a:pt x="1586179" y="613954"/>
                  </a:cubicBezTo>
                  <a:cubicBezTo>
                    <a:pt x="1586179" y="618897"/>
                    <a:pt x="1583705" y="626312"/>
                    <a:pt x="1581230" y="633727"/>
                  </a:cubicBezTo>
                  <a:cubicBezTo>
                    <a:pt x="1588653" y="633727"/>
                    <a:pt x="1593602" y="633727"/>
                    <a:pt x="1596076" y="633727"/>
                  </a:cubicBezTo>
                  <a:cubicBezTo>
                    <a:pt x="1625768" y="623840"/>
                    <a:pt x="1655460" y="616425"/>
                    <a:pt x="1685152" y="606538"/>
                  </a:cubicBezTo>
                  <a:cubicBezTo>
                    <a:pt x="1707421" y="599123"/>
                    <a:pt x="1729689" y="591708"/>
                    <a:pt x="1754433" y="589237"/>
                  </a:cubicBezTo>
                  <a:cubicBezTo>
                    <a:pt x="1791547" y="581821"/>
                    <a:pt x="1816291" y="564520"/>
                    <a:pt x="1823714" y="527444"/>
                  </a:cubicBezTo>
                  <a:cubicBezTo>
                    <a:pt x="1826188" y="517557"/>
                    <a:pt x="1831137" y="507670"/>
                    <a:pt x="1833611" y="495312"/>
                  </a:cubicBezTo>
                  <a:cubicBezTo>
                    <a:pt x="1848457" y="500255"/>
                    <a:pt x="1860828" y="507670"/>
                    <a:pt x="1873200" y="515086"/>
                  </a:cubicBezTo>
                  <a:cubicBezTo>
                    <a:pt x="1922686" y="549689"/>
                    <a:pt x="1969698" y="584293"/>
                    <a:pt x="2019185" y="616425"/>
                  </a:cubicBezTo>
                  <a:cubicBezTo>
                    <a:pt x="2058774" y="643614"/>
                    <a:pt x="2098363" y="668331"/>
                    <a:pt x="2140427" y="695520"/>
                  </a:cubicBezTo>
                  <a:cubicBezTo>
                    <a:pt x="2145375" y="680689"/>
                    <a:pt x="2145375" y="663387"/>
                    <a:pt x="2152798" y="651029"/>
                  </a:cubicBezTo>
                  <a:cubicBezTo>
                    <a:pt x="2157747" y="636199"/>
                    <a:pt x="2167644" y="626312"/>
                    <a:pt x="2177541" y="613954"/>
                  </a:cubicBezTo>
                  <a:cubicBezTo>
                    <a:pt x="2157747" y="594180"/>
                    <a:pt x="2137952" y="574406"/>
                    <a:pt x="2118158" y="557104"/>
                  </a:cubicBezTo>
                  <a:cubicBezTo>
                    <a:pt x="2120632" y="554633"/>
                    <a:pt x="2120632" y="554633"/>
                    <a:pt x="2120632" y="552161"/>
                  </a:cubicBezTo>
                  <a:cubicBezTo>
                    <a:pt x="2125581" y="552161"/>
                    <a:pt x="2128055" y="552161"/>
                    <a:pt x="2133004" y="554633"/>
                  </a:cubicBezTo>
                  <a:cubicBezTo>
                    <a:pt x="2170118" y="566991"/>
                    <a:pt x="2204759" y="579350"/>
                    <a:pt x="2241874" y="591708"/>
                  </a:cubicBezTo>
                  <a:cubicBezTo>
                    <a:pt x="2281463" y="604067"/>
                    <a:pt x="2321052" y="613954"/>
                    <a:pt x="2350744" y="641142"/>
                  </a:cubicBezTo>
                  <a:cubicBezTo>
                    <a:pt x="2375487" y="660916"/>
                    <a:pt x="2400230" y="680689"/>
                    <a:pt x="2422499" y="702935"/>
                  </a:cubicBezTo>
                  <a:cubicBezTo>
                    <a:pt x="2437345" y="717765"/>
                    <a:pt x="2444768" y="735067"/>
                    <a:pt x="2439819" y="754840"/>
                  </a:cubicBezTo>
                  <a:cubicBezTo>
                    <a:pt x="2439819" y="764727"/>
                    <a:pt x="2439819" y="774614"/>
                    <a:pt x="2439819" y="786972"/>
                  </a:cubicBezTo>
                  <a:cubicBezTo>
                    <a:pt x="2459614" y="774614"/>
                    <a:pt x="2474460" y="764727"/>
                    <a:pt x="2489306" y="752369"/>
                  </a:cubicBezTo>
                  <a:cubicBezTo>
                    <a:pt x="2516523" y="730123"/>
                    <a:pt x="2546215" y="710350"/>
                    <a:pt x="2573432" y="688104"/>
                  </a:cubicBezTo>
                  <a:cubicBezTo>
                    <a:pt x="2595701" y="670803"/>
                    <a:pt x="2615496" y="655972"/>
                    <a:pt x="2637765" y="638670"/>
                  </a:cubicBezTo>
                  <a:cubicBezTo>
                    <a:pt x="2640239" y="636199"/>
                    <a:pt x="2645188" y="633727"/>
                    <a:pt x="2647662" y="631255"/>
                  </a:cubicBezTo>
                  <a:cubicBezTo>
                    <a:pt x="2660034" y="626312"/>
                    <a:pt x="2669931" y="618897"/>
                    <a:pt x="2667457" y="604067"/>
                  </a:cubicBezTo>
                  <a:cubicBezTo>
                    <a:pt x="2692200" y="606538"/>
                    <a:pt x="2711994" y="616425"/>
                    <a:pt x="2731789" y="628784"/>
                  </a:cubicBezTo>
                  <a:cubicBezTo>
                    <a:pt x="2806019" y="670803"/>
                    <a:pt x="2870351" y="725180"/>
                    <a:pt x="2924786" y="794388"/>
                  </a:cubicBezTo>
                  <a:cubicBezTo>
                    <a:pt x="2929735" y="799331"/>
                    <a:pt x="2932209" y="806746"/>
                    <a:pt x="2937158" y="811689"/>
                  </a:cubicBezTo>
                  <a:cubicBezTo>
                    <a:pt x="2947055" y="826520"/>
                    <a:pt x="2949529" y="841350"/>
                    <a:pt x="2939632" y="858652"/>
                  </a:cubicBezTo>
                  <a:cubicBezTo>
                    <a:pt x="2937158" y="863595"/>
                    <a:pt x="2937158" y="871010"/>
                    <a:pt x="2932209" y="883369"/>
                  </a:cubicBezTo>
                  <a:cubicBezTo>
                    <a:pt x="2932209" y="883369"/>
                    <a:pt x="2932209" y="883369"/>
                    <a:pt x="2902517" y="999539"/>
                  </a:cubicBezTo>
                  <a:cubicBezTo>
                    <a:pt x="2892620" y="1014369"/>
                    <a:pt x="2882722" y="1029199"/>
                    <a:pt x="2877774" y="1046501"/>
                  </a:cubicBezTo>
                  <a:cubicBezTo>
                    <a:pt x="2865402" y="1076161"/>
                    <a:pt x="2855505" y="1105822"/>
                    <a:pt x="2843133" y="1135482"/>
                  </a:cubicBezTo>
                  <a:cubicBezTo>
                    <a:pt x="2840659" y="1140425"/>
                    <a:pt x="2840659" y="1145369"/>
                    <a:pt x="2838185" y="1150312"/>
                  </a:cubicBezTo>
                  <a:cubicBezTo>
                    <a:pt x="2828287" y="1162671"/>
                    <a:pt x="2818390" y="1175029"/>
                    <a:pt x="2808493" y="1189859"/>
                  </a:cubicBezTo>
                  <a:cubicBezTo>
                    <a:pt x="2808493" y="1189859"/>
                    <a:pt x="2808493" y="1189859"/>
                    <a:pt x="2781275" y="1264010"/>
                  </a:cubicBezTo>
                  <a:cubicBezTo>
                    <a:pt x="2781275" y="1264010"/>
                    <a:pt x="2778801" y="1264010"/>
                    <a:pt x="2778801" y="1264010"/>
                  </a:cubicBezTo>
                  <a:cubicBezTo>
                    <a:pt x="2778801" y="1264010"/>
                    <a:pt x="2778801" y="1264010"/>
                    <a:pt x="2778801" y="1266482"/>
                  </a:cubicBezTo>
                  <a:cubicBezTo>
                    <a:pt x="2778801" y="1268954"/>
                    <a:pt x="2776327" y="1273897"/>
                    <a:pt x="2773852" y="1276369"/>
                  </a:cubicBezTo>
                  <a:cubicBezTo>
                    <a:pt x="2766429" y="1288727"/>
                    <a:pt x="2756532" y="1301086"/>
                    <a:pt x="2744161" y="1313444"/>
                  </a:cubicBezTo>
                  <a:cubicBezTo>
                    <a:pt x="2731789" y="1328274"/>
                    <a:pt x="2716943" y="1345576"/>
                    <a:pt x="2702097" y="1357935"/>
                  </a:cubicBezTo>
                  <a:cubicBezTo>
                    <a:pt x="2694674" y="1362878"/>
                    <a:pt x="2682303" y="1362878"/>
                    <a:pt x="2674880" y="1362878"/>
                  </a:cubicBezTo>
                  <a:cubicBezTo>
                    <a:pt x="2655085" y="1357935"/>
                    <a:pt x="2637765" y="1350520"/>
                    <a:pt x="2620445" y="1340633"/>
                  </a:cubicBezTo>
                  <a:cubicBezTo>
                    <a:pt x="2553638" y="1306029"/>
                    <a:pt x="2496729" y="1256595"/>
                    <a:pt x="2442294" y="1204690"/>
                  </a:cubicBezTo>
                  <a:cubicBezTo>
                    <a:pt x="2434871" y="1199746"/>
                    <a:pt x="2427448" y="1192331"/>
                    <a:pt x="2420025" y="1187388"/>
                  </a:cubicBezTo>
                  <a:cubicBezTo>
                    <a:pt x="2417550" y="1184916"/>
                    <a:pt x="2415076" y="1184916"/>
                    <a:pt x="2410127" y="1184916"/>
                  </a:cubicBezTo>
                  <a:cubicBezTo>
                    <a:pt x="2397756" y="1246708"/>
                    <a:pt x="2395281" y="1308501"/>
                    <a:pt x="2385384" y="1367822"/>
                  </a:cubicBezTo>
                  <a:cubicBezTo>
                    <a:pt x="2370538" y="1375237"/>
                    <a:pt x="2358167" y="1370293"/>
                    <a:pt x="2345795" y="1362878"/>
                  </a:cubicBezTo>
                  <a:cubicBezTo>
                    <a:pt x="2313629" y="1345576"/>
                    <a:pt x="2283937" y="1325803"/>
                    <a:pt x="2254245" y="1306029"/>
                  </a:cubicBezTo>
                  <a:cubicBezTo>
                    <a:pt x="2194862" y="1259067"/>
                    <a:pt x="2137952" y="1207161"/>
                    <a:pt x="2093414" y="1145369"/>
                  </a:cubicBezTo>
                  <a:cubicBezTo>
                    <a:pt x="2073620" y="1120652"/>
                    <a:pt x="2066197" y="1093463"/>
                    <a:pt x="2073620" y="1061331"/>
                  </a:cubicBezTo>
                  <a:cubicBezTo>
                    <a:pt x="2078569" y="1036614"/>
                    <a:pt x="2078569" y="1009425"/>
                    <a:pt x="2081043" y="982237"/>
                  </a:cubicBezTo>
                  <a:cubicBezTo>
                    <a:pt x="2078569" y="982237"/>
                    <a:pt x="2076094" y="982237"/>
                    <a:pt x="2076094" y="982237"/>
                  </a:cubicBezTo>
                  <a:cubicBezTo>
                    <a:pt x="2061248" y="1006954"/>
                    <a:pt x="2043928" y="1029199"/>
                    <a:pt x="2034031" y="1056388"/>
                  </a:cubicBezTo>
                  <a:cubicBezTo>
                    <a:pt x="2026608" y="1076161"/>
                    <a:pt x="2021659" y="1095935"/>
                    <a:pt x="2009288" y="1110765"/>
                  </a:cubicBezTo>
                  <a:cubicBezTo>
                    <a:pt x="2009288" y="1113237"/>
                    <a:pt x="2009288" y="1113237"/>
                    <a:pt x="2009288" y="1113237"/>
                  </a:cubicBezTo>
                  <a:cubicBezTo>
                    <a:pt x="2004339" y="1145369"/>
                    <a:pt x="1982070" y="1167614"/>
                    <a:pt x="1969698" y="1197274"/>
                  </a:cubicBezTo>
                  <a:cubicBezTo>
                    <a:pt x="1949904" y="1241765"/>
                    <a:pt x="1927635" y="1283784"/>
                    <a:pt x="1907840" y="1328274"/>
                  </a:cubicBezTo>
                  <a:cubicBezTo>
                    <a:pt x="1900418" y="1350520"/>
                    <a:pt x="1892995" y="1370293"/>
                    <a:pt x="1888046" y="1392539"/>
                  </a:cubicBezTo>
                  <a:cubicBezTo>
                    <a:pt x="1883097" y="1407369"/>
                    <a:pt x="1875674" y="1419727"/>
                    <a:pt x="1868251" y="1434557"/>
                  </a:cubicBezTo>
                  <a:cubicBezTo>
                    <a:pt x="1836085" y="1479048"/>
                    <a:pt x="1798970" y="1518595"/>
                    <a:pt x="1761856" y="1558142"/>
                  </a:cubicBezTo>
                  <a:cubicBezTo>
                    <a:pt x="1761856" y="1558142"/>
                    <a:pt x="1761856" y="1558142"/>
                    <a:pt x="1761856" y="1563086"/>
                  </a:cubicBezTo>
                  <a:cubicBezTo>
                    <a:pt x="1761856" y="1563086"/>
                    <a:pt x="1603499" y="1691614"/>
                    <a:pt x="1494629" y="1624878"/>
                  </a:cubicBezTo>
                  <a:cubicBezTo>
                    <a:pt x="1393182" y="1563086"/>
                    <a:pt x="1348644" y="1214576"/>
                    <a:pt x="1348644" y="1214576"/>
                  </a:cubicBezTo>
                  <a:cubicBezTo>
                    <a:pt x="1348644" y="1214576"/>
                    <a:pt x="1348644" y="1212105"/>
                    <a:pt x="1348644" y="1212105"/>
                  </a:cubicBezTo>
                  <a:cubicBezTo>
                    <a:pt x="1336273" y="1172557"/>
                    <a:pt x="1326375" y="1133010"/>
                    <a:pt x="1321427" y="1088520"/>
                  </a:cubicBezTo>
                  <a:cubicBezTo>
                    <a:pt x="1321427" y="1076161"/>
                    <a:pt x="1314004" y="1073689"/>
                    <a:pt x="1301632" y="1068746"/>
                  </a:cubicBezTo>
                  <a:cubicBezTo>
                    <a:pt x="1289261" y="1095935"/>
                    <a:pt x="1276889" y="1123123"/>
                    <a:pt x="1266992" y="1150312"/>
                  </a:cubicBezTo>
                  <a:cubicBezTo>
                    <a:pt x="1252146" y="1187388"/>
                    <a:pt x="1244723" y="1229406"/>
                    <a:pt x="1222454" y="1264010"/>
                  </a:cubicBezTo>
                  <a:cubicBezTo>
                    <a:pt x="1222454" y="1266482"/>
                    <a:pt x="1219980" y="1271425"/>
                    <a:pt x="1219980" y="1273897"/>
                  </a:cubicBezTo>
                  <a:cubicBezTo>
                    <a:pt x="1212557" y="1320859"/>
                    <a:pt x="1192762" y="1362878"/>
                    <a:pt x="1177916" y="1407369"/>
                  </a:cubicBezTo>
                  <a:cubicBezTo>
                    <a:pt x="1163070" y="1459274"/>
                    <a:pt x="1140801" y="1511180"/>
                    <a:pt x="1128430" y="1563086"/>
                  </a:cubicBezTo>
                  <a:cubicBezTo>
                    <a:pt x="1121007" y="1610048"/>
                    <a:pt x="1101212" y="1654539"/>
                    <a:pt x="1091315" y="1701501"/>
                  </a:cubicBezTo>
                  <a:cubicBezTo>
                    <a:pt x="1086366" y="1741048"/>
                    <a:pt x="1073995" y="1775652"/>
                    <a:pt x="1066572" y="1812727"/>
                  </a:cubicBezTo>
                  <a:cubicBezTo>
                    <a:pt x="1066572" y="1822614"/>
                    <a:pt x="1059149" y="1830029"/>
                    <a:pt x="1056674" y="1839916"/>
                  </a:cubicBezTo>
                  <a:cubicBezTo>
                    <a:pt x="1051726" y="1864633"/>
                    <a:pt x="1046777" y="1891822"/>
                    <a:pt x="1039354" y="1916539"/>
                  </a:cubicBezTo>
                  <a:cubicBezTo>
                    <a:pt x="1029457" y="1963501"/>
                    <a:pt x="1024508" y="2010463"/>
                    <a:pt x="1019560" y="2054954"/>
                  </a:cubicBezTo>
                  <a:cubicBezTo>
                    <a:pt x="1019560" y="2057426"/>
                    <a:pt x="1019560" y="2059897"/>
                    <a:pt x="1019560" y="2059897"/>
                  </a:cubicBezTo>
                  <a:cubicBezTo>
                    <a:pt x="997291" y="2116746"/>
                    <a:pt x="997291" y="2178539"/>
                    <a:pt x="987394" y="2235388"/>
                  </a:cubicBezTo>
                  <a:cubicBezTo>
                    <a:pt x="984919" y="2255161"/>
                    <a:pt x="977496" y="2274935"/>
                    <a:pt x="972548" y="2294709"/>
                  </a:cubicBezTo>
                  <a:cubicBezTo>
                    <a:pt x="967599" y="2309539"/>
                    <a:pt x="960176" y="2314482"/>
                    <a:pt x="945330" y="2307067"/>
                  </a:cubicBezTo>
                  <a:cubicBezTo>
                    <a:pt x="918113" y="2294709"/>
                    <a:pt x="893369" y="2282350"/>
                    <a:pt x="866152" y="2267520"/>
                  </a:cubicBezTo>
                  <a:cubicBezTo>
                    <a:pt x="863678" y="2265048"/>
                    <a:pt x="861203" y="2257633"/>
                    <a:pt x="861203" y="2250218"/>
                  </a:cubicBezTo>
                  <a:cubicBezTo>
                    <a:pt x="863678" y="2208199"/>
                    <a:pt x="856255" y="2163709"/>
                    <a:pt x="866152" y="2121690"/>
                  </a:cubicBezTo>
                  <a:cubicBezTo>
                    <a:pt x="866152" y="2114275"/>
                    <a:pt x="866152" y="2109331"/>
                    <a:pt x="866152" y="2101916"/>
                  </a:cubicBezTo>
                  <a:cubicBezTo>
                    <a:pt x="866152" y="2087086"/>
                    <a:pt x="866152" y="2069784"/>
                    <a:pt x="866152" y="2052482"/>
                  </a:cubicBezTo>
                  <a:cubicBezTo>
                    <a:pt x="868626" y="2047539"/>
                    <a:pt x="868626" y="2042595"/>
                    <a:pt x="868626" y="2037652"/>
                  </a:cubicBezTo>
                  <a:cubicBezTo>
                    <a:pt x="863678" y="2010463"/>
                    <a:pt x="861203" y="1980803"/>
                    <a:pt x="863678" y="1953614"/>
                  </a:cubicBezTo>
                  <a:cubicBezTo>
                    <a:pt x="863678" y="1946199"/>
                    <a:pt x="858729" y="1941256"/>
                    <a:pt x="856255" y="1933841"/>
                  </a:cubicBezTo>
                  <a:cubicBezTo>
                    <a:pt x="866152" y="1923954"/>
                    <a:pt x="876049" y="1914067"/>
                    <a:pt x="858729" y="1901709"/>
                  </a:cubicBezTo>
                  <a:cubicBezTo>
                    <a:pt x="856255" y="1899237"/>
                    <a:pt x="853780" y="1889350"/>
                    <a:pt x="856255" y="1886878"/>
                  </a:cubicBezTo>
                  <a:cubicBezTo>
                    <a:pt x="866152" y="1864633"/>
                    <a:pt x="863678" y="1844859"/>
                    <a:pt x="861203" y="1822614"/>
                  </a:cubicBezTo>
                  <a:cubicBezTo>
                    <a:pt x="861203" y="1780595"/>
                    <a:pt x="858729" y="1741048"/>
                    <a:pt x="861203" y="1699029"/>
                  </a:cubicBezTo>
                  <a:cubicBezTo>
                    <a:pt x="861203" y="1691614"/>
                    <a:pt x="858729" y="1686671"/>
                    <a:pt x="858729" y="1679256"/>
                  </a:cubicBezTo>
                  <a:cubicBezTo>
                    <a:pt x="858729" y="1657010"/>
                    <a:pt x="863678" y="1634765"/>
                    <a:pt x="873575" y="1614991"/>
                  </a:cubicBezTo>
                  <a:cubicBezTo>
                    <a:pt x="890895" y="1580388"/>
                    <a:pt x="905741" y="1545784"/>
                    <a:pt x="923061" y="1511180"/>
                  </a:cubicBezTo>
                  <a:cubicBezTo>
                    <a:pt x="925536" y="1506237"/>
                    <a:pt x="928010" y="1506237"/>
                    <a:pt x="937907" y="1503765"/>
                  </a:cubicBezTo>
                  <a:cubicBezTo>
                    <a:pt x="928010" y="1530954"/>
                    <a:pt x="920587" y="1555671"/>
                    <a:pt x="913164" y="1585331"/>
                  </a:cubicBezTo>
                  <a:cubicBezTo>
                    <a:pt x="928010" y="1580388"/>
                    <a:pt x="930484" y="1572973"/>
                    <a:pt x="932958" y="1565558"/>
                  </a:cubicBezTo>
                  <a:cubicBezTo>
                    <a:pt x="942856" y="1535897"/>
                    <a:pt x="952753" y="1503765"/>
                    <a:pt x="962650" y="1474105"/>
                  </a:cubicBezTo>
                  <a:cubicBezTo>
                    <a:pt x="970073" y="1446916"/>
                    <a:pt x="977496" y="1419727"/>
                    <a:pt x="989868" y="1395010"/>
                  </a:cubicBezTo>
                  <a:cubicBezTo>
                    <a:pt x="994816" y="1385124"/>
                    <a:pt x="997291" y="1375237"/>
                    <a:pt x="999765" y="1365350"/>
                  </a:cubicBezTo>
                  <a:cubicBezTo>
                    <a:pt x="1007188" y="1348048"/>
                    <a:pt x="1012137" y="1330746"/>
                    <a:pt x="1017085" y="1313444"/>
                  </a:cubicBezTo>
                  <a:cubicBezTo>
                    <a:pt x="1026983" y="1286256"/>
                    <a:pt x="1034406" y="1261539"/>
                    <a:pt x="1041829" y="1234350"/>
                  </a:cubicBezTo>
                  <a:cubicBezTo>
                    <a:pt x="1049251" y="1212105"/>
                    <a:pt x="1056674" y="1187388"/>
                    <a:pt x="1064097" y="1165142"/>
                  </a:cubicBezTo>
                  <a:cubicBezTo>
                    <a:pt x="1066572" y="1157727"/>
                    <a:pt x="1071520" y="1150312"/>
                    <a:pt x="1078943" y="1140425"/>
                  </a:cubicBezTo>
                  <a:cubicBezTo>
                    <a:pt x="1069046" y="1142897"/>
                    <a:pt x="1064097" y="1145369"/>
                    <a:pt x="1059149" y="1145369"/>
                  </a:cubicBezTo>
                  <a:cubicBezTo>
                    <a:pt x="1059149" y="1142897"/>
                    <a:pt x="1061623" y="1140425"/>
                    <a:pt x="1061623" y="1137954"/>
                  </a:cubicBezTo>
                  <a:cubicBezTo>
                    <a:pt x="1049251" y="1135482"/>
                    <a:pt x="1039354" y="1142897"/>
                    <a:pt x="1031931" y="1155256"/>
                  </a:cubicBezTo>
                  <a:cubicBezTo>
                    <a:pt x="1039354" y="1155256"/>
                    <a:pt x="1041829" y="1155256"/>
                    <a:pt x="1044303" y="1155256"/>
                  </a:cubicBezTo>
                  <a:cubicBezTo>
                    <a:pt x="1019560" y="1170086"/>
                    <a:pt x="994816" y="1187388"/>
                    <a:pt x="970073" y="1204690"/>
                  </a:cubicBezTo>
                  <a:cubicBezTo>
                    <a:pt x="935433" y="1224463"/>
                    <a:pt x="900792" y="1246708"/>
                    <a:pt x="868626" y="1266482"/>
                  </a:cubicBezTo>
                  <a:cubicBezTo>
                    <a:pt x="863678" y="1268954"/>
                    <a:pt x="858729" y="1271425"/>
                    <a:pt x="853780" y="1273897"/>
                  </a:cubicBezTo>
                  <a:cubicBezTo>
                    <a:pt x="853780" y="1273897"/>
                    <a:pt x="853780" y="1273897"/>
                    <a:pt x="292110" y="1575444"/>
                  </a:cubicBezTo>
                  <a:cubicBezTo>
                    <a:pt x="292110" y="1577916"/>
                    <a:pt x="289635" y="1577916"/>
                    <a:pt x="287161" y="1580388"/>
                  </a:cubicBezTo>
                  <a:cubicBezTo>
                    <a:pt x="277264" y="1575444"/>
                    <a:pt x="264892" y="1568029"/>
                    <a:pt x="252520" y="1560614"/>
                  </a:cubicBezTo>
                  <a:cubicBezTo>
                    <a:pt x="220354" y="1538369"/>
                    <a:pt x="185714" y="1513652"/>
                    <a:pt x="153548" y="1488935"/>
                  </a:cubicBezTo>
                  <a:cubicBezTo>
                    <a:pt x="109010" y="1451859"/>
                    <a:pt x="69421" y="1409840"/>
                    <a:pt x="32306" y="1365350"/>
                  </a:cubicBezTo>
                  <a:cubicBezTo>
                    <a:pt x="22409" y="1355463"/>
                    <a:pt x="14986" y="1340633"/>
                    <a:pt x="7563" y="1328274"/>
                  </a:cubicBezTo>
                  <a:cubicBezTo>
                    <a:pt x="-4809" y="1308501"/>
                    <a:pt x="-2335" y="1298614"/>
                    <a:pt x="17460" y="1286256"/>
                  </a:cubicBezTo>
                  <a:cubicBezTo>
                    <a:pt x="32306" y="1278840"/>
                    <a:pt x="47152" y="1268954"/>
                    <a:pt x="61998" y="1261539"/>
                  </a:cubicBezTo>
                  <a:cubicBezTo>
                    <a:pt x="76844" y="1251652"/>
                    <a:pt x="91690" y="1241765"/>
                    <a:pt x="106536" y="1234350"/>
                  </a:cubicBezTo>
                  <a:cubicBezTo>
                    <a:pt x="116433" y="1229406"/>
                    <a:pt x="126330" y="1224463"/>
                    <a:pt x="136227" y="1219520"/>
                  </a:cubicBezTo>
                  <a:cubicBezTo>
                    <a:pt x="153548" y="1212105"/>
                    <a:pt x="168394" y="1204690"/>
                    <a:pt x="180765" y="1189859"/>
                  </a:cubicBezTo>
                  <a:cubicBezTo>
                    <a:pt x="188188" y="1184916"/>
                    <a:pt x="198085" y="1179973"/>
                    <a:pt x="205508" y="1177501"/>
                  </a:cubicBezTo>
                  <a:cubicBezTo>
                    <a:pt x="232726" y="1170086"/>
                    <a:pt x="252520" y="1150312"/>
                    <a:pt x="277264" y="1140425"/>
                  </a:cubicBezTo>
                  <a:cubicBezTo>
                    <a:pt x="289635" y="1135482"/>
                    <a:pt x="304481" y="1128067"/>
                    <a:pt x="321801" y="1120652"/>
                  </a:cubicBezTo>
                  <a:cubicBezTo>
                    <a:pt x="324276" y="1118180"/>
                    <a:pt x="326750" y="1115708"/>
                    <a:pt x="329224" y="1115708"/>
                  </a:cubicBezTo>
                  <a:cubicBezTo>
                    <a:pt x="329224" y="1115708"/>
                    <a:pt x="329224" y="1115708"/>
                    <a:pt x="848832" y="895727"/>
                  </a:cubicBezTo>
                  <a:cubicBezTo>
                    <a:pt x="853780" y="893256"/>
                    <a:pt x="861203" y="890784"/>
                    <a:pt x="868626" y="888312"/>
                  </a:cubicBezTo>
                  <a:cubicBezTo>
                    <a:pt x="888421" y="883369"/>
                    <a:pt x="905741" y="878425"/>
                    <a:pt x="923061" y="868539"/>
                  </a:cubicBezTo>
                  <a:cubicBezTo>
                    <a:pt x="952753" y="853708"/>
                    <a:pt x="984919" y="843821"/>
                    <a:pt x="1017085" y="831463"/>
                  </a:cubicBezTo>
                  <a:cubicBezTo>
                    <a:pt x="1031931" y="826520"/>
                    <a:pt x="1046777" y="819104"/>
                    <a:pt x="1061623" y="811689"/>
                  </a:cubicBezTo>
                  <a:cubicBezTo>
                    <a:pt x="1088841" y="799331"/>
                    <a:pt x="1116058" y="784501"/>
                    <a:pt x="1145750" y="772142"/>
                  </a:cubicBezTo>
                  <a:cubicBezTo>
                    <a:pt x="1150699" y="769671"/>
                    <a:pt x="1158122" y="769671"/>
                    <a:pt x="1163070" y="769671"/>
                  </a:cubicBezTo>
                  <a:cubicBezTo>
                    <a:pt x="1212557" y="638670"/>
                    <a:pt x="1249671" y="502727"/>
                    <a:pt x="1306581" y="376670"/>
                  </a:cubicBezTo>
                  <a:cubicBezTo>
                    <a:pt x="1306581" y="376670"/>
                    <a:pt x="1309055" y="376670"/>
                    <a:pt x="1309055" y="376670"/>
                  </a:cubicBezTo>
                  <a:cubicBezTo>
                    <a:pt x="1266992" y="502727"/>
                    <a:pt x="1224928" y="628784"/>
                    <a:pt x="1182865" y="754840"/>
                  </a:cubicBezTo>
                  <a:cubicBezTo>
                    <a:pt x="1190288" y="762255"/>
                    <a:pt x="1195236" y="762255"/>
                    <a:pt x="1200185" y="754840"/>
                  </a:cubicBezTo>
                  <a:cubicBezTo>
                    <a:pt x="1202659" y="747425"/>
                    <a:pt x="1205134" y="740010"/>
                    <a:pt x="1207608" y="735067"/>
                  </a:cubicBezTo>
                  <a:cubicBezTo>
                    <a:pt x="1215031" y="702935"/>
                    <a:pt x="1224928" y="673274"/>
                    <a:pt x="1234825" y="641142"/>
                  </a:cubicBezTo>
                  <a:cubicBezTo>
                    <a:pt x="1242248" y="621369"/>
                    <a:pt x="1249671" y="599123"/>
                    <a:pt x="1257094" y="576878"/>
                  </a:cubicBezTo>
                  <a:cubicBezTo>
                    <a:pt x="1259569" y="574406"/>
                    <a:pt x="1259569" y="569463"/>
                    <a:pt x="1262043" y="566991"/>
                  </a:cubicBezTo>
                  <a:cubicBezTo>
                    <a:pt x="1271940" y="534859"/>
                    <a:pt x="1281838" y="500255"/>
                    <a:pt x="1296683" y="470595"/>
                  </a:cubicBezTo>
                  <a:cubicBezTo>
                    <a:pt x="1304106" y="460708"/>
                    <a:pt x="1306581" y="445878"/>
                    <a:pt x="1309055" y="433519"/>
                  </a:cubicBezTo>
                  <a:cubicBezTo>
                    <a:pt x="1314004" y="406331"/>
                    <a:pt x="1328850" y="379142"/>
                    <a:pt x="1341221" y="354425"/>
                  </a:cubicBezTo>
                  <a:cubicBezTo>
                    <a:pt x="1351119" y="329708"/>
                    <a:pt x="1361016" y="302519"/>
                    <a:pt x="1368439" y="277802"/>
                  </a:cubicBezTo>
                  <a:cubicBezTo>
                    <a:pt x="1370913" y="275331"/>
                    <a:pt x="1370913" y="272859"/>
                    <a:pt x="1370913" y="270387"/>
                  </a:cubicBezTo>
                  <a:cubicBezTo>
                    <a:pt x="1393182" y="235784"/>
                    <a:pt x="1390708" y="196236"/>
                    <a:pt x="1395656" y="159161"/>
                  </a:cubicBezTo>
                  <a:cubicBezTo>
                    <a:pt x="1398131" y="114670"/>
                    <a:pt x="1403079" y="70180"/>
                    <a:pt x="1408028" y="25689"/>
                  </a:cubicBezTo>
                  <a:cubicBezTo>
                    <a:pt x="1408028" y="20746"/>
                    <a:pt x="1405554" y="13331"/>
                    <a:pt x="1405554" y="8387"/>
                  </a:cubicBezTo>
                  <a:cubicBezTo>
                    <a:pt x="1412977" y="972"/>
                    <a:pt x="1419781" y="-882"/>
                    <a:pt x="1426585" y="3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A8C8A27-E50B-4FDD-8D3C-5BB87FE7AADD}"/>
                </a:ext>
              </a:extLst>
            </p:cNvPr>
            <p:cNvSpPr/>
            <p:nvPr/>
          </p:nvSpPr>
          <p:spPr bwMode="auto">
            <a:xfrm>
              <a:off x="3346451" y="3389313"/>
              <a:ext cx="395288" cy="238125"/>
            </a:xfrm>
            <a:custGeom>
              <a:avLst/>
              <a:gdLst>
                <a:gd name="T0" fmla="*/ 36 w 160"/>
                <a:gd name="T1" fmla="*/ 28 h 96"/>
                <a:gd name="T2" fmla="*/ 42 w 160"/>
                <a:gd name="T3" fmla="*/ 28 h 96"/>
                <a:gd name="T4" fmla="*/ 46 w 160"/>
                <a:gd name="T5" fmla="*/ 32 h 96"/>
                <a:gd name="T6" fmla="*/ 48 w 160"/>
                <a:gd name="T7" fmla="*/ 34 h 96"/>
                <a:gd name="T8" fmla="*/ 54 w 160"/>
                <a:gd name="T9" fmla="*/ 39 h 96"/>
                <a:gd name="T10" fmla="*/ 63 w 160"/>
                <a:gd name="T11" fmla="*/ 33 h 96"/>
                <a:gd name="T12" fmla="*/ 70 w 160"/>
                <a:gd name="T13" fmla="*/ 38 h 96"/>
                <a:gd name="T14" fmla="*/ 69 w 160"/>
                <a:gd name="T15" fmla="*/ 47 h 96"/>
                <a:gd name="T16" fmla="*/ 75 w 160"/>
                <a:gd name="T17" fmla="*/ 45 h 96"/>
                <a:gd name="T18" fmla="*/ 79 w 160"/>
                <a:gd name="T19" fmla="*/ 52 h 96"/>
                <a:gd name="T20" fmla="*/ 86 w 160"/>
                <a:gd name="T21" fmla="*/ 56 h 96"/>
                <a:gd name="T22" fmla="*/ 93 w 160"/>
                <a:gd name="T23" fmla="*/ 59 h 96"/>
                <a:gd name="T24" fmla="*/ 103 w 160"/>
                <a:gd name="T25" fmla="*/ 57 h 96"/>
                <a:gd name="T26" fmla="*/ 104 w 160"/>
                <a:gd name="T27" fmla="*/ 64 h 96"/>
                <a:gd name="T28" fmla="*/ 115 w 160"/>
                <a:gd name="T29" fmla="*/ 65 h 96"/>
                <a:gd name="T30" fmla="*/ 145 w 160"/>
                <a:gd name="T31" fmla="*/ 82 h 96"/>
                <a:gd name="T32" fmla="*/ 158 w 160"/>
                <a:gd name="T33" fmla="*/ 88 h 96"/>
                <a:gd name="T34" fmla="*/ 42 w 160"/>
                <a:gd name="T35" fmla="*/ 21 h 96"/>
                <a:gd name="T36" fmla="*/ 49 w 160"/>
                <a:gd name="T37" fmla="*/ 27 h 96"/>
                <a:gd name="T38" fmla="*/ 42 w 160"/>
                <a:gd name="T39" fmla="*/ 24 h 96"/>
                <a:gd name="T40" fmla="*/ 46 w 160"/>
                <a:gd name="T41" fmla="*/ 28 h 96"/>
                <a:gd name="T42" fmla="*/ 34 w 160"/>
                <a:gd name="T43" fmla="*/ 23 h 96"/>
                <a:gd name="T44" fmla="*/ 31 w 160"/>
                <a:gd name="T45" fmla="*/ 25 h 96"/>
                <a:gd name="T46" fmla="*/ 19 w 160"/>
                <a:gd name="T47" fmla="*/ 22 h 96"/>
                <a:gd name="T48" fmla="*/ 24 w 160"/>
                <a:gd name="T49" fmla="*/ 23 h 96"/>
                <a:gd name="T50" fmla="*/ 31 w 160"/>
                <a:gd name="T51" fmla="*/ 23 h 96"/>
                <a:gd name="T52" fmla="*/ 45 w 160"/>
                <a:gd name="T53" fmla="*/ 28 h 96"/>
                <a:gd name="T54" fmla="*/ 35 w 160"/>
                <a:gd name="T55" fmla="*/ 19 h 96"/>
                <a:gd name="T56" fmla="*/ 35 w 160"/>
                <a:gd name="T57" fmla="*/ 17 h 96"/>
                <a:gd name="T58" fmla="*/ 39 w 160"/>
                <a:gd name="T59" fmla="*/ 29 h 96"/>
                <a:gd name="T60" fmla="*/ 44 w 160"/>
                <a:gd name="T61" fmla="*/ 30 h 96"/>
                <a:gd name="T62" fmla="*/ 58 w 160"/>
                <a:gd name="T63" fmla="*/ 31 h 96"/>
                <a:gd name="T64" fmla="*/ 65 w 160"/>
                <a:gd name="T65" fmla="*/ 35 h 96"/>
                <a:gd name="T66" fmla="*/ 66 w 160"/>
                <a:gd name="T67" fmla="*/ 36 h 96"/>
                <a:gd name="T68" fmla="*/ 62 w 160"/>
                <a:gd name="T69" fmla="*/ 36 h 96"/>
                <a:gd name="T70" fmla="*/ 64 w 160"/>
                <a:gd name="T71" fmla="*/ 36 h 96"/>
                <a:gd name="T72" fmla="*/ 62 w 160"/>
                <a:gd name="T73" fmla="*/ 44 h 96"/>
                <a:gd name="T74" fmla="*/ 100 w 160"/>
                <a:gd name="T75" fmla="*/ 60 h 96"/>
                <a:gd name="T76" fmla="*/ 91 w 160"/>
                <a:gd name="T77" fmla="*/ 55 h 96"/>
                <a:gd name="T78" fmla="*/ 89 w 160"/>
                <a:gd name="T79" fmla="*/ 55 h 96"/>
                <a:gd name="T80" fmla="*/ 83 w 160"/>
                <a:gd name="T81" fmla="*/ 50 h 96"/>
                <a:gd name="T82" fmla="*/ 73 w 160"/>
                <a:gd name="T83" fmla="*/ 42 h 96"/>
                <a:gd name="T84" fmla="*/ 73 w 160"/>
                <a:gd name="T85" fmla="*/ 38 h 96"/>
                <a:gd name="T86" fmla="*/ 86 w 160"/>
                <a:gd name="T87" fmla="*/ 48 h 96"/>
                <a:gd name="T88" fmla="*/ 99 w 160"/>
                <a:gd name="T89" fmla="*/ 55 h 96"/>
                <a:gd name="T90" fmla="*/ 94 w 160"/>
                <a:gd name="T91" fmla="*/ 57 h 96"/>
                <a:gd name="T92" fmla="*/ 74 w 160"/>
                <a:gd name="T93" fmla="*/ 41 h 96"/>
                <a:gd name="T94" fmla="*/ 85 w 160"/>
                <a:gd name="T95" fmla="*/ 50 h 96"/>
                <a:gd name="T96" fmla="*/ 86 w 160"/>
                <a:gd name="T97" fmla="*/ 50 h 96"/>
                <a:gd name="T98" fmla="*/ 99 w 160"/>
                <a:gd name="T99" fmla="*/ 55 h 96"/>
                <a:gd name="T100" fmla="*/ 87 w 160"/>
                <a:gd name="T101" fmla="*/ 50 h 96"/>
                <a:gd name="T102" fmla="*/ 79 w 160"/>
                <a:gd name="T103" fmla="*/ 45 h 96"/>
                <a:gd name="T104" fmla="*/ 95 w 160"/>
                <a:gd name="T105" fmla="*/ 56 h 96"/>
                <a:gd name="T106" fmla="*/ 71 w 160"/>
                <a:gd name="T107" fmla="*/ 42 h 96"/>
                <a:gd name="T108" fmla="*/ 71 w 160"/>
                <a:gd name="T109" fmla="*/ 45 h 96"/>
                <a:gd name="T110" fmla="*/ 71 w 160"/>
                <a:gd name="T111" fmla="*/ 48 h 96"/>
                <a:gd name="T112" fmla="*/ 75 w 160"/>
                <a:gd name="T113" fmla="*/ 53 h 96"/>
                <a:gd name="T114" fmla="*/ 82 w 160"/>
                <a:gd name="T115" fmla="*/ 53 h 96"/>
                <a:gd name="T116" fmla="*/ 99 w 160"/>
                <a:gd name="T117" fmla="*/ 56 h 96"/>
                <a:gd name="T118" fmla="*/ 102 w 160"/>
                <a:gd name="T119" fmla="*/ 57 h 96"/>
                <a:gd name="T120" fmla="*/ 116 w 160"/>
                <a:gd name="T121" fmla="*/ 65 h 96"/>
                <a:gd name="T122" fmla="*/ 146 w 160"/>
                <a:gd name="T123" fmla="*/ 82 h 96"/>
                <a:gd name="T124" fmla="*/ 67 w 160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96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4" y="0"/>
                  </a:cubicBezTo>
                  <a:close/>
                  <a:moveTo>
                    <a:pt x="10" y="17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1" y="17"/>
                    <a:pt x="10" y="17"/>
                    <a:pt x="10" y="17"/>
                  </a:cubicBezTo>
                  <a:close/>
                  <a:moveTo>
                    <a:pt x="13" y="18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lose/>
                  <a:moveTo>
                    <a:pt x="14" y="20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20"/>
                  </a:cubicBezTo>
                  <a:close/>
                  <a:moveTo>
                    <a:pt x="17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2"/>
                  </a:cubicBezTo>
                  <a:cubicBezTo>
                    <a:pt x="17" y="22"/>
                    <a:pt x="17" y="21"/>
                    <a:pt x="17" y="2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0" y="24"/>
                    <a:pt x="21" y="24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3" y="24"/>
                  </a:move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3" y="24"/>
                    <a:pt x="23" y="24"/>
                  </a:cubicBezTo>
                  <a:close/>
                  <a:moveTo>
                    <a:pt x="27" y="25"/>
                  </a:moveTo>
                  <a:cubicBezTo>
                    <a:pt x="27" y="25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6" y="24"/>
                    <a:pt x="27" y="25"/>
                  </a:cubicBezTo>
                  <a:close/>
                  <a:moveTo>
                    <a:pt x="26" y="25"/>
                  </a:moveTo>
                  <a:cubicBezTo>
                    <a:pt x="27" y="25"/>
                    <a:pt x="27" y="26"/>
                    <a:pt x="27" y="26"/>
                  </a:cubicBezTo>
                  <a:cubicBezTo>
                    <a:pt x="27" y="26"/>
                    <a:pt x="27" y="26"/>
                    <a:pt x="26" y="26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9" y="26"/>
                    <a:pt x="29" y="27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3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7"/>
                    <a:pt x="30" y="27"/>
                  </a:cubicBezTo>
                  <a:close/>
                  <a:moveTo>
                    <a:pt x="30" y="28"/>
                  </a:moveTo>
                  <a:cubicBezTo>
                    <a:pt x="30" y="28"/>
                    <a:pt x="29" y="28"/>
                    <a:pt x="29" y="27"/>
                  </a:cubicBezTo>
                  <a:cubicBezTo>
                    <a:pt x="29" y="27"/>
                    <a:pt x="30" y="28"/>
                    <a:pt x="30" y="28"/>
                  </a:cubicBezTo>
                  <a:close/>
                  <a:moveTo>
                    <a:pt x="30" y="28"/>
                  </a:move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4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33" y="27"/>
                  </a:moveTo>
                  <a:cubicBezTo>
                    <a:pt x="33" y="27"/>
                    <a:pt x="32" y="27"/>
                    <a:pt x="32" y="27"/>
                  </a:cubicBezTo>
                  <a:cubicBezTo>
                    <a:pt x="32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4" y="24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lose/>
                  <a:moveTo>
                    <a:pt x="37" y="20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20"/>
                  </a:cubicBezTo>
                  <a:close/>
                  <a:moveTo>
                    <a:pt x="36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8"/>
                    <a:pt x="36" y="28"/>
                  </a:cubicBezTo>
                  <a:cubicBezTo>
                    <a:pt x="35" y="28"/>
                    <a:pt x="35" y="28"/>
                    <a:pt x="36" y="28"/>
                  </a:cubicBezTo>
                  <a:cubicBezTo>
                    <a:pt x="35" y="28"/>
                    <a:pt x="35" y="27"/>
                    <a:pt x="35" y="27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4"/>
                    <a:pt x="37" y="24"/>
                    <a:pt x="37" y="24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4" y="28"/>
                    <a:pt x="35" y="28"/>
                  </a:cubicBezTo>
                  <a:cubicBezTo>
                    <a:pt x="35" y="28"/>
                    <a:pt x="34" y="28"/>
                    <a:pt x="34" y="28"/>
                  </a:cubicBezTo>
                  <a:close/>
                  <a:moveTo>
                    <a:pt x="37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6" y="28"/>
                    <a:pt x="36" y="28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20"/>
                    <a:pt x="40" y="20"/>
                  </a:cubicBezTo>
                  <a:close/>
                  <a:moveTo>
                    <a:pt x="37" y="25"/>
                  </a:moveTo>
                  <a:cubicBezTo>
                    <a:pt x="38" y="26"/>
                    <a:pt x="38" y="26"/>
                    <a:pt x="39" y="26"/>
                  </a:cubicBezTo>
                  <a:cubicBezTo>
                    <a:pt x="38" y="26"/>
                    <a:pt x="38" y="26"/>
                    <a:pt x="37" y="25"/>
                  </a:cubicBezTo>
                  <a:close/>
                  <a:moveTo>
                    <a:pt x="36" y="29"/>
                  </a:move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4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4" y="31"/>
                    <a:pt x="34" y="31"/>
                  </a:cubicBezTo>
                  <a:close/>
                  <a:moveTo>
                    <a:pt x="41" y="20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ubicBezTo>
                    <a:pt x="41" y="20"/>
                    <a:pt x="41" y="21"/>
                    <a:pt x="41" y="20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9" y="26"/>
                  </a:move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7" y="30"/>
                    <a:pt x="37" y="30"/>
                  </a:cubicBezTo>
                  <a:cubicBezTo>
                    <a:pt x="37" y="30"/>
                    <a:pt x="37" y="30"/>
                    <a:pt x="37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7"/>
                    <a:pt x="38" y="28"/>
                    <a:pt x="38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8" y="28"/>
                  </a:cubicBezTo>
                  <a:close/>
                  <a:moveTo>
                    <a:pt x="41" y="26"/>
                  </a:moveTo>
                  <a:cubicBezTo>
                    <a:pt x="40" y="26"/>
                    <a:pt x="41" y="26"/>
                    <a:pt x="40" y="26"/>
                  </a:cubicBezTo>
                  <a:cubicBezTo>
                    <a:pt x="41" y="26"/>
                    <a:pt x="40" y="26"/>
                    <a:pt x="40" y="26"/>
                  </a:cubicBezTo>
                  <a:cubicBezTo>
                    <a:pt x="40" y="26"/>
                    <a:pt x="40" y="26"/>
                    <a:pt x="41" y="26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2"/>
                    <a:pt x="38" y="33"/>
                  </a:cubicBezTo>
                  <a:cubicBezTo>
                    <a:pt x="38" y="33"/>
                    <a:pt x="37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43" y="24"/>
                  </a:moveTo>
                  <a:cubicBezTo>
                    <a:pt x="43" y="23"/>
                    <a:pt x="43" y="24"/>
                    <a:pt x="44" y="24"/>
                  </a:cubicBezTo>
                  <a:cubicBezTo>
                    <a:pt x="44" y="24"/>
                    <a:pt x="43" y="24"/>
                    <a:pt x="43" y="24"/>
                  </a:cubicBezTo>
                  <a:close/>
                  <a:moveTo>
                    <a:pt x="42" y="26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0" y="29"/>
                    <a:pt x="40" y="29"/>
                  </a:cubicBezTo>
                  <a:cubicBezTo>
                    <a:pt x="40" y="29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39" y="31"/>
                  </a:moveTo>
                  <a:cubicBezTo>
                    <a:pt x="39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1" y="27"/>
                  </a:cubicBezTo>
                  <a:cubicBezTo>
                    <a:pt x="42" y="27"/>
                    <a:pt x="42" y="28"/>
                    <a:pt x="42" y="28"/>
                  </a:cubicBezTo>
                  <a:close/>
                  <a:moveTo>
                    <a:pt x="43" y="27"/>
                  </a:moveTo>
                  <a:cubicBezTo>
                    <a:pt x="42" y="27"/>
                    <a:pt x="42" y="27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2" y="27"/>
                    <a:pt x="42" y="27"/>
                    <a:pt x="43" y="27"/>
                  </a:cubicBezTo>
                  <a:close/>
                  <a:moveTo>
                    <a:pt x="41" y="28"/>
                  </a:move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9"/>
                    <a:pt x="42" y="28"/>
                    <a:pt x="41" y="28"/>
                  </a:cubicBezTo>
                  <a:close/>
                  <a:moveTo>
                    <a:pt x="43" y="26"/>
                  </a:move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6"/>
                    <a:pt x="43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1" y="29"/>
                    <a:pt x="41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3" y="27"/>
                    <a:pt x="43" y="27"/>
                  </a:cubicBezTo>
                  <a:cubicBezTo>
                    <a:pt x="43" y="27"/>
                    <a:pt x="43" y="28"/>
                    <a:pt x="43" y="27"/>
                  </a:cubicBezTo>
                  <a:cubicBezTo>
                    <a:pt x="43" y="27"/>
                    <a:pt x="44" y="28"/>
                    <a:pt x="44" y="28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1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0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0" y="32"/>
                    <a:pt x="40" y="32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8"/>
                  </a:cubicBezTo>
                  <a:close/>
                  <a:moveTo>
                    <a:pt x="43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3" y="29"/>
                  </a:cubicBezTo>
                  <a:close/>
                  <a:moveTo>
                    <a:pt x="41" y="34"/>
                  </a:moveTo>
                  <a:cubicBezTo>
                    <a:pt x="41" y="33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2"/>
                    <a:pt x="42" y="33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4" y="29"/>
                  </a:moveTo>
                  <a:cubicBezTo>
                    <a:pt x="44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4" y="30"/>
                    <a:pt x="44" y="30"/>
                    <a:pt x="44" y="29"/>
                  </a:cubicBezTo>
                  <a:close/>
                  <a:moveTo>
                    <a:pt x="46" y="27"/>
                  </a:move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3"/>
                    <a:pt x="43" y="33"/>
                    <a:pt x="43" y="3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4" y="31"/>
                    <a:pt x="44" y="31"/>
                  </a:cubicBezTo>
                  <a:cubicBezTo>
                    <a:pt x="44" y="31"/>
                    <a:pt x="45" y="32"/>
                    <a:pt x="45" y="31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4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5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0"/>
                  </a:cubicBezTo>
                  <a:cubicBezTo>
                    <a:pt x="46" y="31"/>
                    <a:pt x="46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6" y="30"/>
                    <a:pt x="46" y="30"/>
                  </a:cubicBezTo>
                  <a:close/>
                  <a:moveTo>
                    <a:pt x="50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50" y="25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5" y="32"/>
                    <a:pt x="45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2"/>
                    <a:pt x="46" y="31"/>
                  </a:cubicBezTo>
                  <a:cubicBezTo>
                    <a:pt x="46" y="31"/>
                    <a:pt x="46" y="32"/>
                    <a:pt x="47" y="32"/>
                  </a:cubicBezTo>
                  <a:close/>
                  <a:moveTo>
                    <a:pt x="48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8" y="29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49" y="26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5" y="37"/>
                    <a:pt x="44" y="37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51" y="27"/>
                  </a:moveTo>
                  <a:cubicBezTo>
                    <a:pt x="50" y="27"/>
                    <a:pt x="51" y="27"/>
                    <a:pt x="50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7"/>
                    <a:pt x="51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8" y="33"/>
                  </a:cubicBezTo>
                  <a:lnTo>
                    <a:pt x="48" y="34"/>
                  </a:ln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2"/>
                  </a:moveTo>
                  <a:cubicBezTo>
                    <a:pt x="49" y="32"/>
                    <a:pt x="49" y="33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2"/>
                    <a:pt x="50" y="32"/>
                    <a:pt x="50" y="33"/>
                  </a:cubicBezTo>
                  <a:cubicBezTo>
                    <a:pt x="50" y="32"/>
                    <a:pt x="50" y="32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7"/>
                  </a:cubicBezTo>
                  <a:cubicBezTo>
                    <a:pt x="52" y="27"/>
                    <a:pt x="51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7"/>
                  </a:moveTo>
                  <a:cubicBezTo>
                    <a:pt x="52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6" y="38"/>
                  </a:move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4"/>
                  </a:cubicBezTo>
                  <a:cubicBezTo>
                    <a:pt x="49" y="34"/>
                    <a:pt x="49" y="35"/>
                    <a:pt x="49" y="34"/>
                  </a:cubicBezTo>
                  <a:cubicBezTo>
                    <a:pt x="50" y="34"/>
                    <a:pt x="49" y="35"/>
                    <a:pt x="50" y="35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3" y="30"/>
                    <a:pt x="54" y="30"/>
                  </a:cubicBezTo>
                  <a:cubicBezTo>
                    <a:pt x="53" y="30"/>
                    <a:pt x="53" y="30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4"/>
                    <a:pt x="50" y="34"/>
                    <a:pt x="50" y="33"/>
                  </a:cubicBezTo>
                  <a:close/>
                  <a:moveTo>
                    <a:pt x="49" y="35"/>
                  </a:move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50" y="35"/>
                    <a:pt x="49" y="35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1" y="35"/>
                  </a:moveTo>
                  <a:cubicBezTo>
                    <a:pt x="50" y="35"/>
                    <a:pt x="49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52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2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1" y="36"/>
                  </a:moveTo>
                  <a:cubicBezTo>
                    <a:pt x="51" y="36"/>
                    <a:pt x="52" y="37"/>
                    <a:pt x="51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3" y="38"/>
                    <a:pt x="53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3" y="38"/>
                    <a:pt x="52" y="37"/>
                    <a:pt x="52" y="37"/>
                  </a:cubicBezTo>
                  <a:cubicBezTo>
                    <a:pt x="52" y="37"/>
                    <a:pt x="51" y="37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5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2" y="34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53" y="34"/>
                    <a:pt x="53" y="34"/>
                    <a:pt x="52" y="34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ubicBezTo>
                    <a:pt x="55" y="33"/>
                    <a:pt x="54" y="32"/>
                    <a:pt x="54" y="32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3"/>
                  </a:moveTo>
                  <a:cubicBezTo>
                    <a:pt x="54" y="34"/>
                    <a:pt x="54" y="34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7" y="30"/>
                  </a:move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1" y="40"/>
                  </a:moveTo>
                  <a:cubicBezTo>
                    <a:pt x="51" y="40"/>
                    <a:pt x="52" y="40"/>
                    <a:pt x="52" y="40"/>
                  </a:cubicBezTo>
                  <a:cubicBezTo>
                    <a:pt x="51" y="40"/>
                    <a:pt x="51" y="40"/>
                    <a:pt x="51" y="40"/>
                  </a:cubicBezTo>
                  <a:close/>
                  <a:moveTo>
                    <a:pt x="54" y="37"/>
                  </a:move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7"/>
                    <a:pt x="54" y="37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4" y="38"/>
                    <a:pt x="54" y="38"/>
                    <a:pt x="54" y="39"/>
                  </a:cubicBezTo>
                  <a:cubicBezTo>
                    <a:pt x="54" y="39"/>
                    <a:pt x="55" y="39"/>
                    <a:pt x="54" y="39"/>
                  </a:cubicBezTo>
                  <a:cubicBezTo>
                    <a:pt x="54" y="38"/>
                    <a:pt x="55" y="39"/>
                    <a:pt x="55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4" y="39"/>
                    <a:pt x="53" y="38"/>
                  </a:cubicBezTo>
                  <a:close/>
                  <a:moveTo>
                    <a:pt x="56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4"/>
                    <a:pt x="57" y="34"/>
                  </a:cubicBezTo>
                  <a:cubicBezTo>
                    <a:pt x="57" y="34"/>
                    <a:pt x="56" y="34"/>
                    <a:pt x="56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5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6"/>
                    <a:pt x="56" y="36"/>
                    <a:pt x="56" y="36"/>
                  </a:cubicBezTo>
                  <a:close/>
                  <a:moveTo>
                    <a:pt x="55" y="38"/>
                  </a:moveTo>
                  <a:cubicBezTo>
                    <a:pt x="55" y="39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lose/>
                  <a:moveTo>
                    <a:pt x="55" y="39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5"/>
                  </a:cubicBezTo>
                  <a:cubicBezTo>
                    <a:pt x="58" y="35"/>
                    <a:pt x="57" y="35"/>
                    <a:pt x="58" y="35"/>
                  </a:cubicBezTo>
                  <a:cubicBezTo>
                    <a:pt x="58" y="36"/>
                    <a:pt x="57" y="35"/>
                    <a:pt x="57" y="35"/>
                  </a:cubicBezTo>
                  <a:close/>
                  <a:moveTo>
                    <a:pt x="56" y="37"/>
                  </a:moveTo>
                  <a:cubicBezTo>
                    <a:pt x="56" y="37"/>
                    <a:pt x="57" y="38"/>
                    <a:pt x="57" y="38"/>
                  </a:cubicBezTo>
                  <a:cubicBezTo>
                    <a:pt x="57" y="38"/>
                    <a:pt x="56" y="38"/>
                    <a:pt x="56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6" y="38"/>
                  </a:cubicBezTo>
                  <a:cubicBezTo>
                    <a:pt x="56" y="38"/>
                    <a:pt x="56" y="38"/>
                    <a:pt x="56" y="39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1" y="32"/>
                    <a:pt x="60" y="32"/>
                  </a:cubicBezTo>
                  <a:close/>
                  <a:moveTo>
                    <a:pt x="58" y="36"/>
                  </a:moveTo>
                  <a:cubicBezTo>
                    <a:pt x="59" y="36"/>
                    <a:pt x="59" y="36"/>
                    <a:pt x="59" y="37"/>
                  </a:cubicBezTo>
                  <a:cubicBezTo>
                    <a:pt x="59" y="37"/>
                    <a:pt x="59" y="36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60" y="37"/>
                    <a:pt x="59" y="37"/>
                  </a:cubicBezTo>
                  <a:cubicBezTo>
                    <a:pt x="60" y="37"/>
                    <a:pt x="60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60" y="35"/>
                  </a:cubicBezTo>
                  <a:cubicBezTo>
                    <a:pt x="59" y="35"/>
                    <a:pt x="59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60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4"/>
                  </a:cubicBezTo>
                  <a:close/>
                  <a:moveTo>
                    <a:pt x="57" y="40"/>
                  </a:moveTo>
                  <a:cubicBezTo>
                    <a:pt x="57" y="40"/>
                    <a:pt x="58" y="40"/>
                    <a:pt x="58" y="40"/>
                  </a:cubicBezTo>
                  <a:cubicBezTo>
                    <a:pt x="58" y="40"/>
                    <a:pt x="58" y="40"/>
                    <a:pt x="57" y="40"/>
                  </a:cubicBezTo>
                  <a:close/>
                  <a:moveTo>
                    <a:pt x="59" y="38"/>
                  </a:moveTo>
                  <a:cubicBezTo>
                    <a:pt x="59" y="38"/>
                    <a:pt x="59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59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59" y="38"/>
                  </a:cubicBezTo>
                  <a:close/>
                  <a:moveTo>
                    <a:pt x="62" y="33"/>
                  </a:move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lose/>
                  <a:moveTo>
                    <a:pt x="64" y="33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4" y="34"/>
                    <a:pt x="63" y="33"/>
                  </a:cubicBezTo>
                  <a:cubicBezTo>
                    <a:pt x="63" y="33"/>
                    <a:pt x="64" y="33"/>
                    <a:pt x="64" y="33"/>
                  </a:cubicBezTo>
                  <a:close/>
                  <a:moveTo>
                    <a:pt x="60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lose/>
                  <a:moveTo>
                    <a:pt x="62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61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lose/>
                  <a:moveTo>
                    <a:pt x="61" y="40"/>
                  </a:moveTo>
                  <a:cubicBezTo>
                    <a:pt x="61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1" y="40"/>
                  </a:cubicBezTo>
                  <a:close/>
                  <a:moveTo>
                    <a:pt x="68" y="35"/>
                  </a:moveTo>
                  <a:cubicBezTo>
                    <a:pt x="67" y="35"/>
                    <a:pt x="67" y="35"/>
                    <a:pt x="68" y="35"/>
                  </a:cubicBezTo>
                  <a:close/>
                  <a:moveTo>
                    <a:pt x="65" y="39"/>
                  </a:moveTo>
                  <a:cubicBezTo>
                    <a:pt x="65" y="39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4" y="41"/>
                  </a:move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lose/>
                  <a:moveTo>
                    <a:pt x="66" y="38"/>
                  </a:moveTo>
                  <a:cubicBezTo>
                    <a:pt x="66" y="38"/>
                    <a:pt x="67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3" y="43"/>
                    <a:pt x="63" y="43"/>
                  </a:cubicBezTo>
                  <a:cubicBezTo>
                    <a:pt x="63" y="43"/>
                    <a:pt x="64" y="42"/>
                    <a:pt x="64" y="43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6" y="41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5" y="42"/>
                    <a:pt x="65" y="42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67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9" y="36"/>
                  </a:move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1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5" y="44"/>
                  </a:move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lose/>
                  <a:moveTo>
                    <a:pt x="65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5" y="43"/>
                    <a:pt x="65" y="43"/>
                  </a:cubicBezTo>
                  <a:close/>
                  <a:moveTo>
                    <a:pt x="69" y="38"/>
                  </a:move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8" y="42"/>
                  </a:cubicBezTo>
                  <a:cubicBezTo>
                    <a:pt x="67" y="42"/>
                    <a:pt x="67" y="42"/>
                    <a:pt x="67" y="42"/>
                  </a:cubicBezTo>
                  <a:close/>
                  <a:moveTo>
                    <a:pt x="68" y="42"/>
                  </a:move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5" y="45"/>
                    <a:pt x="65" y="45"/>
                  </a:cubicBezTo>
                  <a:cubicBezTo>
                    <a:pt x="65" y="45"/>
                    <a:pt x="66" y="45"/>
                    <a:pt x="66" y="46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9"/>
                  </a:cubicBezTo>
                  <a:cubicBezTo>
                    <a:pt x="70" y="39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5"/>
                  </a:cubicBezTo>
                  <a:cubicBezTo>
                    <a:pt x="66" y="45"/>
                    <a:pt x="66" y="45"/>
                    <a:pt x="66" y="44"/>
                  </a:cubicBezTo>
                  <a:cubicBezTo>
                    <a:pt x="66" y="44"/>
                    <a:pt x="66" y="45"/>
                    <a:pt x="66" y="44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8"/>
                  </a:cubicBezTo>
                  <a:cubicBezTo>
                    <a:pt x="65" y="48"/>
                    <a:pt x="65" y="48"/>
                    <a:pt x="64" y="47"/>
                  </a:cubicBezTo>
                  <a:cubicBezTo>
                    <a:pt x="65" y="47"/>
                    <a:pt x="64" y="47"/>
                    <a:pt x="65" y="47"/>
                  </a:cubicBezTo>
                  <a:close/>
                  <a:moveTo>
                    <a:pt x="66" y="48"/>
                  </a:moveTo>
                  <a:cubicBezTo>
                    <a:pt x="67" y="48"/>
                    <a:pt x="68" y="48"/>
                    <a:pt x="68" y="49"/>
                  </a:cubicBezTo>
                  <a:cubicBezTo>
                    <a:pt x="67" y="48"/>
                    <a:pt x="67" y="48"/>
                    <a:pt x="65" y="48"/>
                  </a:cubicBezTo>
                  <a:cubicBezTo>
                    <a:pt x="66" y="47"/>
                    <a:pt x="65" y="47"/>
                    <a:pt x="65" y="47"/>
                  </a:cubicBezTo>
                  <a:cubicBezTo>
                    <a:pt x="66" y="47"/>
                    <a:pt x="66" y="48"/>
                    <a:pt x="66" y="48"/>
                  </a:cubicBezTo>
                  <a:close/>
                  <a:moveTo>
                    <a:pt x="67" y="44"/>
                  </a:moveTo>
                  <a:cubicBezTo>
                    <a:pt x="67" y="44"/>
                    <a:pt x="68" y="44"/>
                    <a:pt x="68" y="44"/>
                  </a:cubicBezTo>
                  <a:cubicBezTo>
                    <a:pt x="67" y="44"/>
                    <a:pt x="67" y="44"/>
                    <a:pt x="67" y="44"/>
                  </a:cubicBezTo>
                  <a:close/>
                  <a:moveTo>
                    <a:pt x="67" y="43"/>
                  </a:moveTo>
                  <a:cubicBezTo>
                    <a:pt x="67" y="43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4"/>
                    <a:pt x="67" y="43"/>
                  </a:cubicBezTo>
                  <a:close/>
                  <a:moveTo>
                    <a:pt x="65" y="47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7"/>
                    <a:pt x="65" y="47"/>
                  </a:cubicBezTo>
                  <a:close/>
                  <a:moveTo>
                    <a:pt x="67" y="45"/>
                  </a:moveTo>
                  <a:cubicBezTo>
                    <a:pt x="67" y="46"/>
                    <a:pt x="67" y="45"/>
                    <a:pt x="67" y="45"/>
                  </a:cubicBezTo>
                  <a:cubicBezTo>
                    <a:pt x="66" y="45"/>
                    <a:pt x="67" y="45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8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7" y="47"/>
                    <a:pt x="67" y="48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lose/>
                  <a:moveTo>
                    <a:pt x="69" y="43"/>
                  </a:moveTo>
                  <a:cubicBezTo>
                    <a:pt x="69" y="43"/>
                    <a:pt x="68" y="43"/>
                    <a:pt x="69" y="43"/>
                  </a:cubicBezTo>
                  <a:cubicBezTo>
                    <a:pt x="69" y="43"/>
                    <a:pt x="68" y="43"/>
                    <a:pt x="68" y="43"/>
                  </a:cubicBezTo>
                  <a:cubicBezTo>
                    <a:pt x="68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69" y="42"/>
                  </a:moveTo>
                  <a:cubicBezTo>
                    <a:pt x="69" y="42"/>
                    <a:pt x="69" y="42"/>
                    <a:pt x="70" y="42"/>
                  </a:cubicBezTo>
                  <a:cubicBezTo>
                    <a:pt x="70" y="42"/>
                    <a:pt x="69" y="42"/>
                    <a:pt x="69" y="42"/>
                  </a:cubicBezTo>
                  <a:close/>
                  <a:moveTo>
                    <a:pt x="70" y="42"/>
                  </a:move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70" y="42"/>
                    <a:pt x="70" y="42"/>
                  </a:cubicBezTo>
                  <a:close/>
                  <a:moveTo>
                    <a:pt x="68" y="44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9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4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lose/>
                  <a:moveTo>
                    <a:pt x="69" y="43"/>
                  </a:moveTo>
                  <a:cubicBezTo>
                    <a:pt x="70" y="42"/>
                    <a:pt x="70" y="43"/>
                    <a:pt x="70" y="43"/>
                  </a:cubicBezTo>
                  <a:cubicBezTo>
                    <a:pt x="70" y="43"/>
                    <a:pt x="70" y="43"/>
                    <a:pt x="69" y="43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7"/>
                  </a:cubicBezTo>
                  <a:cubicBezTo>
                    <a:pt x="67" y="47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8" y="47"/>
                    <a:pt x="68" y="48"/>
                  </a:cubicBezTo>
                  <a:cubicBezTo>
                    <a:pt x="68" y="48"/>
                    <a:pt x="68" y="47"/>
                    <a:pt x="67" y="47"/>
                  </a:cubicBezTo>
                  <a:close/>
                  <a:moveTo>
                    <a:pt x="70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5"/>
                    <a:pt x="70" y="45"/>
                  </a:cubicBezTo>
                  <a:cubicBezTo>
                    <a:pt x="70" y="44"/>
                    <a:pt x="70" y="45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8" y="46"/>
                    <a:pt x="69" y="46"/>
                  </a:cubicBezTo>
                  <a:cubicBezTo>
                    <a:pt x="69" y="47"/>
                    <a:pt x="69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8" y="48"/>
                  </a:cubicBezTo>
                  <a:cubicBezTo>
                    <a:pt x="69" y="48"/>
                    <a:pt x="68" y="48"/>
                    <a:pt x="69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2"/>
                    <a:pt x="72" y="43"/>
                    <a:pt x="72" y="43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1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lose/>
                  <a:moveTo>
                    <a:pt x="69" y="49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70" y="48"/>
                  </a:cubicBezTo>
                  <a:cubicBezTo>
                    <a:pt x="69" y="48"/>
                    <a:pt x="69" y="48"/>
                    <a:pt x="69" y="49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70" y="49"/>
                    <a:pt x="70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2" y="44"/>
                    <a:pt x="72" y="45"/>
                    <a:pt x="71" y="45"/>
                  </a:cubicBezTo>
                  <a:close/>
                  <a:moveTo>
                    <a:pt x="71" y="46"/>
                  </a:move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2" y="46"/>
                    <a:pt x="72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3" y="43"/>
                  </a:moveTo>
                  <a:cubicBezTo>
                    <a:pt x="74" y="43"/>
                    <a:pt x="74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49"/>
                  </a:cubicBezTo>
                  <a:cubicBezTo>
                    <a:pt x="70" y="49"/>
                    <a:pt x="70" y="50"/>
                    <a:pt x="70" y="50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1" y="48"/>
                    <a:pt x="71" y="48"/>
                  </a:cubicBezTo>
                  <a:close/>
                  <a:moveTo>
                    <a:pt x="74" y="46"/>
                  </a:moveTo>
                  <a:cubicBezTo>
                    <a:pt x="74" y="46"/>
                    <a:pt x="73" y="46"/>
                    <a:pt x="73" y="46"/>
                  </a:cubicBezTo>
                  <a:cubicBezTo>
                    <a:pt x="73" y="45"/>
                    <a:pt x="73" y="45"/>
                    <a:pt x="74" y="46"/>
                  </a:cubicBez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6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lose/>
                  <a:moveTo>
                    <a:pt x="74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7"/>
                  </a:cubicBezTo>
                  <a:cubicBezTo>
                    <a:pt x="75" y="47"/>
                    <a:pt x="74" y="46"/>
                    <a:pt x="74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5" y="45"/>
                  </a:cubicBezTo>
                  <a:cubicBezTo>
                    <a:pt x="75" y="45"/>
                    <a:pt x="76" y="45"/>
                    <a:pt x="76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4"/>
                    <a:pt x="75" y="44"/>
                  </a:cubicBezTo>
                  <a:cubicBezTo>
                    <a:pt x="76" y="44"/>
                    <a:pt x="76" y="44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3" y="50"/>
                  </a:moveTo>
                  <a:cubicBezTo>
                    <a:pt x="73" y="51"/>
                    <a:pt x="73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3" y="51"/>
                  </a:moveTo>
                  <a:cubicBezTo>
                    <a:pt x="73" y="51"/>
                    <a:pt x="74" y="52"/>
                    <a:pt x="74" y="52"/>
                  </a:cubicBezTo>
                  <a:cubicBezTo>
                    <a:pt x="74" y="52"/>
                    <a:pt x="73" y="52"/>
                    <a:pt x="73" y="51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4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7" y="47"/>
                    <a:pt x="77" y="47"/>
                  </a:cubicBezTo>
                  <a:cubicBezTo>
                    <a:pt x="77" y="47"/>
                    <a:pt x="77" y="47"/>
                    <a:pt x="76" y="47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8"/>
                  </a:moveTo>
                  <a:cubicBezTo>
                    <a:pt x="76" y="48"/>
                    <a:pt x="77" y="48"/>
                    <a:pt x="77" y="48"/>
                  </a:cubicBezTo>
                  <a:cubicBezTo>
                    <a:pt x="77" y="48"/>
                    <a:pt x="76" y="48"/>
                    <a:pt x="76" y="48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6" y="50"/>
                    <a:pt x="76" y="50"/>
                    <a:pt x="75" y="50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7" y="51"/>
                  </a:move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6" y="51"/>
                    <a:pt x="76" y="51"/>
                  </a:cubicBezTo>
                  <a:cubicBezTo>
                    <a:pt x="76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lose/>
                  <a:moveTo>
                    <a:pt x="80" y="47"/>
                  </a:moveTo>
                  <a:cubicBezTo>
                    <a:pt x="80" y="47"/>
                    <a:pt x="80" y="47"/>
                    <a:pt x="79" y="47"/>
                  </a:cubicBezTo>
                  <a:cubicBezTo>
                    <a:pt x="80" y="47"/>
                    <a:pt x="80" y="47"/>
                    <a:pt x="80" y="47"/>
                  </a:cubicBezTo>
                  <a:close/>
                  <a:moveTo>
                    <a:pt x="78" y="51"/>
                  </a:moveTo>
                  <a:cubicBezTo>
                    <a:pt x="78" y="50"/>
                    <a:pt x="78" y="51"/>
                    <a:pt x="78" y="50"/>
                  </a:cubicBezTo>
                  <a:cubicBezTo>
                    <a:pt x="78" y="50"/>
                    <a:pt x="78" y="50"/>
                    <a:pt x="77" y="50"/>
                  </a:cubicBezTo>
                  <a:cubicBezTo>
                    <a:pt x="77" y="50"/>
                    <a:pt x="77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1"/>
                    <a:pt x="78" y="51"/>
                  </a:cubicBezTo>
                  <a:close/>
                  <a:moveTo>
                    <a:pt x="76" y="53"/>
                  </a:moveTo>
                  <a:cubicBezTo>
                    <a:pt x="76" y="53"/>
                    <a:pt x="76" y="53"/>
                    <a:pt x="77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2"/>
                  </a:move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7" y="52"/>
                    <a:pt x="77" y="52"/>
                    <a:pt x="77" y="52"/>
                  </a:cubicBezTo>
                  <a:close/>
                  <a:moveTo>
                    <a:pt x="79" y="49"/>
                  </a:moveTo>
                  <a:cubicBezTo>
                    <a:pt x="79" y="49"/>
                    <a:pt x="79" y="48"/>
                    <a:pt x="79" y="48"/>
                  </a:cubicBezTo>
                  <a:cubicBezTo>
                    <a:pt x="79" y="48"/>
                    <a:pt x="79" y="48"/>
                    <a:pt x="79" y="49"/>
                  </a:cubicBezTo>
                  <a:close/>
                  <a:moveTo>
                    <a:pt x="78" y="51"/>
                  </a:moveTo>
                  <a:cubicBezTo>
                    <a:pt x="78" y="52"/>
                    <a:pt x="78" y="52"/>
                    <a:pt x="79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8" y="52"/>
                    <a:pt x="78" y="51"/>
                    <a:pt x="78" y="51"/>
                  </a:cubicBezTo>
                  <a:close/>
                  <a:moveTo>
                    <a:pt x="80" y="52"/>
                  </a:moveTo>
                  <a:cubicBezTo>
                    <a:pt x="79" y="51"/>
                    <a:pt x="79" y="51"/>
                    <a:pt x="78" y="51"/>
                  </a:cubicBezTo>
                  <a:cubicBezTo>
                    <a:pt x="78" y="51"/>
                    <a:pt x="80" y="51"/>
                    <a:pt x="80" y="52"/>
                  </a:cubicBezTo>
                  <a:close/>
                  <a:moveTo>
                    <a:pt x="80" y="48"/>
                  </a:moveTo>
                  <a:cubicBezTo>
                    <a:pt x="80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lose/>
                  <a:moveTo>
                    <a:pt x="77" y="54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4"/>
                  </a:cubicBezTo>
                  <a:close/>
                  <a:moveTo>
                    <a:pt x="78" y="52"/>
                  </a:moveTo>
                  <a:cubicBezTo>
                    <a:pt x="78" y="52"/>
                    <a:pt x="79" y="52"/>
                    <a:pt x="79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79" y="52"/>
                    <a:pt x="79" y="52"/>
                  </a:cubicBezTo>
                  <a:cubicBezTo>
                    <a:pt x="79" y="52"/>
                    <a:pt x="79" y="52"/>
                    <a:pt x="78" y="52"/>
                  </a:cubicBezTo>
                  <a:close/>
                  <a:moveTo>
                    <a:pt x="81" y="49"/>
                  </a:move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0" y="50"/>
                    <a:pt x="81" y="49"/>
                  </a:cubicBezTo>
                  <a:close/>
                  <a:moveTo>
                    <a:pt x="79" y="54"/>
                  </a:move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2" y="48"/>
                  </a:move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7"/>
                    <a:pt x="84" y="47"/>
                  </a:cubicBezTo>
                  <a:cubicBezTo>
                    <a:pt x="84" y="47"/>
                    <a:pt x="84" y="47"/>
                    <a:pt x="84" y="46"/>
                  </a:cubicBezTo>
                  <a:close/>
                  <a:moveTo>
                    <a:pt x="81" y="52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2" y="52"/>
                    <a:pt x="81" y="52"/>
                  </a:cubicBezTo>
                  <a:close/>
                  <a:moveTo>
                    <a:pt x="80" y="54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5"/>
                  </a:move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4"/>
                    <a:pt x="82" y="55"/>
                    <a:pt x="82" y="54"/>
                  </a:cubicBezTo>
                  <a:cubicBezTo>
                    <a:pt x="82" y="54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3" y="56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4" y="54"/>
                    <a:pt x="84" y="53"/>
                  </a:cubicBezTo>
                  <a:cubicBezTo>
                    <a:pt x="84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4" y="56"/>
                  </a:cubicBezTo>
                  <a:close/>
                  <a:moveTo>
                    <a:pt x="86" y="52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50"/>
                    <a:pt x="93" y="50"/>
                  </a:cubicBezTo>
                  <a:cubicBezTo>
                    <a:pt x="91" y="49"/>
                    <a:pt x="90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90" y="48"/>
                    <a:pt x="91" y="49"/>
                    <a:pt x="92" y="49"/>
                  </a:cubicBezTo>
                  <a:cubicBezTo>
                    <a:pt x="92" y="50"/>
                    <a:pt x="92" y="49"/>
                    <a:pt x="92" y="49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5"/>
                    <a:pt x="86" y="55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5"/>
                    <a:pt x="86" y="56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6" y="56"/>
                  </a:cubicBezTo>
                  <a:cubicBezTo>
                    <a:pt x="86" y="56"/>
                    <a:pt x="87" y="56"/>
                    <a:pt x="86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8" y="54"/>
                  </a:move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7" y="57"/>
                    <a:pt x="87" y="57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7"/>
                    <a:pt x="87" y="57"/>
                  </a:cubicBezTo>
                  <a:cubicBezTo>
                    <a:pt x="87" y="57"/>
                    <a:pt x="87" y="58"/>
                    <a:pt x="87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8" y="59"/>
                  </a:moveTo>
                  <a:cubicBezTo>
                    <a:pt x="88" y="59"/>
                    <a:pt x="88" y="58"/>
                    <a:pt x="88" y="58"/>
                  </a:cubicBezTo>
                  <a:cubicBezTo>
                    <a:pt x="88" y="58"/>
                    <a:pt x="88" y="59"/>
                    <a:pt x="88" y="59"/>
                  </a:cubicBezTo>
                  <a:close/>
                  <a:moveTo>
                    <a:pt x="89" y="57"/>
                  </a:move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8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lose/>
                  <a:moveTo>
                    <a:pt x="89" y="58"/>
                  </a:moveTo>
                  <a:cubicBezTo>
                    <a:pt x="89" y="58"/>
                    <a:pt x="88" y="58"/>
                    <a:pt x="88" y="58"/>
                  </a:cubicBezTo>
                  <a:cubicBezTo>
                    <a:pt x="88" y="58"/>
                    <a:pt x="89" y="58"/>
                    <a:pt x="89" y="58"/>
                  </a:cubicBezTo>
                  <a:close/>
                  <a:moveTo>
                    <a:pt x="91" y="55"/>
                  </a:moveTo>
                  <a:cubicBezTo>
                    <a:pt x="91" y="55"/>
                    <a:pt x="92" y="56"/>
                    <a:pt x="92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lose/>
                  <a:moveTo>
                    <a:pt x="90" y="58"/>
                  </a:moveTo>
                  <a:cubicBezTo>
                    <a:pt x="90" y="57"/>
                    <a:pt x="91" y="58"/>
                    <a:pt x="91" y="58"/>
                  </a:cubicBezTo>
                  <a:cubicBezTo>
                    <a:pt x="91" y="58"/>
                    <a:pt x="90" y="58"/>
                    <a:pt x="90" y="58"/>
                  </a:cubicBezTo>
                  <a:close/>
                  <a:moveTo>
                    <a:pt x="92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2" y="58"/>
                  </a:cubicBezTo>
                  <a:close/>
                  <a:moveTo>
                    <a:pt x="92" y="57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3" y="57"/>
                    <a:pt x="92" y="57"/>
                    <a:pt x="92" y="57"/>
                  </a:cubicBezTo>
                  <a:cubicBezTo>
                    <a:pt x="93" y="57"/>
                    <a:pt x="93" y="58"/>
                    <a:pt x="94" y="58"/>
                  </a:cubicBezTo>
                  <a:cubicBezTo>
                    <a:pt x="94" y="58"/>
                    <a:pt x="95" y="59"/>
                    <a:pt x="95" y="59"/>
                  </a:cubicBezTo>
                  <a:cubicBezTo>
                    <a:pt x="94" y="58"/>
                    <a:pt x="93" y="58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1" y="60"/>
                  </a:cubicBezTo>
                  <a:cubicBezTo>
                    <a:pt x="90" y="60"/>
                    <a:pt x="91" y="60"/>
                    <a:pt x="91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1" y="58"/>
                  </a:cubicBezTo>
                  <a:cubicBezTo>
                    <a:pt x="91" y="57"/>
                    <a:pt x="92" y="58"/>
                    <a:pt x="92" y="58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1" y="59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0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3" y="55"/>
                  </a:move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3" y="55"/>
                  </a:cubicBezTo>
                  <a:close/>
                  <a:moveTo>
                    <a:pt x="93" y="56"/>
                  </a:moveTo>
                  <a:cubicBezTo>
                    <a:pt x="93" y="56"/>
                    <a:pt x="93" y="56"/>
                    <a:pt x="93" y="57"/>
                  </a:cubicBezTo>
                  <a:cubicBezTo>
                    <a:pt x="93" y="57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61"/>
                    <a:pt x="91" y="61"/>
                  </a:cubicBezTo>
                  <a:close/>
                  <a:moveTo>
                    <a:pt x="92" y="58"/>
                  </a:moveTo>
                  <a:cubicBezTo>
                    <a:pt x="92" y="58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8"/>
                    <a:pt x="92" y="58"/>
                  </a:cubicBezTo>
                  <a:close/>
                  <a:moveTo>
                    <a:pt x="93" y="60"/>
                  </a:moveTo>
                  <a:cubicBezTo>
                    <a:pt x="93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60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5" y="60"/>
                  </a:moveTo>
                  <a:cubicBezTo>
                    <a:pt x="95" y="60"/>
                    <a:pt x="94" y="60"/>
                    <a:pt x="94" y="60"/>
                  </a:cubicBezTo>
                  <a:cubicBezTo>
                    <a:pt x="94" y="60"/>
                    <a:pt x="94" y="60"/>
                    <a:pt x="95" y="60"/>
                  </a:cubicBezTo>
                  <a:close/>
                  <a:moveTo>
                    <a:pt x="97" y="56"/>
                  </a:move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lose/>
                  <a:moveTo>
                    <a:pt x="96" y="61"/>
                  </a:moveTo>
                  <a:cubicBezTo>
                    <a:pt x="96" y="61"/>
                    <a:pt x="97" y="61"/>
                    <a:pt x="97" y="61"/>
                  </a:cubicBezTo>
                  <a:cubicBezTo>
                    <a:pt x="97" y="61"/>
                    <a:pt x="97" y="61"/>
                    <a:pt x="96" y="61"/>
                  </a:cubicBezTo>
                  <a:close/>
                  <a:moveTo>
                    <a:pt x="101" y="58"/>
                  </a:moveTo>
                  <a:cubicBezTo>
                    <a:pt x="101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99" y="57"/>
                    <a:pt x="99" y="57"/>
                    <a:pt x="99" y="56"/>
                  </a:cubicBezTo>
                  <a:cubicBezTo>
                    <a:pt x="99" y="56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1" y="57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8" y="59"/>
                  </a:moveTo>
                  <a:cubicBezTo>
                    <a:pt x="98" y="58"/>
                    <a:pt x="99" y="59"/>
                    <a:pt x="99" y="59"/>
                  </a:cubicBezTo>
                  <a:lnTo>
                    <a:pt x="98" y="59"/>
                  </a:lnTo>
                  <a:close/>
                  <a:moveTo>
                    <a:pt x="100" y="58"/>
                  </a:moveTo>
                  <a:cubicBezTo>
                    <a:pt x="100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100" y="58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8"/>
                  </a:cubicBezTo>
                  <a:cubicBezTo>
                    <a:pt x="100" y="58"/>
                    <a:pt x="99" y="57"/>
                    <a:pt x="99" y="57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7"/>
                  </a:cubicBezTo>
                  <a:cubicBezTo>
                    <a:pt x="100" y="57"/>
                    <a:pt x="99" y="57"/>
                    <a:pt x="99" y="57"/>
                  </a:cubicBezTo>
                  <a:close/>
                  <a:moveTo>
                    <a:pt x="101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lose/>
                  <a:moveTo>
                    <a:pt x="101" y="55"/>
                  </a:moveTo>
                  <a:cubicBezTo>
                    <a:pt x="101" y="55"/>
                    <a:pt x="101" y="55"/>
                    <a:pt x="101" y="55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6"/>
                    <a:pt x="101" y="55"/>
                    <a:pt x="100" y="55"/>
                  </a:cubicBezTo>
                  <a:cubicBezTo>
                    <a:pt x="101" y="55"/>
                    <a:pt x="101" y="55"/>
                    <a:pt x="101" y="55"/>
                  </a:cubicBezTo>
                  <a:close/>
                  <a:moveTo>
                    <a:pt x="98" y="61"/>
                  </a:moveTo>
                  <a:cubicBezTo>
                    <a:pt x="98" y="62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8"/>
                  </a:cubicBezTo>
                  <a:cubicBezTo>
                    <a:pt x="100" y="58"/>
                    <a:pt x="100" y="58"/>
                    <a:pt x="100" y="57"/>
                  </a:cubicBezTo>
                  <a:close/>
                  <a:moveTo>
                    <a:pt x="99" y="58"/>
                  </a:move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8"/>
                  </a:cubicBezTo>
                  <a:close/>
                  <a:moveTo>
                    <a:pt x="97" y="64"/>
                  </a:moveTo>
                  <a:cubicBezTo>
                    <a:pt x="97" y="65"/>
                    <a:pt x="97" y="65"/>
                    <a:pt x="97" y="64"/>
                  </a:cubicBezTo>
                  <a:cubicBezTo>
                    <a:pt x="97" y="64"/>
                    <a:pt x="97" y="64"/>
                    <a:pt x="97" y="64"/>
                  </a:cubicBezTo>
                  <a:close/>
                  <a:moveTo>
                    <a:pt x="99" y="61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lose/>
                  <a:moveTo>
                    <a:pt x="98" y="65"/>
                  </a:moveTo>
                  <a:cubicBezTo>
                    <a:pt x="98" y="65"/>
                    <a:pt x="97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1" y="60"/>
                  </a:moveTo>
                  <a:cubicBezTo>
                    <a:pt x="101" y="60"/>
                    <a:pt x="101" y="60"/>
                    <a:pt x="100" y="60"/>
                  </a:cubicBezTo>
                  <a:cubicBezTo>
                    <a:pt x="101" y="60"/>
                    <a:pt x="101" y="60"/>
                    <a:pt x="100" y="60"/>
                  </a:cubicBezTo>
                  <a:cubicBezTo>
                    <a:pt x="100" y="60"/>
                    <a:pt x="100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lose/>
                  <a:moveTo>
                    <a:pt x="102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2" y="57"/>
                  </a:cubicBezTo>
                  <a:cubicBezTo>
                    <a:pt x="103" y="57"/>
                    <a:pt x="102" y="57"/>
                    <a:pt x="102" y="57"/>
                  </a:cubicBezTo>
                  <a:close/>
                  <a:moveTo>
                    <a:pt x="101" y="61"/>
                  </a:move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0"/>
                    <a:pt x="101" y="61"/>
                    <a:pt x="101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ubicBezTo>
                    <a:pt x="102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3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lose/>
                  <a:moveTo>
                    <a:pt x="102" y="58"/>
                  </a:move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lose/>
                  <a:moveTo>
                    <a:pt x="101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1" y="62"/>
                    <a:pt x="101" y="62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3" y="59"/>
                  </a:cubicBezTo>
                  <a:cubicBezTo>
                    <a:pt x="103" y="59"/>
                    <a:pt x="102" y="59"/>
                    <a:pt x="102" y="59"/>
                  </a:cubicBezTo>
                  <a:close/>
                  <a:moveTo>
                    <a:pt x="103" y="58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3" y="61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1"/>
                    <a:pt x="102" y="62"/>
                    <a:pt x="102" y="62"/>
                  </a:cubicBezTo>
                  <a:cubicBezTo>
                    <a:pt x="102" y="62"/>
                    <a:pt x="102" y="61"/>
                    <a:pt x="102" y="61"/>
                  </a:cubicBezTo>
                  <a:cubicBezTo>
                    <a:pt x="102" y="61"/>
                    <a:pt x="102" y="61"/>
                    <a:pt x="101" y="61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5" y="60"/>
                  </a:moveTo>
                  <a:cubicBezTo>
                    <a:pt x="104" y="60"/>
                    <a:pt x="104" y="59"/>
                    <a:pt x="103" y="59"/>
                  </a:cubicBezTo>
                  <a:cubicBezTo>
                    <a:pt x="104" y="59"/>
                    <a:pt x="104" y="59"/>
                    <a:pt x="105" y="60"/>
                  </a:cubicBezTo>
                  <a:close/>
                  <a:moveTo>
                    <a:pt x="103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3" y="61"/>
                  </a:cubicBezTo>
                  <a:close/>
                  <a:moveTo>
                    <a:pt x="105" y="58"/>
                  </a:moveTo>
                  <a:cubicBezTo>
                    <a:pt x="105" y="58"/>
                    <a:pt x="105" y="58"/>
                    <a:pt x="104" y="58"/>
                  </a:cubicBezTo>
                  <a:cubicBezTo>
                    <a:pt x="105" y="58"/>
                    <a:pt x="105" y="58"/>
                    <a:pt x="105" y="58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3" y="64"/>
                  </a:move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4"/>
                    <a:pt x="103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3"/>
                    <a:pt x="103" y="63"/>
                  </a:cubicBezTo>
                  <a:cubicBezTo>
                    <a:pt x="103" y="63"/>
                    <a:pt x="104" y="63"/>
                    <a:pt x="104" y="64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4" y="63"/>
                    <a:pt x="104" y="63"/>
                    <a:pt x="104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3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4" y="63"/>
                  </a:move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2" y="66"/>
                  </a:cubicBezTo>
                  <a:cubicBezTo>
                    <a:pt x="102" y="66"/>
                    <a:pt x="103" y="66"/>
                    <a:pt x="103" y="66"/>
                  </a:cubicBezTo>
                  <a:close/>
                  <a:moveTo>
                    <a:pt x="106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8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6" y="60"/>
                  </a:moveTo>
                  <a:cubicBezTo>
                    <a:pt x="106" y="60"/>
                    <a:pt x="107" y="61"/>
                    <a:pt x="107" y="61"/>
                  </a:cubicBezTo>
                  <a:cubicBezTo>
                    <a:pt x="107" y="61"/>
                    <a:pt x="106" y="60"/>
                    <a:pt x="106" y="60"/>
                  </a:cubicBezTo>
                  <a:close/>
                  <a:moveTo>
                    <a:pt x="107" y="60"/>
                  </a:move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59"/>
                    <a:pt x="107" y="60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5" y="65"/>
                    <a:pt x="105" y="64"/>
                  </a:cubicBezTo>
                  <a:cubicBezTo>
                    <a:pt x="105" y="64"/>
                    <a:pt x="106" y="65"/>
                    <a:pt x="106" y="64"/>
                  </a:cubicBezTo>
                  <a:cubicBezTo>
                    <a:pt x="106" y="64"/>
                    <a:pt x="106" y="65"/>
                    <a:pt x="106" y="65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lose/>
                  <a:moveTo>
                    <a:pt x="108" y="63"/>
                  </a:moveTo>
                  <a:cubicBezTo>
                    <a:pt x="108" y="63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3"/>
                  </a:cubicBezTo>
                  <a:close/>
                  <a:moveTo>
                    <a:pt x="106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105" y="68"/>
                    <a:pt x="106" y="68"/>
                    <a:pt x="106" y="68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8" y="65"/>
                    <a:pt x="108" y="66"/>
                    <a:pt x="108" y="66"/>
                  </a:cubicBezTo>
                  <a:lnTo>
                    <a:pt x="107" y="65"/>
                  </a:ln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8" y="69"/>
                  </a:moveTo>
                  <a:cubicBezTo>
                    <a:pt x="108" y="69"/>
                    <a:pt x="108" y="69"/>
                    <a:pt x="108" y="70"/>
                  </a:cubicBezTo>
                  <a:cubicBezTo>
                    <a:pt x="107" y="70"/>
                    <a:pt x="107" y="69"/>
                    <a:pt x="107" y="69"/>
                  </a:cubicBezTo>
                  <a:cubicBezTo>
                    <a:pt x="107" y="69"/>
                    <a:pt x="107" y="69"/>
                    <a:pt x="108" y="69"/>
                  </a:cubicBezTo>
                  <a:close/>
                  <a:moveTo>
                    <a:pt x="109" y="66"/>
                  </a:move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lose/>
                  <a:moveTo>
                    <a:pt x="108" y="67"/>
                  </a:moveTo>
                  <a:cubicBezTo>
                    <a:pt x="108" y="67"/>
                    <a:pt x="109" y="67"/>
                    <a:pt x="109" y="67"/>
                  </a:cubicBezTo>
                  <a:cubicBezTo>
                    <a:pt x="109" y="67"/>
                    <a:pt x="108" y="67"/>
                    <a:pt x="108" y="67"/>
                  </a:cubicBezTo>
                  <a:close/>
                  <a:moveTo>
                    <a:pt x="109" y="67"/>
                  </a:moveTo>
                  <a:cubicBezTo>
                    <a:pt x="109" y="66"/>
                    <a:pt x="109" y="67"/>
                    <a:pt x="109" y="67"/>
                  </a:cubicBezTo>
                  <a:close/>
                  <a:moveTo>
                    <a:pt x="107" y="70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8" y="71"/>
                    <a:pt x="107" y="70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3" y="65"/>
                  </a:moveTo>
                  <a:cubicBezTo>
                    <a:pt x="113" y="65"/>
                    <a:pt x="113" y="65"/>
                    <a:pt x="113" y="65"/>
                  </a:cubicBezTo>
                  <a:cubicBezTo>
                    <a:pt x="113" y="65"/>
                    <a:pt x="113" y="65"/>
                    <a:pt x="113" y="65"/>
                  </a:cubicBezTo>
                  <a:close/>
                  <a:moveTo>
                    <a:pt x="111" y="70"/>
                  </a:moveTo>
                  <a:cubicBezTo>
                    <a:pt x="111" y="69"/>
                    <a:pt x="111" y="69"/>
                    <a:pt x="111" y="69"/>
                  </a:cubicBezTo>
                  <a:cubicBezTo>
                    <a:pt x="111" y="69"/>
                    <a:pt x="111" y="70"/>
                    <a:pt x="111" y="70"/>
                  </a:cubicBezTo>
                  <a:close/>
                  <a:moveTo>
                    <a:pt x="112" y="69"/>
                  </a:moveTo>
                  <a:cubicBezTo>
                    <a:pt x="112" y="69"/>
                    <a:pt x="112" y="68"/>
                    <a:pt x="112" y="68"/>
                  </a:cubicBezTo>
                  <a:cubicBezTo>
                    <a:pt x="112" y="68"/>
                    <a:pt x="112" y="69"/>
                    <a:pt x="112" y="69"/>
                  </a:cubicBezTo>
                  <a:close/>
                  <a:moveTo>
                    <a:pt x="114" y="65"/>
                  </a:move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lose/>
                  <a:moveTo>
                    <a:pt x="114" y="66"/>
                  </a:moveTo>
                  <a:cubicBezTo>
                    <a:pt x="114" y="66"/>
                    <a:pt x="114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3" y="71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3" y="70"/>
                    <a:pt x="113" y="71"/>
                  </a:cubicBezTo>
                  <a:close/>
                  <a:moveTo>
                    <a:pt x="117" y="64"/>
                  </a:moveTo>
                  <a:cubicBezTo>
                    <a:pt x="117" y="64"/>
                    <a:pt x="117" y="64"/>
                    <a:pt x="116" y="64"/>
                  </a:cubicBezTo>
                  <a:cubicBezTo>
                    <a:pt x="117" y="64"/>
                    <a:pt x="117" y="64"/>
                    <a:pt x="117" y="64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6"/>
                  </a:cubicBezTo>
                  <a:close/>
                  <a:moveTo>
                    <a:pt x="117" y="72"/>
                  </a:moveTo>
                  <a:cubicBezTo>
                    <a:pt x="117" y="72"/>
                    <a:pt x="118" y="72"/>
                    <a:pt x="118" y="73"/>
                  </a:cubicBezTo>
                  <a:cubicBezTo>
                    <a:pt x="118" y="73"/>
                    <a:pt x="117" y="72"/>
                    <a:pt x="117" y="72"/>
                  </a:cubicBezTo>
                  <a:close/>
                  <a:moveTo>
                    <a:pt x="125" y="71"/>
                  </a:moveTo>
                  <a:cubicBezTo>
                    <a:pt x="125" y="71"/>
                    <a:pt x="125" y="72"/>
                    <a:pt x="125" y="72"/>
                  </a:cubicBezTo>
                  <a:cubicBezTo>
                    <a:pt x="125" y="72"/>
                    <a:pt x="125" y="71"/>
                    <a:pt x="125" y="71"/>
                  </a:cubicBezTo>
                  <a:close/>
                  <a:moveTo>
                    <a:pt x="123" y="75"/>
                  </a:moveTo>
                  <a:cubicBezTo>
                    <a:pt x="124" y="75"/>
                    <a:pt x="124" y="75"/>
                    <a:pt x="124" y="76"/>
                  </a:cubicBezTo>
                  <a:cubicBezTo>
                    <a:pt x="124" y="76"/>
                    <a:pt x="124" y="75"/>
                    <a:pt x="123" y="75"/>
                  </a:cubicBezTo>
                  <a:close/>
                  <a:moveTo>
                    <a:pt x="127" y="72"/>
                  </a:moveTo>
                  <a:cubicBezTo>
                    <a:pt x="126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6" y="72"/>
                    <a:pt x="127" y="72"/>
                    <a:pt x="126" y="72"/>
                  </a:cubicBezTo>
                  <a:cubicBezTo>
                    <a:pt x="126" y="72"/>
                    <a:pt x="126" y="72"/>
                    <a:pt x="127" y="72"/>
                  </a:cubicBezTo>
                  <a:close/>
                  <a:moveTo>
                    <a:pt x="130" y="75"/>
                  </a:moveTo>
                  <a:cubicBezTo>
                    <a:pt x="131" y="74"/>
                    <a:pt x="131" y="75"/>
                    <a:pt x="131" y="75"/>
                  </a:cubicBezTo>
                  <a:cubicBezTo>
                    <a:pt x="131" y="75"/>
                    <a:pt x="130" y="75"/>
                    <a:pt x="130" y="75"/>
                  </a:cubicBezTo>
                  <a:close/>
                  <a:moveTo>
                    <a:pt x="133" y="74"/>
                  </a:moveTo>
                  <a:cubicBezTo>
                    <a:pt x="133" y="74"/>
                    <a:pt x="133" y="74"/>
                    <a:pt x="133" y="75"/>
                  </a:cubicBezTo>
                  <a:cubicBezTo>
                    <a:pt x="133" y="75"/>
                    <a:pt x="133" y="74"/>
                    <a:pt x="133" y="74"/>
                  </a:cubicBezTo>
                  <a:close/>
                  <a:moveTo>
                    <a:pt x="134" y="76"/>
                  </a:moveTo>
                  <a:cubicBezTo>
                    <a:pt x="134" y="75"/>
                    <a:pt x="134" y="76"/>
                    <a:pt x="134" y="75"/>
                  </a:cubicBezTo>
                  <a:cubicBezTo>
                    <a:pt x="135" y="75"/>
                    <a:pt x="134" y="76"/>
                    <a:pt x="134" y="76"/>
                  </a:cubicBezTo>
                  <a:close/>
                  <a:moveTo>
                    <a:pt x="13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4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4" y="77"/>
                    <a:pt x="134" y="77"/>
                  </a:cubicBezTo>
                  <a:cubicBezTo>
                    <a:pt x="134" y="76"/>
                    <a:pt x="135" y="77"/>
                    <a:pt x="135" y="77"/>
                  </a:cubicBezTo>
                  <a:close/>
                  <a:moveTo>
                    <a:pt x="135" y="79"/>
                  </a:moveTo>
                  <a:cubicBezTo>
                    <a:pt x="135" y="79"/>
                    <a:pt x="135" y="79"/>
                    <a:pt x="134" y="79"/>
                  </a:cubicBezTo>
                  <a:cubicBezTo>
                    <a:pt x="135" y="79"/>
                    <a:pt x="135" y="79"/>
                    <a:pt x="135" y="79"/>
                  </a:cubicBezTo>
                  <a:close/>
                  <a:moveTo>
                    <a:pt x="139" y="78"/>
                  </a:moveTo>
                  <a:cubicBezTo>
                    <a:pt x="139" y="78"/>
                    <a:pt x="139" y="78"/>
                    <a:pt x="138" y="78"/>
                  </a:cubicBezTo>
                  <a:cubicBezTo>
                    <a:pt x="138" y="78"/>
                    <a:pt x="137" y="77"/>
                    <a:pt x="137" y="77"/>
                  </a:cubicBezTo>
                  <a:cubicBezTo>
                    <a:pt x="137" y="77"/>
                    <a:pt x="138" y="77"/>
                    <a:pt x="139" y="78"/>
                  </a:cubicBezTo>
                  <a:close/>
                  <a:moveTo>
                    <a:pt x="136" y="80"/>
                  </a:moveTo>
                  <a:cubicBezTo>
                    <a:pt x="136" y="80"/>
                    <a:pt x="136" y="80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lose/>
                  <a:moveTo>
                    <a:pt x="139" y="78"/>
                  </a:moveTo>
                  <a:cubicBezTo>
                    <a:pt x="140" y="78"/>
                    <a:pt x="140" y="79"/>
                    <a:pt x="141" y="79"/>
                  </a:cubicBezTo>
                  <a:cubicBezTo>
                    <a:pt x="140" y="79"/>
                    <a:pt x="139" y="78"/>
                    <a:pt x="139" y="78"/>
                  </a:cubicBezTo>
                  <a:close/>
                  <a:moveTo>
                    <a:pt x="143" y="80"/>
                  </a:moveTo>
                  <a:cubicBezTo>
                    <a:pt x="143" y="80"/>
                    <a:pt x="142" y="80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3" y="81"/>
                  </a:cubicBezTo>
                  <a:close/>
                  <a:moveTo>
                    <a:pt x="140" y="85"/>
                  </a:moveTo>
                  <a:cubicBezTo>
                    <a:pt x="140" y="85"/>
                    <a:pt x="140" y="85"/>
                    <a:pt x="140" y="85"/>
                  </a:cubicBezTo>
                  <a:cubicBezTo>
                    <a:pt x="140" y="85"/>
                    <a:pt x="140" y="85"/>
                    <a:pt x="140" y="85"/>
                  </a:cubicBezTo>
                  <a:close/>
                  <a:moveTo>
                    <a:pt x="143" y="82"/>
                  </a:moveTo>
                  <a:cubicBezTo>
                    <a:pt x="143" y="82"/>
                    <a:pt x="143" y="82"/>
                    <a:pt x="142" y="82"/>
                  </a:cubicBezTo>
                  <a:cubicBezTo>
                    <a:pt x="142" y="82"/>
                    <a:pt x="143" y="82"/>
                    <a:pt x="143" y="82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4" y="82"/>
                    <a:pt x="144" y="82"/>
                  </a:cubicBezTo>
                  <a:cubicBezTo>
                    <a:pt x="144" y="82"/>
                    <a:pt x="143" y="81"/>
                    <a:pt x="143" y="81"/>
                  </a:cubicBezTo>
                  <a:close/>
                  <a:moveTo>
                    <a:pt x="144" y="83"/>
                  </a:moveTo>
                  <a:cubicBezTo>
                    <a:pt x="144" y="83"/>
                    <a:pt x="144" y="83"/>
                    <a:pt x="143" y="83"/>
                  </a:cubicBezTo>
                  <a:cubicBezTo>
                    <a:pt x="144" y="82"/>
                    <a:pt x="144" y="83"/>
                    <a:pt x="144" y="83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2"/>
                    <a:pt x="144" y="82"/>
                  </a:cubicBezTo>
                  <a:close/>
                  <a:moveTo>
                    <a:pt x="145" y="82"/>
                  </a:moveTo>
                  <a:cubicBezTo>
                    <a:pt x="145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5" y="82"/>
                  </a:cubicBezTo>
                  <a:cubicBezTo>
                    <a:pt x="145" y="82"/>
                    <a:pt x="144" y="82"/>
                    <a:pt x="145" y="82"/>
                  </a:cubicBezTo>
                  <a:close/>
                  <a:moveTo>
                    <a:pt x="146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3" y="87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3" y="87"/>
                    <a:pt x="143" y="87"/>
                    <a:pt x="143" y="87"/>
                  </a:cubicBezTo>
                  <a:close/>
                  <a:moveTo>
                    <a:pt x="145" y="88"/>
                  </a:moveTo>
                  <a:cubicBezTo>
                    <a:pt x="145" y="88"/>
                    <a:pt x="144" y="88"/>
                    <a:pt x="144" y="88"/>
                  </a:cubicBezTo>
                  <a:cubicBezTo>
                    <a:pt x="144" y="88"/>
                    <a:pt x="145" y="88"/>
                    <a:pt x="145" y="88"/>
                  </a:cubicBezTo>
                  <a:close/>
                  <a:moveTo>
                    <a:pt x="148" y="84"/>
                  </a:moveTo>
                  <a:cubicBezTo>
                    <a:pt x="148" y="84"/>
                    <a:pt x="149" y="85"/>
                    <a:pt x="150" y="85"/>
                  </a:cubicBezTo>
                  <a:cubicBezTo>
                    <a:pt x="151" y="86"/>
                    <a:pt x="152" y="86"/>
                    <a:pt x="153" y="87"/>
                  </a:cubicBezTo>
                  <a:cubicBezTo>
                    <a:pt x="151" y="86"/>
                    <a:pt x="149" y="85"/>
                    <a:pt x="148" y="84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48" y="86"/>
                  </a:moveTo>
                  <a:cubicBezTo>
                    <a:pt x="148" y="86"/>
                    <a:pt x="149" y="86"/>
                    <a:pt x="148" y="86"/>
                  </a:cubicBezTo>
                  <a:cubicBezTo>
                    <a:pt x="149" y="86"/>
                    <a:pt x="149" y="85"/>
                    <a:pt x="149" y="86"/>
                  </a:cubicBezTo>
                  <a:cubicBezTo>
                    <a:pt x="149" y="86"/>
                    <a:pt x="149" y="86"/>
                    <a:pt x="148" y="86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3"/>
                  </a:cubicBezTo>
                  <a:cubicBezTo>
                    <a:pt x="150" y="83"/>
                    <a:pt x="150" y="83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1" y="84"/>
                    <a:pt x="151" y="84"/>
                  </a:cubicBezTo>
                  <a:cubicBezTo>
                    <a:pt x="151" y="84"/>
                    <a:pt x="151" y="84"/>
                    <a:pt x="151" y="84"/>
                  </a:cubicBezTo>
                  <a:cubicBezTo>
                    <a:pt x="151" y="84"/>
                    <a:pt x="150" y="84"/>
                    <a:pt x="150" y="84"/>
                  </a:cubicBezTo>
                  <a:close/>
                  <a:moveTo>
                    <a:pt x="150" y="86"/>
                  </a:moveTo>
                  <a:cubicBezTo>
                    <a:pt x="150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48" y="91"/>
                  </a:moveTo>
                  <a:cubicBezTo>
                    <a:pt x="148" y="91"/>
                    <a:pt x="148" y="91"/>
                    <a:pt x="149" y="91"/>
                  </a:cubicBezTo>
                  <a:cubicBezTo>
                    <a:pt x="149" y="91"/>
                    <a:pt x="148" y="91"/>
                    <a:pt x="148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87"/>
                    <a:pt x="151" y="88"/>
                    <a:pt x="152" y="88"/>
                  </a:cubicBezTo>
                  <a:close/>
                  <a:moveTo>
                    <a:pt x="151" y="88"/>
                  </a:moveTo>
                  <a:cubicBezTo>
                    <a:pt x="151" y="87"/>
                    <a:pt x="151" y="88"/>
                    <a:pt x="152" y="88"/>
                  </a:cubicBezTo>
                  <a:cubicBezTo>
                    <a:pt x="152" y="87"/>
                    <a:pt x="152" y="88"/>
                    <a:pt x="152" y="87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1" y="88"/>
                  </a:cubicBezTo>
                  <a:close/>
                  <a:moveTo>
                    <a:pt x="152" y="88"/>
                  </a:moveTo>
                  <a:cubicBezTo>
                    <a:pt x="152" y="87"/>
                    <a:pt x="152" y="87"/>
                    <a:pt x="152" y="87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2" y="88"/>
                    <a:pt x="153" y="88"/>
                    <a:pt x="152" y="88"/>
                  </a:cubicBezTo>
                  <a:close/>
                  <a:moveTo>
                    <a:pt x="154" y="86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lose/>
                  <a:moveTo>
                    <a:pt x="151" y="93"/>
                  </a:moveTo>
                  <a:cubicBezTo>
                    <a:pt x="151" y="93"/>
                    <a:pt x="150" y="92"/>
                    <a:pt x="150" y="92"/>
                  </a:cubicBezTo>
                  <a:cubicBezTo>
                    <a:pt x="151" y="92"/>
                    <a:pt x="151" y="93"/>
                    <a:pt x="151" y="93"/>
                  </a:cubicBezTo>
                  <a:close/>
                  <a:moveTo>
                    <a:pt x="153" y="88"/>
                  </a:moveTo>
                  <a:cubicBezTo>
                    <a:pt x="154" y="88"/>
                    <a:pt x="153" y="88"/>
                    <a:pt x="154" y="88"/>
                  </a:cubicBezTo>
                  <a:cubicBezTo>
                    <a:pt x="154" y="88"/>
                    <a:pt x="154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lose/>
                  <a:moveTo>
                    <a:pt x="154" y="86"/>
                  </a:moveTo>
                  <a:cubicBezTo>
                    <a:pt x="155" y="86"/>
                    <a:pt x="155" y="87"/>
                    <a:pt x="156" y="87"/>
                  </a:cubicBezTo>
                  <a:cubicBezTo>
                    <a:pt x="155" y="87"/>
                    <a:pt x="155" y="87"/>
                    <a:pt x="154" y="86"/>
                  </a:cubicBezTo>
                  <a:close/>
                  <a:moveTo>
                    <a:pt x="154" y="88"/>
                  </a:moveTo>
                  <a:cubicBezTo>
                    <a:pt x="154" y="87"/>
                    <a:pt x="154" y="87"/>
                    <a:pt x="154" y="88"/>
                  </a:cubicBezTo>
                  <a:cubicBezTo>
                    <a:pt x="154" y="88"/>
                    <a:pt x="154" y="88"/>
                    <a:pt x="154" y="88"/>
                  </a:cubicBezTo>
                  <a:close/>
                  <a:moveTo>
                    <a:pt x="151" y="92"/>
                  </a:moveTo>
                  <a:cubicBezTo>
                    <a:pt x="152" y="92"/>
                    <a:pt x="152" y="93"/>
                    <a:pt x="152" y="93"/>
                  </a:cubicBezTo>
                  <a:cubicBezTo>
                    <a:pt x="152" y="93"/>
                    <a:pt x="152" y="93"/>
                    <a:pt x="151" y="92"/>
                  </a:cubicBezTo>
                  <a:close/>
                  <a:moveTo>
                    <a:pt x="153" y="90"/>
                  </a:moveTo>
                  <a:cubicBezTo>
                    <a:pt x="153" y="91"/>
                    <a:pt x="153" y="90"/>
                    <a:pt x="153" y="90"/>
                  </a:cubicBezTo>
                  <a:cubicBezTo>
                    <a:pt x="153" y="90"/>
                    <a:pt x="153" y="90"/>
                    <a:pt x="153" y="90"/>
                  </a:cubicBezTo>
                  <a:close/>
                  <a:moveTo>
                    <a:pt x="154" y="89"/>
                  </a:moveTo>
                  <a:cubicBezTo>
                    <a:pt x="154" y="89"/>
                    <a:pt x="154" y="89"/>
                    <a:pt x="155" y="89"/>
                  </a:cubicBezTo>
                  <a:cubicBezTo>
                    <a:pt x="154" y="89"/>
                    <a:pt x="154" y="89"/>
                    <a:pt x="154" y="89"/>
                  </a:cubicBezTo>
                  <a:close/>
                  <a:moveTo>
                    <a:pt x="156" y="87"/>
                  </a:moveTo>
                  <a:cubicBezTo>
                    <a:pt x="156" y="87"/>
                    <a:pt x="156" y="87"/>
                    <a:pt x="156" y="87"/>
                  </a:cubicBezTo>
                  <a:cubicBezTo>
                    <a:pt x="156" y="87"/>
                    <a:pt x="156" y="87"/>
                    <a:pt x="156" y="87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4" y="91"/>
                  </a:cubicBezTo>
                  <a:cubicBezTo>
                    <a:pt x="154" y="91"/>
                    <a:pt x="154" y="91"/>
                    <a:pt x="154" y="91"/>
                  </a:cubicBezTo>
                  <a:close/>
                  <a:moveTo>
                    <a:pt x="153" y="94"/>
                  </a:moveTo>
                  <a:cubicBezTo>
                    <a:pt x="153" y="94"/>
                    <a:pt x="152" y="94"/>
                    <a:pt x="152" y="94"/>
                  </a:cubicBezTo>
                  <a:cubicBezTo>
                    <a:pt x="152" y="93"/>
                    <a:pt x="152" y="94"/>
                    <a:pt x="153" y="94"/>
                  </a:cubicBezTo>
                  <a:close/>
                  <a:moveTo>
                    <a:pt x="158" y="88"/>
                  </a:moveTo>
                  <a:cubicBezTo>
                    <a:pt x="158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7"/>
                    <a:pt x="156" y="87"/>
                  </a:cubicBezTo>
                  <a:cubicBezTo>
                    <a:pt x="157" y="88"/>
                    <a:pt x="157" y="88"/>
                    <a:pt x="158" y="88"/>
                  </a:cubicBezTo>
                  <a:close/>
                  <a:moveTo>
                    <a:pt x="154" y="95"/>
                  </a:move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4"/>
                  </a:cubicBezTo>
                  <a:cubicBezTo>
                    <a:pt x="153" y="94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5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3"/>
                  </a:moveTo>
                  <a:cubicBezTo>
                    <a:pt x="157" y="93"/>
                    <a:pt x="156" y="93"/>
                    <a:pt x="156" y="93"/>
                  </a:cubicBezTo>
                  <a:cubicBezTo>
                    <a:pt x="156" y="93"/>
                    <a:pt x="156" y="92"/>
                    <a:pt x="156" y="92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6" y="96"/>
                  </a:cubicBezTo>
                  <a:cubicBezTo>
                    <a:pt x="155" y="96"/>
                    <a:pt x="155" y="96"/>
                    <a:pt x="155" y="96"/>
                  </a:cubicBezTo>
                  <a:close/>
                  <a:moveTo>
                    <a:pt x="159" y="90"/>
                  </a:moveTo>
                  <a:cubicBezTo>
                    <a:pt x="159" y="89"/>
                    <a:pt x="159" y="89"/>
                    <a:pt x="159" y="89"/>
                  </a:cubicBezTo>
                  <a:cubicBezTo>
                    <a:pt x="159" y="89"/>
                    <a:pt x="159" y="90"/>
                    <a:pt x="159" y="89"/>
                  </a:cubicBezTo>
                  <a:cubicBezTo>
                    <a:pt x="159" y="89"/>
                    <a:pt x="159" y="89"/>
                    <a:pt x="159" y="90"/>
                  </a:cubicBezTo>
                  <a:close/>
                  <a:moveTo>
                    <a:pt x="160" y="91"/>
                  </a:moveTo>
                  <a:cubicBezTo>
                    <a:pt x="160" y="91"/>
                    <a:pt x="160" y="91"/>
                    <a:pt x="159" y="91"/>
                  </a:cubicBezTo>
                  <a:cubicBezTo>
                    <a:pt x="159" y="91"/>
                    <a:pt x="160" y="91"/>
                    <a:pt x="160" y="91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1" y="5"/>
                  </a:moveTo>
                  <a:cubicBezTo>
                    <a:pt x="22" y="6"/>
                    <a:pt x="22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5" y="8"/>
                    <a:pt x="26" y="8"/>
                  </a:cubicBezTo>
                  <a:cubicBezTo>
                    <a:pt x="26" y="8"/>
                    <a:pt x="26" y="8"/>
                    <a:pt x="25" y="8"/>
                  </a:cubicBezTo>
                  <a:cubicBezTo>
                    <a:pt x="26" y="9"/>
                    <a:pt x="27" y="9"/>
                    <a:pt x="27" y="10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7" y="10"/>
                    <a:pt x="27" y="10"/>
                  </a:cubicBezTo>
                  <a:cubicBezTo>
                    <a:pt x="28" y="10"/>
                    <a:pt x="28" y="11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5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6"/>
                  </a:cubicBezTo>
                  <a:cubicBezTo>
                    <a:pt x="36" y="16"/>
                    <a:pt x="35" y="16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0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3" y="22"/>
                    <a:pt x="42" y="22"/>
                  </a:cubicBezTo>
                  <a:cubicBezTo>
                    <a:pt x="42" y="21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0"/>
                    <a:pt x="40" y="21"/>
                    <a:pt x="41" y="21"/>
                  </a:cubicBezTo>
                  <a:cubicBezTo>
                    <a:pt x="41" y="21"/>
                    <a:pt x="40" y="21"/>
                    <a:pt x="40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2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3"/>
                    <a:pt x="43" y="22"/>
                  </a:cubicBezTo>
                  <a:cubicBezTo>
                    <a:pt x="43" y="23"/>
                    <a:pt x="43" y="23"/>
                    <a:pt x="44" y="23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3" y="23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4" y="22"/>
                    <a:pt x="44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8" y="26"/>
                    <a:pt x="48" y="25"/>
                  </a:cubicBezTo>
                  <a:cubicBezTo>
                    <a:pt x="48" y="25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4" y="29"/>
                    <a:pt x="53" y="29"/>
                    <a:pt x="53" y="28"/>
                  </a:cubicBezTo>
                  <a:cubicBezTo>
                    <a:pt x="54" y="29"/>
                    <a:pt x="55" y="30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3" y="29"/>
                    <a:pt x="52" y="28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9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1" y="29"/>
                  </a:cubicBezTo>
                  <a:cubicBezTo>
                    <a:pt x="51" y="29"/>
                    <a:pt x="50" y="29"/>
                    <a:pt x="50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9" y="28"/>
                    <a:pt x="49" y="28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6" y="26"/>
                    <a:pt x="46" y="26"/>
                    <a:pt x="45" y="25"/>
                  </a:cubicBezTo>
                  <a:cubicBezTo>
                    <a:pt x="46" y="25"/>
                    <a:pt x="46" y="26"/>
                    <a:pt x="47" y="26"/>
                  </a:cubicBezTo>
                  <a:cubicBezTo>
                    <a:pt x="47" y="26"/>
                    <a:pt x="47" y="27"/>
                    <a:pt x="48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7" y="26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4" y="24"/>
                    <a:pt x="44" y="24"/>
                  </a:cubicBezTo>
                  <a:cubicBezTo>
                    <a:pt x="44" y="23"/>
                    <a:pt x="43" y="23"/>
                    <a:pt x="42" y="23"/>
                  </a:cubicBezTo>
                  <a:cubicBezTo>
                    <a:pt x="42" y="22"/>
                    <a:pt x="42" y="23"/>
                    <a:pt x="42" y="23"/>
                  </a:cubicBezTo>
                  <a:cubicBezTo>
                    <a:pt x="42" y="22"/>
                    <a:pt x="42" y="23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0"/>
                    <a:pt x="39" y="21"/>
                  </a:cubicBezTo>
                  <a:cubicBezTo>
                    <a:pt x="39" y="20"/>
                    <a:pt x="39" y="20"/>
                    <a:pt x="39" y="21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6" y="19"/>
                    <a:pt x="36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5" y="18"/>
                    <a:pt x="34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6" y="19"/>
                    <a:pt x="35" y="19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7" y="20"/>
                    <a:pt x="37" y="20"/>
                  </a:cubicBez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2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2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3"/>
                    <a:pt x="41" y="24"/>
                    <a:pt x="41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1" y="24"/>
                    <a:pt x="41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5"/>
                    <a:pt x="42" y="25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3" y="25"/>
                    <a:pt x="43" y="25"/>
                  </a:cubicBezTo>
                  <a:cubicBezTo>
                    <a:pt x="42" y="26"/>
                    <a:pt x="43" y="26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5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8"/>
                  </a:cubicBezTo>
                  <a:cubicBezTo>
                    <a:pt x="45" y="27"/>
                    <a:pt x="45" y="28"/>
                    <a:pt x="46" y="27"/>
                  </a:cubicBezTo>
                  <a:cubicBezTo>
                    <a:pt x="45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7"/>
                    <a:pt x="45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9"/>
                    <a:pt x="49" y="29"/>
                    <a:pt x="50" y="29"/>
                  </a:cubicBezTo>
                  <a:cubicBezTo>
                    <a:pt x="50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30"/>
                  </a:cubicBezTo>
                  <a:cubicBezTo>
                    <a:pt x="50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2" y="30"/>
                    <a:pt x="52" y="30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30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7"/>
                    <a:pt x="46" y="27"/>
                  </a:cubicBezTo>
                  <a:cubicBezTo>
                    <a:pt x="46" y="27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5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3" y="26"/>
                  </a:cubicBezTo>
                  <a:cubicBezTo>
                    <a:pt x="43" y="26"/>
                    <a:pt x="43" y="26"/>
                    <a:pt x="42" y="26"/>
                  </a:cubicBezTo>
                  <a:cubicBezTo>
                    <a:pt x="43" y="26"/>
                    <a:pt x="42" y="26"/>
                    <a:pt x="42" y="26"/>
                  </a:cubicBezTo>
                  <a:cubicBezTo>
                    <a:pt x="42" y="26"/>
                    <a:pt x="42" y="26"/>
                    <a:pt x="43" y="26"/>
                  </a:cubicBezTo>
                  <a:cubicBezTo>
                    <a:pt x="43" y="27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9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6" y="24"/>
                    <a:pt x="37" y="24"/>
                    <a:pt x="37" y="24"/>
                  </a:cubicBezTo>
                  <a:cubicBezTo>
                    <a:pt x="37" y="24"/>
                    <a:pt x="37" y="24"/>
                    <a:pt x="36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3"/>
                    <a:pt x="36" y="24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3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2"/>
                  </a:cubicBezTo>
                  <a:cubicBezTo>
                    <a:pt x="34" y="22"/>
                    <a:pt x="34" y="23"/>
                    <a:pt x="34" y="22"/>
                  </a:cubicBezTo>
                  <a:cubicBezTo>
                    <a:pt x="33" y="22"/>
                    <a:pt x="34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3"/>
                    <a:pt x="33" y="22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4" y="23"/>
                    <a:pt x="34" y="23"/>
                    <a:pt x="33" y="23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5"/>
                  </a:cubicBezTo>
                  <a:cubicBezTo>
                    <a:pt x="34" y="25"/>
                    <a:pt x="34" y="24"/>
                    <a:pt x="34" y="24"/>
                  </a:cubicBezTo>
                  <a:cubicBezTo>
                    <a:pt x="34" y="25"/>
                    <a:pt x="35" y="24"/>
                    <a:pt x="35" y="25"/>
                  </a:cubicBezTo>
                  <a:cubicBezTo>
                    <a:pt x="35" y="25"/>
                    <a:pt x="34" y="24"/>
                    <a:pt x="34" y="24"/>
                  </a:cubicBezTo>
                  <a:cubicBezTo>
                    <a:pt x="34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5"/>
                  </a:cubicBezTo>
                  <a:cubicBezTo>
                    <a:pt x="35" y="25"/>
                    <a:pt x="35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5"/>
                    <a:pt x="37" y="26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1" y="28"/>
                  </a:cubicBezTo>
                  <a:cubicBezTo>
                    <a:pt x="41" y="28"/>
                    <a:pt x="40" y="27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8"/>
                    <a:pt x="40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30"/>
                  </a:cubicBezTo>
                  <a:cubicBezTo>
                    <a:pt x="43" y="30"/>
                    <a:pt x="42" y="30"/>
                    <a:pt x="42" y="30"/>
                  </a:cubicBezTo>
                  <a:cubicBezTo>
                    <a:pt x="41" y="29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6"/>
                    <a:pt x="37" y="27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6"/>
                    <a:pt x="34" y="26"/>
                  </a:cubicBezTo>
                  <a:cubicBezTo>
                    <a:pt x="34" y="27"/>
                    <a:pt x="34" y="26"/>
                    <a:pt x="34" y="27"/>
                  </a:cubicBezTo>
                  <a:cubicBezTo>
                    <a:pt x="33" y="26"/>
                    <a:pt x="34" y="26"/>
                    <a:pt x="34" y="26"/>
                  </a:cubicBezTo>
                  <a:cubicBezTo>
                    <a:pt x="34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2" y="26"/>
                  </a:cubicBezTo>
                  <a:cubicBezTo>
                    <a:pt x="32" y="26"/>
                    <a:pt x="33" y="26"/>
                    <a:pt x="32" y="26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5"/>
                    <a:pt x="32" y="25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1" y="26"/>
                    <a:pt x="31" y="27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6"/>
                    <a:pt x="30" y="26"/>
                    <a:pt x="31" y="26"/>
                  </a:cubicBezTo>
                  <a:cubicBezTo>
                    <a:pt x="31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6"/>
                    <a:pt x="29" y="25"/>
                  </a:cubicBezTo>
                  <a:cubicBezTo>
                    <a:pt x="29" y="25"/>
                    <a:pt x="30" y="26"/>
                    <a:pt x="29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8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4"/>
                    <a:pt x="26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5"/>
                    <a:pt x="24" y="24"/>
                    <a:pt x="24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3" y="24"/>
                    <a:pt x="24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3"/>
                  </a:cubicBezTo>
                  <a:cubicBezTo>
                    <a:pt x="22" y="23"/>
                    <a:pt x="22" y="23"/>
                    <a:pt x="22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7" y="22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3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7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7" y="14"/>
                    <a:pt x="8" y="14"/>
                  </a:cubicBezTo>
                  <a:cubicBezTo>
                    <a:pt x="7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4"/>
                    <a:pt x="6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8"/>
                    <a:pt x="0" y="7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1" y="0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9" y="4"/>
                    <a:pt x="20" y="4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3"/>
                    <a:pt x="21" y="23"/>
                    <a:pt x="21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2" y="23"/>
                    <a:pt x="22" y="23"/>
                  </a:cubicBezTo>
                  <a:cubicBezTo>
                    <a:pt x="21" y="22"/>
                    <a:pt x="21" y="22"/>
                    <a:pt x="21" y="23"/>
                  </a:cubicBezTo>
                  <a:close/>
                  <a:moveTo>
                    <a:pt x="26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4" y="23"/>
                  </a:moveTo>
                  <a:cubicBezTo>
                    <a:pt x="23" y="23"/>
                    <a:pt x="24" y="23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3" y="23"/>
                    <a:pt x="24" y="23"/>
                    <a:pt x="24" y="23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6" y="23"/>
                  </a:move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4" y="23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9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3"/>
                    <a:pt x="29" y="24"/>
                    <a:pt x="29" y="24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3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31" y="24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4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5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3" y="25"/>
                    <a:pt x="33" y="25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5"/>
                    <a:pt x="36" y="25"/>
                  </a:cubicBezTo>
                  <a:cubicBezTo>
                    <a:pt x="36" y="25"/>
                    <a:pt x="36" y="26"/>
                    <a:pt x="36" y="26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1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lose/>
                  <a:moveTo>
                    <a:pt x="22" y="17"/>
                  </a:move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1"/>
                    <a:pt x="32" y="22"/>
                    <a:pt x="32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1" y="22"/>
                  </a:moveTo>
                  <a:cubicBezTo>
                    <a:pt x="31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29" y="21"/>
                  </a:moveTo>
                  <a:cubicBezTo>
                    <a:pt x="29" y="21"/>
                    <a:pt x="30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lose/>
                  <a:moveTo>
                    <a:pt x="33" y="22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2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1"/>
                  </a:moveTo>
                  <a:cubicBezTo>
                    <a:pt x="32" y="22"/>
                    <a:pt x="32" y="21"/>
                    <a:pt x="32" y="21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3" y="22"/>
                    <a:pt x="32" y="21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3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3" y="22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5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7" y="23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50" y="30"/>
                  </a:moveTo>
                  <a:cubicBezTo>
                    <a:pt x="50" y="30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36" y="22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9" y="25"/>
                  </a:move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9" y="24"/>
                    <a:pt x="39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6"/>
                    <a:pt x="42" y="26"/>
                  </a:cubicBezTo>
                  <a:cubicBezTo>
                    <a:pt x="42" y="26"/>
                    <a:pt x="41" y="25"/>
                    <a:pt x="41" y="25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0" y="25"/>
                    <a:pt x="40" y="25"/>
                    <a:pt x="41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0" y="25"/>
                    <a:pt x="40" y="24"/>
                    <a:pt x="40" y="25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lose/>
                  <a:moveTo>
                    <a:pt x="38" y="23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8" y="23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2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23"/>
                    <a:pt x="39" y="23"/>
                    <a:pt x="40" y="23"/>
                  </a:cubicBezTo>
                  <a:cubicBezTo>
                    <a:pt x="40" y="23"/>
                    <a:pt x="39" y="23"/>
                    <a:pt x="39" y="23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4" y="18"/>
                    <a:pt x="34" y="18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3" y="18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4" y="18"/>
                  </a:cubicBezTo>
                  <a:close/>
                  <a:moveTo>
                    <a:pt x="34" y="19"/>
                  </a:moveTo>
                  <a:cubicBezTo>
                    <a:pt x="34" y="18"/>
                    <a:pt x="34" y="19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9"/>
                  </a:cubicBezTo>
                  <a:close/>
                  <a:moveTo>
                    <a:pt x="34" y="19"/>
                  </a:moveTo>
                  <a:cubicBezTo>
                    <a:pt x="34" y="19"/>
                    <a:pt x="34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0"/>
                    <a:pt x="37" y="20"/>
                  </a:cubicBezTo>
                  <a:cubicBezTo>
                    <a:pt x="37" y="21"/>
                    <a:pt x="38" y="21"/>
                    <a:pt x="38" y="21"/>
                  </a:cubicBezTo>
                  <a:close/>
                  <a:moveTo>
                    <a:pt x="40" y="22"/>
                  </a:moveTo>
                  <a:cubicBezTo>
                    <a:pt x="40" y="22"/>
                    <a:pt x="39" y="21"/>
                    <a:pt x="39" y="21"/>
                  </a:cubicBezTo>
                  <a:cubicBezTo>
                    <a:pt x="39" y="22"/>
                    <a:pt x="39" y="22"/>
                    <a:pt x="40" y="22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7"/>
                    <a:pt x="32" y="17"/>
                  </a:cubicBezTo>
                  <a:lnTo>
                    <a:pt x="31" y="16"/>
                  </a:ln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lnTo>
                    <a:pt x="33" y="17"/>
                  </a:ln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4" y="18"/>
                  </a:cubicBezTo>
                  <a:cubicBezTo>
                    <a:pt x="34" y="17"/>
                    <a:pt x="34" y="17"/>
                    <a:pt x="33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lose/>
                  <a:moveTo>
                    <a:pt x="49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4"/>
                  </a:moveTo>
                  <a:cubicBezTo>
                    <a:pt x="46" y="24"/>
                    <a:pt x="45" y="24"/>
                    <a:pt x="45" y="24"/>
                  </a:cubicBezTo>
                  <a:cubicBezTo>
                    <a:pt x="45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37" y="19"/>
                  </a:moveTo>
                  <a:cubicBezTo>
                    <a:pt x="37" y="19"/>
                    <a:pt x="36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18"/>
                    <a:pt x="37" y="18"/>
                  </a:cubicBezTo>
                  <a:cubicBezTo>
                    <a:pt x="37" y="19"/>
                    <a:pt x="36" y="18"/>
                    <a:pt x="36" y="18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8" y="19"/>
                    <a:pt x="38" y="20"/>
                  </a:cubicBezTo>
                  <a:cubicBezTo>
                    <a:pt x="38" y="19"/>
                    <a:pt x="37" y="18"/>
                    <a:pt x="37" y="19"/>
                  </a:cubicBezTo>
                  <a:close/>
                  <a:moveTo>
                    <a:pt x="38" y="19"/>
                  </a:moveTo>
                  <a:cubicBezTo>
                    <a:pt x="39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6" y="18"/>
                  </a:move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6" y="18"/>
                    <a:pt x="35" y="18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cubicBezTo>
                    <a:pt x="35" y="18"/>
                    <a:pt x="35" y="17"/>
                    <a:pt x="35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5" y="18"/>
                    <a:pt x="35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lose/>
                  <a:moveTo>
                    <a:pt x="37" y="18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lose/>
                  <a:moveTo>
                    <a:pt x="34" y="15"/>
                  </a:moveTo>
                  <a:cubicBezTo>
                    <a:pt x="34" y="15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0" y="12"/>
                  </a:moveTo>
                  <a:cubicBezTo>
                    <a:pt x="29" y="12"/>
                    <a:pt x="29" y="11"/>
                    <a:pt x="29" y="11"/>
                  </a:cubicBezTo>
                  <a:cubicBezTo>
                    <a:pt x="29" y="11"/>
                    <a:pt x="29" y="12"/>
                    <a:pt x="29" y="11"/>
                  </a:cubicBezTo>
                  <a:cubicBezTo>
                    <a:pt x="29" y="12"/>
                    <a:pt x="30" y="12"/>
                    <a:pt x="30" y="12"/>
                  </a:cubicBezTo>
                  <a:close/>
                  <a:moveTo>
                    <a:pt x="27" y="10"/>
                  </a:move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0"/>
                    <a:pt x="27" y="10"/>
                    <a:pt x="28" y="10"/>
                  </a:cubicBezTo>
                  <a:cubicBezTo>
                    <a:pt x="27" y="10"/>
                    <a:pt x="28" y="10"/>
                    <a:pt x="27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4" y="26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30" y="28"/>
                  </a:moveTo>
                  <a:cubicBezTo>
                    <a:pt x="30" y="28"/>
                    <a:pt x="30" y="28"/>
                    <a:pt x="31" y="28"/>
                  </a:cubicBezTo>
                  <a:cubicBezTo>
                    <a:pt x="31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8"/>
                  </a:cubicBezTo>
                  <a:cubicBezTo>
                    <a:pt x="35" y="28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7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6" y="27"/>
                  </a:move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8" y="28"/>
                    <a:pt x="38" y="29"/>
                  </a:cubicBezTo>
                  <a:cubicBezTo>
                    <a:pt x="38" y="29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8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8"/>
                    <a:pt x="38" y="27"/>
                    <a:pt x="38" y="28"/>
                  </a:cubicBezTo>
                  <a:cubicBezTo>
                    <a:pt x="37" y="28"/>
                    <a:pt x="37" y="27"/>
                    <a:pt x="37" y="27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7" y="29"/>
                    <a:pt x="37" y="29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lose/>
                  <a:moveTo>
                    <a:pt x="39" y="28"/>
                  </a:moveTo>
                  <a:cubicBezTo>
                    <a:pt x="39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28"/>
                    <a:pt x="39" y="28"/>
                    <a:pt x="39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2" y="23"/>
                  </a:moveTo>
                  <a:cubicBezTo>
                    <a:pt x="42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4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9"/>
                  </a:moveTo>
                  <a:cubicBezTo>
                    <a:pt x="41" y="30"/>
                    <a:pt x="42" y="30"/>
                    <a:pt x="43" y="31"/>
                  </a:cubicBezTo>
                  <a:cubicBezTo>
                    <a:pt x="43" y="31"/>
                    <a:pt x="42" y="31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0" y="29"/>
                    <a:pt x="39" y="29"/>
                  </a:cubicBezTo>
                  <a:cubicBezTo>
                    <a:pt x="39" y="29"/>
                    <a:pt x="40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29"/>
                    <a:pt x="41" y="29"/>
                    <a:pt x="40" y="29"/>
                  </a:cubicBezTo>
                  <a:close/>
                  <a:moveTo>
                    <a:pt x="40" y="29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30"/>
                    <a:pt x="39" y="29"/>
                  </a:cubicBezTo>
                  <a:cubicBezTo>
                    <a:pt x="39" y="29"/>
                    <a:pt x="40" y="29"/>
                    <a:pt x="40" y="29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ubicBezTo>
                    <a:pt x="44" y="25"/>
                    <a:pt x="43" y="25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40" y="32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5" y="30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0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8" y="31"/>
                  </a:cubicBezTo>
                  <a:cubicBezTo>
                    <a:pt x="48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7" y="31"/>
                    <a:pt x="47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6" y="32"/>
                    <a:pt x="47" y="33"/>
                    <a:pt x="47" y="32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8" y="34"/>
                  </a:moveTo>
                  <a:cubicBezTo>
                    <a:pt x="48" y="35"/>
                    <a:pt x="49" y="35"/>
                    <a:pt x="50" y="35"/>
                  </a:cubicBezTo>
                  <a:cubicBezTo>
                    <a:pt x="49" y="35"/>
                    <a:pt x="49" y="36"/>
                    <a:pt x="50" y="36"/>
                  </a:cubicBezTo>
                  <a:cubicBezTo>
                    <a:pt x="49" y="36"/>
                    <a:pt x="49" y="35"/>
                    <a:pt x="49" y="35"/>
                  </a:cubicBezTo>
                  <a:cubicBezTo>
                    <a:pt x="48" y="35"/>
                    <a:pt x="47" y="34"/>
                    <a:pt x="46" y="34"/>
                  </a:cubicBezTo>
                  <a:cubicBezTo>
                    <a:pt x="47" y="34"/>
                    <a:pt x="47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8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55" y="28"/>
                  </a:moveTo>
                  <a:cubicBezTo>
                    <a:pt x="55" y="28"/>
                    <a:pt x="54" y="28"/>
                    <a:pt x="54" y="28"/>
                  </a:cubicBezTo>
                  <a:cubicBezTo>
                    <a:pt x="54" y="28"/>
                    <a:pt x="55" y="28"/>
                    <a:pt x="55" y="29"/>
                  </a:cubicBezTo>
                  <a:cubicBezTo>
                    <a:pt x="55" y="29"/>
                    <a:pt x="55" y="28"/>
                    <a:pt x="55" y="28"/>
                  </a:cubicBezTo>
                  <a:cubicBezTo>
                    <a:pt x="55" y="29"/>
                    <a:pt x="55" y="28"/>
                    <a:pt x="55" y="29"/>
                  </a:cubicBezTo>
                  <a:cubicBezTo>
                    <a:pt x="55" y="29"/>
                    <a:pt x="55" y="29"/>
                    <a:pt x="55" y="28"/>
                  </a:cubicBezTo>
                  <a:close/>
                  <a:moveTo>
                    <a:pt x="54" y="30"/>
                  </a:moveTo>
                  <a:cubicBezTo>
                    <a:pt x="54" y="31"/>
                    <a:pt x="54" y="30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6" y="31"/>
                  </a:cubicBezTo>
                  <a:cubicBezTo>
                    <a:pt x="55" y="32"/>
                    <a:pt x="55" y="31"/>
                    <a:pt x="54" y="30"/>
                  </a:cubicBezTo>
                  <a:close/>
                  <a:moveTo>
                    <a:pt x="52" y="35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5"/>
                    <a:pt x="52" y="35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5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3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4"/>
                    <a:pt x="58" y="33"/>
                    <a:pt x="57" y="32"/>
                  </a:cubicBezTo>
                  <a:cubicBezTo>
                    <a:pt x="57" y="32"/>
                    <a:pt x="56" y="32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6" y="32"/>
                  </a:cubicBezTo>
                  <a:cubicBezTo>
                    <a:pt x="57" y="32"/>
                    <a:pt x="58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9" y="34"/>
                    <a:pt x="59" y="33"/>
                    <a:pt x="60" y="33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3"/>
                    <a:pt x="59" y="33"/>
                    <a:pt x="59" y="33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8" y="31"/>
                  </a:move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0"/>
                    <a:pt x="58" y="31"/>
                    <a:pt x="58" y="31"/>
                  </a:cubicBezTo>
                  <a:close/>
                  <a:moveTo>
                    <a:pt x="58" y="30"/>
                  </a:moveTo>
                  <a:cubicBezTo>
                    <a:pt x="58" y="30"/>
                    <a:pt x="59" y="30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58" y="31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9" y="31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60" y="32"/>
                  </a:move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2"/>
                  </a:cubicBezTo>
                  <a:close/>
                  <a:moveTo>
                    <a:pt x="58" y="35"/>
                  </a:moveTo>
                  <a:cubicBezTo>
                    <a:pt x="59" y="35"/>
                    <a:pt x="58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ubicBezTo>
                    <a:pt x="58" y="35"/>
                    <a:pt x="58" y="35"/>
                    <a:pt x="59" y="35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9" y="34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8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6"/>
                    <a:pt x="60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0" y="36"/>
                    <a:pt x="60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2" y="36"/>
                    <a:pt x="62" y="35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4"/>
                    <a:pt x="61" y="34"/>
                    <a:pt x="61" y="33"/>
                  </a:cubicBezTo>
                  <a:cubicBezTo>
                    <a:pt x="61" y="34"/>
                    <a:pt x="61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4" y="35"/>
                    <a:pt x="64" y="35"/>
                  </a:cubicBezTo>
                  <a:cubicBezTo>
                    <a:pt x="64" y="35"/>
                    <a:pt x="65" y="35"/>
                    <a:pt x="65" y="36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4" y="35"/>
                    <a:pt x="64" y="35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4" y="34"/>
                    <a:pt x="64" y="35"/>
                    <a:pt x="65" y="34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6" y="35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7" y="36"/>
                    <a:pt x="67" y="35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5"/>
                  </a:cubicBezTo>
                  <a:cubicBezTo>
                    <a:pt x="67" y="36"/>
                    <a:pt x="68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7"/>
                    <a:pt x="68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70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8" y="37"/>
                  </a:cubicBezTo>
                  <a:cubicBezTo>
                    <a:pt x="68" y="37"/>
                    <a:pt x="69" y="37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9"/>
                  </a:cubicBezTo>
                  <a:cubicBezTo>
                    <a:pt x="69" y="39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40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7"/>
                  </a:cubicBezTo>
                  <a:cubicBezTo>
                    <a:pt x="67" y="37"/>
                    <a:pt x="66" y="37"/>
                    <a:pt x="66" y="36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7" y="38"/>
                  </a:cubicBezTo>
                  <a:cubicBezTo>
                    <a:pt x="67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1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8" y="40"/>
                    <a:pt x="68" y="39"/>
                  </a:cubicBezTo>
                  <a:cubicBezTo>
                    <a:pt x="68" y="39"/>
                    <a:pt x="68" y="39"/>
                    <a:pt x="68" y="40"/>
                  </a:cubicBezTo>
                  <a:cubicBezTo>
                    <a:pt x="67" y="39"/>
                    <a:pt x="65" y="38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7"/>
                    <a:pt x="63" y="37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8"/>
                    <a:pt x="65" y="39"/>
                  </a:cubicBezTo>
                  <a:cubicBezTo>
                    <a:pt x="65" y="39"/>
                    <a:pt x="66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6" y="40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8"/>
                    <a:pt x="64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4" y="38"/>
                    <a:pt x="64" y="39"/>
                  </a:cubicBezTo>
                  <a:cubicBezTo>
                    <a:pt x="64" y="39"/>
                    <a:pt x="63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3" y="38"/>
                    <a:pt x="63" y="38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4" y="39"/>
                    <a:pt x="63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3" y="40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0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8"/>
                    <a:pt x="62" y="39"/>
                    <a:pt x="61" y="39"/>
                  </a:cubicBezTo>
                  <a:cubicBezTo>
                    <a:pt x="61" y="38"/>
                    <a:pt x="61" y="39"/>
                    <a:pt x="62" y="39"/>
                  </a:cubicBezTo>
                  <a:cubicBezTo>
                    <a:pt x="62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0" y="37"/>
                    <a:pt x="60" y="3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7"/>
                  </a:cubicBezTo>
                  <a:cubicBezTo>
                    <a:pt x="63" y="37"/>
                    <a:pt x="62" y="37"/>
                    <a:pt x="63" y="37"/>
                  </a:cubicBezTo>
                  <a:cubicBezTo>
                    <a:pt x="63" y="37"/>
                    <a:pt x="62" y="37"/>
                    <a:pt x="62" y="37"/>
                  </a:cubicBezTo>
                  <a:cubicBezTo>
                    <a:pt x="62" y="37"/>
                    <a:pt x="63" y="37"/>
                    <a:pt x="63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1" y="36"/>
                    <a:pt x="61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5"/>
                    <a:pt x="61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3" y="37"/>
                  </a:cubicBezTo>
                  <a:cubicBezTo>
                    <a:pt x="63" y="37"/>
                    <a:pt x="62" y="36"/>
                    <a:pt x="63" y="37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7"/>
                    <a:pt x="63" y="37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lose/>
                  <a:moveTo>
                    <a:pt x="62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3" y="40"/>
                    <a:pt x="63" y="40"/>
                  </a:cubicBezTo>
                  <a:cubicBezTo>
                    <a:pt x="63" y="40"/>
                    <a:pt x="63" y="40"/>
                    <a:pt x="63" y="39"/>
                  </a:cubicBezTo>
                  <a:cubicBezTo>
                    <a:pt x="63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2" y="39"/>
                    <a:pt x="63" y="39"/>
                    <a:pt x="63" y="39"/>
                  </a:cubicBezTo>
                  <a:cubicBezTo>
                    <a:pt x="63" y="39"/>
                    <a:pt x="63" y="38"/>
                    <a:pt x="63" y="39"/>
                  </a:cubicBezTo>
                  <a:close/>
                  <a:moveTo>
                    <a:pt x="63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lose/>
                  <a:moveTo>
                    <a:pt x="69" y="39"/>
                  </a:moveTo>
                  <a:cubicBezTo>
                    <a:pt x="69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69" y="39"/>
                  </a:cubicBezTo>
                  <a:cubicBezTo>
                    <a:pt x="69" y="39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7"/>
                    <a:pt x="67" y="38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4" y="34"/>
                    <a:pt x="64" y="34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6"/>
                    <a:pt x="67" y="37"/>
                  </a:cubicBez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6"/>
                  </a:cubicBezTo>
                  <a:cubicBezTo>
                    <a:pt x="67" y="37"/>
                    <a:pt x="67" y="36"/>
                    <a:pt x="68" y="37"/>
                  </a:cubicBezTo>
                  <a:cubicBezTo>
                    <a:pt x="68" y="37"/>
                    <a:pt x="67" y="36"/>
                    <a:pt x="68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6" y="37"/>
                    <a:pt x="67" y="37"/>
                  </a:cubicBezTo>
                  <a:close/>
                  <a:moveTo>
                    <a:pt x="65" y="35"/>
                  </a:moveTo>
                  <a:cubicBezTo>
                    <a:pt x="64" y="35"/>
                    <a:pt x="64" y="35"/>
                    <a:pt x="64" y="35"/>
                  </a:cubicBezTo>
                  <a:cubicBezTo>
                    <a:pt x="64" y="36"/>
                    <a:pt x="64" y="35"/>
                    <a:pt x="65" y="35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6" y="38"/>
                  </a:cubicBezTo>
                  <a:cubicBezTo>
                    <a:pt x="65" y="38"/>
                    <a:pt x="66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5" y="37"/>
                    <a:pt x="65" y="38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5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5"/>
                    <a:pt x="64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2" y="35"/>
                  </a:cubicBezTo>
                  <a:cubicBezTo>
                    <a:pt x="63" y="36"/>
                    <a:pt x="63" y="35"/>
                    <a:pt x="64" y="36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5"/>
                    <a:pt x="62" y="35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8" y="39"/>
                  </a:moveTo>
                  <a:cubicBezTo>
                    <a:pt x="68" y="39"/>
                    <a:pt x="69" y="39"/>
                    <a:pt x="69" y="39"/>
                  </a:cubicBezTo>
                  <a:cubicBezTo>
                    <a:pt x="69" y="39"/>
                    <a:pt x="69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9" y="39"/>
                    <a:pt x="68" y="39"/>
                  </a:cubicBezTo>
                  <a:cubicBezTo>
                    <a:pt x="68" y="39"/>
                    <a:pt x="68" y="39"/>
                    <a:pt x="69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lose/>
                  <a:moveTo>
                    <a:pt x="66" y="36"/>
                  </a:moveTo>
                  <a:cubicBezTo>
                    <a:pt x="66" y="36"/>
                    <a:pt x="66" y="36"/>
                    <a:pt x="66" y="35"/>
                  </a:cubicBezTo>
                  <a:cubicBezTo>
                    <a:pt x="66" y="35"/>
                    <a:pt x="66" y="36"/>
                    <a:pt x="66" y="36"/>
                  </a:cubicBezTo>
                  <a:close/>
                  <a:moveTo>
                    <a:pt x="60" y="36"/>
                  </a:moveTo>
                  <a:cubicBezTo>
                    <a:pt x="59" y="36"/>
                    <a:pt x="60" y="36"/>
                    <a:pt x="59" y="36"/>
                  </a:cubicBezTo>
                  <a:cubicBezTo>
                    <a:pt x="60" y="36"/>
                    <a:pt x="60" y="37"/>
                    <a:pt x="60" y="36"/>
                  </a:cubicBezTo>
                  <a:close/>
                  <a:moveTo>
                    <a:pt x="59" y="37"/>
                  </a:moveTo>
                  <a:cubicBezTo>
                    <a:pt x="59" y="37"/>
                    <a:pt x="59" y="37"/>
                    <a:pt x="59" y="38"/>
                  </a:cubicBez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7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58" y="42"/>
                  </a:moveTo>
                  <a:cubicBezTo>
                    <a:pt x="58" y="42"/>
                    <a:pt x="58" y="42"/>
                    <a:pt x="57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lose/>
                  <a:moveTo>
                    <a:pt x="59" y="40"/>
                  </a:moveTo>
                  <a:cubicBezTo>
                    <a:pt x="59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9"/>
                    <a:pt x="60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2" y="41"/>
                    <a:pt x="62" y="41"/>
                  </a:cubicBezTo>
                  <a:cubicBezTo>
                    <a:pt x="62" y="42"/>
                    <a:pt x="62" y="41"/>
                    <a:pt x="61" y="41"/>
                  </a:cubicBezTo>
                  <a:cubicBezTo>
                    <a:pt x="62" y="41"/>
                    <a:pt x="62" y="42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3" y="43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3" y="43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4"/>
                    <a:pt x="62" y="43"/>
                    <a:pt x="62" y="44"/>
                  </a:cubicBezTo>
                  <a:cubicBezTo>
                    <a:pt x="62" y="44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5"/>
                    <a:pt x="63" y="44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3" y="45"/>
                    <a:pt x="62" y="45"/>
                    <a:pt x="63" y="44"/>
                  </a:cubicBezTo>
                  <a:cubicBezTo>
                    <a:pt x="62" y="44"/>
                    <a:pt x="62" y="44"/>
                    <a:pt x="61" y="44"/>
                  </a:cubicBezTo>
                  <a:cubicBezTo>
                    <a:pt x="62" y="44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2" y="43"/>
                    <a:pt x="61" y="43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0" y="42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1" y="41"/>
                  </a:cubicBezTo>
                  <a:cubicBezTo>
                    <a:pt x="61" y="41"/>
                    <a:pt x="60" y="40"/>
                    <a:pt x="60" y="40"/>
                  </a:cubicBezTo>
                  <a:cubicBezTo>
                    <a:pt x="60" y="40"/>
                    <a:pt x="59" y="40"/>
                    <a:pt x="59" y="40"/>
                  </a:cubicBezTo>
                  <a:close/>
                  <a:moveTo>
                    <a:pt x="62" y="43"/>
                  </a:move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2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0"/>
                    <a:pt x="61" y="40"/>
                  </a:cubicBezTo>
                  <a:cubicBezTo>
                    <a:pt x="61" y="40"/>
                    <a:pt x="61" y="41"/>
                    <a:pt x="61" y="41"/>
                  </a:cubicBezTo>
                  <a:close/>
                  <a:moveTo>
                    <a:pt x="61" y="36"/>
                  </a:moveTo>
                  <a:cubicBezTo>
                    <a:pt x="62" y="36"/>
                    <a:pt x="61" y="37"/>
                    <a:pt x="62" y="37"/>
                  </a:cubicBezTo>
                  <a:cubicBezTo>
                    <a:pt x="62" y="37"/>
                    <a:pt x="62" y="37"/>
                    <a:pt x="61" y="36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5" y="40"/>
                  </a:moveTo>
                  <a:cubicBezTo>
                    <a:pt x="65" y="40"/>
                    <a:pt x="64" y="40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5" y="39"/>
                  </a:cubicBezTo>
                  <a:cubicBezTo>
                    <a:pt x="64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6" y="40"/>
                    <a:pt x="65" y="41"/>
                  </a:cubicBezTo>
                  <a:cubicBezTo>
                    <a:pt x="66" y="40"/>
                    <a:pt x="65" y="40"/>
                    <a:pt x="65" y="40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5" y="38"/>
                    <a:pt x="65" y="39"/>
                  </a:cubicBezTo>
                  <a:cubicBezTo>
                    <a:pt x="65" y="38"/>
                    <a:pt x="66" y="39"/>
                    <a:pt x="66" y="39"/>
                  </a:cubicBezTo>
                  <a:close/>
                  <a:moveTo>
                    <a:pt x="96" y="57"/>
                  </a:move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9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61"/>
                    <a:pt x="99" y="59"/>
                    <a:pt x="98" y="60"/>
                  </a:cubicBezTo>
                  <a:cubicBezTo>
                    <a:pt x="98" y="60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0"/>
                    <a:pt x="99" y="61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0"/>
                    <a:pt x="100" y="60"/>
                  </a:cubicBezTo>
                  <a:cubicBezTo>
                    <a:pt x="99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99" y="61"/>
                    <a:pt x="100" y="61"/>
                  </a:cubicBezTo>
                  <a:cubicBezTo>
                    <a:pt x="99" y="60"/>
                    <a:pt x="98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6" y="59"/>
                  </a:cubicBezTo>
                  <a:cubicBezTo>
                    <a:pt x="97" y="59"/>
                    <a:pt x="97" y="60"/>
                    <a:pt x="98" y="60"/>
                  </a:cubicBezTo>
                  <a:cubicBezTo>
                    <a:pt x="98" y="60"/>
                    <a:pt x="98" y="60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7" y="60"/>
                    <a:pt x="97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7" y="61"/>
                    <a:pt x="97" y="60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5" y="58"/>
                    <a:pt x="94" y="58"/>
                    <a:pt x="94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8"/>
                    <a:pt x="96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6" y="59"/>
                    <a:pt x="97" y="58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5" y="58"/>
                    <a:pt x="95" y="58"/>
                    <a:pt x="94" y="57"/>
                  </a:cubicBezTo>
                  <a:cubicBezTo>
                    <a:pt x="95" y="57"/>
                    <a:pt x="94" y="57"/>
                    <a:pt x="94" y="56"/>
                  </a:cubicBezTo>
                  <a:cubicBezTo>
                    <a:pt x="93" y="56"/>
                    <a:pt x="94" y="57"/>
                    <a:pt x="93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2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6"/>
                    <a:pt x="93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0" y="54"/>
                  </a:cubicBezTo>
                  <a:cubicBezTo>
                    <a:pt x="90" y="54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5"/>
                    <a:pt x="90" y="54"/>
                    <a:pt x="89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9" y="53"/>
                  </a:cubicBezTo>
                  <a:cubicBezTo>
                    <a:pt x="89" y="53"/>
                    <a:pt x="88" y="53"/>
                    <a:pt x="88" y="53"/>
                  </a:cubicBezTo>
                  <a:cubicBezTo>
                    <a:pt x="87" y="52"/>
                    <a:pt x="86" y="52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7" y="51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3"/>
                    <a:pt x="89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1"/>
                    <a:pt x="87" y="52"/>
                  </a:cubicBezTo>
                  <a:cubicBezTo>
                    <a:pt x="87" y="52"/>
                    <a:pt x="87" y="52"/>
                    <a:pt x="87" y="51"/>
                  </a:cubicBezTo>
                  <a:cubicBezTo>
                    <a:pt x="87" y="51"/>
                    <a:pt x="87" y="51"/>
                    <a:pt x="87" y="52"/>
                  </a:cubicBezTo>
                  <a:cubicBezTo>
                    <a:pt x="87" y="51"/>
                    <a:pt x="86" y="51"/>
                    <a:pt x="85" y="50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6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5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5"/>
                    <a:pt x="89" y="55"/>
                    <a:pt x="88" y="54"/>
                  </a:cubicBezTo>
                  <a:cubicBezTo>
                    <a:pt x="89" y="54"/>
                    <a:pt x="89" y="55"/>
                    <a:pt x="89" y="54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9" y="55"/>
                    <a:pt x="90" y="55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1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89" y="55"/>
                    <a:pt x="89" y="56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6"/>
                    <a:pt x="89" y="56"/>
                    <a:pt x="89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8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89" y="56"/>
                    <a:pt x="90" y="56"/>
                  </a:cubicBezTo>
                  <a:cubicBezTo>
                    <a:pt x="90" y="56"/>
                    <a:pt x="89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89" y="57"/>
                    <a:pt x="89" y="56"/>
                  </a:cubicBezTo>
                  <a:cubicBezTo>
                    <a:pt x="88" y="56"/>
                    <a:pt x="88" y="56"/>
                    <a:pt x="89" y="57"/>
                  </a:cubicBezTo>
                  <a:cubicBezTo>
                    <a:pt x="88" y="56"/>
                    <a:pt x="88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8" y="56"/>
                    <a:pt x="88" y="56"/>
                  </a:cubicBezTo>
                  <a:cubicBezTo>
                    <a:pt x="88" y="56"/>
                    <a:pt x="87" y="56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5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2"/>
                    <a:pt x="83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3"/>
                    <a:pt x="84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3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3" y="51"/>
                    <a:pt x="83" y="52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4" y="52"/>
                    <a:pt x="84" y="52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4" y="51"/>
                    <a:pt x="84" y="51"/>
                  </a:cubicBezTo>
                  <a:cubicBezTo>
                    <a:pt x="83" y="51"/>
                    <a:pt x="84" y="51"/>
                    <a:pt x="83" y="51"/>
                  </a:cubicBezTo>
                  <a:cubicBezTo>
                    <a:pt x="83" y="51"/>
                    <a:pt x="83" y="51"/>
                    <a:pt x="84" y="51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49"/>
                    <a:pt x="82" y="49"/>
                  </a:cubicBezTo>
                  <a:cubicBezTo>
                    <a:pt x="82" y="49"/>
                    <a:pt x="82" y="49"/>
                    <a:pt x="81" y="49"/>
                  </a:cubicBezTo>
                  <a:cubicBezTo>
                    <a:pt x="81" y="49"/>
                    <a:pt x="82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3" y="49"/>
                  </a:cubicBezTo>
                  <a:cubicBezTo>
                    <a:pt x="83" y="49"/>
                    <a:pt x="82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50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2" y="48"/>
                    <a:pt x="81" y="48"/>
                    <a:pt x="81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48"/>
                    <a:pt x="81" y="47"/>
                    <a:pt x="82" y="48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0" y="47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6"/>
                  </a:cubicBezTo>
                  <a:cubicBezTo>
                    <a:pt x="80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7"/>
                  </a:cubicBezTo>
                  <a:cubicBezTo>
                    <a:pt x="79" y="46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6"/>
                    <a:pt x="79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8" y="46"/>
                    <a:pt x="78" y="45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4"/>
                    <a:pt x="77" y="45"/>
                    <a:pt x="77" y="45"/>
                  </a:cubicBezTo>
                  <a:cubicBezTo>
                    <a:pt x="77" y="45"/>
                    <a:pt x="77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5" y="44"/>
                  </a:cubicBezTo>
                  <a:cubicBezTo>
                    <a:pt x="76" y="44"/>
                    <a:pt x="76" y="44"/>
                    <a:pt x="75" y="43"/>
                  </a:cubicBezTo>
                  <a:cubicBezTo>
                    <a:pt x="76" y="43"/>
                    <a:pt x="76" y="44"/>
                    <a:pt x="76" y="43"/>
                  </a:cubicBezTo>
                  <a:cubicBezTo>
                    <a:pt x="76" y="44"/>
                    <a:pt x="75" y="43"/>
                    <a:pt x="75" y="43"/>
                  </a:cubicBezTo>
                  <a:cubicBezTo>
                    <a:pt x="75" y="43"/>
                    <a:pt x="75" y="44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3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2"/>
                    <a:pt x="74" y="42"/>
                    <a:pt x="73" y="42"/>
                  </a:cubicBez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5" y="42"/>
                  </a:cubicBezTo>
                  <a:cubicBezTo>
                    <a:pt x="75" y="42"/>
                    <a:pt x="75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4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3"/>
                    <a:pt x="77" y="43"/>
                    <a:pt x="76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3"/>
                    <a:pt x="76" y="43"/>
                  </a:cubicBezTo>
                  <a:cubicBezTo>
                    <a:pt x="76" y="43"/>
                    <a:pt x="76" y="42"/>
                    <a:pt x="76" y="43"/>
                  </a:cubicBezTo>
                  <a:cubicBezTo>
                    <a:pt x="76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3" y="41"/>
                  </a:cubicBezTo>
                  <a:cubicBezTo>
                    <a:pt x="73" y="41"/>
                    <a:pt x="74" y="41"/>
                    <a:pt x="73" y="41"/>
                  </a:cubicBezTo>
                  <a:cubicBezTo>
                    <a:pt x="73" y="41"/>
                    <a:pt x="73" y="41"/>
                    <a:pt x="72" y="40"/>
                  </a:cubicBezTo>
                  <a:cubicBezTo>
                    <a:pt x="72" y="40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1" y="39"/>
                    <a:pt x="71" y="39"/>
                  </a:cubicBezTo>
                  <a:cubicBezTo>
                    <a:pt x="71" y="39"/>
                    <a:pt x="72" y="39"/>
                    <a:pt x="71" y="39"/>
                  </a:cubicBez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1" y="40"/>
                    <a:pt x="71" y="39"/>
                  </a:cubicBezTo>
                  <a:cubicBezTo>
                    <a:pt x="71" y="39"/>
                    <a:pt x="71" y="39"/>
                    <a:pt x="71" y="40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2" y="39"/>
                  </a:cubicBezTo>
                  <a:cubicBezTo>
                    <a:pt x="71" y="39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0" y="38"/>
                    <a:pt x="71" y="38"/>
                    <a:pt x="70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69" y="37"/>
                    <a:pt x="70" y="37"/>
                    <a:pt x="70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69" y="37"/>
                    <a:pt x="69" y="36"/>
                    <a:pt x="68" y="36"/>
                  </a:cubicBezTo>
                  <a:cubicBezTo>
                    <a:pt x="68" y="36"/>
                    <a:pt x="69" y="36"/>
                    <a:pt x="69" y="36"/>
                  </a:cubicBezTo>
                  <a:cubicBezTo>
                    <a:pt x="69" y="36"/>
                    <a:pt x="70" y="36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1" y="37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1" y="37"/>
                    <a:pt x="72" y="37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8" y="41"/>
                    <a:pt x="78" y="41"/>
                    <a:pt x="78" y="42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9" y="42"/>
                    <a:pt x="81" y="43"/>
                    <a:pt x="82" y="44"/>
                  </a:cubicBezTo>
                  <a:cubicBezTo>
                    <a:pt x="82" y="44"/>
                    <a:pt x="82" y="43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7" y="47"/>
                  </a:cubicBezTo>
                  <a:cubicBezTo>
                    <a:pt x="87" y="47"/>
                    <a:pt x="87" y="46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8" y="48"/>
                    <a:pt x="88" y="48"/>
                  </a:cubicBezTo>
                  <a:cubicBezTo>
                    <a:pt x="88" y="48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6" y="47"/>
                    <a:pt x="86" y="46"/>
                    <a:pt x="85" y="46"/>
                  </a:cubicBezTo>
                  <a:cubicBezTo>
                    <a:pt x="84" y="46"/>
                    <a:pt x="85" y="46"/>
                    <a:pt x="85" y="46"/>
                  </a:cubicBezTo>
                  <a:cubicBezTo>
                    <a:pt x="84" y="45"/>
                    <a:pt x="82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3"/>
                    <a:pt x="81" y="44"/>
                    <a:pt x="81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9" y="42"/>
                    <a:pt x="79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4"/>
                    <a:pt x="81" y="44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5"/>
                    <a:pt x="81" y="45"/>
                  </a:cubicBezTo>
                  <a:cubicBezTo>
                    <a:pt x="81" y="45"/>
                    <a:pt x="81" y="45"/>
                    <a:pt x="80" y="44"/>
                  </a:cubicBezTo>
                  <a:cubicBezTo>
                    <a:pt x="81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1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6"/>
                  </a:cubicBezTo>
                  <a:cubicBezTo>
                    <a:pt x="81" y="45"/>
                    <a:pt x="81" y="46"/>
                    <a:pt x="82" y="46"/>
                  </a:cubicBezTo>
                  <a:cubicBezTo>
                    <a:pt x="81" y="46"/>
                    <a:pt x="81" y="46"/>
                    <a:pt x="81" y="45"/>
                  </a:cubicBezTo>
                  <a:cubicBezTo>
                    <a:pt x="81" y="45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7"/>
                    <a:pt x="84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6"/>
                    <a:pt x="83" y="47"/>
                    <a:pt x="83" y="47"/>
                  </a:cubicBezTo>
                  <a:cubicBezTo>
                    <a:pt x="83" y="46"/>
                    <a:pt x="83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4" y="47"/>
                    <a:pt x="85" y="47"/>
                  </a:cubicBezTo>
                  <a:cubicBezTo>
                    <a:pt x="85" y="47"/>
                    <a:pt x="85" y="47"/>
                    <a:pt x="85" y="48"/>
                  </a:cubicBezTo>
                  <a:cubicBezTo>
                    <a:pt x="85" y="48"/>
                    <a:pt x="85" y="47"/>
                    <a:pt x="85" y="47"/>
                  </a:cubicBezTo>
                  <a:cubicBezTo>
                    <a:pt x="85" y="47"/>
                    <a:pt x="85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8"/>
                    <a:pt x="86" y="48"/>
                    <a:pt x="86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8" y="48"/>
                  </a:cubicBezTo>
                  <a:cubicBezTo>
                    <a:pt x="88" y="48"/>
                    <a:pt x="87" y="48"/>
                    <a:pt x="87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8"/>
                    <a:pt x="88" y="48"/>
                  </a:cubicBezTo>
                  <a:cubicBezTo>
                    <a:pt x="88" y="48"/>
                    <a:pt x="88" y="49"/>
                    <a:pt x="88" y="49"/>
                  </a:cubicBez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90" y="49"/>
                  </a:cubicBezTo>
                  <a:cubicBezTo>
                    <a:pt x="90" y="50"/>
                    <a:pt x="91" y="50"/>
                    <a:pt x="92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1" y="51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3"/>
                    <a:pt x="94" y="52"/>
                  </a:cubicBezTo>
                  <a:cubicBezTo>
                    <a:pt x="94" y="52"/>
                    <a:pt x="94" y="52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2"/>
                    <a:pt x="95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53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4"/>
                  </a:cubicBezTo>
                  <a:cubicBezTo>
                    <a:pt x="99" y="54"/>
                    <a:pt x="98" y="54"/>
                    <a:pt x="98" y="54"/>
                  </a:cubicBezTo>
                  <a:cubicBezTo>
                    <a:pt x="98" y="54"/>
                    <a:pt x="97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3" y="51"/>
                    <a:pt x="91" y="50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7"/>
                    <a:pt x="88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5" y="52"/>
                    <a:pt x="97" y="53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99" y="54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4"/>
                  </a:cubicBezTo>
                  <a:cubicBezTo>
                    <a:pt x="99" y="54"/>
                    <a:pt x="99" y="55"/>
                    <a:pt x="98" y="54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100" y="55"/>
                  </a:cubicBezTo>
                  <a:cubicBezTo>
                    <a:pt x="100" y="55"/>
                    <a:pt x="100" y="55"/>
                    <a:pt x="100" y="56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1" y="56"/>
                    <a:pt x="101" y="56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2" y="57"/>
                  </a:cubicBezTo>
                  <a:cubicBezTo>
                    <a:pt x="101" y="57"/>
                    <a:pt x="101" y="57"/>
                    <a:pt x="100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0" y="56"/>
                    <a:pt x="99" y="56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8" y="55"/>
                    <a:pt x="98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ubicBezTo>
                    <a:pt x="96" y="54"/>
                    <a:pt x="96" y="54"/>
                    <a:pt x="96" y="55"/>
                  </a:cubicBezTo>
                  <a:cubicBezTo>
                    <a:pt x="97" y="55"/>
                    <a:pt x="96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6"/>
                    <a:pt x="98" y="56"/>
                  </a:cubicBezTo>
                  <a:cubicBezTo>
                    <a:pt x="98" y="56"/>
                    <a:pt x="98" y="56"/>
                    <a:pt x="97" y="55"/>
                  </a:cubicBezTo>
                  <a:cubicBezTo>
                    <a:pt x="98" y="55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8"/>
                    <a:pt x="99" y="58"/>
                  </a:cubicBezTo>
                  <a:cubicBezTo>
                    <a:pt x="98" y="58"/>
                    <a:pt x="98" y="57"/>
                    <a:pt x="98" y="57"/>
                  </a:cubicBezTo>
                  <a:cubicBezTo>
                    <a:pt x="97" y="57"/>
                    <a:pt x="98" y="57"/>
                    <a:pt x="98" y="57"/>
                  </a:cubicBezTo>
                  <a:cubicBezTo>
                    <a:pt x="98" y="57"/>
                    <a:pt x="97" y="57"/>
                    <a:pt x="97" y="57"/>
                  </a:cubicBez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2" y="53"/>
                  </a:cubicBezTo>
                  <a:cubicBezTo>
                    <a:pt x="93" y="54"/>
                    <a:pt x="92" y="54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ubicBezTo>
                    <a:pt x="92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5"/>
                  </a:cubicBezTo>
                  <a:cubicBezTo>
                    <a:pt x="93" y="55"/>
                    <a:pt x="93" y="54"/>
                    <a:pt x="93" y="54"/>
                  </a:cubicBezTo>
                  <a:cubicBezTo>
                    <a:pt x="94" y="55"/>
                    <a:pt x="94" y="55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5" y="56"/>
                    <a:pt x="95" y="56"/>
                  </a:cubicBezTo>
                  <a:cubicBezTo>
                    <a:pt x="96" y="56"/>
                    <a:pt x="96" y="56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5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4" y="57"/>
                    <a:pt x="94" y="56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8"/>
                    <a:pt x="96" y="58"/>
                    <a:pt x="97" y="58"/>
                  </a:cubicBezTo>
                  <a:cubicBezTo>
                    <a:pt x="96" y="58"/>
                    <a:pt x="95" y="57"/>
                    <a:pt x="94" y="57"/>
                  </a:cubicBezTo>
                  <a:cubicBezTo>
                    <a:pt x="95" y="56"/>
                    <a:pt x="96" y="58"/>
                    <a:pt x="97" y="58"/>
                  </a:cubicBezTo>
                  <a:cubicBezTo>
                    <a:pt x="97" y="57"/>
                    <a:pt x="97" y="57"/>
                    <a:pt x="96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6" y="58"/>
                    <a:pt x="96" y="57"/>
                  </a:cubicBezTo>
                  <a:close/>
                  <a:moveTo>
                    <a:pt x="75" y="40"/>
                  </a:move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39"/>
                    <a:pt x="75" y="40"/>
                  </a:cubicBezTo>
                  <a:close/>
                  <a:moveTo>
                    <a:pt x="84" y="45"/>
                  </a:moveTo>
                  <a:cubicBezTo>
                    <a:pt x="83" y="45"/>
                    <a:pt x="83" y="45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4" y="45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4"/>
                    <a:pt x="80" y="44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4" y="40"/>
                  </a:moveTo>
                  <a:cubicBezTo>
                    <a:pt x="74" y="40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lose/>
                  <a:moveTo>
                    <a:pt x="77" y="41"/>
                  </a:moveTo>
                  <a:cubicBezTo>
                    <a:pt x="77" y="42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5" y="40"/>
                    <a:pt x="75" y="40"/>
                  </a:cubicBezTo>
                  <a:cubicBezTo>
                    <a:pt x="75" y="41"/>
                    <a:pt x="76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3" y="39"/>
                  </a:cubicBezTo>
                  <a:cubicBezTo>
                    <a:pt x="72" y="39"/>
                    <a:pt x="73" y="39"/>
                    <a:pt x="73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3" y="40"/>
                    <a:pt x="73" y="40"/>
                  </a:cubicBezTo>
                  <a:cubicBezTo>
                    <a:pt x="73" y="39"/>
                    <a:pt x="72" y="39"/>
                    <a:pt x="72" y="39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2" y="40"/>
                  </a:move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0"/>
                    <a:pt x="73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4" y="41"/>
                    <a:pt x="74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0"/>
                    <a:pt x="73" y="40"/>
                  </a:cubicBezTo>
                  <a:close/>
                  <a:moveTo>
                    <a:pt x="78" y="44"/>
                  </a:moveTo>
                  <a:cubicBezTo>
                    <a:pt x="78" y="44"/>
                    <a:pt x="79" y="44"/>
                    <a:pt x="80" y="45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7" y="43"/>
                    <a:pt x="78" y="43"/>
                    <a:pt x="77" y="43"/>
                  </a:cubicBezTo>
                  <a:cubicBezTo>
                    <a:pt x="77" y="43"/>
                    <a:pt x="77" y="43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8" y="43"/>
                    <a:pt x="77" y="43"/>
                  </a:cubicBezTo>
                  <a:cubicBezTo>
                    <a:pt x="77" y="43"/>
                    <a:pt x="78" y="43"/>
                    <a:pt x="78" y="43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6" y="42"/>
                  </a:cubicBezTo>
                  <a:cubicBezTo>
                    <a:pt x="76" y="42"/>
                    <a:pt x="77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3"/>
                  </a:cubicBezTo>
                  <a:cubicBezTo>
                    <a:pt x="77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7" y="43"/>
                    <a:pt x="77" y="43"/>
                  </a:cubicBezTo>
                  <a:cubicBezTo>
                    <a:pt x="78" y="43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9" y="56"/>
                  </a:move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4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7" y="55"/>
                    <a:pt x="87" y="54"/>
                    <a:pt x="87" y="55"/>
                  </a:cubicBezTo>
                  <a:close/>
                  <a:moveTo>
                    <a:pt x="87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lose/>
                  <a:moveTo>
                    <a:pt x="87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49"/>
                  </a:cubicBezTo>
                  <a:cubicBezTo>
                    <a:pt x="83" y="49"/>
                    <a:pt x="83" y="50"/>
                    <a:pt x="83" y="50"/>
                  </a:cubicBezTo>
                  <a:close/>
                  <a:moveTo>
                    <a:pt x="84" y="51"/>
                  </a:moveTo>
                  <a:cubicBezTo>
                    <a:pt x="84" y="51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3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5" y="51"/>
                    <a:pt x="84" y="50"/>
                  </a:cubicBezTo>
                  <a:cubicBezTo>
                    <a:pt x="84" y="50"/>
                    <a:pt x="85" y="51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3" y="55"/>
                  </a:move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2" y="54"/>
                    <a:pt x="92" y="54"/>
                    <a:pt x="91" y="54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3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1" y="54"/>
                  </a:cubicBezTo>
                  <a:close/>
                  <a:moveTo>
                    <a:pt x="90" y="53"/>
                  </a:moveTo>
                  <a:cubicBezTo>
                    <a:pt x="90" y="53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88" y="51"/>
                  </a:moveTo>
                  <a:cubicBezTo>
                    <a:pt x="88" y="51"/>
                    <a:pt x="87" y="51"/>
                    <a:pt x="87" y="51"/>
                  </a:cubicBezTo>
                  <a:cubicBezTo>
                    <a:pt x="88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7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8" y="52"/>
                    <a:pt x="88" y="51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1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1" y="54"/>
                    <a:pt x="92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2" y="54"/>
                    <a:pt x="92" y="54"/>
                  </a:cubicBezTo>
                  <a:cubicBezTo>
                    <a:pt x="92" y="54"/>
                    <a:pt x="92" y="53"/>
                    <a:pt x="92" y="53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0" y="52"/>
                  </a:moveTo>
                  <a:cubicBezTo>
                    <a:pt x="89" y="52"/>
                    <a:pt x="89" y="52"/>
                    <a:pt x="90" y="52"/>
                  </a:cubicBezTo>
                  <a:cubicBezTo>
                    <a:pt x="89" y="51"/>
                    <a:pt x="89" y="52"/>
                    <a:pt x="89" y="51"/>
                  </a:cubicBezTo>
                  <a:cubicBezTo>
                    <a:pt x="89" y="51"/>
                    <a:pt x="89" y="52"/>
                    <a:pt x="89" y="52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3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89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2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7" y="50"/>
                    <a:pt x="87" y="50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7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9"/>
                    <a:pt x="84" y="48"/>
                  </a:cubicBezTo>
                  <a:close/>
                  <a:moveTo>
                    <a:pt x="91" y="52"/>
                  </a:moveTo>
                  <a:cubicBezTo>
                    <a:pt x="91" y="52"/>
                    <a:pt x="90" y="52"/>
                    <a:pt x="90" y="52"/>
                  </a:cubicBezTo>
                  <a:cubicBezTo>
                    <a:pt x="90" y="52"/>
                    <a:pt x="91" y="52"/>
                    <a:pt x="90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0" y="52"/>
                    <a:pt x="91" y="52"/>
                  </a:cubicBezTo>
                  <a:close/>
                  <a:moveTo>
                    <a:pt x="89" y="51"/>
                  </a:move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0"/>
                    <a:pt x="88" y="50"/>
                  </a:cubicBezTo>
                  <a:cubicBezTo>
                    <a:pt x="88" y="51"/>
                    <a:pt x="89" y="50"/>
                    <a:pt x="89" y="51"/>
                  </a:cubicBezTo>
                  <a:cubicBezTo>
                    <a:pt x="89" y="51"/>
                    <a:pt x="88" y="51"/>
                    <a:pt x="88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3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4" y="53"/>
                  </a:move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3" y="53"/>
                    <a:pt x="93" y="53"/>
                  </a:cubicBezTo>
                  <a:cubicBezTo>
                    <a:pt x="93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4" y="54"/>
                  </a:moveTo>
                  <a:cubicBezTo>
                    <a:pt x="94" y="54"/>
                    <a:pt x="93" y="54"/>
                    <a:pt x="93" y="54"/>
                  </a:cubicBezTo>
                  <a:cubicBezTo>
                    <a:pt x="93" y="54"/>
                    <a:pt x="93" y="54"/>
                    <a:pt x="94" y="54"/>
                  </a:cubicBezTo>
                  <a:close/>
                  <a:moveTo>
                    <a:pt x="95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5"/>
                    <a:pt x="95" y="54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6"/>
                    <a:pt x="96" y="55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8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4"/>
                    <a:pt x="94" y="54"/>
                  </a:cubicBezTo>
                  <a:cubicBezTo>
                    <a:pt x="95" y="54"/>
                    <a:pt x="95" y="54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4"/>
                    <a:pt x="95" y="54"/>
                    <a:pt x="94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7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8" y="55"/>
                    <a:pt x="98" y="55"/>
                  </a:cubicBezTo>
                  <a:cubicBezTo>
                    <a:pt x="98" y="55"/>
                    <a:pt x="99" y="55"/>
                    <a:pt x="99" y="55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8" y="55"/>
                    <a:pt x="98" y="54"/>
                  </a:cubicBezTo>
                  <a:cubicBezTo>
                    <a:pt x="98" y="54"/>
                    <a:pt x="98" y="55"/>
                    <a:pt x="98" y="55"/>
                  </a:cubicBezTo>
                  <a:cubicBezTo>
                    <a:pt x="98" y="54"/>
                    <a:pt x="98" y="55"/>
                    <a:pt x="97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6" y="53"/>
                    <a:pt x="96" y="54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5" y="53"/>
                    <a:pt x="96" y="53"/>
                    <a:pt x="95" y="53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5" y="54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3" y="52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2"/>
                    <a:pt x="93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89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49"/>
                  </a:move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49"/>
                    <a:pt x="90" y="50"/>
                  </a:cubicBezTo>
                  <a:cubicBezTo>
                    <a:pt x="90" y="49"/>
                    <a:pt x="90" y="49"/>
                    <a:pt x="89" y="49"/>
                  </a:cubicBezTo>
                  <a:cubicBezTo>
                    <a:pt x="89" y="49"/>
                    <a:pt x="90" y="49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49"/>
                  </a:moveTo>
                  <a:cubicBezTo>
                    <a:pt x="88" y="49"/>
                    <a:pt x="89" y="50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7" y="50"/>
                  </a:cubicBezTo>
                  <a:cubicBezTo>
                    <a:pt x="87" y="50"/>
                    <a:pt x="86" y="49"/>
                    <a:pt x="86" y="49"/>
                  </a:cubicBezTo>
                  <a:cubicBezTo>
                    <a:pt x="86" y="49"/>
                    <a:pt x="87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49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1"/>
                    <a:pt x="89" y="50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0"/>
                    <a:pt x="89" y="50"/>
                  </a:cubicBezTo>
                  <a:cubicBezTo>
                    <a:pt x="89" y="50"/>
                    <a:pt x="88" y="50"/>
                    <a:pt x="88" y="49"/>
                  </a:cubicBezTo>
                  <a:cubicBezTo>
                    <a:pt x="88" y="49"/>
                    <a:pt x="88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6" y="48"/>
                    <a:pt x="86" y="48"/>
                  </a:cubicBezTo>
                  <a:cubicBezTo>
                    <a:pt x="87" y="49"/>
                    <a:pt x="87" y="49"/>
                    <a:pt x="88" y="50"/>
                  </a:cubicBezTo>
                  <a:close/>
                  <a:moveTo>
                    <a:pt x="83" y="47"/>
                  </a:moveTo>
                  <a:cubicBezTo>
                    <a:pt x="83" y="48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7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6" y="49"/>
                    <a:pt x="86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7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3" y="47"/>
                  </a:moveTo>
                  <a:cubicBezTo>
                    <a:pt x="82" y="47"/>
                    <a:pt x="82" y="46"/>
                    <a:pt x="82" y="46"/>
                  </a:cubicBezTo>
                  <a:cubicBezTo>
                    <a:pt x="82" y="47"/>
                    <a:pt x="82" y="47"/>
                    <a:pt x="83" y="47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8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5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8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2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5" y="43"/>
                    <a:pt x="75" y="43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4"/>
                  </a:cubicBezTo>
                  <a:cubicBezTo>
                    <a:pt x="76" y="44"/>
                    <a:pt x="76" y="43"/>
                    <a:pt x="76" y="43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3" y="48"/>
                    <a:pt x="82" y="47"/>
                    <a:pt x="82" y="47"/>
                  </a:cubicBezTo>
                  <a:cubicBezTo>
                    <a:pt x="82" y="47"/>
                    <a:pt x="83" y="48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5"/>
                    <a:pt x="80" y="45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0" y="46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6"/>
                    <a:pt x="80" y="46"/>
                  </a:cubicBezTo>
                  <a:cubicBezTo>
                    <a:pt x="81" y="46"/>
                    <a:pt x="80" y="46"/>
                    <a:pt x="81" y="46"/>
                  </a:cubicBezTo>
                  <a:cubicBezTo>
                    <a:pt x="81" y="46"/>
                    <a:pt x="81" y="46"/>
                    <a:pt x="80" y="46"/>
                  </a:cubicBezTo>
                  <a:cubicBezTo>
                    <a:pt x="80" y="46"/>
                    <a:pt x="80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7"/>
                  </a:cubicBezTo>
                  <a:cubicBezTo>
                    <a:pt x="81" y="46"/>
                    <a:pt x="81" y="47"/>
                    <a:pt x="82" y="47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lose/>
                  <a:moveTo>
                    <a:pt x="86" y="50"/>
                  </a:moveTo>
                  <a:cubicBezTo>
                    <a:pt x="86" y="50"/>
                    <a:pt x="87" y="51"/>
                    <a:pt x="87" y="50"/>
                  </a:cubicBezTo>
                  <a:cubicBezTo>
                    <a:pt x="87" y="50"/>
                    <a:pt x="86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5" y="50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1"/>
                    <a:pt x="87" y="51"/>
                    <a:pt x="87" y="51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2" y="48"/>
                  </a:moveTo>
                  <a:cubicBezTo>
                    <a:pt x="82" y="48"/>
                    <a:pt x="83" y="49"/>
                    <a:pt x="83" y="48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8" y="52"/>
                  </a:moveTo>
                  <a:cubicBezTo>
                    <a:pt x="88" y="52"/>
                    <a:pt x="89" y="52"/>
                    <a:pt x="89" y="52"/>
                  </a:cubicBezTo>
                  <a:cubicBezTo>
                    <a:pt x="89" y="52"/>
                    <a:pt x="88" y="52"/>
                    <a:pt x="88" y="52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4"/>
                    <a:pt x="90" y="54"/>
                  </a:cubicBezTo>
                  <a:cubicBezTo>
                    <a:pt x="90" y="54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4"/>
                    <a:pt x="90" y="53"/>
                    <a:pt x="90" y="53"/>
                  </a:cubicBezTo>
                  <a:close/>
                  <a:moveTo>
                    <a:pt x="90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0" y="53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0" y="54"/>
                  </a:move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4"/>
                    <a:pt x="90" y="54"/>
                  </a:cubicBezTo>
                  <a:close/>
                  <a:moveTo>
                    <a:pt x="94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5" y="56"/>
                    <a:pt x="94" y="56"/>
                    <a:pt x="95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lose/>
                  <a:moveTo>
                    <a:pt x="97" y="59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50"/>
                    <a:pt x="82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5" y="42"/>
                  </a:cubicBezTo>
                  <a:cubicBezTo>
                    <a:pt x="65" y="42"/>
                    <a:pt x="66" y="42"/>
                    <a:pt x="66" y="42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1"/>
                  </a:cubicBezTo>
                  <a:cubicBezTo>
                    <a:pt x="66" y="41"/>
                    <a:pt x="66" y="41"/>
                    <a:pt x="67" y="41"/>
                  </a:cubicBezTo>
                  <a:cubicBezTo>
                    <a:pt x="67" y="41"/>
                    <a:pt x="67" y="41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6" y="41"/>
                  </a:cubicBezTo>
                  <a:cubicBezTo>
                    <a:pt x="66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3"/>
                    <a:pt x="67" y="43"/>
                    <a:pt x="67" y="42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8" y="40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72" y="42"/>
                  </a:move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1" y="43"/>
                  </a:cubicBezTo>
                  <a:cubicBezTo>
                    <a:pt x="71" y="43"/>
                    <a:pt x="72" y="43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0" y="42"/>
                  </a:cubicBezTo>
                  <a:cubicBezTo>
                    <a:pt x="71" y="42"/>
                    <a:pt x="71" y="43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1"/>
                    <a:pt x="69" y="40"/>
                    <a:pt x="69" y="41"/>
                  </a:cubicBezTo>
                  <a:cubicBezTo>
                    <a:pt x="69" y="41"/>
                    <a:pt x="68" y="40"/>
                    <a:pt x="68" y="40"/>
                  </a:cubicBezTo>
                  <a:cubicBezTo>
                    <a:pt x="68" y="40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1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2" y="43"/>
                    <a:pt x="72" y="42"/>
                    <a:pt x="72" y="42"/>
                  </a:cubicBezTo>
                  <a:close/>
                  <a:moveTo>
                    <a:pt x="70" y="41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1" y="42"/>
                    <a:pt x="70" y="42"/>
                  </a:cubicBezTo>
                  <a:cubicBezTo>
                    <a:pt x="71" y="42"/>
                    <a:pt x="70" y="41"/>
                    <a:pt x="70" y="41"/>
                  </a:cubicBezTo>
                  <a:close/>
                  <a:moveTo>
                    <a:pt x="66" y="44"/>
                  </a:moveTo>
                  <a:cubicBezTo>
                    <a:pt x="66" y="44"/>
                    <a:pt x="67" y="44"/>
                    <a:pt x="66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4"/>
                    <a:pt x="67" y="44"/>
                    <a:pt x="66" y="44"/>
                  </a:cubicBezTo>
                  <a:close/>
                  <a:moveTo>
                    <a:pt x="65" y="46"/>
                  </a:moveTo>
                  <a:cubicBezTo>
                    <a:pt x="66" y="46"/>
                    <a:pt x="66" y="46"/>
                    <a:pt x="65" y="46"/>
                  </a:cubicBezTo>
                  <a:cubicBezTo>
                    <a:pt x="65" y="46"/>
                    <a:pt x="66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7"/>
                    <a:pt x="66" y="46"/>
                    <a:pt x="66" y="46"/>
                  </a:cubicBezTo>
                  <a:cubicBezTo>
                    <a:pt x="66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6" y="47"/>
                    <a:pt x="66" y="47"/>
                    <a:pt x="65" y="46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6" y="46"/>
                    <a:pt x="66" y="45"/>
                  </a:cubicBezTo>
                  <a:cubicBezTo>
                    <a:pt x="66" y="45"/>
                    <a:pt x="67" y="45"/>
                    <a:pt x="67" y="46"/>
                  </a:cubicBezTo>
                  <a:cubicBezTo>
                    <a:pt x="67" y="46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6"/>
                  </a:cubicBezTo>
                  <a:cubicBezTo>
                    <a:pt x="68" y="46"/>
                    <a:pt x="67" y="46"/>
                    <a:pt x="67" y="45"/>
                  </a:cubicBezTo>
                  <a:cubicBezTo>
                    <a:pt x="67" y="46"/>
                    <a:pt x="68" y="46"/>
                    <a:pt x="68" y="4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8" y="46"/>
                    <a:pt x="67" y="46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8"/>
                    <a:pt x="69" y="48"/>
                  </a:cubicBezTo>
                  <a:cubicBezTo>
                    <a:pt x="69" y="47"/>
                    <a:pt x="68" y="47"/>
                    <a:pt x="67" y="46"/>
                  </a:cubicBezTo>
                  <a:cubicBezTo>
                    <a:pt x="67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lose/>
                  <a:moveTo>
                    <a:pt x="68" y="45"/>
                  </a:moveTo>
                  <a:cubicBezTo>
                    <a:pt x="69" y="44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68" y="44"/>
                  </a:cubicBezTo>
                  <a:cubicBezTo>
                    <a:pt x="69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8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5"/>
                    <a:pt x="70" y="45"/>
                  </a:cubicBezTo>
                  <a:cubicBezTo>
                    <a:pt x="70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69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50"/>
                    <a:pt x="72" y="50"/>
                  </a:cubicBezTo>
                  <a:cubicBezTo>
                    <a:pt x="71" y="50"/>
                    <a:pt x="72" y="50"/>
                    <a:pt x="72" y="50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49"/>
                  </a:cubicBezTo>
                  <a:cubicBezTo>
                    <a:pt x="71" y="49"/>
                    <a:pt x="71" y="50"/>
                    <a:pt x="71" y="49"/>
                  </a:cubicBezTo>
                  <a:close/>
                  <a:moveTo>
                    <a:pt x="71" y="46"/>
                  </a:moveTo>
                  <a:cubicBezTo>
                    <a:pt x="71" y="46"/>
                    <a:pt x="72" y="46"/>
                    <a:pt x="71" y="46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74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8"/>
                    <a:pt x="74" y="48"/>
                  </a:cubicBezTo>
                  <a:cubicBezTo>
                    <a:pt x="74" y="48"/>
                    <a:pt x="74" y="48"/>
                    <a:pt x="75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3" y="48"/>
                    <a:pt x="73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69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2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5" y="45"/>
                  </a:moveTo>
                  <a:cubicBezTo>
                    <a:pt x="74" y="45"/>
                    <a:pt x="74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6"/>
                  </a:cubicBezTo>
                  <a:cubicBezTo>
                    <a:pt x="72" y="46"/>
                    <a:pt x="72" y="46"/>
                    <a:pt x="72" y="45"/>
                  </a:cubicBezTo>
                  <a:cubicBezTo>
                    <a:pt x="73" y="46"/>
                    <a:pt x="73" y="46"/>
                    <a:pt x="74" y="46"/>
                  </a:cubicBezTo>
                  <a:cubicBezTo>
                    <a:pt x="73" y="46"/>
                    <a:pt x="74" y="47"/>
                    <a:pt x="75" y="47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3" y="44"/>
                    <a:pt x="73" y="44"/>
                  </a:cubicBezTo>
                  <a:cubicBezTo>
                    <a:pt x="74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4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3"/>
                    <a:pt x="74" y="43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7" y="46"/>
                  </a:moveTo>
                  <a:cubicBezTo>
                    <a:pt x="76" y="46"/>
                    <a:pt x="77" y="46"/>
                    <a:pt x="77" y="47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7" y="47"/>
                  </a:cubicBezTo>
                  <a:cubicBezTo>
                    <a:pt x="77" y="47"/>
                    <a:pt x="77" y="46"/>
                    <a:pt x="77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2" y="49"/>
                    <a:pt x="72" y="49"/>
                  </a:cubicBezTo>
                  <a:cubicBezTo>
                    <a:pt x="72" y="49"/>
                    <a:pt x="73" y="49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6" y="51"/>
                  </a:cubicBezTo>
                  <a:cubicBezTo>
                    <a:pt x="76" y="51"/>
                    <a:pt x="75" y="51"/>
                    <a:pt x="75" y="51"/>
                  </a:cubicBezTo>
                  <a:cubicBezTo>
                    <a:pt x="74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2" y="50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6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6"/>
                    <a:pt x="74" y="46"/>
                  </a:cubicBezTo>
                  <a:cubicBezTo>
                    <a:pt x="75" y="46"/>
                    <a:pt x="76" y="46"/>
                    <a:pt x="76" y="47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7" y="45"/>
                  </a:moveTo>
                  <a:cubicBezTo>
                    <a:pt x="77" y="45"/>
                    <a:pt x="78" y="45"/>
                    <a:pt x="78" y="45"/>
                  </a:cubicBezTo>
                  <a:cubicBezTo>
                    <a:pt x="78" y="45"/>
                    <a:pt x="77" y="45"/>
                    <a:pt x="77" y="45"/>
                  </a:cubicBezTo>
                  <a:close/>
                  <a:moveTo>
                    <a:pt x="76" y="49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7" y="50"/>
                    <a:pt x="77" y="50"/>
                  </a:cubicBezTo>
                  <a:cubicBezTo>
                    <a:pt x="77" y="50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80" y="44"/>
                    <a:pt x="79" y="44"/>
                  </a:cubicBezTo>
                  <a:close/>
                  <a:moveTo>
                    <a:pt x="75" y="53"/>
                  </a:move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3"/>
                  </a:cubicBezTo>
                  <a:cubicBezTo>
                    <a:pt x="76" y="53"/>
                    <a:pt x="75" y="52"/>
                    <a:pt x="75" y="53"/>
                  </a:cubicBezTo>
                  <a:close/>
                  <a:moveTo>
                    <a:pt x="76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lose/>
                  <a:moveTo>
                    <a:pt x="82" y="44"/>
                  </a:moveTo>
                  <a:cubicBezTo>
                    <a:pt x="81" y="44"/>
                    <a:pt x="82" y="45"/>
                    <a:pt x="82" y="45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1" y="44"/>
                    <a:pt x="82" y="44"/>
                  </a:cubicBezTo>
                  <a:close/>
                  <a:moveTo>
                    <a:pt x="81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2" y="45"/>
                    <a:pt x="81" y="45"/>
                  </a:cubicBezTo>
                  <a:close/>
                  <a:moveTo>
                    <a:pt x="79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9" y="53"/>
                    <a:pt x="79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0" y="55"/>
                  </a:move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0" y="55"/>
                    <a:pt x="79" y="55"/>
                    <a:pt x="78" y="54"/>
                  </a:cubicBezTo>
                  <a:cubicBezTo>
                    <a:pt x="78" y="54"/>
                    <a:pt x="78" y="54"/>
                    <a:pt x="79" y="54"/>
                  </a:cubicBezTo>
                  <a:cubicBezTo>
                    <a:pt x="79" y="54"/>
                    <a:pt x="79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lose/>
                  <a:moveTo>
                    <a:pt x="79" y="53"/>
                  </a:moveTo>
                  <a:cubicBezTo>
                    <a:pt x="79" y="53"/>
                    <a:pt x="80" y="53"/>
                    <a:pt x="8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3"/>
                    <a:pt x="80" y="53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0" y="53"/>
                    <a:pt x="80" y="53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1" y="52"/>
                  </a:cubicBezTo>
                  <a:cubicBezTo>
                    <a:pt x="81" y="52"/>
                    <a:pt x="80" y="52"/>
                    <a:pt x="80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2" y="52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2" y="53"/>
                    <a:pt x="82" y="53"/>
                    <a:pt x="83" y="53"/>
                  </a:cubicBezTo>
                  <a:cubicBezTo>
                    <a:pt x="83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5" y="55"/>
                  </a:cubicBezTo>
                  <a:cubicBezTo>
                    <a:pt x="85" y="55"/>
                    <a:pt x="84" y="54"/>
                    <a:pt x="84" y="54"/>
                  </a:cubicBezTo>
                  <a:cubicBezTo>
                    <a:pt x="84" y="55"/>
                    <a:pt x="83" y="54"/>
                    <a:pt x="84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2" y="54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1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4"/>
                  </a:cubicBezTo>
                  <a:cubicBezTo>
                    <a:pt x="83" y="54"/>
                    <a:pt x="83" y="54"/>
                    <a:pt x="83" y="55"/>
                  </a:cubicBezTo>
                  <a:close/>
                  <a:moveTo>
                    <a:pt x="80" y="53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79" y="53"/>
                    <a:pt x="80" y="54"/>
                  </a:cubicBezTo>
                  <a:cubicBezTo>
                    <a:pt x="80" y="54"/>
                    <a:pt x="80" y="53"/>
                    <a:pt x="80" y="53"/>
                  </a:cubicBezTo>
                  <a:cubicBezTo>
                    <a:pt x="80" y="53"/>
                    <a:pt x="80" y="54"/>
                    <a:pt x="80" y="53"/>
                  </a:cubicBezTo>
                  <a:close/>
                  <a:moveTo>
                    <a:pt x="82" y="53"/>
                  </a:move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2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6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6" y="58"/>
                    <a:pt x="87" y="58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5" y="57"/>
                  </a:cubicBez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6" y="57"/>
                    <a:pt x="87" y="58"/>
                  </a:cubicBezTo>
                  <a:close/>
                  <a:moveTo>
                    <a:pt x="86" y="58"/>
                  </a:move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7" y="58"/>
                    <a:pt x="87" y="58"/>
                    <a:pt x="86" y="58"/>
                  </a:cubicBezTo>
                  <a:close/>
                  <a:moveTo>
                    <a:pt x="92" y="50"/>
                  </a:moveTo>
                  <a:cubicBezTo>
                    <a:pt x="92" y="51"/>
                    <a:pt x="91" y="50"/>
                    <a:pt x="91" y="50"/>
                  </a:cubicBezTo>
                  <a:cubicBezTo>
                    <a:pt x="92" y="50"/>
                    <a:pt x="92" y="50"/>
                    <a:pt x="92" y="50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5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6"/>
                    <a:pt x="92" y="57"/>
                    <a:pt x="93" y="57"/>
                  </a:cubicBezTo>
                  <a:cubicBezTo>
                    <a:pt x="92" y="57"/>
                    <a:pt x="92" y="57"/>
                    <a:pt x="92" y="56"/>
                  </a:cubicBezTo>
                  <a:cubicBezTo>
                    <a:pt x="92" y="57"/>
                    <a:pt x="91" y="56"/>
                    <a:pt x="91" y="56"/>
                  </a:cubicBezTo>
                  <a:close/>
                  <a:moveTo>
                    <a:pt x="89" y="55"/>
                  </a:move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4" y="52"/>
                  </a:cubicBezTo>
                  <a:cubicBezTo>
                    <a:pt x="93" y="52"/>
                    <a:pt x="93" y="51"/>
                    <a:pt x="93" y="51"/>
                  </a:cubicBezTo>
                  <a:close/>
                  <a:moveTo>
                    <a:pt x="89" y="59"/>
                  </a:moveTo>
                  <a:cubicBezTo>
                    <a:pt x="89" y="59"/>
                    <a:pt x="89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8" y="59"/>
                  </a:cubicBezTo>
                  <a:cubicBezTo>
                    <a:pt x="88" y="59"/>
                    <a:pt x="89" y="60"/>
                    <a:pt x="89" y="60"/>
                  </a:cubicBezTo>
                  <a:cubicBezTo>
                    <a:pt x="88" y="60"/>
                    <a:pt x="88" y="59"/>
                    <a:pt x="88" y="59"/>
                  </a:cubicBezTo>
                  <a:cubicBezTo>
                    <a:pt x="88" y="59"/>
                    <a:pt x="89" y="59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4" y="50"/>
                    <a:pt x="94" y="51"/>
                    <a:pt x="94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5"/>
                    <a:pt x="98" y="56"/>
                    <a:pt x="99" y="56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2" y="58"/>
                  </a:cubicBezTo>
                  <a:cubicBezTo>
                    <a:pt x="102" y="59"/>
                    <a:pt x="101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2" y="59"/>
                    <a:pt x="102" y="59"/>
                    <a:pt x="102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lose/>
                  <a:moveTo>
                    <a:pt x="101" y="59"/>
                  </a:moveTo>
                  <a:cubicBezTo>
                    <a:pt x="101" y="59"/>
                    <a:pt x="101" y="59"/>
                    <a:pt x="100" y="59"/>
                  </a:cubicBezTo>
                  <a:cubicBezTo>
                    <a:pt x="100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lose/>
                  <a:moveTo>
                    <a:pt x="103" y="60"/>
                  </a:move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4" y="61"/>
                    <a:pt x="103" y="61"/>
                    <a:pt x="103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1"/>
                    <a:pt x="103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2" y="59"/>
                    <a:pt x="102" y="60"/>
                  </a:cubicBezTo>
                  <a:cubicBezTo>
                    <a:pt x="102" y="60"/>
                    <a:pt x="102" y="59"/>
                    <a:pt x="102" y="59"/>
                  </a:cubicBezTo>
                  <a:cubicBezTo>
                    <a:pt x="102" y="59"/>
                    <a:pt x="102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1" y="60"/>
                    <a:pt x="101" y="60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0" y="59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9" y="57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7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9"/>
                    <a:pt x="101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3" y="59"/>
                    <a:pt x="103" y="60"/>
                    <a:pt x="103" y="60"/>
                  </a:cubicBezTo>
                  <a:close/>
                  <a:moveTo>
                    <a:pt x="101" y="59"/>
                  </a:moveTo>
                  <a:cubicBezTo>
                    <a:pt x="101" y="58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8"/>
                    <a:pt x="101" y="59"/>
                    <a:pt x="101" y="59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7"/>
                    <a:pt x="99" y="56"/>
                    <a:pt x="99" y="56"/>
                  </a:cubicBezTo>
                  <a:close/>
                  <a:moveTo>
                    <a:pt x="99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59"/>
                    <a:pt x="100" y="59"/>
                  </a:cubicBezTo>
                  <a:cubicBezTo>
                    <a:pt x="100" y="59"/>
                    <a:pt x="99" y="59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2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2" y="57"/>
                  </a:move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4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4" y="59"/>
                    <a:pt x="104" y="58"/>
                    <a:pt x="104" y="58"/>
                  </a:cubicBezTo>
                  <a:cubicBezTo>
                    <a:pt x="104" y="58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8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8"/>
                    <a:pt x="105" y="58"/>
                  </a:cubicBezTo>
                  <a:cubicBezTo>
                    <a:pt x="105" y="58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7" y="59"/>
                    <a:pt x="107" y="60"/>
                    <a:pt x="106" y="60"/>
                  </a:cubicBezTo>
                  <a:cubicBezTo>
                    <a:pt x="106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5" y="60"/>
                    <a:pt x="105" y="59"/>
                    <a:pt x="104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4" y="59"/>
                  </a:cubicBezTo>
                  <a:cubicBezTo>
                    <a:pt x="104" y="59"/>
                    <a:pt x="103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59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3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lose/>
                  <a:moveTo>
                    <a:pt x="104" y="59"/>
                  </a:move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lose/>
                  <a:moveTo>
                    <a:pt x="105" y="61"/>
                  </a:moveTo>
                  <a:cubicBezTo>
                    <a:pt x="105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4" y="61"/>
                    <a:pt x="105" y="61"/>
                    <a:pt x="105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59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9" y="64"/>
                  </a:move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09" y="64"/>
                    <a:pt x="110" y="64"/>
                    <a:pt x="109" y="64"/>
                  </a:cubicBezTo>
                  <a:cubicBezTo>
                    <a:pt x="109" y="64"/>
                    <a:pt x="110" y="64"/>
                    <a:pt x="109" y="64"/>
                  </a:cubicBezTo>
                  <a:close/>
                  <a:moveTo>
                    <a:pt x="110" y="64"/>
                  </a:moveTo>
                  <a:cubicBezTo>
                    <a:pt x="110" y="64"/>
                    <a:pt x="110" y="65"/>
                    <a:pt x="110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6"/>
                  </a:cubicBezTo>
                  <a:cubicBezTo>
                    <a:pt x="116" y="66"/>
                    <a:pt x="117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5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5" y="64"/>
                  </a:cubicBezTo>
                  <a:cubicBezTo>
                    <a:pt x="115" y="64"/>
                    <a:pt x="115" y="65"/>
                    <a:pt x="116" y="65"/>
                  </a:cubicBezTo>
                  <a:cubicBezTo>
                    <a:pt x="116" y="65"/>
                    <a:pt x="116" y="64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7" y="66"/>
                  </a:moveTo>
                  <a:cubicBezTo>
                    <a:pt x="117" y="66"/>
                    <a:pt x="117" y="65"/>
                    <a:pt x="116" y="65"/>
                  </a:cubicBezTo>
                  <a:cubicBezTo>
                    <a:pt x="117" y="65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lose/>
                  <a:moveTo>
                    <a:pt x="121" y="68"/>
                  </a:moveTo>
                  <a:cubicBezTo>
                    <a:pt x="121" y="68"/>
                    <a:pt x="121" y="69"/>
                    <a:pt x="121" y="69"/>
                  </a:cubicBezTo>
                  <a:cubicBezTo>
                    <a:pt x="121" y="69"/>
                    <a:pt x="121" y="69"/>
                    <a:pt x="121" y="68"/>
                  </a:cubicBezTo>
                  <a:cubicBezTo>
                    <a:pt x="122" y="69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0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70"/>
                    <a:pt x="122" y="69"/>
                    <a:pt x="122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8"/>
                    <a:pt x="119" y="68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8" y="67"/>
                    <a:pt x="117" y="66"/>
                    <a:pt x="116" y="66"/>
                  </a:cubicBezTo>
                  <a:cubicBezTo>
                    <a:pt x="117" y="66"/>
                    <a:pt x="119" y="67"/>
                    <a:pt x="121" y="68"/>
                  </a:cubicBezTo>
                  <a:cubicBezTo>
                    <a:pt x="120" y="68"/>
                    <a:pt x="121" y="68"/>
                    <a:pt x="121" y="68"/>
                  </a:cubicBezTo>
                  <a:close/>
                  <a:moveTo>
                    <a:pt x="116" y="66"/>
                  </a:moveTo>
                  <a:cubicBezTo>
                    <a:pt x="116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6" y="66"/>
                    <a:pt x="116" y="66"/>
                    <a:pt x="116" y="67"/>
                  </a:cubicBezTo>
                  <a:cubicBezTo>
                    <a:pt x="116" y="66"/>
                    <a:pt x="117" y="66"/>
                    <a:pt x="116" y="66"/>
                  </a:cubicBezTo>
                  <a:close/>
                  <a:moveTo>
                    <a:pt x="127" y="71"/>
                  </a:moveTo>
                  <a:cubicBezTo>
                    <a:pt x="126" y="71"/>
                    <a:pt x="124" y="70"/>
                    <a:pt x="123" y="69"/>
                  </a:cubicBezTo>
                  <a:cubicBezTo>
                    <a:pt x="125" y="70"/>
                    <a:pt x="126" y="71"/>
                    <a:pt x="127" y="71"/>
                  </a:cubicBezTo>
                  <a:close/>
                  <a:moveTo>
                    <a:pt x="130" y="74"/>
                  </a:moveTo>
                  <a:cubicBezTo>
                    <a:pt x="130" y="75"/>
                    <a:pt x="130" y="74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lose/>
                  <a:moveTo>
                    <a:pt x="136" y="76"/>
                  </a:moveTo>
                  <a:cubicBezTo>
                    <a:pt x="136" y="76"/>
                    <a:pt x="136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6" y="77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lose/>
                  <a:moveTo>
                    <a:pt x="145" y="82"/>
                  </a:moveTo>
                  <a:cubicBezTo>
                    <a:pt x="145" y="81"/>
                    <a:pt x="144" y="81"/>
                    <a:pt x="144" y="80"/>
                  </a:cubicBezTo>
                  <a:cubicBezTo>
                    <a:pt x="144" y="80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0"/>
                    <a:pt x="143" y="81"/>
                    <a:pt x="144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1"/>
                  </a:cubicBezTo>
                  <a:cubicBezTo>
                    <a:pt x="142" y="80"/>
                    <a:pt x="142" y="80"/>
                    <a:pt x="141" y="79"/>
                  </a:cubicBezTo>
                  <a:cubicBezTo>
                    <a:pt x="141" y="79"/>
                    <a:pt x="141" y="79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8"/>
                    <a:pt x="140" y="78"/>
                  </a:cubicBezTo>
                  <a:cubicBezTo>
                    <a:pt x="140" y="78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80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5" y="81"/>
                  </a:cubicBezTo>
                  <a:cubicBezTo>
                    <a:pt x="145" y="81"/>
                    <a:pt x="144" y="81"/>
                    <a:pt x="144" y="81"/>
                  </a:cubicBezTo>
                  <a:cubicBezTo>
                    <a:pt x="144" y="80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0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6" y="81"/>
                    <a:pt x="146" y="81"/>
                    <a:pt x="145" y="81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80"/>
                    <a:pt x="141" y="80"/>
                  </a:cubicBezTo>
                  <a:cubicBezTo>
                    <a:pt x="140" y="80"/>
                    <a:pt x="140" y="80"/>
                    <a:pt x="140" y="79"/>
                  </a:cubicBezTo>
                  <a:close/>
                  <a:moveTo>
                    <a:pt x="141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lose/>
                  <a:moveTo>
                    <a:pt x="141" y="81"/>
                  </a:moveTo>
                  <a:cubicBezTo>
                    <a:pt x="141" y="81"/>
                    <a:pt x="142" y="81"/>
                    <a:pt x="142" y="81"/>
                  </a:cubicBezTo>
                  <a:cubicBezTo>
                    <a:pt x="142" y="81"/>
                    <a:pt x="141" y="81"/>
                    <a:pt x="141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8" y="83"/>
                    <a:pt x="148" y="83"/>
                  </a:cubicBezTo>
                  <a:cubicBezTo>
                    <a:pt x="148" y="83"/>
                    <a:pt x="149" y="83"/>
                    <a:pt x="149" y="83"/>
                  </a:cubicBezTo>
                  <a:close/>
                  <a:moveTo>
                    <a:pt x="149" y="85"/>
                  </a:moveTo>
                  <a:cubicBezTo>
                    <a:pt x="149" y="85"/>
                    <a:pt x="149" y="86"/>
                    <a:pt x="149" y="86"/>
                  </a:cubicBezTo>
                  <a:cubicBezTo>
                    <a:pt x="149" y="86"/>
                    <a:pt x="149" y="85"/>
                    <a:pt x="149" y="85"/>
                  </a:cubicBezTo>
                  <a:cubicBezTo>
                    <a:pt x="149" y="85"/>
                    <a:pt x="148" y="85"/>
                    <a:pt x="149" y="85"/>
                  </a:cubicBezTo>
                  <a:cubicBezTo>
                    <a:pt x="149" y="85"/>
                    <a:pt x="149" y="85"/>
                    <a:pt x="149" y="85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5" y="92"/>
                    <a:pt x="155" y="92"/>
                  </a:cubicBezTo>
                  <a:cubicBezTo>
                    <a:pt x="155" y="92"/>
                    <a:pt x="155" y="92"/>
                    <a:pt x="156" y="92"/>
                  </a:cubicBezTo>
                  <a:cubicBezTo>
                    <a:pt x="155" y="92"/>
                    <a:pt x="155" y="92"/>
                    <a:pt x="155" y="92"/>
                  </a:cubicBezTo>
                  <a:close/>
                  <a:moveTo>
                    <a:pt x="158" y="90"/>
                  </a:moveTo>
                  <a:cubicBezTo>
                    <a:pt x="159" y="90"/>
                    <a:pt x="159" y="90"/>
                    <a:pt x="159" y="91"/>
                  </a:cubicBezTo>
                  <a:cubicBezTo>
                    <a:pt x="159" y="91"/>
                    <a:pt x="159" y="90"/>
                    <a:pt x="158" y="90"/>
                  </a:cubicBezTo>
                  <a:close/>
                  <a:moveTo>
                    <a:pt x="12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2" y="18"/>
                    <a:pt x="11" y="18"/>
                    <a:pt x="12" y="18"/>
                  </a:cubicBezTo>
                  <a:cubicBezTo>
                    <a:pt x="11" y="18"/>
                    <a:pt x="12" y="18"/>
                    <a:pt x="12" y="18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4" y="28"/>
                    <a:pt x="34" y="27"/>
                    <a:pt x="33" y="27"/>
                  </a:cubicBezTo>
                  <a:close/>
                  <a:moveTo>
                    <a:pt x="34" y="26"/>
                  </a:move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36" y="28"/>
                    <a:pt x="36" y="27"/>
                    <a:pt x="36" y="28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lose/>
                  <a:moveTo>
                    <a:pt x="38" y="24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8" y="24"/>
                    <a:pt x="38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6"/>
                    <a:pt x="46" y="25"/>
                  </a:cubicBezTo>
                  <a:cubicBezTo>
                    <a:pt x="46" y="25"/>
                    <a:pt x="46" y="26"/>
                    <a:pt x="46" y="26"/>
                  </a:cubicBezTo>
                  <a:cubicBezTo>
                    <a:pt x="46" y="26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5" y="32"/>
                  </a:moveTo>
                  <a:cubicBezTo>
                    <a:pt x="46" y="32"/>
                    <a:pt x="46" y="32"/>
                    <a:pt x="46" y="33"/>
                  </a:cubicBezTo>
                  <a:cubicBezTo>
                    <a:pt x="46" y="33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57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lose/>
                  <a:moveTo>
                    <a:pt x="62" y="33"/>
                  </a:move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3" y="34"/>
                    <a:pt x="63" y="34"/>
                  </a:cubicBezTo>
                  <a:cubicBezTo>
                    <a:pt x="63" y="34"/>
                    <a:pt x="63" y="34"/>
                    <a:pt x="64" y="34"/>
                  </a:cubicBezTo>
                  <a:cubicBezTo>
                    <a:pt x="63" y="34"/>
                    <a:pt x="63" y="34"/>
                    <a:pt x="62" y="33"/>
                  </a:cubicBezTo>
                  <a:close/>
                  <a:moveTo>
                    <a:pt x="60" y="39"/>
                  </a:moveTo>
                  <a:cubicBezTo>
                    <a:pt x="60" y="39"/>
                    <a:pt x="61" y="39"/>
                    <a:pt x="6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lnTo>
                    <a:pt x="60" y="39"/>
                  </a:lnTo>
                  <a:close/>
                  <a:moveTo>
                    <a:pt x="66" y="41"/>
                  </a:moveTo>
                  <a:cubicBezTo>
                    <a:pt x="66" y="41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1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7" y="46"/>
                    <a:pt x="67" y="46"/>
                    <a:pt x="67" y="47"/>
                  </a:cubicBezTo>
                  <a:close/>
                  <a:moveTo>
                    <a:pt x="73" y="44"/>
                  </a:moveTo>
                  <a:cubicBezTo>
                    <a:pt x="72" y="44"/>
                    <a:pt x="72" y="44"/>
                    <a:pt x="71" y="44"/>
                  </a:cubicBez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3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3"/>
                    <a:pt x="69" y="43"/>
                  </a:cubicBezTo>
                  <a:cubicBezTo>
                    <a:pt x="69" y="43"/>
                    <a:pt x="69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1" y="44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1" y="43"/>
                    <a:pt x="71" y="43"/>
                    <a:pt x="72" y="4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2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5" y="47"/>
                  </a:cubicBezTo>
                  <a:cubicBezTo>
                    <a:pt x="74" y="47"/>
                    <a:pt x="75" y="47"/>
                    <a:pt x="76" y="48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75" y="52"/>
                  </a:moveTo>
                  <a:cubicBezTo>
                    <a:pt x="75" y="52"/>
                    <a:pt x="74" y="51"/>
                    <a:pt x="73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5" y="51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78" y="47"/>
                  </a:moveTo>
                  <a:cubicBezTo>
                    <a:pt x="78" y="47"/>
                    <a:pt x="78" y="47"/>
                    <a:pt x="79" y="48"/>
                  </a:cubicBezTo>
                  <a:cubicBezTo>
                    <a:pt x="79" y="48"/>
                    <a:pt x="78" y="48"/>
                    <a:pt x="79" y="48"/>
                  </a:cubicBezTo>
                  <a:cubicBezTo>
                    <a:pt x="78" y="48"/>
                    <a:pt x="78" y="48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7" y="58"/>
                  </a:cubicBezTo>
                  <a:cubicBezTo>
                    <a:pt x="98" y="58"/>
                    <a:pt x="97" y="58"/>
                    <a:pt x="97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7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B02AE90-2EAB-482D-9801-3BE629994C08}"/>
                </a:ext>
              </a:extLst>
            </p:cNvPr>
            <p:cNvSpPr/>
            <p:nvPr/>
          </p:nvSpPr>
          <p:spPr bwMode="auto">
            <a:xfrm>
              <a:off x="3395663" y="2001838"/>
              <a:ext cx="398463" cy="236538"/>
            </a:xfrm>
            <a:custGeom>
              <a:avLst/>
              <a:gdLst>
                <a:gd name="T0" fmla="*/ 36 w 161"/>
                <a:gd name="T1" fmla="*/ 28 h 96"/>
                <a:gd name="T2" fmla="*/ 42 w 161"/>
                <a:gd name="T3" fmla="*/ 28 h 96"/>
                <a:gd name="T4" fmla="*/ 46 w 161"/>
                <a:gd name="T5" fmla="*/ 32 h 96"/>
                <a:gd name="T6" fmla="*/ 49 w 161"/>
                <a:gd name="T7" fmla="*/ 35 h 96"/>
                <a:gd name="T8" fmla="*/ 55 w 161"/>
                <a:gd name="T9" fmla="*/ 39 h 96"/>
                <a:gd name="T10" fmla="*/ 64 w 161"/>
                <a:gd name="T11" fmla="*/ 34 h 96"/>
                <a:gd name="T12" fmla="*/ 70 w 161"/>
                <a:gd name="T13" fmla="*/ 39 h 96"/>
                <a:gd name="T14" fmla="*/ 70 w 161"/>
                <a:gd name="T15" fmla="*/ 47 h 96"/>
                <a:gd name="T16" fmla="*/ 75 w 161"/>
                <a:gd name="T17" fmla="*/ 45 h 96"/>
                <a:gd name="T18" fmla="*/ 79 w 161"/>
                <a:gd name="T19" fmla="*/ 52 h 96"/>
                <a:gd name="T20" fmla="*/ 87 w 161"/>
                <a:gd name="T21" fmla="*/ 57 h 96"/>
                <a:gd name="T22" fmla="*/ 93 w 161"/>
                <a:gd name="T23" fmla="*/ 59 h 96"/>
                <a:gd name="T24" fmla="*/ 103 w 161"/>
                <a:gd name="T25" fmla="*/ 58 h 96"/>
                <a:gd name="T26" fmla="*/ 104 w 161"/>
                <a:gd name="T27" fmla="*/ 64 h 96"/>
                <a:gd name="T28" fmla="*/ 116 w 161"/>
                <a:gd name="T29" fmla="*/ 65 h 96"/>
                <a:gd name="T30" fmla="*/ 145 w 161"/>
                <a:gd name="T31" fmla="*/ 82 h 96"/>
                <a:gd name="T32" fmla="*/ 154 w 161"/>
                <a:gd name="T33" fmla="*/ 95 h 96"/>
                <a:gd name="T34" fmla="*/ 43 w 161"/>
                <a:gd name="T35" fmla="*/ 22 h 96"/>
                <a:gd name="T36" fmla="*/ 49 w 161"/>
                <a:gd name="T37" fmla="*/ 27 h 96"/>
                <a:gd name="T38" fmla="*/ 42 w 161"/>
                <a:gd name="T39" fmla="*/ 24 h 96"/>
                <a:gd name="T40" fmla="*/ 47 w 161"/>
                <a:gd name="T41" fmla="*/ 29 h 96"/>
                <a:gd name="T42" fmla="*/ 35 w 161"/>
                <a:gd name="T43" fmla="*/ 23 h 96"/>
                <a:gd name="T44" fmla="*/ 33 w 161"/>
                <a:gd name="T45" fmla="*/ 27 h 96"/>
                <a:gd name="T46" fmla="*/ 18 w 161"/>
                <a:gd name="T47" fmla="*/ 22 h 96"/>
                <a:gd name="T48" fmla="*/ 24 w 161"/>
                <a:gd name="T49" fmla="*/ 24 h 96"/>
                <a:gd name="T50" fmla="*/ 33 w 161"/>
                <a:gd name="T51" fmla="*/ 24 h 96"/>
                <a:gd name="T52" fmla="*/ 46 w 161"/>
                <a:gd name="T53" fmla="*/ 28 h 96"/>
                <a:gd name="T54" fmla="*/ 35 w 161"/>
                <a:gd name="T55" fmla="*/ 20 h 96"/>
                <a:gd name="T56" fmla="*/ 36 w 161"/>
                <a:gd name="T57" fmla="*/ 18 h 96"/>
                <a:gd name="T58" fmla="*/ 39 w 161"/>
                <a:gd name="T59" fmla="*/ 29 h 96"/>
                <a:gd name="T60" fmla="*/ 45 w 161"/>
                <a:gd name="T61" fmla="*/ 31 h 96"/>
                <a:gd name="T62" fmla="*/ 59 w 161"/>
                <a:gd name="T63" fmla="*/ 31 h 96"/>
                <a:gd name="T64" fmla="*/ 64 w 161"/>
                <a:gd name="T65" fmla="*/ 35 h 96"/>
                <a:gd name="T66" fmla="*/ 67 w 161"/>
                <a:gd name="T67" fmla="*/ 37 h 96"/>
                <a:gd name="T68" fmla="*/ 63 w 161"/>
                <a:gd name="T69" fmla="*/ 37 h 96"/>
                <a:gd name="T70" fmla="*/ 65 w 161"/>
                <a:gd name="T71" fmla="*/ 36 h 96"/>
                <a:gd name="T72" fmla="*/ 64 w 161"/>
                <a:gd name="T73" fmla="*/ 44 h 96"/>
                <a:gd name="T74" fmla="*/ 99 w 161"/>
                <a:gd name="T75" fmla="*/ 60 h 96"/>
                <a:gd name="T76" fmla="*/ 92 w 161"/>
                <a:gd name="T77" fmla="*/ 55 h 96"/>
                <a:gd name="T78" fmla="*/ 89 w 161"/>
                <a:gd name="T79" fmla="*/ 56 h 96"/>
                <a:gd name="T80" fmla="*/ 83 w 161"/>
                <a:gd name="T81" fmla="*/ 50 h 96"/>
                <a:gd name="T82" fmla="*/ 74 w 161"/>
                <a:gd name="T83" fmla="*/ 42 h 96"/>
                <a:gd name="T84" fmla="*/ 74 w 161"/>
                <a:gd name="T85" fmla="*/ 39 h 96"/>
                <a:gd name="T86" fmla="*/ 87 w 161"/>
                <a:gd name="T87" fmla="*/ 48 h 96"/>
                <a:gd name="T88" fmla="*/ 99 w 161"/>
                <a:gd name="T89" fmla="*/ 55 h 96"/>
                <a:gd name="T90" fmla="*/ 94 w 161"/>
                <a:gd name="T91" fmla="*/ 57 h 96"/>
                <a:gd name="T92" fmla="*/ 74 w 161"/>
                <a:gd name="T93" fmla="*/ 41 h 96"/>
                <a:gd name="T94" fmla="*/ 85 w 161"/>
                <a:gd name="T95" fmla="*/ 51 h 96"/>
                <a:gd name="T96" fmla="*/ 87 w 161"/>
                <a:gd name="T97" fmla="*/ 50 h 96"/>
                <a:gd name="T98" fmla="*/ 99 w 161"/>
                <a:gd name="T99" fmla="*/ 55 h 96"/>
                <a:gd name="T100" fmla="*/ 88 w 161"/>
                <a:gd name="T101" fmla="*/ 51 h 96"/>
                <a:gd name="T102" fmla="*/ 80 w 161"/>
                <a:gd name="T103" fmla="*/ 46 h 96"/>
                <a:gd name="T104" fmla="*/ 95 w 161"/>
                <a:gd name="T105" fmla="*/ 56 h 96"/>
                <a:gd name="T106" fmla="*/ 72 w 161"/>
                <a:gd name="T107" fmla="*/ 42 h 96"/>
                <a:gd name="T108" fmla="*/ 72 w 161"/>
                <a:gd name="T109" fmla="*/ 45 h 96"/>
                <a:gd name="T110" fmla="*/ 72 w 161"/>
                <a:gd name="T111" fmla="*/ 49 h 96"/>
                <a:gd name="T112" fmla="*/ 76 w 161"/>
                <a:gd name="T113" fmla="*/ 53 h 96"/>
                <a:gd name="T114" fmla="*/ 83 w 161"/>
                <a:gd name="T115" fmla="*/ 53 h 96"/>
                <a:gd name="T116" fmla="*/ 100 w 161"/>
                <a:gd name="T117" fmla="*/ 56 h 96"/>
                <a:gd name="T118" fmla="*/ 103 w 161"/>
                <a:gd name="T119" fmla="*/ 57 h 96"/>
                <a:gd name="T120" fmla="*/ 117 w 161"/>
                <a:gd name="T121" fmla="*/ 66 h 96"/>
                <a:gd name="T122" fmla="*/ 146 w 161"/>
                <a:gd name="T123" fmla="*/ 82 h 96"/>
                <a:gd name="T124" fmla="*/ 68 w 161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96">
                  <a:moveTo>
                    <a:pt x="5" y="1"/>
                  </a:moveTo>
                  <a:cubicBezTo>
                    <a:pt x="5" y="0"/>
                    <a:pt x="5" y="1"/>
                    <a:pt x="5" y="0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lose/>
                  <a:moveTo>
                    <a:pt x="11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lose/>
                  <a:moveTo>
                    <a:pt x="13" y="19"/>
                  </a:moveTo>
                  <a:cubicBezTo>
                    <a:pt x="13" y="19"/>
                    <a:pt x="14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lose/>
                  <a:moveTo>
                    <a:pt x="15" y="20"/>
                  </a:moveTo>
                  <a:cubicBezTo>
                    <a:pt x="14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lose/>
                  <a:moveTo>
                    <a:pt x="17" y="22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lose/>
                  <a:moveTo>
                    <a:pt x="21" y="24"/>
                  </a:moveTo>
                  <a:cubicBezTo>
                    <a:pt x="21" y="24"/>
                    <a:pt x="22" y="24"/>
                    <a:pt x="22" y="25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5"/>
                  </a:move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lose/>
                  <a:moveTo>
                    <a:pt x="24" y="25"/>
                  </a:moveTo>
                  <a:cubicBezTo>
                    <a:pt x="23" y="25"/>
                    <a:pt x="23" y="24"/>
                    <a:pt x="23" y="24"/>
                  </a:cubicBezTo>
                  <a:cubicBezTo>
                    <a:pt x="23" y="24"/>
                    <a:pt x="23" y="24"/>
                    <a:pt x="24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6" y="24"/>
                    <a:pt x="27" y="24"/>
                    <a:pt x="27" y="24"/>
                  </a:cubicBezTo>
                  <a:cubicBezTo>
                    <a:pt x="27" y="25"/>
                    <a:pt x="27" y="25"/>
                    <a:pt x="28" y="25"/>
                  </a:cubicBezTo>
                  <a:close/>
                  <a:moveTo>
                    <a:pt x="27" y="26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lose/>
                  <a:moveTo>
                    <a:pt x="29" y="2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7"/>
                  </a:cubicBezTo>
                  <a:cubicBezTo>
                    <a:pt x="29" y="27"/>
                    <a:pt x="28" y="26"/>
                    <a:pt x="29" y="26"/>
                  </a:cubicBezTo>
                  <a:close/>
                  <a:moveTo>
                    <a:pt x="30" y="27"/>
                  </a:moveTo>
                  <a:cubicBezTo>
                    <a:pt x="31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1" y="28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1" y="28"/>
                  </a:cubicBezTo>
                  <a:close/>
                  <a:moveTo>
                    <a:pt x="31" y="29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lose/>
                  <a:moveTo>
                    <a:pt x="35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lose/>
                  <a:moveTo>
                    <a:pt x="34" y="25"/>
                  </a:moveTo>
                  <a:cubicBezTo>
                    <a:pt x="34" y="25"/>
                    <a:pt x="35" y="25"/>
                    <a:pt x="34" y="25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5"/>
                    <a:pt x="34" y="25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4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4"/>
                  </a:cubicBezTo>
                  <a:cubicBezTo>
                    <a:pt x="37" y="25"/>
                    <a:pt x="37" y="24"/>
                    <a:pt x="37" y="24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8" y="24"/>
                  </a:cubicBezTo>
                  <a:cubicBezTo>
                    <a:pt x="38" y="25"/>
                    <a:pt x="37" y="25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9"/>
                    <a:pt x="35" y="29"/>
                  </a:cubicBezTo>
                  <a:cubicBezTo>
                    <a:pt x="35" y="29"/>
                    <a:pt x="35" y="29"/>
                    <a:pt x="35" y="28"/>
                  </a:cubicBezTo>
                  <a:close/>
                  <a:moveTo>
                    <a:pt x="37" y="25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1" y="20"/>
                  </a:move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lose/>
                  <a:moveTo>
                    <a:pt x="38" y="26"/>
                  </a:moveTo>
                  <a:cubicBezTo>
                    <a:pt x="38" y="26"/>
                    <a:pt x="39" y="26"/>
                    <a:pt x="39" y="26"/>
                  </a:cubicBezTo>
                  <a:cubicBezTo>
                    <a:pt x="39" y="26"/>
                    <a:pt x="38" y="26"/>
                    <a:pt x="38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7" y="29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9" y="26"/>
                  </a:move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lose/>
                  <a:moveTo>
                    <a:pt x="37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7" y="30"/>
                    <a:pt x="37" y="30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7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38" y="33"/>
                  </a:move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2" y="27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3" y="27"/>
                    <a:pt x="43" y="27"/>
                  </a:cubicBezTo>
                  <a:close/>
                  <a:moveTo>
                    <a:pt x="42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29"/>
                    <a:pt x="41" y="30"/>
                    <a:pt x="41" y="30"/>
                  </a:cubicBezTo>
                  <a:cubicBezTo>
                    <a:pt x="42" y="30"/>
                    <a:pt x="41" y="30"/>
                    <a:pt x="42" y="30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2"/>
                    <a:pt x="40" y="32"/>
                  </a:cubicBezTo>
                  <a:cubicBezTo>
                    <a:pt x="40" y="32"/>
                    <a:pt x="40" y="32"/>
                    <a:pt x="40" y="31"/>
                  </a:cubicBezTo>
                  <a:close/>
                  <a:moveTo>
                    <a:pt x="43" y="28"/>
                  </a:moveTo>
                  <a:cubicBezTo>
                    <a:pt x="43" y="28"/>
                    <a:pt x="42" y="28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2" y="28"/>
                    <a:pt x="42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28"/>
                  </a:moveTo>
                  <a:cubicBezTo>
                    <a:pt x="44" y="28"/>
                    <a:pt x="44" y="28"/>
                    <a:pt x="43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1" y="32"/>
                    <a:pt x="42" y="32"/>
                  </a:cubicBezTo>
                  <a:cubicBezTo>
                    <a:pt x="41" y="33"/>
                    <a:pt x="41" y="32"/>
                    <a:pt x="41" y="32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5" y="29"/>
                  </a:cubicBezTo>
                  <a:cubicBezTo>
                    <a:pt x="45" y="30"/>
                    <a:pt x="44" y="29"/>
                    <a:pt x="44" y="29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8"/>
                    <a:pt x="45" y="29"/>
                    <a:pt x="45" y="29"/>
                  </a:cubicBezTo>
                  <a:close/>
                  <a:moveTo>
                    <a:pt x="42" y="33"/>
                  </a:moveTo>
                  <a:cubicBezTo>
                    <a:pt x="42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lose/>
                  <a:moveTo>
                    <a:pt x="44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6" y="30"/>
                  </a:cubicBezTo>
                  <a:cubicBezTo>
                    <a:pt x="45" y="30"/>
                    <a:pt x="45" y="30"/>
                    <a:pt x="46" y="30"/>
                  </a:cubicBezTo>
                  <a:cubicBezTo>
                    <a:pt x="46" y="31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8" y="25"/>
                  </a:moveTo>
                  <a:cubicBezTo>
                    <a:pt x="48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1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0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50" y="26"/>
                  </a:moveTo>
                  <a:cubicBezTo>
                    <a:pt x="50" y="26"/>
                    <a:pt x="49" y="25"/>
                    <a:pt x="49" y="25"/>
                  </a:cubicBezTo>
                  <a:cubicBezTo>
                    <a:pt x="50" y="25"/>
                    <a:pt x="50" y="26"/>
                    <a:pt x="50" y="26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7" y="33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6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8" y="30"/>
                    <a:pt x="48" y="30"/>
                  </a:cubicBezTo>
                  <a:close/>
                  <a:moveTo>
                    <a:pt x="50" y="27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lose/>
                  <a:moveTo>
                    <a:pt x="46" y="33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6" y="33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lose/>
                  <a:moveTo>
                    <a:pt x="49" y="31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1"/>
                    <a:pt x="49" y="31"/>
                  </a:cubicBez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7" y="34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49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3"/>
                  </a:moveTo>
                  <a:cubicBezTo>
                    <a:pt x="49" y="33"/>
                    <a:pt x="50" y="33"/>
                    <a:pt x="50" y="33"/>
                  </a:cubicBezTo>
                  <a:cubicBezTo>
                    <a:pt x="50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ubicBezTo>
                    <a:pt x="49" y="33"/>
                    <a:pt x="50" y="33"/>
                    <a:pt x="51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8"/>
                    <a:pt x="52" y="27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3" y="29"/>
                    <a:pt x="52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29"/>
                    <a:pt x="52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8"/>
                    <a:pt x="54" y="28"/>
                  </a:cubicBezTo>
                  <a:cubicBezTo>
                    <a:pt x="53" y="28"/>
                    <a:pt x="53" y="27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2" y="30"/>
                  </a:move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4" y="30"/>
                    <a:pt x="55" y="31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2" y="30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0"/>
                  </a:cubicBezTo>
                  <a:close/>
                  <a:moveTo>
                    <a:pt x="50" y="34"/>
                  </a:moveTo>
                  <a:cubicBezTo>
                    <a:pt x="50" y="34"/>
                    <a:pt x="51" y="34"/>
                    <a:pt x="51" y="34"/>
                  </a:cubicBezTo>
                  <a:cubicBezTo>
                    <a:pt x="51" y="34"/>
                    <a:pt x="51" y="34"/>
                    <a:pt x="50" y="34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6"/>
                    <a:pt x="50" y="36"/>
                  </a:cubicBezTo>
                  <a:cubicBezTo>
                    <a:pt x="50" y="36"/>
                    <a:pt x="50" y="35"/>
                    <a:pt x="50" y="35"/>
                  </a:cubicBezTo>
                  <a:close/>
                  <a:moveTo>
                    <a:pt x="53" y="30"/>
                  </a:move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30"/>
                  </a:cubicBezTo>
                  <a:close/>
                  <a:moveTo>
                    <a:pt x="51" y="36"/>
                  </a:moveTo>
                  <a:cubicBezTo>
                    <a:pt x="51" y="36"/>
                    <a:pt x="50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1" y="36"/>
                  </a:move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2"/>
                    <a:pt x="54" y="32"/>
                  </a:cubicBezTo>
                  <a:cubicBezTo>
                    <a:pt x="54" y="32"/>
                    <a:pt x="53" y="32"/>
                    <a:pt x="53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2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2" y="37"/>
                  </a:move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8"/>
                    <a:pt x="54" y="38"/>
                  </a:cubicBezTo>
                  <a:cubicBezTo>
                    <a:pt x="54" y="38"/>
                    <a:pt x="53" y="38"/>
                    <a:pt x="54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1" y="37"/>
                    <a:pt x="52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6"/>
                    <a:pt x="52" y="37"/>
                    <a:pt x="52" y="37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53" y="34"/>
                  </a:moveTo>
                  <a:cubicBezTo>
                    <a:pt x="53" y="34"/>
                    <a:pt x="54" y="35"/>
                    <a:pt x="54" y="35"/>
                  </a:cubicBezTo>
                  <a:cubicBezTo>
                    <a:pt x="53" y="35"/>
                    <a:pt x="53" y="35"/>
                    <a:pt x="53" y="34"/>
                  </a:cubicBezTo>
                  <a:close/>
                  <a:moveTo>
                    <a:pt x="57" y="29"/>
                  </a:moveTo>
                  <a:cubicBezTo>
                    <a:pt x="57" y="29"/>
                    <a:pt x="56" y="29"/>
                    <a:pt x="57" y="29"/>
                  </a:cubicBezTo>
                  <a:cubicBezTo>
                    <a:pt x="56" y="30"/>
                    <a:pt x="56" y="29"/>
                    <a:pt x="56" y="29"/>
                  </a:cubicBezTo>
                  <a:cubicBezTo>
                    <a:pt x="56" y="29"/>
                    <a:pt x="56" y="29"/>
                    <a:pt x="57" y="29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3"/>
                    <a:pt x="55" y="33"/>
                  </a:cubicBezTo>
                  <a:cubicBezTo>
                    <a:pt x="55" y="33"/>
                    <a:pt x="55" y="32"/>
                    <a:pt x="55" y="33"/>
                  </a:cubicBezTo>
                  <a:close/>
                  <a:moveTo>
                    <a:pt x="57" y="30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58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40"/>
                    <a:pt x="52" y="41"/>
                  </a:cubicBezTo>
                  <a:cubicBezTo>
                    <a:pt x="52" y="41"/>
                    <a:pt x="52" y="40"/>
                    <a:pt x="52" y="40"/>
                  </a:cubicBezTo>
                  <a:close/>
                  <a:moveTo>
                    <a:pt x="54" y="38"/>
                  </a:move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5" y="38"/>
                    <a:pt x="54" y="38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6" y="39"/>
                    <a:pt x="56" y="40"/>
                  </a:cubicBezTo>
                  <a:cubicBezTo>
                    <a:pt x="55" y="39"/>
                    <a:pt x="55" y="39"/>
                    <a:pt x="54" y="39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56" y="39"/>
                  </a:moveTo>
                  <a:cubicBezTo>
                    <a:pt x="56" y="39"/>
                    <a:pt x="55" y="39"/>
                    <a:pt x="55" y="39"/>
                  </a:cubicBezTo>
                  <a:cubicBezTo>
                    <a:pt x="55" y="38"/>
                    <a:pt x="56" y="39"/>
                    <a:pt x="56" y="39"/>
                  </a:cubicBezTo>
                  <a:close/>
                  <a:moveTo>
                    <a:pt x="58" y="35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lose/>
                  <a:moveTo>
                    <a:pt x="55" y="40"/>
                  </a:move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5" y="40"/>
                  </a:cubicBezTo>
                  <a:close/>
                  <a:moveTo>
                    <a:pt x="58" y="36"/>
                  </a:moveTo>
                  <a:cubicBezTo>
                    <a:pt x="58" y="35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7" y="38"/>
                  </a:moveTo>
                  <a:cubicBezTo>
                    <a:pt x="57" y="38"/>
                    <a:pt x="57" y="38"/>
                    <a:pt x="57" y="38"/>
                  </a:cubicBezTo>
                  <a:cubicBezTo>
                    <a:pt x="57" y="38"/>
                    <a:pt x="57" y="38"/>
                    <a:pt x="57" y="38"/>
                  </a:cubicBezTo>
                  <a:close/>
                  <a:moveTo>
                    <a:pt x="57" y="39"/>
                  </a:moveTo>
                  <a:cubicBezTo>
                    <a:pt x="57" y="39"/>
                    <a:pt x="57" y="39"/>
                    <a:pt x="56" y="39"/>
                  </a:cubicBezTo>
                  <a:cubicBezTo>
                    <a:pt x="57" y="39"/>
                    <a:pt x="57" y="39"/>
                    <a:pt x="57" y="39"/>
                  </a:cubicBezTo>
                  <a:close/>
                  <a:moveTo>
                    <a:pt x="56" y="42"/>
                  </a:moveTo>
                  <a:cubicBezTo>
                    <a:pt x="56" y="42"/>
                    <a:pt x="55" y="41"/>
                    <a:pt x="55" y="41"/>
                  </a:cubicBezTo>
                  <a:cubicBezTo>
                    <a:pt x="55" y="41"/>
                    <a:pt x="56" y="41"/>
                    <a:pt x="56" y="42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59" y="34"/>
                  </a:cubicBezTo>
                  <a:cubicBezTo>
                    <a:pt x="60" y="34"/>
                    <a:pt x="60" y="35"/>
                    <a:pt x="60" y="35"/>
                  </a:cubicBezTo>
                  <a:close/>
                  <a:moveTo>
                    <a:pt x="61" y="33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3"/>
                  </a:cubicBezTo>
                  <a:close/>
                  <a:moveTo>
                    <a:pt x="59" y="37"/>
                  </a:moveTo>
                  <a:cubicBezTo>
                    <a:pt x="59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8"/>
                    <a:pt x="60" y="37"/>
                    <a:pt x="60" y="37"/>
                  </a:cubicBezTo>
                  <a:cubicBezTo>
                    <a:pt x="60" y="37"/>
                    <a:pt x="59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6"/>
                    <a:pt x="60" y="35"/>
                    <a:pt x="60" y="36"/>
                  </a:cubicBezTo>
                  <a:cubicBezTo>
                    <a:pt x="60" y="36"/>
                    <a:pt x="60" y="36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lose/>
                  <a:moveTo>
                    <a:pt x="60" y="37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7"/>
                    <a:pt x="60" y="36"/>
                  </a:cubicBezTo>
                  <a:cubicBezTo>
                    <a:pt x="60" y="37"/>
                    <a:pt x="60" y="36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61" y="35"/>
                  </a:moveTo>
                  <a:cubicBezTo>
                    <a:pt x="61" y="35"/>
                    <a:pt x="61" y="35"/>
                    <a:pt x="61" y="34"/>
                  </a:cubicBezTo>
                  <a:cubicBezTo>
                    <a:pt x="62" y="34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ubicBezTo>
                    <a:pt x="61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9" y="40"/>
                  </a:cubicBezTo>
                  <a:cubicBezTo>
                    <a:pt x="58" y="41"/>
                    <a:pt x="58" y="40"/>
                    <a:pt x="58" y="40"/>
                  </a:cubicBezTo>
                  <a:close/>
                  <a:moveTo>
                    <a:pt x="60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lose/>
                  <a:moveTo>
                    <a:pt x="61" y="37"/>
                  </a:move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8"/>
                    <a:pt x="60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1" y="39"/>
                    <a:pt x="62" y="39"/>
                    <a:pt x="61" y="39"/>
                  </a:cubicBezTo>
                  <a:cubicBezTo>
                    <a:pt x="61" y="39"/>
                    <a:pt x="61" y="39"/>
                    <a:pt x="60" y="39"/>
                  </a:cubicBezTo>
                  <a:close/>
                  <a:moveTo>
                    <a:pt x="63" y="33"/>
                  </a:moveTo>
                  <a:cubicBezTo>
                    <a:pt x="63" y="34"/>
                    <a:pt x="63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3" y="34"/>
                    <a:pt x="63" y="34"/>
                    <a:pt x="63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5"/>
                  </a:cubicBezTo>
                  <a:cubicBezTo>
                    <a:pt x="63" y="35"/>
                    <a:pt x="63" y="35"/>
                    <a:pt x="62" y="35"/>
                  </a:cubicBezTo>
                  <a:close/>
                  <a:moveTo>
                    <a:pt x="65" y="34"/>
                  </a:moveTo>
                  <a:cubicBezTo>
                    <a:pt x="65" y="34"/>
                    <a:pt x="66" y="35"/>
                    <a:pt x="66" y="35"/>
                  </a:cubicBezTo>
                  <a:cubicBezTo>
                    <a:pt x="65" y="35"/>
                    <a:pt x="64" y="34"/>
                    <a:pt x="64" y="33"/>
                  </a:cubicBezTo>
                  <a:cubicBezTo>
                    <a:pt x="64" y="33"/>
                    <a:pt x="64" y="34"/>
                    <a:pt x="65" y="34"/>
                  </a:cubicBezTo>
                  <a:close/>
                  <a:moveTo>
                    <a:pt x="60" y="42"/>
                  </a:moveTo>
                  <a:cubicBezTo>
                    <a:pt x="60" y="41"/>
                    <a:pt x="60" y="42"/>
                    <a:pt x="60" y="41"/>
                  </a:cubicBezTo>
                  <a:cubicBezTo>
                    <a:pt x="60" y="41"/>
                    <a:pt x="60" y="41"/>
                    <a:pt x="60" y="42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7"/>
                  </a:cubicBezTo>
                  <a:cubicBezTo>
                    <a:pt x="63" y="37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2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2" y="40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8" y="36"/>
                  </a:moveTo>
                  <a:cubicBezTo>
                    <a:pt x="68" y="36"/>
                    <a:pt x="67" y="35"/>
                    <a:pt x="68" y="36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39"/>
                    <a:pt x="66" y="39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2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1"/>
                    <a:pt x="65" y="41"/>
                  </a:cubicBezTo>
                  <a:cubicBezTo>
                    <a:pt x="66" y="41"/>
                    <a:pt x="66" y="42"/>
                    <a:pt x="67" y="42"/>
                  </a:cubicBezTo>
                  <a:close/>
                  <a:moveTo>
                    <a:pt x="65" y="42"/>
                  </a:moveTo>
                  <a:cubicBezTo>
                    <a:pt x="66" y="42"/>
                    <a:pt x="65" y="42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7" y="40"/>
                  </a:cubicBezTo>
                  <a:close/>
                  <a:moveTo>
                    <a:pt x="67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7" y="41"/>
                    <a:pt x="67" y="41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6"/>
                  </a:cubicBezTo>
                  <a:cubicBezTo>
                    <a:pt x="70" y="36"/>
                    <a:pt x="70" y="37"/>
                    <a:pt x="70" y="37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6" y="45"/>
                  </a:moveTo>
                  <a:cubicBezTo>
                    <a:pt x="65" y="45"/>
                    <a:pt x="66" y="45"/>
                    <a:pt x="66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4"/>
                    <a:pt x="66" y="45"/>
                  </a:cubicBezTo>
                  <a:close/>
                  <a:moveTo>
                    <a:pt x="66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38"/>
                    <a:pt x="70" y="38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1" y="39"/>
                  </a:move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1" y="39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67" y="48"/>
                  </a:moveTo>
                  <a:cubicBezTo>
                    <a:pt x="67" y="49"/>
                    <a:pt x="68" y="49"/>
                    <a:pt x="69" y="49"/>
                  </a:cubicBezTo>
                  <a:cubicBezTo>
                    <a:pt x="68" y="49"/>
                    <a:pt x="67" y="48"/>
                    <a:pt x="66" y="48"/>
                  </a:cubicBezTo>
                  <a:cubicBezTo>
                    <a:pt x="66" y="48"/>
                    <a:pt x="66" y="48"/>
                    <a:pt x="66" y="47"/>
                  </a:cubicBezTo>
                  <a:cubicBezTo>
                    <a:pt x="66" y="47"/>
                    <a:pt x="66" y="48"/>
                    <a:pt x="67" y="48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5"/>
                    <a:pt x="68" y="45"/>
                  </a:cubicBezTo>
                  <a:cubicBezTo>
                    <a:pt x="68" y="45"/>
                    <a:pt x="68" y="44"/>
                    <a:pt x="68" y="44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68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5"/>
                    <a:pt x="67" y="46"/>
                    <a:pt x="68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7" y="45"/>
                    <a:pt x="67" y="45"/>
                  </a:cubicBezTo>
                  <a:cubicBezTo>
                    <a:pt x="67" y="46"/>
                    <a:pt x="68" y="45"/>
                    <a:pt x="68" y="46"/>
                  </a:cubicBezTo>
                  <a:cubicBezTo>
                    <a:pt x="67" y="45"/>
                    <a:pt x="67" y="46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lnTo>
                    <a:pt x="68" y="45"/>
                  </a:ln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7" y="47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8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0" y="44"/>
                  </a:moveTo>
                  <a:cubicBezTo>
                    <a:pt x="69" y="44"/>
                    <a:pt x="69" y="43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4"/>
                    <a:pt x="70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0" y="43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3"/>
                    <a:pt x="70" y="43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lose/>
                  <a:moveTo>
                    <a:pt x="70" y="44"/>
                  </a:moveTo>
                  <a:cubicBezTo>
                    <a:pt x="70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1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70" y="43"/>
                  </a:moveTo>
                  <a:cubicBezTo>
                    <a:pt x="70" y="42"/>
                    <a:pt x="71" y="42"/>
                    <a:pt x="71" y="42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68" y="48"/>
                  </a:moveTo>
                  <a:cubicBezTo>
                    <a:pt x="68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7"/>
                    <a:pt x="70" y="47"/>
                    <a:pt x="69" y="47"/>
                  </a:cubicBezTo>
                  <a:cubicBezTo>
                    <a:pt x="69" y="47"/>
                    <a:pt x="69" y="47"/>
                    <a:pt x="70" y="47"/>
                  </a:cubicBezTo>
                  <a:close/>
                  <a:moveTo>
                    <a:pt x="70" y="47"/>
                  </a:moveTo>
                  <a:cubicBezTo>
                    <a:pt x="70" y="47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2" y="45"/>
                  </a:cubicBezTo>
                  <a:cubicBezTo>
                    <a:pt x="72" y="45"/>
                    <a:pt x="71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3" y="43"/>
                  </a:moveTo>
                  <a:cubicBezTo>
                    <a:pt x="73" y="43"/>
                    <a:pt x="73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lose/>
                  <a:moveTo>
                    <a:pt x="74" y="42"/>
                  </a:move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1"/>
                    <a:pt x="72" y="41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3" y="42"/>
                    <a:pt x="74" y="42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69" y="49"/>
                    <a:pt x="69" y="48"/>
                  </a:cubicBezTo>
                  <a:cubicBezTo>
                    <a:pt x="70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70" y="50"/>
                    <a:pt x="69" y="50"/>
                  </a:cubicBezTo>
                  <a:close/>
                  <a:moveTo>
                    <a:pt x="70" y="49"/>
                  </a:moveTo>
                  <a:cubicBezTo>
                    <a:pt x="69" y="49"/>
                    <a:pt x="70" y="50"/>
                    <a:pt x="70" y="50"/>
                  </a:cubicBezTo>
                  <a:cubicBezTo>
                    <a:pt x="70" y="50"/>
                    <a:pt x="70" y="49"/>
                    <a:pt x="69" y="49"/>
                  </a:cubicBezTo>
                  <a:cubicBezTo>
                    <a:pt x="69" y="49"/>
                    <a:pt x="69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2" y="47"/>
                    <a:pt x="72" y="47"/>
                  </a:cubicBezTo>
                  <a:close/>
                  <a:moveTo>
                    <a:pt x="74" y="43"/>
                  </a:moveTo>
                  <a:cubicBezTo>
                    <a:pt x="74" y="44"/>
                    <a:pt x="74" y="44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4"/>
                    <a:pt x="74" y="44"/>
                  </a:cubicBezTo>
                  <a:cubicBezTo>
                    <a:pt x="74" y="44"/>
                    <a:pt x="74" y="44"/>
                    <a:pt x="74" y="43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2" y="49"/>
                  </a:moveTo>
                  <a:cubicBezTo>
                    <a:pt x="71" y="48"/>
                    <a:pt x="72" y="48"/>
                    <a:pt x="71" y="48"/>
                  </a:cubicBezTo>
                  <a:cubicBezTo>
                    <a:pt x="71" y="48"/>
                    <a:pt x="71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0" y="50"/>
                  </a:cubicBezTo>
                  <a:cubicBezTo>
                    <a:pt x="70" y="50"/>
                    <a:pt x="71" y="50"/>
                    <a:pt x="71" y="50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6"/>
                  </a:cubicBezTo>
                  <a:close/>
                  <a:moveTo>
                    <a:pt x="75" y="46"/>
                  </a:moveTo>
                  <a:cubicBezTo>
                    <a:pt x="75" y="46"/>
                    <a:pt x="74" y="45"/>
                    <a:pt x="74" y="45"/>
                  </a:cubicBezTo>
                  <a:cubicBezTo>
                    <a:pt x="74" y="45"/>
                    <a:pt x="75" y="46"/>
                    <a:pt x="75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45"/>
                  </a:moveTo>
                  <a:cubicBezTo>
                    <a:pt x="75" y="45"/>
                    <a:pt x="76" y="45"/>
                    <a:pt x="76" y="46"/>
                  </a:cubicBezTo>
                  <a:cubicBezTo>
                    <a:pt x="76" y="46"/>
                    <a:pt x="75" y="45"/>
                    <a:pt x="75" y="45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5" y="47"/>
                    <a:pt x="75" y="47"/>
                  </a:cubicBezTo>
                  <a:close/>
                  <a:moveTo>
                    <a:pt x="74" y="49"/>
                  </a:moveTo>
                  <a:cubicBezTo>
                    <a:pt x="74" y="49"/>
                    <a:pt x="74" y="49"/>
                    <a:pt x="73" y="49"/>
                  </a:cubicBezTo>
                  <a:cubicBezTo>
                    <a:pt x="74" y="49"/>
                    <a:pt x="74" y="49"/>
                    <a:pt x="74" y="49"/>
                  </a:cubicBezTo>
                  <a:close/>
                  <a:moveTo>
                    <a:pt x="77" y="45"/>
                  </a:moveTo>
                  <a:cubicBezTo>
                    <a:pt x="77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3" y="51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7" y="47"/>
                  </a:cubicBezTo>
                  <a:cubicBezTo>
                    <a:pt x="76" y="48"/>
                    <a:pt x="76" y="47"/>
                    <a:pt x="76" y="47"/>
                  </a:cubicBezTo>
                  <a:close/>
                  <a:moveTo>
                    <a:pt x="74" y="52"/>
                  </a:move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lose/>
                  <a:moveTo>
                    <a:pt x="75" y="50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7" y="48"/>
                  </a:moveTo>
                  <a:cubicBezTo>
                    <a:pt x="77" y="47"/>
                    <a:pt x="78" y="48"/>
                    <a:pt x="78" y="48"/>
                  </a:cubicBezTo>
                  <a:cubicBezTo>
                    <a:pt x="77" y="48"/>
                    <a:pt x="77" y="48"/>
                    <a:pt x="77" y="48"/>
                  </a:cubicBezTo>
                  <a:close/>
                  <a:moveTo>
                    <a:pt x="76" y="50"/>
                  </a:move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lose/>
                  <a:moveTo>
                    <a:pt x="77" y="49"/>
                  </a:moveTo>
                  <a:cubicBezTo>
                    <a:pt x="77" y="48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76" y="51"/>
                  </a:move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6" y="53"/>
                    <a:pt x="76" y="52"/>
                  </a:cubicBezTo>
                  <a:cubicBezTo>
                    <a:pt x="76" y="52"/>
                    <a:pt x="77" y="53"/>
                    <a:pt x="77" y="53"/>
                  </a:cubicBezTo>
                  <a:close/>
                  <a:moveTo>
                    <a:pt x="77" y="51"/>
                  </a:moveTo>
                  <a:cubicBezTo>
                    <a:pt x="78" y="51"/>
                    <a:pt x="78" y="51"/>
                    <a:pt x="78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8" y="52"/>
                  </a:cubicBezTo>
                  <a:cubicBezTo>
                    <a:pt x="78" y="51"/>
                    <a:pt x="77" y="51"/>
                    <a:pt x="77" y="51"/>
                  </a:cubicBezTo>
                  <a:close/>
                  <a:moveTo>
                    <a:pt x="81" y="48"/>
                  </a:move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1" y="48"/>
                  </a:cubicBezTo>
                  <a:close/>
                  <a:moveTo>
                    <a:pt x="78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9" y="51"/>
                  </a:cubicBezTo>
                  <a:cubicBezTo>
                    <a:pt x="78" y="51"/>
                    <a:pt x="79" y="51"/>
                    <a:pt x="78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7" y="54"/>
                    <a:pt x="77" y="54"/>
                  </a:cubicBezTo>
                  <a:cubicBezTo>
                    <a:pt x="77" y="54"/>
                    <a:pt x="77" y="54"/>
                    <a:pt x="77" y="53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3"/>
                    <a:pt x="77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lose/>
                  <a:moveTo>
                    <a:pt x="80" y="49"/>
                  </a:move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lose/>
                  <a:moveTo>
                    <a:pt x="78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3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81" y="52"/>
                  </a:moveTo>
                  <a:cubicBezTo>
                    <a:pt x="80" y="52"/>
                    <a:pt x="79" y="51"/>
                    <a:pt x="79" y="51"/>
                  </a:cubicBezTo>
                  <a:cubicBezTo>
                    <a:pt x="79" y="51"/>
                    <a:pt x="80" y="52"/>
                    <a:pt x="81" y="52"/>
                  </a:cubicBezTo>
                  <a:close/>
                  <a:moveTo>
                    <a:pt x="81" y="48"/>
                  </a:moveTo>
                  <a:cubicBezTo>
                    <a:pt x="81" y="48"/>
                    <a:pt x="81" y="48"/>
                    <a:pt x="81" y="49"/>
                  </a:cubicBezTo>
                  <a:cubicBezTo>
                    <a:pt x="81" y="49"/>
                    <a:pt x="81" y="48"/>
                    <a:pt x="81" y="48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7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lose/>
                  <a:moveTo>
                    <a:pt x="81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1" y="50"/>
                    <a:pt x="81" y="50"/>
                    <a:pt x="81" y="50"/>
                  </a:cubicBezTo>
                  <a:close/>
                  <a:moveTo>
                    <a:pt x="80" y="54"/>
                  </a:move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lose/>
                  <a:moveTo>
                    <a:pt x="85" y="45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4" y="45"/>
                    <a:pt x="85" y="45"/>
                    <a:pt x="85" y="45"/>
                  </a:cubicBezTo>
                  <a:close/>
                  <a:moveTo>
                    <a:pt x="82" y="49"/>
                  </a:moveTo>
                  <a:cubicBezTo>
                    <a:pt x="82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lose/>
                  <a:moveTo>
                    <a:pt x="85" y="46"/>
                  </a:moveTo>
                  <a:cubicBezTo>
                    <a:pt x="85" y="47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5" y="46"/>
                  </a:cubicBezTo>
                  <a:close/>
                  <a:moveTo>
                    <a:pt x="83" y="50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2" y="51"/>
                    <a:pt x="82" y="51"/>
                    <a:pt x="82" y="50"/>
                  </a:cubicBezTo>
                  <a:cubicBezTo>
                    <a:pt x="82" y="50"/>
                    <a:pt x="83" y="51"/>
                    <a:pt x="83" y="50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2"/>
                  </a:move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3"/>
                    <a:pt x="82" y="52"/>
                  </a:cubicBezTo>
                  <a:close/>
                  <a:moveTo>
                    <a:pt x="81" y="54"/>
                  </a:moveTo>
                  <a:cubicBezTo>
                    <a:pt x="81" y="55"/>
                    <a:pt x="81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lose/>
                  <a:moveTo>
                    <a:pt x="86" y="47"/>
                  </a:move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lose/>
                  <a:moveTo>
                    <a:pt x="82" y="56"/>
                  </a:moveTo>
                  <a:cubicBezTo>
                    <a:pt x="82" y="56"/>
                    <a:pt x="82" y="55"/>
                    <a:pt x="81" y="55"/>
                  </a:cubicBezTo>
                  <a:cubicBezTo>
                    <a:pt x="81" y="55"/>
                    <a:pt x="82" y="55"/>
                    <a:pt x="82" y="56"/>
                  </a:cubicBezTo>
                  <a:close/>
                  <a:moveTo>
                    <a:pt x="83" y="55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5"/>
                    <a:pt x="83" y="55"/>
                    <a:pt x="82" y="55"/>
                  </a:cubicBezTo>
                  <a:cubicBezTo>
                    <a:pt x="82" y="55"/>
                    <a:pt x="83" y="55"/>
                    <a:pt x="83" y="55"/>
                  </a:cubicBezTo>
                  <a:close/>
                  <a:moveTo>
                    <a:pt x="83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6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lose/>
                  <a:moveTo>
                    <a:pt x="86" y="53"/>
                  </a:moveTo>
                  <a:cubicBezTo>
                    <a:pt x="87" y="53"/>
                    <a:pt x="87" y="53"/>
                    <a:pt x="87" y="52"/>
                  </a:cubicBezTo>
                  <a:cubicBezTo>
                    <a:pt x="87" y="52"/>
                    <a:pt x="87" y="53"/>
                    <a:pt x="87" y="53"/>
                  </a:cubicBezTo>
                  <a:cubicBezTo>
                    <a:pt x="87" y="53"/>
                    <a:pt x="87" y="53"/>
                    <a:pt x="86" y="53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2" y="50"/>
                    <a:pt x="91" y="49"/>
                    <a:pt x="90" y="48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1" y="49"/>
                    <a:pt x="92" y="49"/>
                    <a:pt x="92" y="50"/>
                  </a:cubicBezTo>
                  <a:cubicBezTo>
                    <a:pt x="93" y="50"/>
                    <a:pt x="92" y="50"/>
                    <a:pt x="93" y="50"/>
                  </a:cubicBezTo>
                  <a:close/>
                  <a:moveTo>
                    <a:pt x="87" y="56"/>
                  </a:move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5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7"/>
                    <a:pt x="88" y="58"/>
                  </a:cubicBezTo>
                  <a:cubicBezTo>
                    <a:pt x="88" y="58"/>
                    <a:pt x="88" y="58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lose/>
                  <a:moveTo>
                    <a:pt x="89" y="54"/>
                  </a:move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5"/>
                  </a:cubicBezTo>
                  <a:cubicBezTo>
                    <a:pt x="89" y="55"/>
                    <a:pt x="89" y="54"/>
                    <a:pt x="89" y="54"/>
                  </a:cubicBezTo>
                  <a:close/>
                  <a:moveTo>
                    <a:pt x="87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7" y="57"/>
                  </a:cubicBezTo>
                  <a:cubicBezTo>
                    <a:pt x="88" y="57"/>
                    <a:pt x="87" y="57"/>
                    <a:pt x="87" y="57"/>
                  </a:cubicBezTo>
                  <a:close/>
                  <a:moveTo>
                    <a:pt x="88" y="58"/>
                  </a:moveTo>
                  <a:cubicBezTo>
                    <a:pt x="88" y="58"/>
                    <a:pt x="87" y="58"/>
                    <a:pt x="87" y="58"/>
                  </a:cubicBezTo>
                  <a:cubicBezTo>
                    <a:pt x="87" y="57"/>
                    <a:pt x="88" y="58"/>
                    <a:pt x="88" y="58"/>
                  </a:cubicBezTo>
                  <a:close/>
                  <a:moveTo>
                    <a:pt x="88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8" y="58"/>
                    <a:pt x="88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6"/>
                    <a:pt x="90" y="56"/>
                  </a:cubicBezTo>
                  <a:cubicBezTo>
                    <a:pt x="90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9" y="59"/>
                  </a:moveTo>
                  <a:cubicBezTo>
                    <a:pt x="89" y="59"/>
                    <a:pt x="88" y="59"/>
                    <a:pt x="88" y="59"/>
                  </a:cubicBezTo>
                  <a:cubicBezTo>
                    <a:pt x="88" y="59"/>
                    <a:pt x="89" y="59"/>
                    <a:pt x="89" y="59"/>
                  </a:cubicBezTo>
                  <a:close/>
                  <a:moveTo>
                    <a:pt x="89" y="57"/>
                  </a:move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9" y="59"/>
                  </a:moveTo>
                  <a:cubicBezTo>
                    <a:pt x="89" y="59"/>
                    <a:pt x="90" y="60"/>
                    <a:pt x="90" y="60"/>
                  </a:cubicBezTo>
                  <a:cubicBezTo>
                    <a:pt x="90" y="60"/>
                    <a:pt x="89" y="59"/>
                    <a:pt x="89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89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1" y="56"/>
                  </a:moveTo>
                  <a:cubicBezTo>
                    <a:pt x="92" y="56"/>
                    <a:pt x="93" y="56"/>
                    <a:pt x="93" y="56"/>
                  </a:cubicBezTo>
                  <a:cubicBezTo>
                    <a:pt x="92" y="56"/>
                    <a:pt x="92" y="56"/>
                    <a:pt x="91" y="56"/>
                  </a:cubicBezTo>
                  <a:cubicBezTo>
                    <a:pt x="91" y="56"/>
                    <a:pt x="91" y="55"/>
                    <a:pt x="91" y="56"/>
                  </a:cubicBezTo>
                  <a:close/>
                  <a:moveTo>
                    <a:pt x="91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8"/>
                    <a:pt x="91" y="58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2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2" y="59"/>
                  </a:cubicBezTo>
                  <a:cubicBezTo>
                    <a:pt x="92" y="59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3" y="58"/>
                  </a:moveTo>
                  <a:cubicBezTo>
                    <a:pt x="93" y="58"/>
                    <a:pt x="93" y="57"/>
                    <a:pt x="93" y="57"/>
                  </a:cubicBezTo>
                  <a:cubicBezTo>
                    <a:pt x="93" y="57"/>
                    <a:pt x="93" y="58"/>
                    <a:pt x="93" y="57"/>
                  </a:cubicBezTo>
                  <a:cubicBezTo>
                    <a:pt x="93" y="58"/>
                    <a:pt x="93" y="57"/>
                    <a:pt x="93" y="58"/>
                  </a:cubicBezTo>
                  <a:cubicBezTo>
                    <a:pt x="93" y="58"/>
                    <a:pt x="94" y="59"/>
                    <a:pt x="95" y="58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4" y="59"/>
                    <a:pt x="93" y="58"/>
                    <a:pt x="92" y="57"/>
                  </a:cubicBezTo>
                  <a:cubicBezTo>
                    <a:pt x="92" y="57"/>
                    <a:pt x="92" y="57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1" y="61"/>
                    <a:pt x="90" y="61"/>
                  </a:cubicBezTo>
                  <a:cubicBezTo>
                    <a:pt x="91" y="60"/>
                    <a:pt x="91" y="61"/>
                    <a:pt x="91" y="60"/>
                  </a:cubicBezTo>
                  <a:close/>
                  <a:moveTo>
                    <a:pt x="93" y="58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1" y="60"/>
                    <a:pt x="92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1" y="61"/>
                  </a:cubicBezTo>
                  <a:close/>
                  <a:moveTo>
                    <a:pt x="94" y="55"/>
                  </a:moveTo>
                  <a:cubicBezTo>
                    <a:pt x="94" y="55"/>
                    <a:pt x="95" y="55"/>
                    <a:pt x="95" y="56"/>
                  </a:cubicBezTo>
                  <a:cubicBezTo>
                    <a:pt x="95" y="56"/>
                    <a:pt x="95" y="55"/>
                    <a:pt x="94" y="56"/>
                  </a:cubicBezTo>
                  <a:cubicBezTo>
                    <a:pt x="94" y="55"/>
                    <a:pt x="94" y="55"/>
                    <a:pt x="94" y="55"/>
                  </a:cubicBezTo>
                  <a:close/>
                  <a:moveTo>
                    <a:pt x="93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3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2" y="61"/>
                  </a:move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1"/>
                    <a:pt x="92" y="61"/>
                  </a:cubicBezTo>
                  <a:close/>
                  <a:moveTo>
                    <a:pt x="93" y="59"/>
                  </a:move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lose/>
                  <a:moveTo>
                    <a:pt x="93" y="61"/>
                  </a:moveTo>
                  <a:cubicBezTo>
                    <a:pt x="93" y="61"/>
                    <a:pt x="93" y="60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5" y="56"/>
                  </a:cubicBezTo>
                  <a:close/>
                  <a:moveTo>
                    <a:pt x="95" y="61"/>
                  </a:move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lose/>
                  <a:moveTo>
                    <a:pt x="98" y="57"/>
                  </a:moveTo>
                  <a:cubicBezTo>
                    <a:pt x="98" y="57"/>
                    <a:pt x="97" y="57"/>
                    <a:pt x="97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8"/>
                    <a:pt x="98" y="58"/>
                    <a:pt x="98" y="57"/>
                  </a:cubicBezTo>
                  <a:close/>
                  <a:moveTo>
                    <a:pt x="99" y="59"/>
                  </a:moveTo>
                  <a:cubicBezTo>
                    <a:pt x="99" y="59"/>
                    <a:pt x="98" y="59"/>
                    <a:pt x="98" y="59"/>
                  </a:cubicBezTo>
                  <a:cubicBezTo>
                    <a:pt x="98" y="58"/>
                    <a:pt x="99" y="59"/>
                    <a:pt x="99" y="59"/>
                  </a:cubicBezTo>
                  <a:close/>
                  <a:moveTo>
                    <a:pt x="97" y="61"/>
                  </a:moveTo>
                  <a:cubicBezTo>
                    <a:pt x="97" y="61"/>
                    <a:pt x="97" y="61"/>
                    <a:pt x="97" y="62"/>
                  </a:cubicBezTo>
                  <a:cubicBezTo>
                    <a:pt x="97" y="62"/>
                    <a:pt x="97" y="61"/>
                    <a:pt x="97" y="61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0" y="58"/>
                  </a:cubicBezTo>
                  <a:cubicBezTo>
                    <a:pt x="100" y="57"/>
                    <a:pt x="101" y="58"/>
                    <a:pt x="101" y="58"/>
                  </a:cubicBezTo>
                  <a:cubicBezTo>
                    <a:pt x="101" y="58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1" y="57"/>
                    <a:pt x="100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9" y="59"/>
                  </a:move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lose/>
                  <a:moveTo>
                    <a:pt x="100" y="58"/>
                  </a:move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0" y="58"/>
                  </a:moveTo>
                  <a:cubicBezTo>
                    <a:pt x="100" y="57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8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0" y="62"/>
                  </a:moveTo>
                  <a:cubicBezTo>
                    <a:pt x="99" y="62"/>
                    <a:pt x="99" y="62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lose/>
                  <a:moveTo>
                    <a:pt x="102" y="61"/>
                  </a:moveTo>
                  <a:cubicBezTo>
                    <a:pt x="101" y="60"/>
                    <a:pt x="101" y="61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1" y="61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2" y="61"/>
                  </a:cubicBezTo>
                  <a:close/>
                  <a:moveTo>
                    <a:pt x="104" y="58"/>
                  </a:move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3" y="59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4" y="58"/>
                  </a:cubicBezTo>
                  <a:cubicBezTo>
                    <a:pt x="103" y="58"/>
                    <a:pt x="104" y="58"/>
                    <a:pt x="104" y="58"/>
                  </a:cubicBezTo>
                  <a:close/>
                  <a:moveTo>
                    <a:pt x="104" y="57"/>
                  </a:moveTo>
                  <a:cubicBezTo>
                    <a:pt x="104" y="58"/>
                    <a:pt x="104" y="57"/>
                    <a:pt x="104" y="57"/>
                  </a:cubicBezTo>
                  <a:cubicBezTo>
                    <a:pt x="104" y="57"/>
                    <a:pt x="104" y="57"/>
                    <a:pt x="103" y="57"/>
                  </a:cubicBezTo>
                  <a:cubicBezTo>
                    <a:pt x="104" y="57"/>
                    <a:pt x="104" y="57"/>
                    <a:pt x="104" y="57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2" y="63"/>
                  </a:moveTo>
                  <a:cubicBezTo>
                    <a:pt x="102" y="63"/>
                    <a:pt x="102" y="63"/>
                    <a:pt x="102" y="63"/>
                  </a:cubicBezTo>
                  <a:cubicBezTo>
                    <a:pt x="101" y="63"/>
                    <a:pt x="101" y="62"/>
                    <a:pt x="101" y="63"/>
                  </a:cubicBezTo>
                  <a:cubicBezTo>
                    <a:pt x="101" y="63"/>
                    <a:pt x="101" y="62"/>
                    <a:pt x="101" y="62"/>
                  </a:cubicBezTo>
                  <a:cubicBezTo>
                    <a:pt x="101" y="62"/>
                    <a:pt x="101" y="63"/>
                    <a:pt x="102" y="63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60"/>
                    <a:pt x="103" y="60"/>
                  </a:cubicBezTo>
                  <a:cubicBezTo>
                    <a:pt x="103" y="60"/>
                    <a:pt x="103" y="59"/>
                    <a:pt x="103" y="59"/>
                  </a:cubicBezTo>
                  <a:close/>
                  <a:moveTo>
                    <a:pt x="103" y="59"/>
                  </a:moveTo>
                  <a:cubicBezTo>
                    <a:pt x="104" y="59"/>
                    <a:pt x="104" y="59"/>
                    <a:pt x="104" y="60"/>
                  </a:cubicBezTo>
                  <a:cubicBezTo>
                    <a:pt x="104" y="60"/>
                    <a:pt x="104" y="59"/>
                    <a:pt x="103" y="59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3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2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lose/>
                  <a:moveTo>
                    <a:pt x="105" y="60"/>
                  </a:moveTo>
                  <a:cubicBezTo>
                    <a:pt x="105" y="60"/>
                    <a:pt x="104" y="59"/>
                    <a:pt x="104" y="59"/>
                  </a:cubicBezTo>
                  <a:cubicBezTo>
                    <a:pt x="104" y="59"/>
                    <a:pt x="105" y="60"/>
                    <a:pt x="105" y="60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04" y="62"/>
                  </a:moveTo>
                  <a:cubicBezTo>
                    <a:pt x="104" y="63"/>
                    <a:pt x="104" y="62"/>
                    <a:pt x="103" y="62"/>
                  </a:cubicBezTo>
                  <a:cubicBezTo>
                    <a:pt x="103" y="62"/>
                    <a:pt x="104" y="62"/>
                    <a:pt x="104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2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0"/>
                    <a:pt x="105" y="60"/>
                  </a:cubicBezTo>
                  <a:close/>
                  <a:moveTo>
                    <a:pt x="106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9"/>
                    <a:pt x="106" y="58"/>
                  </a:cubicBezTo>
                  <a:cubicBezTo>
                    <a:pt x="106" y="59"/>
                    <a:pt x="106" y="59"/>
                    <a:pt x="106" y="59"/>
                  </a:cubicBezTo>
                  <a:close/>
                  <a:moveTo>
                    <a:pt x="106" y="59"/>
                  </a:moveTo>
                  <a:cubicBezTo>
                    <a:pt x="106" y="59"/>
                    <a:pt x="107" y="59"/>
                    <a:pt x="107" y="59"/>
                  </a:cubicBezTo>
                  <a:cubicBezTo>
                    <a:pt x="106" y="59"/>
                    <a:pt x="107" y="59"/>
                    <a:pt x="106" y="59"/>
                  </a:cubicBezTo>
                  <a:close/>
                  <a:moveTo>
                    <a:pt x="107" y="58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8"/>
                    <a:pt x="107" y="59"/>
                    <a:pt x="107" y="58"/>
                  </a:cubicBezTo>
                  <a:close/>
                  <a:moveTo>
                    <a:pt x="104" y="65"/>
                  </a:moveTo>
                  <a:cubicBezTo>
                    <a:pt x="104" y="65"/>
                    <a:pt x="104" y="64"/>
                    <a:pt x="103" y="64"/>
                  </a:cubicBezTo>
                  <a:cubicBezTo>
                    <a:pt x="104" y="64"/>
                    <a:pt x="104" y="65"/>
                    <a:pt x="104" y="65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5" y="64"/>
                  </a:moveTo>
                  <a:cubicBezTo>
                    <a:pt x="105" y="65"/>
                    <a:pt x="104" y="64"/>
                    <a:pt x="104" y="64"/>
                  </a:cubicBezTo>
                  <a:cubicBezTo>
                    <a:pt x="104" y="64"/>
                    <a:pt x="105" y="64"/>
                    <a:pt x="104" y="64"/>
                  </a:cubicBezTo>
                  <a:cubicBezTo>
                    <a:pt x="105" y="64"/>
                    <a:pt x="104" y="64"/>
                    <a:pt x="105" y="64"/>
                  </a:cubicBezTo>
                  <a:close/>
                  <a:moveTo>
                    <a:pt x="105" y="64"/>
                  </a:move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4" y="64"/>
                    <a:pt x="105" y="64"/>
                    <a:pt x="105" y="64"/>
                  </a:cubicBezTo>
                  <a:cubicBezTo>
                    <a:pt x="105" y="63"/>
                    <a:pt x="105" y="64"/>
                    <a:pt x="105" y="64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3" y="66"/>
                  </a:cubicBezTo>
                  <a:cubicBezTo>
                    <a:pt x="103" y="66"/>
                    <a:pt x="103" y="66"/>
                    <a:pt x="103" y="66"/>
                  </a:cubicBezTo>
                  <a:close/>
                  <a:moveTo>
                    <a:pt x="106" y="61"/>
                  </a:moveTo>
                  <a:cubicBezTo>
                    <a:pt x="106" y="60"/>
                    <a:pt x="107" y="61"/>
                    <a:pt x="107" y="60"/>
                  </a:cubicBezTo>
                  <a:cubicBezTo>
                    <a:pt x="107" y="60"/>
                    <a:pt x="107" y="60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6" y="61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59"/>
                    <a:pt x="108" y="60"/>
                  </a:cubicBezTo>
                  <a:cubicBezTo>
                    <a:pt x="108" y="60"/>
                    <a:pt x="108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59"/>
                  </a:cubicBezTo>
                  <a:close/>
                  <a:moveTo>
                    <a:pt x="107" y="61"/>
                  </a:moveTo>
                  <a:cubicBezTo>
                    <a:pt x="107" y="61"/>
                    <a:pt x="107" y="61"/>
                    <a:pt x="108" y="61"/>
                  </a:cubicBezTo>
                  <a:cubicBezTo>
                    <a:pt x="107" y="61"/>
                    <a:pt x="107" y="61"/>
                    <a:pt x="107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7" y="65"/>
                    <a:pt x="107" y="65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  <a:moveTo>
                    <a:pt x="109" y="64"/>
                  </a:moveTo>
                  <a:cubicBezTo>
                    <a:pt x="109" y="64"/>
                    <a:pt x="109" y="64"/>
                    <a:pt x="108" y="63"/>
                  </a:cubicBezTo>
                  <a:cubicBezTo>
                    <a:pt x="109" y="63"/>
                    <a:pt x="109" y="64"/>
                    <a:pt x="109" y="64"/>
                  </a:cubicBezTo>
                  <a:close/>
                  <a:moveTo>
                    <a:pt x="106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6" y="68"/>
                    <a:pt x="106" y="69"/>
                    <a:pt x="106" y="69"/>
                  </a:cubicBez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8" y="66"/>
                    <a:pt x="108" y="66"/>
                  </a:cubicBezTo>
                  <a:cubicBezTo>
                    <a:pt x="108" y="66"/>
                    <a:pt x="109" y="67"/>
                    <a:pt x="109" y="66"/>
                  </a:cubicBezTo>
                  <a:cubicBezTo>
                    <a:pt x="109" y="67"/>
                    <a:pt x="109" y="66"/>
                    <a:pt x="109" y="67"/>
                  </a:cubicBezTo>
                  <a:close/>
                  <a:moveTo>
                    <a:pt x="108" y="70"/>
                  </a:moveTo>
                  <a:cubicBezTo>
                    <a:pt x="108" y="70"/>
                    <a:pt x="108" y="70"/>
                    <a:pt x="108" y="70"/>
                  </a:cubicBezTo>
                  <a:cubicBezTo>
                    <a:pt x="108" y="70"/>
                    <a:pt x="108" y="70"/>
                    <a:pt x="107" y="70"/>
                  </a:cubicBezTo>
                  <a:cubicBezTo>
                    <a:pt x="107" y="69"/>
                    <a:pt x="108" y="70"/>
                    <a:pt x="108" y="70"/>
                  </a:cubicBezTo>
                  <a:close/>
                  <a:moveTo>
                    <a:pt x="109" y="66"/>
                  </a:moveTo>
                  <a:cubicBezTo>
                    <a:pt x="109" y="66"/>
                    <a:pt x="110" y="66"/>
                    <a:pt x="110" y="66"/>
                  </a:cubicBezTo>
                  <a:cubicBezTo>
                    <a:pt x="110" y="67"/>
                    <a:pt x="110" y="66"/>
                    <a:pt x="109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lose/>
                  <a:moveTo>
                    <a:pt x="109" y="67"/>
                  </a:moveTo>
                  <a:cubicBezTo>
                    <a:pt x="110" y="67"/>
                    <a:pt x="110" y="67"/>
                    <a:pt x="109" y="67"/>
                  </a:cubicBezTo>
                  <a:close/>
                  <a:moveTo>
                    <a:pt x="108" y="71"/>
                  </a:moveTo>
                  <a:cubicBezTo>
                    <a:pt x="108" y="71"/>
                    <a:pt x="108" y="71"/>
                    <a:pt x="108" y="71"/>
                  </a:cubicBezTo>
                  <a:cubicBezTo>
                    <a:pt x="108" y="71"/>
                    <a:pt x="109" y="71"/>
                    <a:pt x="108" y="71"/>
                  </a:cubicBezTo>
                  <a:close/>
                  <a:moveTo>
                    <a:pt x="112" y="66"/>
                  </a:moveTo>
                  <a:cubicBezTo>
                    <a:pt x="112" y="66"/>
                    <a:pt x="111" y="66"/>
                    <a:pt x="111" y="66"/>
                  </a:cubicBezTo>
                  <a:cubicBezTo>
                    <a:pt x="111" y="65"/>
                    <a:pt x="112" y="66"/>
                    <a:pt x="112" y="66"/>
                  </a:cubicBezTo>
                  <a:close/>
                  <a:moveTo>
                    <a:pt x="114" y="66"/>
                  </a:moveTo>
                  <a:cubicBezTo>
                    <a:pt x="114" y="66"/>
                    <a:pt x="113" y="66"/>
                    <a:pt x="113" y="66"/>
                  </a:cubicBezTo>
                  <a:cubicBezTo>
                    <a:pt x="113" y="65"/>
                    <a:pt x="114" y="66"/>
                    <a:pt x="114" y="66"/>
                  </a:cubicBezTo>
                  <a:close/>
                  <a:moveTo>
                    <a:pt x="112" y="70"/>
                  </a:move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2" y="70"/>
                    <a:pt x="112" y="70"/>
                  </a:cubicBezTo>
                  <a:close/>
                  <a:moveTo>
                    <a:pt x="113" y="69"/>
                  </a:moveTo>
                  <a:cubicBezTo>
                    <a:pt x="113" y="69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5" y="66"/>
                    <a:pt x="115" y="67"/>
                  </a:cubicBezTo>
                  <a:cubicBezTo>
                    <a:pt x="115" y="67"/>
                    <a:pt x="115" y="66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3" y="71"/>
                  </a:move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4" y="71"/>
                    <a:pt x="113" y="71"/>
                  </a:cubicBezTo>
                  <a:close/>
                  <a:moveTo>
                    <a:pt x="118" y="65"/>
                  </a:moveTo>
                  <a:cubicBezTo>
                    <a:pt x="118" y="65"/>
                    <a:pt x="117" y="65"/>
                    <a:pt x="117" y="64"/>
                  </a:cubicBezTo>
                  <a:cubicBezTo>
                    <a:pt x="117" y="64"/>
                    <a:pt x="118" y="65"/>
                    <a:pt x="118" y="65"/>
                  </a:cubicBezTo>
                  <a:close/>
                  <a:moveTo>
                    <a:pt x="116" y="67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lose/>
                  <a:moveTo>
                    <a:pt x="118" y="73"/>
                  </a:move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lose/>
                  <a:moveTo>
                    <a:pt x="125" y="72"/>
                  </a:moveTo>
                  <a:cubicBezTo>
                    <a:pt x="125" y="72"/>
                    <a:pt x="126" y="72"/>
                    <a:pt x="126" y="72"/>
                  </a:cubicBezTo>
                  <a:cubicBezTo>
                    <a:pt x="126" y="72"/>
                    <a:pt x="125" y="72"/>
                    <a:pt x="125" y="72"/>
                  </a:cubicBezTo>
                  <a:close/>
                  <a:moveTo>
                    <a:pt x="124" y="76"/>
                  </a:moveTo>
                  <a:cubicBezTo>
                    <a:pt x="124" y="75"/>
                    <a:pt x="125" y="76"/>
                    <a:pt x="125" y="76"/>
                  </a:cubicBezTo>
                  <a:cubicBezTo>
                    <a:pt x="124" y="76"/>
                    <a:pt x="124" y="76"/>
                    <a:pt x="124" y="76"/>
                  </a:cubicBezTo>
                  <a:close/>
                  <a:moveTo>
                    <a:pt x="127" y="72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2"/>
                    <a:pt x="127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3" y="75"/>
                  </a:moveTo>
                  <a:cubicBezTo>
                    <a:pt x="133" y="75"/>
                    <a:pt x="134" y="75"/>
                    <a:pt x="134" y="75"/>
                  </a:cubicBezTo>
                  <a:cubicBezTo>
                    <a:pt x="134" y="75"/>
                    <a:pt x="133" y="75"/>
                    <a:pt x="133" y="75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5" y="76"/>
                    <a:pt x="135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lose/>
                  <a:moveTo>
                    <a:pt x="135" y="80"/>
                  </a:moveTo>
                  <a:cubicBezTo>
                    <a:pt x="135" y="80"/>
                    <a:pt x="135" y="79"/>
                    <a:pt x="135" y="79"/>
                  </a:cubicBezTo>
                  <a:cubicBezTo>
                    <a:pt x="135" y="79"/>
                    <a:pt x="135" y="79"/>
                    <a:pt x="135" y="80"/>
                  </a:cubicBezTo>
                  <a:close/>
                  <a:moveTo>
                    <a:pt x="139" y="78"/>
                  </a:moveTo>
                  <a:cubicBezTo>
                    <a:pt x="139" y="79"/>
                    <a:pt x="139" y="79"/>
                    <a:pt x="139" y="78"/>
                  </a:cubicBezTo>
                  <a:cubicBezTo>
                    <a:pt x="138" y="78"/>
                    <a:pt x="138" y="78"/>
                    <a:pt x="137" y="77"/>
                  </a:cubicBezTo>
                  <a:cubicBezTo>
                    <a:pt x="138" y="78"/>
                    <a:pt x="139" y="78"/>
                    <a:pt x="139" y="78"/>
                  </a:cubicBezTo>
                  <a:close/>
                  <a:moveTo>
                    <a:pt x="137" y="81"/>
                  </a:moveTo>
                  <a:cubicBezTo>
                    <a:pt x="137" y="81"/>
                    <a:pt x="137" y="81"/>
                    <a:pt x="136" y="80"/>
                  </a:cubicBezTo>
                  <a:cubicBezTo>
                    <a:pt x="136" y="80"/>
                    <a:pt x="137" y="81"/>
                    <a:pt x="137" y="81"/>
                  </a:cubicBezTo>
                  <a:close/>
                  <a:moveTo>
                    <a:pt x="140" y="79"/>
                  </a:moveTo>
                  <a:cubicBezTo>
                    <a:pt x="140" y="79"/>
                    <a:pt x="141" y="79"/>
                    <a:pt x="141" y="79"/>
                  </a:cubicBezTo>
                  <a:cubicBezTo>
                    <a:pt x="141" y="80"/>
                    <a:pt x="140" y="79"/>
                    <a:pt x="140" y="79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4" y="80"/>
                    <a:pt x="144" y="80"/>
                  </a:cubicBezTo>
                  <a:cubicBezTo>
                    <a:pt x="144" y="81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2"/>
                    <a:pt x="143" y="81"/>
                  </a:cubicBezTo>
                  <a:close/>
                  <a:moveTo>
                    <a:pt x="141" y="85"/>
                  </a:moveTo>
                  <a:cubicBezTo>
                    <a:pt x="141" y="86"/>
                    <a:pt x="141" y="85"/>
                    <a:pt x="141" y="85"/>
                  </a:cubicBezTo>
                  <a:cubicBezTo>
                    <a:pt x="141" y="85"/>
                    <a:pt x="141" y="85"/>
                    <a:pt x="141" y="85"/>
                  </a:cubicBezTo>
                  <a:close/>
                  <a:moveTo>
                    <a:pt x="144" y="83"/>
                  </a:moveTo>
                  <a:cubicBezTo>
                    <a:pt x="144" y="83"/>
                    <a:pt x="143" y="82"/>
                    <a:pt x="143" y="82"/>
                  </a:cubicBezTo>
                  <a:cubicBezTo>
                    <a:pt x="143" y="82"/>
                    <a:pt x="144" y="82"/>
                    <a:pt x="144" y="83"/>
                  </a:cubicBezTo>
                  <a:close/>
                  <a:moveTo>
                    <a:pt x="144" y="81"/>
                  </a:move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4" y="82"/>
                    <a:pt x="145" y="82"/>
                  </a:cubicBezTo>
                  <a:cubicBezTo>
                    <a:pt x="145" y="82"/>
                    <a:pt x="144" y="81"/>
                    <a:pt x="144" y="82"/>
                  </a:cubicBezTo>
                  <a:close/>
                  <a:moveTo>
                    <a:pt x="145" y="83"/>
                  </a:moveTo>
                  <a:cubicBezTo>
                    <a:pt x="145" y="83"/>
                    <a:pt x="144" y="83"/>
                    <a:pt x="144" y="83"/>
                  </a:cubicBezTo>
                  <a:cubicBezTo>
                    <a:pt x="144" y="83"/>
                    <a:pt x="145" y="83"/>
                    <a:pt x="145" y="83"/>
                  </a:cubicBezTo>
                  <a:close/>
                  <a:moveTo>
                    <a:pt x="144" y="83"/>
                  </a:moveTo>
                  <a:cubicBezTo>
                    <a:pt x="144" y="83"/>
                    <a:pt x="145" y="83"/>
                    <a:pt x="145" y="83"/>
                  </a:cubicBezTo>
                  <a:cubicBezTo>
                    <a:pt x="145" y="83"/>
                    <a:pt x="144" y="83"/>
                    <a:pt x="144" y="83"/>
                  </a:cubicBezTo>
                  <a:close/>
                  <a:moveTo>
                    <a:pt x="145" y="82"/>
                  </a:moveTo>
                  <a:cubicBezTo>
                    <a:pt x="145" y="83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lose/>
                  <a:moveTo>
                    <a:pt x="147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7" y="82"/>
                  </a:cubicBezTo>
                  <a:close/>
                  <a:moveTo>
                    <a:pt x="144" y="87"/>
                  </a:moveTo>
                  <a:cubicBezTo>
                    <a:pt x="144" y="88"/>
                    <a:pt x="144" y="87"/>
                    <a:pt x="144" y="87"/>
                  </a:cubicBezTo>
                  <a:cubicBezTo>
                    <a:pt x="144" y="87"/>
                    <a:pt x="144" y="87"/>
                    <a:pt x="144" y="87"/>
                  </a:cubicBezTo>
                  <a:close/>
                  <a:moveTo>
                    <a:pt x="145" y="88"/>
                  </a:moveTo>
                  <a:cubicBezTo>
                    <a:pt x="145" y="89"/>
                    <a:pt x="145" y="88"/>
                    <a:pt x="145" y="88"/>
                  </a:cubicBezTo>
                  <a:cubicBezTo>
                    <a:pt x="145" y="88"/>
                    <a:pt x="145" y="88"/>
                    <a:pt x="145" y="88"/>
                  </a:cubicBezTo>
                  <a:close/>
                  <a:moveTo>
                    <a:pt x="149" y="84"/>
                  </a:moveTo>
                  <a:cubicBezTo>
                    <a:pt x="149" y="84"/>
                    <a:pt x="150" y="85"/>
                    <a:pt x="151" y="86"/>
                  </a:cubicBezTo>
                  <a:cubicBezTo>
                    <a:pt x="152" y="86"/>
                    <a:pt x="153" y="87"/>
                    <a:pt x="153" y="87"/>
                  </a:cubicBezTo>
                  <a:cubicBezTo>
                    <a:pt x="152" y="86"/>
                    <a:pt x="150" y="85"/>
                    <a:pt x="149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49" y="86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lose/>
                  <a:moveTo>
                    <a:pt x="151" y="84"/>
                  </a:moveTo>
                  <a:cubicBezTo>
                    <a:pt x="151" y="84"/>
                    <a:pt x="150" y="84"/>
                    <a:pt x="150" y="84"/>
                  </a:cubicBezTo>
                  <a:cubicBezTo>
                    <a:pt x="150" y="84"/>
                    <a:pt x="151" y="84"/>
                    <a:pt x="151" y="84"/>
                  </a:cubicBezTo>
                  <a:close/>
                  <a:moveTo>
                    <a:pt x="151" y="85"/>
                  </a:moveTo>
                  <a:cubicBezTo>
                    <a:pt x="151" y="85"/>
                    <a:pt x="150" y="85"/>
                    <a:pt x="150" y="84"/>
                  </a:cubicBezTo>
                  <a:cubicBezTo>
                    <a:pt x="150" y="84"/>
                    <a:pt x="151" y="85"/>
                    <a:pt x="151" y="85"/>
                  </a:cubicBezTo>
                  <a:close/>
                  <a:moveTo>
                    <a:pt x="151" y="84"/>
                  </a:moveTo>
                  <a:cubicBezTo>
                    <a:pt x="151" y="84"/>
                    <a:pt x="151" y="84"/>
                    <a:pt x="152" y="85"/>
                  </a:cubicBezTo>
                  <a:cubicBezTo>
                    <a:pt x="152" y="85"/>
                    <a:pt x="152" y="85"/>
                    <a:pt x="151" y="85"/>
                  </a:cubicBezTo>
                  <a:cubicBezTo>
                    <a:pt x="152" y="85"/>
                    <a:pt x="151" y="84"/>
                    <a:pt x="151" y="84"/>
                  </a:cubicBezTo>
                  <a:close/>
                  <a:moveTo>
                    <a:pt x="150" y="87"/>
                  </a:moveTo>
                  <a:cubicBezTo>
                    <a:pt x="150" y="87"/>
                    <a:pt x="150" y="86"/>
                    <a:pt x="150" y="86"/>
                  </a:cubicBezTo>
                  <a:cubicBezTo>
                    <a:pt x="150" y="86"/>
                    <a:pt x="150" y="87"/>
                    <a:pt x="150" y="87"/>
                  </a:cubicBezTo>
                  <a:close/>
                  <a:moveTo>
                    <a:pt x="149" y="91"/>
                  </a:moveTo>
                  <a:cubicBezTo>
                    <a:pt x="149" y="91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2" y="88"/>
                    <a:pt x="152" y="88"/>
                  </a:cubicBezTo>
                  <a:close/>
                  <a:moveTo>
                    <a:pt x="153" y="88"/>
                  </a:move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4" y="89"/>
                  </a:cubicBezTo>
                  <a:cubicBezTo>
                    <a:pt x="153" y="89"/>
                    <a:pt x="153" y="88"/>
                    <a:pt x="153" y="88"/>
                  </a:cubicBezTo>
                  <a:close/>
                  <a:moveTo>
                    <a:pt x="155" y="86"/>
                  </a:moveTo>
                  <a:cubicBezTo>
                    <a:pt x="155" y="87"/>
                    <a:pt x="154" y="86"/>
                    <a:pt x="154" y="86"/>
                  </a:cubicBezTo>
                  <a:cubicBezTo>
                    <a:pt x="154" y="86"/>
                    <a:pt x="155" y="86"/>
                    <a:pt x="155" y="86"/>
                  </a:cubicBezTo>
                  <a:close/>
                  <a:moveTo>
                    <a:pt x="152" y="93"/>
                  </a:moveTo>
                  <a:cubicBezTo>
                    <a:pt x="152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2" y="93"/>
                  </a:cubicBezTo>
                  <a:close/>
                  <a:moveTo>
                    <a:pt x="154" y="88"/>
                  </a:move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8"/>
                    <a:pt x="154" y="89"/>
                    <a:pt x="154" y="88"/>
                  </a:cubicBezTo>
                  <a:close/>
                  <a:moveTo>
                    <a:pt x="155" y="87"/>
                  </a:moveTo>
                  <a:cubicBezTo>
                    <a:pt x="155" y="87"/>
                    <a:pt x="156" y="87"/>
                    <a:pt x="156" y="87"/>
                  </a:cubicBezTo>
                  <a:cubicBezTo>
                    <a:pt x="156" y="87"/>
                    <a:pt x="155" y="87"/>
                    <a:pt x="155" y="87"/>
                  </a:cubicBezTo>
                  <a:close/>
                  <a:moveTo>
                    <a:pt x="154" y="88"/>
                  </a:moveTo>
                  <a:cubicBezTo>
                    <a:pt x="154" y="88"/>
                    <a:pt x="155" y="88"/>
                    <a:pt x="155" y="88"/>
                  </a:cubicBezTo>
                  <a:cubicBezTo>
                    <a:pt x="155" y="88"/>
                    <a:pt x="155" y="88"/>
                    <a:pt x="154" y="88"/>
                  </a:cubicBezTo>
                  <a:close/>
                  <a:moveTo>
                    <a:pt x="152" y="93"/>
                  </a:moveTo>
                  <a:cubicBezTo>
                    <a:pt x="152" y="93"/>
                    <a:pt x="153" y="93"/>
                    <a:pt x="153" y="93"/>
                  </a:cubicBezTo>
                  <a:cubicBezTo>
                    <a:pt x="153" y="93"/>
                    <a:pt x="152" y="93"/>
                    <a:pt x="152" y="93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3" y="91"/>
                  </a:cubicBezTo>
                  <a:cubicBezTo>
                    <a:pt x="153" y="91"/>
                    <a:pt x="154" y="91"/>
                    <a:pt x="154" y="91"/>
                  </a:cubicBezTo>
                  <a:close/>
                  <a:moveTo>
                    <a:pt x="155" y="89"/>
                  </a:moveTo>
                  <a:cubicBezTo>
                    <a:pt x="155" y="89"/>
                    <a:pt x="155" y="90"/>
                    <a:pt x="155" y="90"/>
                  </a:cubicBezTo>
                  <a:cubicBezTo>
                    <a:pt x="155" y="90"/>
                    <a:pt x="155" y="90"/>
                    <a:pt x="155" y="89"/>
                  </a:cubicBezTo>
                  <a:close/>
                  <a:moveTo>
                    <a:pt x="157" y="88"/>
                  </a:moveTo>
                  <a:cubicBezTo>
                    <a:pt x="157" y="88"/>
                    <a:pt x="156" y="87"/>
                    <a:pt x="156" y="87"/>
                  </a:cubicBezTo>
                  <a:cubicBezTo>
                    <a:pt x="156" y="87"/>
                    <a:pt x="157" y="87"/>
                    <a:pt x="157" y="88"/>
                  </a:cubicBezTo>
                  <a:close/>
                  <a:moveTo>
                    <a:pt x="155" y="92"/>
                  </a:moveTo>
                  <a:cubicBezTo>
                    <a:pt x="155" y="92"/>
                    <a:pt x="154" y="91"/>
                    <a:pt x="154" y="91"/>
                  </a:cubicBezTo>
                  <a:cubicBezTo>
                    <a:pt x="155" y="91"/>
                    <a:pt x="155" y="92"/>
                    <a:pt x="155" y="92"/>
                  </a:cubicBezTo>
                  <a:close/>
                  <a:moveTo>
                    <a:pt x="153" y="94"/>
                  </a:moveTo>
                  <a:cubicBezTo>
                    <a:pt x="153" y="94"/>
                    <a:pt x="153" y="94"/>
                    <a:pt x="153" y="94"/>
                  </a:cubicBezTo>
                  <a:cubicBezTo>
                    <a:pt x="153" y="94"/>
                    <a:pt x="153" y="94"/>
                    <a:pt x="153" y="94"/>
                  </a:cubicBezTo>
                  <a:close/>
                  <a:moveTo>
                    <a:pt x="158" y="89"/>
                  </a:moveTo>
                  <a:cubicBezTo>
                    <a:pt x="158" y="89"/>
                    <a:pt x="158" y="88"/>
                    <a:pt x="158" y="88"/>
                  </a:cubicBezTo>
                  <a:cubicBezTo>
                    <a:pt x="158" y="89"/>
                    <a:pt x="158" y="89"/>
                    <a:pt x="158" y="89"/>
                  </a:cubicBezTo>
                  <a:cubicBezTo>
                    <a:pt x="158" y="89"/>
                    <a:pt x="157" y="88"/>
                    <a:pt x="158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8" y="88"/>
                    <a:pt x="158" y="89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0"/>
                  </a:moveTo>
                  <a:cubicBezTo>
                    <a:pt x="157" y="90"/>
                    <a:pt x="156" y="90"/>
                    <a:pt x="156" y="90"/>
                  </a:cubicBezTo>
                  <a:cubicBezTo>
                    <a:pt x="156" y="90"/>
                    <a:pt x="157" y="90"/>
                    <a:pt x="157" y="90"/>
                  </a:cubicBezTo>
                  <a:close/>
                  <a:moveTo>
                    <a:pt x="157" y="91"/>
                  </a:moveTo>
                  <a:cubicBezTo>
                    <a:pt x="157" y="91"/>
                    <a:pt x="156" y="91"/>
                    <a:pt x="156" y="90"/>
                  </a:cubicBezTo>
                  <a:cubicBezTo>
                    <a:pt x="156" y="90"/>
                    <a:pt x="157" y="91"/>
                    <a:pt x="157" y="91"/>
                  </a:cubicBezTo>
                  <a:close/>
                  <a:moveTo>
                    <a:pt x="155" y="95"/>
                  </a:moveTo>
                  <a:cubicBezTo>
                    <a:pt x="155" y="95"/>
                    <a:pt x="154" y="95"/>
                    <a:pt x="154" y="95"/>
                  </a:cubicBezTo>
                  <a:cubicBezTo>
                    <a:pt x="155" y="95"/>
                    <a:pt x="155" y="95"/>
                    <a:pt x="155" y="95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5"/>
                    <a:pt x="154" y="95"/>
                  </a:cubicBezTo>
                  <a:cubicBezTo>
                    <a:pt x="155" y="95"/>
                    <a:pt x="155" y="96"/>
                    <a:pt x="155" y="96"/>
                  </a:cubicBezTo>
                  <a:close/>
                  <a:moveTo>
                    <a:pt x="157" y="93"/>
                  </a:move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6" y="96"/>
                  </a:moveTo>
                  <a:cubicBezTo>
                    <a:pt x="156" y="96"/>
                    <a:pt x="156" y="96"/>
                    <a:pt x="156" y="96"/>
                  </a:cubicBezTo>
                  <a:cubicBezTo>
                    <a:pt x="156" y="96"/>
                    <a:pt x="156" y="96"/>
                    <a:pt x="156" y="96"/>
                  </a:cubicBezTo>
                  <a:close/>
                  <a:moveTo>
                    <a:pt x="160" y="90"/>
                  </a:moveTo>
                  <a:cubicBezTo>
                    <a:pt x="159" y="90"/>
                    <a:pt x="159" y="90"/>
                    <a:pt x="159" y="90"/>
                  </a:cubicBezTo>
                  <a:cubicBezTo>
                    <a:pt x="159" y="90"/>
                    <a:pt x="160" y="90"/>
                    <a:pt x="159" y="90"/>
                  </a:cubicBezTo>
                  <a:cubicBezTo>
                    <a:pt x="160" y="90"/>
                    <a:pt x="160" y="90"/>
                    <a:pt x="160" y="90"/>
                  </a:cubicBezTo>
                  <a:close/>
                  <a:moveTo>
                    <a:pt x="161" y="92"/>
                  </a:moveTo>
                  <a:cubicBezTo>
                    <a:pt x="160" y="92"/>
                    <a:pt x="160" y="91"/>
                    <a:pt x="160" y="91"/>
                  </a:cubicBezTo>
                  <a:cubicBezTo>
                    <a:pt x="160" y="91"/>
                    <a:pt x="161" y="91"/>
                    <a:pt x="161" y="92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6"/>
                  </a:moveTo>
                  <a:cubicBezTo>
                    <a:pt x="23" y="6"/>
                    <a:pt x="23" y="6"/>
                    <a:pt x="24" y="7"/>
                  </a:cubicBezTo>
                  <a:cubicBezTo>
                    <a:pt x="24" y="7"/>
                    <a:pt x="24" y="7"/>
                    <a:pt x="23" y="7"/>
                  </a:cubicBezTo>
                  <a:cubicBezTo>
                    <a:pt x="24" y="7"/>
                    <a:pt x="24" y="7"/>
                    <a:pt x="24" y="8"/>
                  </a:cubicBezTo>
                  <a:cubicBezTo>
                    <a:pt x="25" y="8"/>
                    <a:pt x="25" y="8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10"/>
                    <a:pt x="28" y="9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5"/>
                    <a:pt x="33" y="14"/>
                  </a:cubicBezTo>
                  <a:cubicBezTo>
                    <a:pt x="33" y="15"/>
                    <a:pt x="34" y="15"/>
                    <a:pt x="35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8"/>
                    <a:pt x="39" y="18"/>
                    <a:pt x="39" y="19"/>
                  </a:cubicBezTo>
                  <a:cubicBezTo>
                    <a:pt x="39" y="19"/>
                    <a:pt x="39" y="19"/>
                    <a:pt x="38" y="18"/>
                  </a:cubicBezTo>
                  <a:cubicBezTo>
                    <a:pt x="38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2"/>
                    <a:pt x="43" y="21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2" y="22"/>
                    <a:pt x="41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2"/>
                    <a:pt x="42" y="21"/>
                    <a:pt x="42" y="22"/>
                  </a:cubicBezTo>
                  <a:cubicBezTo>
                    <a:pt x="42" y="22"/>
                    <a:pt x="42" y="22"/>
                    <a:pt x="43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3" y="23"/>
                    <a:pt x="43" y="23"/>
                    <a:pt x="43" y="22"/>
                  </a:cubicBezTo>
                  <a:cubicBezTo>
                    <a:pt x="43" y="22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23"/>
                    <a:pt x="45" y="23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8" y="25"/>
                  </a:cubicBezTo>
                  <a:cubicBezTo>
                    <a:pt x="48" y="25"/>
                    <a:pt x="47" y="25"/>
                    <a:pt x="47" y="24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7"/>
                    <a:pt x="50" y="26"/>
                  </a:cubicBezTo>
                  <a:cubicBezTo>
                    <a:pt x="50" y="27"/>
                    <a:pt x="49" y="27"/>
                    <a:pt x="50" y="27"/>
                  </a:cubicBezTo>
                  <a:cubicBezTo>
                    <a:pt x="50" y="27"/>
                    <a:pt x="50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2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53" y="29"/>
                    <a:pt x="54" y="29"/>
                    <a:pt x="53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6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6" y="31"/>
                    <a:pt x="57" y="31"/>
                  </a:cubicBezTo>
                  <a:cubicBezTo>
                    <a:pt x="57" y="31"/>
                    <a:pt x="56" y="30"/>
                    <a:pt x="56" y="3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3" y="29"/>
                    <a:pt x="53" y="29"/>
                    <a:pt x="51" y="28"/>
                  </a:cubicBezTo>
                  <a:cubicBezTo>
                    <a:pt x="51" y="28"/>
                    <a:pt x="51" y="28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7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7" y="26"/>
                    <a:pt x="47" y="27"/>
                  </a:cubicBezTo>
                  <a:cubicBezTo>
                    <a:pt x="47" y="26"/>
                    <a:pt x="48" y="27"/>
                    <a:pt x="48" y="27"/>
                  </a:cubicBezTo>
                  <a:cubicBezTo>
                    <a:pt x="48" y="27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7" y="25"/>
                    <a:pt x="46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4"/>
                    <a:pt x="43" y="24"/>
                    <a:pt x="42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2"/>
                    <a:pt x="42" y="22"/>
                    <a:pt x="42" y="23"/>
                  </a:cubicBezTo>
                  <a:cubicBezTo>
                    <a:pt x="42" y="22"/>
                    <a:pt x="41" y="22"/>
                    <a:pt x="42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4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19"/>
                    <a:pt x="36" y="19"/>
                    <a:pt x="36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9"/>
                  </a:cubicBezTo>
                  <a:cubicBezTo>
                    <a:pt x="35" y="19"/>
                    <a:pt x="35" y="19"/>
                    <a:pt x="35" y="18"/>
                  </a:cubicBezTo>
                  <a:cubicBezTo>
                    <a:pt x="35" y="19"/>
                    <a:pt x="35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7" y="19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3" y="25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1" y="24"/>
                  </a:cubicBezTo>
                  <a:cubicBezTo>
                    <a:pt x="41" y="24"/>
                    <a:pt x="41" y="24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5"/>
                    <a:pt x="42" y="25"/>
                  </a:cubicBezTo>
                  <a:cubicBezTo>
                    <a:pt x="42" y="25"/>
                    <a:pt x="42" y="25"/>
                    <a:pt x="43" y="25"/>
                  </a:cubicBezTo>
                  <a:cubicBezTo>
                    <a:pt x="43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6"/>
                  </a:cubicBezTo>
                  <a:cubicBezTo>
                    <a:pt x="43" y="26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7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4" y="26"/>
                  </a:cubicBezTo>
                  <a:cubicBezTo>
                    <a:pt x="45" y="26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8"/>
                    <a:pt x="46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1"/>
                    <a:pt x="51" y="31"/>
                    <a:pt x="52" y="31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1"/>
                    <a:pt x="51" y="31"/>
                  </a:cubicBezTo>
                  <a:cubicBezTo>
                    <a:pt x="50" y="30"/>
                    <a:pt x="50" y="31"/>
                    <a:pt x="50" y="31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0"/>
                  </a:cubicBezTo>
                  <a:cubicBezTo>
                    <a:pt x="50" y="30"/>
                    <a:pt x="50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6" y="28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2" y="26"/>
                  </a:cubicBezTo>
                  <a:cubicBezTo>
                    <a:pt x="42" y="26"/>
                    <a:pt x="42" y="27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0" y="26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40" y="25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3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6" y="24"/>
                    <a:pt x="36" y="24"/>
                    <a:pt x="37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3"/>
                    <a:pt x="35" y="24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5" y="23"/>
                    <a:pt x="35" y="23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5" y="24"/>
                  </a:cubicBezTo>
                  <a:cubicBezTo>
                    <a:pt x="34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4"/>
                    <a:pt x="35" y="24"/>
                  </a:cubicBezTo>
                  <a:cubicBezTo>
                    <a:pt x="34" y="24"/>
                    <a:pt x="34" y="25"/>
                    <a:pt x="34" y="24"/>
                  </a:cubicBezTo>
                  <a:cubicBezTo>
                    <a:pt x="34" y="24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5" y="25"/>
                    <a:pt x="34" y="25"/>
                    <a:pt x="35" y="25"/>
                  </a:cubicBezTo>
                  <a:cubicBezTo>
                    <a:pt x="35" y="25"/>
                    <a:pt x="35" y="25"/>
                    <a:pt x="36" y="25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7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ubicBezTo>
                    <a:pt x="38" y="26"/>
                    <a:pt x="38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9" y="26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8"/>
                  </a:cubicBezTo>
                  <a:cubicBezTo>
                    <a:pt x="40" y="28"/>
                    <a:pt x="40" y="27"/>
                    <a:pt x="40" y="28"/>
                  </a:cubicBezTo>
                  <a:cubicBezTo>
                    <a:pt x="40" y="28"/>
                    <a:pt x="40" y="27"/>
                    <a:pt x="40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1" y="28"/>
                    <a:pt x="41" y="29"/>
                  </a:cubicBezTo>
                  <a:cubicBezTo>
                    <a:pt x="41" y="29"/>
                    <a:pt x="41" y="28"/>
                    <a:pt x="41" y="2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29"/>
                    <a:pt x="40" y="29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9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5" y="27"/>
                    <a:pt x="35" y="27"/>
                  </a:cubicBezTo>
                  <a:cubicBezTo>
                    <a:pt x="35" y="27"/>
                    <a:pt x="35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3" y="26"/>
                    <a:pt x="33" y="27"/>
                  </a:cubicBezTo>
                  <a:cubicBezTo>
                    <a:pt x="33" y="27"/>
                    <a:pt x="33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2" y="26"/>
                    <a:pt x="32" y="26"/>
                    <a:pt x="32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6"/>
                    <a:pt x="31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29" y="25"/>
                    <a:pt x="29" y="25"/>
                  </a:cubicBezTo>
                  <a:cubicBezTo>
                    <a:pt x="29" y="25"/>
                    <a:pt x="29" y="25"/>
                    <a:pt x="30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5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6"/>
                    <a:pt x="26" y="26"/>
                  </a:cubicBezTo>
                  <a:cubicBezTo>
                    <a:pt x="26" y="26"/>
                    <a:pt x="26" y="26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5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5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3"/>
                    <a:pt x="21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2"/>
                    <a:pt x="18" y="22"/>
                    <a:pt x="18" y="22"/>
                  </a:cubicBezTo>
                  <a:cubicBezTo>
                    <a:pt x="18" y="22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7" y="21"/>
                    <a:pt x="17" y="21"/>
                    <a:pt x="16" y="20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20"/>
                    <a:pt x="14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14" y="19"/>
                    <a:pt x="14" y="18"/>
                    <a:pt x="13" y="18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3" y="18"/>
                    <a:pt x="14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10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9" y="15"/>
                  </a:cubicBezTo>
                  <a:cubicBezTo>
                    <a:pt x="8" y="15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7" y="15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8" y="15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4" y="12"/>
                    <a:pt x="3" y="11"/>
                    <a:pt x="3" y="11"/>
                  </a:cubicBezTo>
                  <a:cubicBezTo>
                    <a:pt x="3" y="10"/>
                    <a:pt x="3" y="11"/>
                    <a:pt x="3" y="10"/>
                  </a:cubicBezTo>
                  <a:cubicBezTo>
                    <a:pt x="2" y="9"/>
                    <a:pt x="1" y="7"/>
                    <a:pt x="1" y="5"/>
                  </a:cubicBezTo>
                  <a:cubicBezTo>
                    <a:pt x="1" y="5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2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1" y="1"/>
                    <a:pt x="13" y="2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4"/>
                    <a:pt x="17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  <a:moveTo>
                    <a:pt x="22" y="23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3"/>
                    <a:pt x="22" y="23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26" y="25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4" y="24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4"/>
                    <a:pt x="24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5" y="24"/>
                    <a:pt x="25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lose/>
                  <a:moveTo>
                    <a:pt x="29" y="25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31" y="25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5"/>
                    <a:pt x="31" y="25"/>
                  </a:cubicBezTo>
                  <a:close/>
                  <a:moveTo>
                    <a:pt x="30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29" y="24"/>
                  </a:move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4"/>
                    <a:pt x="30" y="25"/>
                    <a:pt x="30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1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0" y="25"/>
                    <a:pt x="30" y="25"/>
                  </a:cubicBezTo>
                  <a:close/>
                  <a:moveTo>
                    <a:pt x="32" y="25"/>
                  </a:move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4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4" y="26"/>
                    <a:pt x="34" y="26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5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8" y="26"/>
                  </a:moveTo>
                  <a:cubicBezTo>
                    <a:pt x="38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8"/>
                  </a:cubicBezTo>
                  <a:cubicBezTo>
                    <a:pt x="39" y="27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5"/>
                  </a:cubicBezTo>
                  <a:cubicBezTo>
                    <a:pt x="36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2" y="23"/>
                  </a:moveTo>
                  <a:cubicBezTo>
                    <a:pt x="32" y="24"/>
                    <a:pt x="33" y="24"/>
                    <a:pt x="33" y="24"/>
                  </a:cubicBezTo>
                  <a:cubicBezTo>
                    <a:pt x="33" y="23"/>
                    <a:pt x="32" y="23"/>
                    <a:pt x="32" y="23"/>
                  </a:cubicBezTo>
                  <a:close/>
                  <a:moveTo>
                    <a:pt x="23" y="17"/>
                  </a:moveTo>
                  <a:cubicBezTo>
                    <a:pt x="23" y="17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1" y="21"/>
                    <a:pt x="32" y="22"/>
                    <a:pt x="32" y="21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32" y="22"/>
                    <a:pt x="31" y="21"/>
                    <a:pt x="31" y="21"/>
                  </a:cubicBezTo>
                  <a:cubicBezTo>
                    <a:pt x="31" y="21"/>
                    <a:pt x="32" y="22"/>
                    <a:pt x="31" y="22"/>
                  </a:cubicBezTo>
                  <a:cubicBezTo>
                    <a:pt x="31" y="22"/>
                    <a:pt x="31" y="21"/>
                    <a:pt x="31" y="22"/>
                  </a:cubicBezTo>
                  <a:cubicBezTo>
                    <a:pt x="31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3"/>
                    <a:pt x="32" y="23"/>
                    <a:pt x="33" y="23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0" y="21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4" y="24"/>
                    <a:pt x="34" y="24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3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3" y="23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2"/>
                  </a:cubicBezTo>
                  <a:cubicBezTo>
                    <a:pt x="33" y="21"/>
                    <a:pt x="33" y="22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5" y="22"/>
                  </a:moveTo>
                  <a:cubicBezTo>
                    <a:pt x="34" y="22"/>
                    <a:pt x="35" y="22"/>
                    <a:pt x="35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5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4"/>
                  </a:moveTo>
                  <a:cubicBezTo>
                    <a:pt x="37" y="23"/>
                    <a:pt x="37" y="23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lose/>
                  <a:moveTo>
                    <a:pt x="51" y="30"/>
                  </a:moveTo>
                  <a:cubicBezTo>
                    <a:pt x="51" y="30"/>
                    <a:pt x="50" y="30"/>
                    <a:pt x="50" y="30"/>
                  </a:cubicBezTo>
                  <a:cubicBezTo>
                    <a:pt x="51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lose/>
                  <a:moveTo>
                    <a:pt x="46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lose/>
                  <a:moveTo>
                    <a:pt x="42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43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2" y="26"/>
                    <a:pt x="43" y="26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6"/>
                  </a:cubicBezTo>
                  <a:cubicBezTo>
                    <a:pt x="41" y="25"/>
                    <a:pt x="41" y="25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3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8" y="22"/>
                  </a:cubicBezTo>
                  <a:cubicBezTo>
                    <a:pt x="38" y="22"/>
                    <a:pt x="39" y="23"/>
                    <a:pt x="39" y="22"/>
                  </a:cubicBezTo>
                  <a:close/>
                  <a:moveTo>
                    <a:pt x="40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lose/>
                  <a:moveTo>
                    <a:pt x="32" y="17"/>
                  </a:moveTo>
                  <a:cubicBezTo>
                    <a:pt x="33" y="18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3" y="18"/>
                  </a:cubicBezTo>
                  <a:cubicBezTo>
                    <a:pt x="33" y="18"/>
                    <a:pt x="34" y="18"/>
                    <a:pt x="33" y="18"/>
                  </a:cubicBezTo>
                  <a:lnTo>
                    <a:pt x="34" y="18"/>
                  </a:lnTo>
                  <a:close/>
                  <a:moveTo>
                    <a:pt x="34" y="19"/>
                  </a:moveTo>
                  <a:cubicBezTo>
                    <a:pt x="34" y="19"/>
                    <a:pt x="34" y="18"/>
                    <a:pt x="34" y="18"/>
                  </a:cubicBezTo>
                  <a:cubicBezTo>
                    <a:pt x="34" y="18"/>
                    <a:pt x="34" y="19"/>
                    <a:pt x="34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9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2"/>
                  </a:cubicBezTo>
                  <a:close/>
                  <a:moveTo>
                    <a:pt x="41" y="23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35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20"/>
                  </a:cubicBezTo>
                  <a:cubicBezTo>
                    <a:pt x="35" y="19"/>
                    <a:pt x="36" y="19"/>
                    <a:pt x="35" y="19"/>
                  </a:cubicBezTo>
                  <a:close/>
                  <a:moveTo>
                    <a:pt x="36" y="20"/>
                  </a:moveTo>
                  <a:cubicBezTo>
                    <a:pt x="36" y="20"/>
                    <a:pt x="36" y="19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9" y="21"/>
                    <a:pt x="38" y="21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9" y="27"/>
                    <a:pt x="49" y="28"/>
                    <a:pt x="50" y="28"/>
                  </a:cubicBezTo>
                  <a:cubicBezTo>
                    <a:pt x="49" y="28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5" y="24"/>
                  </a:cubicBezTo>
                  <a:cubicBezTo>
                    <a:pt x="45" y="24"/>
                    <a:pt x="46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8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9" y="20"/>
                  </a:move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39" y="20"/>
                    <a:pt x="39" y="20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6" y="18"/>
                  </a:moveTo>
                  <a:cubicBezTo>
                    <a:pt x="36" y="18"/>
                    <a:pt x="37" y="18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7" y="18"/>
                    <a:pt x="37" y="19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20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8" y="18"/>
                  </a:move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1" y="12"/>
                    <a:pt x="30" y="12"/>
                  </a:cubicBezTo>
                  <a:close/>
                  <a:moveTo>
                    <a:pt x="28" y="10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9" y="11"/>
                    <a:pt x="29" y="11"/>
                  </a:cubicBezTo>
                  <a:cubicBezTo>
                    <a:pt x="28" y="11"/>
                    <a:pt x="29" y="11"/>
                    <a:pt x="28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5" y="27"/>
                    <a:pt x="34" y="27"/>
                  </a:cubicBezTo>
                  <a:close/>
                  <a:moveTo>
                    <a:pt x="41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lose/>
                  <a:moveTo>
                    <a:pt x="5" y="1"/>
                  </a:move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0"/>
                    <a:pt x="5" y="1"/>
                    <a:pt x="5" y="1"/>
                  </a:cubicBezTo>
                  <a:close/>
                  <a:moveTo>
                    <a:pt x="31" y="28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8"/>
                  </a:cubicBezTo>
                  <a:close/>
                  <a:moveTo>
                    <a:pt x="35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8" y="28"/>
                    <a:pt x="38" y="29"/>
                    <a:pt x="39" y="29"/>
                  </a:cubicBezTo>
                  <a:cubicBezTo>
                    <a:pt x="39" y="29"/>
                    <a:pt x="38" y="29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7" y="27"/>
                  </a:move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7" y="27"/>
                    <a:pt x="37" y="27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30"/>
                    <a:pt x="39" y="30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lose/>
                  <a:moveTo>
                    <a:pt x="39" y="28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8"/>
                  </a:cubicBezTo>
                  <a:close/>
                  <a:moveTo>
                    <a:pt x="42" y="28"/>
                  </a:moveTo>
                  <a:cubicBezTo>
                    <a:pt x="41" y="27"/>
                    <a:pt x="41" y="27"/>
                    <a:pt x="40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1" y="27"/>
                    <a:pt x="40" y="27"/>
                  </a:cubicBezTo>
                  <a:cubicBezTo>
                    <a:pt x="40" y="27"/>
                    <a:pt x="41" y="27"/>
                    <a:pt x="41" y="27"/>
                  </a:cubicBezTo>
                  <a:cubicBezTo>
                    <a:pt x="41" y="27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6"/>
                    <a:pt x="41" y="27"/>
                    <a:pt x="41" y="27"/>
                  </a:cubicBezTo>
                  <a:close/>
                  <a:moveTo>
                    <a:pt x="43" y="24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6"/>
                    <a:pt x="45" y="25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2" y="27"/>
                    <a:pt x="42" y="27"/>
                  </a:cubicBezTo>
                  <a:cubicBezTo>
                    <a:pt x="42" y="27"/>
                    <a:pt x="41" y="27"/>
                    <a:pt x="41" y="27"/>
                  </a:cubicBezTo>
                  <a:close/>
                  <a:moveTo>
                    <a:pt x="41" y="30"/>
                  </a:moveTo>
                  <a:cubicBezTo>
                    <a:pt x="42" y="30"/>
                    <a:pt x="43" y="31"/>
                    <a:pt x="44" y="32"/>
                  </a:cubicBezTo>
                  <a:cubicBezTo>
                    <a:pt x="44" y="32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1" y="30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30"/>
                    <a:pt x="40" y="29"/>
                    <a:pt x="40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5" y="27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6"/>
                  </a:cubicBezTo>
                  <a:cubicBezTo>
                    <a:pt x="45" y="26"/>
                    <a:pt x="45" y="26"/>
                    <a:pt x="46" y="26"/>
                  </a:cubicBezTo>
                  <a:cubicBezTo>
                    <a:pt x="46" y="26"/>
                    <a:pt x="45" y="26"/>
                    <a:pt x="45" y="27"/>
                  </a:cubicBezTo>
                  <a:cubicBezTo>
                    <a:pt x="45" y="27"/>
                    <a:pt x="45" y="26"/>
                    <a:pt x="45" y="27"/>
                  </a:cubicBezTo>
                  <a:close/>
                  <a:moveTo>
                    <a:pt x="40" y="33"/>
                  </a:moveTo>
                  <a:cubicBezTo>
                    <a:pt x="40" y="33"/>
                    <a:pt x="40" y="32"/>
                    <a:pt x="40" y="32"/>
                  </a:cubicBezTo>
                  <a:cubicBezTo>
                    <a:pt x="40" y="32"/>
                    <a:pt x="40" y="33"/>
                    <a:pt x="40" y="33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2"/>
                    <a:pt x="41" y="31"/>
                  </a:cubicBezTo>
                  <a:cubicBezTo>
                    <a:pt x="41" y="32"/>
                    <a:pt x="41" y="31"/>
                    <a:pt x="40" y="31"/>
                  </a:cubicBezTo>
                  <a:cubicBezTo>
                    <a:pt x="40" y="31"/>
                    <a:pt x="40" y="31"/>
                    <a:pt x="41" y="31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5" y="31"/>
                    <a:pt x="44" y="31"/>
                    <a:pt x="43" y="30"/>
                  </a:cubicBezTo>
                  <a:cubicBezTo>
                    <a:pt x="43" y="30"/>
                    <a:pt x="44" y="30"/>
                    <a:pt x="44" y="30"/>
                  </a:cubicBezTo>
                  <a:close/>
                  <a:moveTo>
                    <a:pt x="47" y="31"/>
                  </a:move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7" y="32"/>
                    <a:pt x="47" y="31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8" y="35"/>
                  </a:moveTo>
                  <a:cubicBezTo>
                    <a:pt x="49" y="35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5"/>
                    <a:pt x="48" y="35"/>
                    <a:pt x="47" y="34"/>
                  </a:cubicBezTo>
                  <a:cubicBezTo>
                    <a:pt x="47" y="34"/>
                    <a:pt x="48" y="35"/>
                    <a:pt x="48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50" y="34"/>
                  </a:cubicBezTo>
                  <a:cubicBezTo>
                    <a:pt x="50" y="34"/>
                    <a:pt x="50" y="34"/>
                    <a:pt x="49" y="34"/>
                  </a:cubicBezTo>
                  <a:cubicBezTo>
                    <a:pt x="49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4"/>
                    <a:pt x="49" y="35"/>
                    <a:pt x="49" y="35"/>
                  </a:cubicBezTo>
                  <a:cubicBezTo>
                    <a:pt x="50" y="35"/>
                    <a:pt x="49" y="35"/>
                    <a:pt x="49" y="35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1" y="33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0" y="33"/>
                  </a:cubicBezTo>
                  <a:close/>
                  <a:moveTo>
                    <a:pt x="55" y="29"/>
                  </a:moveTo>
                  <a:cubicBezTo>
                    <a:pt x="55" y="29"/>
                    <a:pt x="54" y="28"/>
                    <a:pt x="54" y="28"/>
                  </a:cubicBezTo>
                  <a:cubicBezTo>
                    <a:pt x="55" y="28"/>
                    <a:pt x="55" y="29"/>
                    <a:pt x="56" y="29"/>
                  </a:cubicBezTo>
                  <a:cubicBezTo>
                    <a:pt x="56" y="29"/>
                    <a:pt x="55" y="29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6" y="31"/>
                  </a:cubicBezTo>
                  <a:cubicBezTo>
                    <a:pt x="56" y="31"/>
                    <a:pt x="55" y="31"/>
                    <a:pt x="56" y="31"/>
                  </a:cubicBezTo>
                  <a:cubicBezTo>
                    <a:pt x="56" y="31"/>
                    <a:pt x="56" y="31"/>
                    <a:pt x="57" y="32"/>
                  </a:cubicBezTo>
                  <a:cubicBezTo>
                    <a:pt x="56" y="32"/>
                    <a:pt x="55" y="31"/>
                    <a:pt x="55" y="31"/>
                  </a:cubicBezTo>
                  <a:close/>
                  <a:moveTo>
                    <a:pt x="52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2" y="36"/>
                  </a:cubicBezTo>
                  <a:close/>
                  <a:moveTo>
                    <a:pt x="60" y="33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4"/>
                    <a:pt x="61" y="34"/>
                  </a:cubicBezTo>
                  <a:cubicBezTo>
                    <a:pt x="61" y="35"/>
                    <a:pt x="61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59" y="33"/>
                    <a:pt x="58" y="33"/>
                  </a:cubicBezTo>
                  <a:cubicBezTo>
                    <a:pt x="58" y="33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9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8" y="32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2"/>
                    <a:pt x="58" y="32"/>
                  </a:cubicBezTo>
                  <a:close/>
                  <a:moveTo>
                    <a:pt x="59" y="31"/>
                  </a:move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lose/>
                  <a:moveTo>
                    <a:pt x="59" y="30"/>
                  </a:move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59" y="31"/>
                    <a:pt x="59" y="31"/>
                  </a:cubicBez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60" y="32"/>
                    <a:pt x="60" y="32"/>
                  </a:cubicBezTo>
                  <a:cubicBezTo>
                    <a:pt x="60" y="32"/>
                    <a:pt x="59" y="32"/>
                    <a:pt x="59" y="32"/>
                  </a:cubicBezTo>
                  <a:cubicBezTo>
                    <a:pt x="59" y="31"/>
                    <a:pt x="59" y="32"/>
                    <a:pt x="59" y="32"/>
                  </a:cubicBezTo>
                  <a:cubicBezTo>
                    <a:pt x="59" y="32"/>
                    <a:pt x="59" y="32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lose/>
                  <a:moveTo>
                    <a:pt x="61" y="32"/>
                  </a:move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1" y="32"/>
                    <a:pt x="61" y="32"/>
                  </a:cubicBezTo>
                  <a:close/>
                  <a:moveTo>
                    <a:pt x="59" y="35"/>
                  </a:moveTo>
                  <a:cubicBezTo>
                    <a:pt x="59" y="36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9" y="35"/>
                    <a:pt x="58" y="35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6"/>
                    <a:pt x="60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7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9" y="36"/>
                  </a:moveTo>
                  <a:cubicBezTo>
                    <a:pt x="59" y="36"/>
                    <a:pt x="60" y="36"/>
                    <a:pt x="59" y="35"/>
                  </a:cubicBezTo>
                  <a:cubicBezTo>
                    <a:pt x="59" y="36"/>
                    <a:pt x="59" y="35"/>
                    <a:pt x="59" y="36"/>
                  </a:cubicBezTo>
                  <a:close/>
                  <a:moveTo>
                    <a:pt x="58" y="35"/>
                  </a:moveTo>
                  <a:cubicBezTo>
                    <a:pt x="59" y="34"/>
                    <a:pt x="59" y="34"/>
                    <a:pt x="59" y="35"/>
                  </a:cubicBezTo>
                  <a:cubicBezTo>
                    <a:pt x="59" y="35"/>
                    <a:pt x="59" y="35"/>
                    <a:pt x="58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1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6"/>
                  </a:move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1" y="35"/>
                    <a:pt x="61" y="36"/>
                  </a:cubicBezTo>
                  <a:cubicBezTo>
                    <a:pt x="61" y="36"/>
                    <a:pt x="61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3" y="37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2" y="36"/>
                  </a:cubicBezTo>
                  <a:cubicBezTo>
                    <a:pt x="62" y="36"/>
                    <a:pt x="63" y="35"/>
                    <a:pt x="62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2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3" y="35"/>
                    <a:pt x="63" y="35"/>
                  </a:cubicBezTo>
                  <a:cubicBezTo>
                    <a:pt x="63" y="35"/>
                    <a:pt x="63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5" y="36"/>
                    <a:pt x="65" y="35"/>
                  </a:cubicBezTo>
                  <a:cubicBezTo>
                    <a:pt x="65" y="36"/>
                    <a:pt x="66" y="36"/>
                    <a:pt x="66" y="36"/>
                  </a:cubicBezTo>
                  <a:cubicBezTo>
                    <a:pt x="66" y="36"/>
                    <a:pt x="65" y="35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5" y="36"/>
                    <a:pt x="65" y="36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4"/>
                    <a:pt x="65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6"/>
                    <a:pt x="66" y="35"/>
                  </a:cubicBezTo>
                  <a:cubicBezTo>
                    <a:pt x="66" y="36"/>
                    <a:pt x="66" y="35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70" y="38"/>
                    <a:pt x="70" y="38"/>
                    <a:pt x="70" y="37"/>
                  </a:cubicBezTo>
                  <a:cubicBezTo>
                    <a:pt x="69" y="37"/>
                    <a:pt x="69" y="38"/>
                    <a:pt x="70" y="38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8"/>
                    <a:pt x="69" y="38"/>
                  </a:cubicBezTo>
                  <a:cubicBezTo>
                    <a:pt x="69" y="39"/>
                    <a:pt x="70" y="38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69" y="39"/>
                    <a:pt x="70" y="38"/>
                    <a:pt x="69" y="38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8"/>
                    <a:pt x="70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0" y="40"/>
                    <a:pt x="70" y="40"/>
                  </a:cubicBezTo>
                  <a:cubicBezTo>
                    <a:pt x="70" y="39"/>
                    <a:pt x="70" y="40"/>
                    <a:pt x="71" y="40"/>
                  </a:cubicBezTo>
                  <a:cubicBezTo>
                    <a:pt x="71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8" y="39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7" y="38"/>
                  </a:cubicBezTo>
                  <a:cubicBezTo>
                    <a:pt x="68" y="38"/>
                    <a:pt x="67" y="37"/>
                    <a:pt x="67" y="37"/>
                  </a:cubicBezTo>
                  <a:cubicBezTo>
                    <a:pt x="67" y="37"/>
                    <a:pt x="67" y="37"/>
                    <a:pt x="67" y="38"/>
                  </a:cubicBezTo>
                  <a:cubicBezTo>
                    <a:pt x="67" y="38"/>
                    <a:pt x="67" y="37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7"/>
                    <a:pt x="67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7"/>
                    <a:pt x="66" y="37"/>
                  </a:cubicBezTo>
                  <a:cubicBezTo>
                    <a:pt x="67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7" y="39"/>
                    <a:pt x="66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9"/>
                    <a:pt x="65" y="39"/>
                    <a:pt x="66" y="39"/>
                  </a:cubicBezTo>
                  <a:cubicBezTo>
                    <a:pt x="65" y="39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4" y="39"/>
                  </a:cubicBezTo>
                  <a:cubicBezTo>
                    <a:pt x="64" y="39"/>
                    <a:pt x="63" y="39"/>
                    <a:pt x="63" y="39"/>
                  </a:cubicBezTo>
                  <a:cubicBezTo>
                    <a:pt x="63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1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1" y="37"/>
                    <a:pt x="61" y="38"/>
                    <a:pt x="62" y="38"/>
                  </a:cubicBezTo>
                  <a:cubicBezTo>
                    <a:pt x="62" y="37"/>
                    <a:pt x="61" y="37"/>
                    <a:pt x="61" y="37"/>
                  </a:cubicBezTo>
                  <a:cubicBezTo>
                    <a:pt x="61" y="37"/>
                    <a:pt x="61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8"/>
                    <a:pt x="63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2" y="36"/>
                    <a:pt x="62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6"/>
                    <a:pt x="61" y="36"/>
                  </a:cubicBezTo>
                  <a:cubicBezTo>
                    <a:pt x="61" y="36"/>
                    <a:pt x="62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39"/>
                  </a:moveTo>
                  <a:cubicBezTo>
                    <a:pt x="63" y="39"/>
                    <a:pt x="62" y="39"/>
                    <a:pt x="62" y="39"/>
                  </a:cubicBezTo>
                  <a:cubicBezTo>
                    <a:pt x="62" y="40"/>
                    <a:pt x="63" y="39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3" y="40"/>
                    <a:pt x="63" y="39"/>
                    <a:pt x="63" y="40"/>
                  </a:cubicBezTo>
                  <a:cubicBezTo>
                    <a:pt x="63" y="39"/>
                    <a:pt x="62" y="39"/>
                    <a:pt x="63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64" y="38"/>
                  </a:moveTo>
                  <a:cubicBezTo>
                    <a:pt x="63" y="38"/>
                    <a:pt x="64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lose/>
                  <a:moveTo>
                    <a:pt x="70" y="39"/>
                  </a:move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9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9" y="38"/>
                    <a:pt x="69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8"/>
                    <a:pt x="69" y="38"/>
                  </a:cubicBezTo>
                  <a:cubicBezTo>
                    <a:pt x="69" y="38"/>
                    <a:pt x="69" y="38"/>
                    <a:pt x="68" y="37"/>
                  </a:cubicBezTo>
                  <a:cubicBezTo>
                    <a:pt x="68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6"/>
                    <a:pt x="68" y="36"/>
                  </a:cubicBezTo>
                  <a:cubicBezTo>
                    <a:pt x="68" y="36"/>
                    <a:pt x="67" y="37"/>
                    <a:pt x="67" y="36"/>
                  </a:cubicBezTo>
                  <a:cubicBezTo>
                    <a:pt x="67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8" y="37"/>
                    <a:pt x="67" y="37"/>
                    <a:pt x="67" y="37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4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6" y="38"/>
                  </a:move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5" y="36"/>
                  </a:moveTo>
                  <a:cubicBezTo>
                    <a:pt x="65" y="37"/>
                    <a:pt x="64" y="36"/>
                    <a:pt x="64" y="36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6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3" y="36"/>
                    <a:pt x="63" y="35"/>
                    <a:pt x="63" y="36"/>
                  </a:cubicBezTo>
                  <a:cubicBezTo>
                    <a:pt x="63" y="36"/>
                    <a:pt x="64" y="36"/>
                    <a:pt x="6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9" y="39"/>
                  </a:moveTo>
                  <a:cubicBezTo>
                    <a:pt x="69" y="40"/>
                    <a:pt x="69" y="40"/>
                    <a:pt x="69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39"/>
                    <a:pt x="69" y="40"/>
                  </a:cubicBezTo>
                  <a:cubicBezTo>
                    <a:pt x="68" y="39"/>
                    <a:pt x="69" y="39"/>
                    <a:pt x="69" y="39"/>
                  </a:cubicBezTo>
                  <a:close/>
                  <a:moveTo>
                    <a:pt x="67" y="36"/>
                  </a:move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1" y="37"/>
                    <a:pt x="60" y="36"/>
                  </a:cubicBezTo>
                  <a:close/>
                  <a:moveTo>
                    <a:pt x="59" y="38"/>
                  </a:move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7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0" y="38"/>
                  </a:cubicBezTo>
                  <a:lnTo>
                    <a:pt x="60" y="37"/>
                  </a:lnTo>
                  <a:close/>
                  <a:moveTo>
                    <a:pt x="59" y="43"/>
                  </a:moveTo>
                  <a:cubicBezTo>
                    <a:pt x="58" y="42"/>
                    <a:pt x="59" y="43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3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1"/>
                    <a:pt x="61" y="41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1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2" y="41"/>
                    <a:pt x="62" y="40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3" y="41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2" y="41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3"/>
                  </a:cubicBezTo>
                  <a:cubicBezTo>
                    <a:pt x="64" y="42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3" y="42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2"/>
                  </a:cubicBezTo>
                  <a:cubicBezTo>
                    <a:pt x="63" y="42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4"/>
                  </a:cubicBezTo>
                  <a:cubicBezTo>
                    <a:pt x="63" y="43"/>
                    <a:pt x="64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4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5"/>
                    <a:pt x="64" y="45"/>
                  </a:cubicBezTo>
                  <a:cubicBezTo>
                    <a:pt x="64" y="46"/>
                    <a:pt x="64" y="45"/>
                    <a:pt x="65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2" y="44"/>
                    <a:pt x="62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2" y="44"/>
                  </a:cubicBezTo>
                  <a:cubicBezTo>
                    <a:pt x="62" y="43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1" y="43"/>
                    <a:pt x="62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2"/>
                    <a:pt x="62" y="43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2"/>
                    <a:pt x="62" y="42"/>
                  </a:cubicBezTo>
                  <a:cubicBezTo>
                    <a:pt x="62" y="42"/>
                    <a:pt x="61" y="42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2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3"/>
                  </a:moveTo>
                  <a:cubicBezTo>
                    <a:pt x="63" y="43"/>
                    <a:pt x="63" y="44"/>
                    <a:pt x="63" y="44"/>
                  </a:cubicBezTo>
                  <a:cubicBezTo>
                    <a:pt x="63" y="44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lose/>
                  <a:moveTo>
                    <a:pt x="63" y="43"/>
                  </a:move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2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2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lose/>
                  <a:moveTo>
                    <a:pt x="62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6" y="41"/>
                  </a:move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6" y="40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7" y="39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7" y="39"/>
                  </a:cubicBezTo>
                  <a:close/>
                  <a:moveTo>
                    <a:pt x="97" y="58"/>
                  </a:moveTo>
                  <a:cubicBezTo>
                    <a:pt x="97" y="58"/>
                    <a:pt x="97" y="58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99" y="59"/>
                    <a:pt x="99" y="60"/>
                  </a:cubicBezTo>
                  <a:cubicBezTo>
                    <a:pt x="99" y="60"/>
                    <a:pt x="98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0"/>
                    <a:pt x="100" y="60"/>
                    <a:pt x="101" y="61"/>
                  </a:cubicBezTo>
                  <a:cubicBezTo>
                    <a:pt x="100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9" y="60"/>
                    <a:pt x="100" y="62"/>
                    <a:pt x="100" y="61"/>
                  </a:cubicBezTo>
                  <a:cubicBezTo>
                    <a:pt x="100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99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1"/>
                    <a:pt x="100" y="60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1" y="61"/>
                    <a:pt x="100" y="61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2"/>
                    <a:pt x="101" y="62"/>
                    <a:pt x="101" y="62"/>
                  </a:cubicBezTo>
                  <a:cubicBezTo>
                    <a:pt x="101" y="62"/>
                    <a:pt x="100" y="61"/>
                    <a:pt x="100" y="61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0"/>
                    <a:pt x="98" y="61"/>
                    <a:pt x="98" y="60"/>
                  </a:cubicBezTo>
                  <a:cubicBezTo>
                    <a:pt x="98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60"/>
                    <a:pt x="98" y="59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7" y="59"/>
                    <a:pt x="97" y="59"/>
                  </a:cubicBezTo>
                  <a:cubicBezTo>
                    <a:pt x="97" y="59"/>
                    <a:pt x="97" y="59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59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61"/>
                    <a:pt x="97" y="60"/>
                    <a:pt x="97" y="60"/>
                  </a:cubicBezTo>
                  <a:cubicBezTo>
                    <a:pt x="96" y="60"/>
                    <a:pt x="96" y="60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60"/>
                    <a:pt x="96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5" y="59"/>
                    <a:pt x="96" y="58"/>
                    <a:pt x="95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9"/>
                    <a:pt x="95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6" y="58"/>
                    <a:pt x="97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8"/>
                  </a:cubicBezTo>
                  <a:cubicBezTo>
                    <a:pt x="96" y="58"/>
                    <a:pt x="96" y="58"/>
                    <a:pt x="95" y="58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3" y="56"/>
                  </a:cubicBezTo>
                  <a:cubicBezTo>
                    <a:pt x="93" y="56"/>
                    <a:pt x="94" y="56"/>
                    <a:pt x="94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2" y="56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6"/>
                  </a:cubicBezTo>
                  <a:cubicBezTo>
                    <a:pt x="92" y="56"/>
                    <a:pt x="92" y="55"/>
                    <a:pt x="92" y="56"/>
                  </a:cubicBezTo>
                  <a:cubicBezTo>
                    <a:pt x="92" y="56"/>
                    <a:pt x="93" y="56"/>
                    <a:pt x="93" y="56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90" y="55"/>
                    <a:pt x="90" y="55"/>
                    <a:pt x="91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3"/>
                    <a:pt x="89" y="54"/>
                    <a:pt x="89" y="54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3"/>
                    <a:pt x="89" y="53"/>
                    <a:pt x="89" y="54"/>
                  </a:cubicBez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3"/>
                    <a:pt x="90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2"/>
                    <a:pt x="89" y="53"/>
                    <a:pt x="89" y="53"/>
                  </a:cubicBezTo>
                  <a:cubicBezTo>
                    <a:pt x="89" y="53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2"/>
                    <a:pt x="86" y="52"/>
                  </a:cubicBezTo>
                  <a:cubicBezTo>
                    <a:pt x="86" y="51"/>
                    <a:pt x="86" y="52"/>
                    <a:pt x="85" y="52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4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90" y="55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6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6"/>
                    <a:pt x="91" y="57"/>
                    <a:pt x="91" y="57"/>
                  </a:cubicBezTo>
                  <a:cubicBezTo>
                    <a:pt x="91" y="57"/>
                    <a:pt x="91" y="56"/>
                    <a:pt x="91" y="56"/>
                  </a:cubicBezTo>
                  <a:cubicBezTo>
                    <a:pt x="90" y="56"/>
                    <a:pt x="91" y="57"/>
                    <a:pt x="90" y="57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90" y="57"/>
                    <a:pt x="90" y="56"/>
                  </a:cubicBezTo>
                  <a:cubicBezTo>
                    <a:pt x="90" y="57"/>
                    <a:pt x="90" y="56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0" y="57"/>
                  </a:cubicBezTo>
                  <a:cubicBezTo>
                    <a:pt x="90" y="57"/>
                    <a:pt x="91" y="57"/>
                    <a:pt x="90" y="57"/>
                  </a:cubicBezTo>
                  <a:cubicBezTo>
                    <a:pt x="90" y="57"/>
                    <a:pt x="90" y="57"/>
                    <a:pt x="91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0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8" y="57"/>
                    <a:pt x="88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4" y="53"/>
                    <a:pt x="84" y="53"/>
                    <a:pt x="83" y="52"/>
                  </a:cubicBezTo>
                  <a:cubicBezTo>
                    <a:pt x="84" y="52"/>
                    <a:pt x="84" y="53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4"/>
                    <a:pt x="86" y="53"/>
                    <a:pt x="86" y="54"/>
                  </a:cubicBezTo>
                  <a:cubicBezTo>
                    <a:pt x="86" y="54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3"/>
                    <a:pt x="85" y="53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4" y="51"/>
                    <a:pt x="84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3"/>
                  </a:cubicBezTo>
                  <a:cubicBezTo>
                    <a:pt x="86" y="52"/>
                    <a:pt x="85" y="52"/>
                    <a:pt x="85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5" y="52"/>
                    <a:pt x="84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1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3" y="50"/>
                  </a:cubicBezTo>
                  <a:cubicBezTo>
                    <a:pt x="82" y="50"/>
                    <a:pt x="82" y="50"/>
                    <a:pt x="82" y="49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3" y="49"/>
                    <a:pt x="83" y="50"/>
                  </a:cubicBezTo>
                  <a:cubicBezTo>
                    <a:pt x="83" y="50"/>
                    <a:pt x="82" y="49"/>
                    <a:pt x="82" y="49"/>
                  </a:cubicBezTo>
                  <a:cubicBezTo>
                    <a:pt x="83" y="49"/>
                    <a:pt x="83" y="49"/>
                    <a:pt x="83" y="50"/>
                  </a:cubicBezTo>
                  <a:cubicBezTo>
                    <a:pt x="83" y="50"/>
                    <a:pt x="83" y="49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3" y="49"/>
                    <a:pt x="83" y="49"/>
                  </a:cubicBezTo>
                  <a:cubicBezTo>
                    <a:pt x="83" y="49"/>
                    <a:pt x="83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2" y="48"/>
                    <a:pt x="83" y="49"/>
                    <a:pt x="83" y="49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1" y="48"/>
                  </a:cubicBezTo>
                  <a:cubicBezTo>
                    <a:pt x="81" y="48"/>
                    <a:pt x="82" y="48"/>
                    <a:pt x="82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8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0" y="47"/>
                    <a:pt x="81" y="47"/>
                  </a:cubicBezTo>
                  <a:cubicBezTo>
                    <a:pt x="81" y="47"/>
                    <a:pt x="80" y="47"/>
                    <a:pt x="80" y="47"/>
                  </a:cubicBezTo>
                  <a:cubicBezTo>
                    <a:pt x="80" y="47"/>
                    <a:pt x="80" y="47"/>
                    <a:pt x="81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8" y="46"/>
                    <a:pt x="77" y="46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8" y="45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80" y="46"/>
                  </a:cubicBezTo>
                  <a:cubicBezTo>
                    <a:pt x="79" y="46"/>
                    <a:pt x="79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6"/>
                    <a:pt x="78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5"/>
                    <a:pt x="76" y="44"/>
                  </a:cubicBezTo>
                  <a:cubicBezTo>
                    <a:pt x="76" y="45"/>
                    <a:pt x="75" y="45"/>
                    <a:pt x="76" y="45"/>
                  </a:cubicBezTo>
                  <a:cubicBezTo>
                    <a:pt x="76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5" y="42"/>
                    <a:pt x="75" y="43"/>
                    <a:pt x="75" y="42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7" y="44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6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4" y="41"/>
                  </a:cubicBezTo>
                  <a:cubicBezTo>
                    <a:pt x="74" y="41"/>
                    <a:pt x="75" y="41"/>
                    <a:pt x="75" y="42"/>
                  </a:cubicBezTo>
                  <a:cubicBezTo>
                    <a:pt x="75" y="42"/>
                    <a:pt x="74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2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3" y="41"/>
                  </a:cubicBezTo>
                  <a:cubicBezTo>
                    <a:pt x="73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2" y="40"/>
                  </a:cubicBezTo>
                  <a:cubicBezTo>
                    <a:pt x="73" y="40"/>
                    <a:pt x="72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1" y="40"/>
                    <a:pt x="72" y="40"/>
                    <a:pt x="71" y="40"/>
                  </a:cubicBezTo>
                  <a:cubicBezTo>
                    <a:pt x="71" y="40"/>
                    <a:pt x="72" y="40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9"/>
                    <a:pt x="71" y="39"/>
                  </a:cubicBezTo>
                  <a:cubicBezTo>
                    <a:pt x="71" y="38"/>
                    <a:pt x="71" y="38"/>
                    <a:pt x="70" y="38"/>
                  </a:cubicBezTo>
                  <a:cubicBezTo>
                    <a:pt x="70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8"/>
                    <a:pt x="72" y="37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9"/>
                    <a:pt x="74" y="39"/>
                  </a:cubicBezTo>
                  <a:cubicBezTo>
                    <a:pt x="74" y="39"/>
                    <a:pt x="74" y="39"/>
                    <a:pt x="74" y="38"/>
                  </a:cubicBezTo>
                  <a:cubicBezTo>
                    <a:pt x="74" y="38"/>
                    <a:pt x="74" y="39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5" y="39"/>
                    <a:pt x="76" y="40"/>
                  </a:cubicBezTo>
                  <a:cubicBezTo>
                    <a:pt x="76" y="40"/>
                    <a:pt x="77" y="40"/>
                    <a:pt x="77" y="41"/>
                  </a:cubicBezTo>
                  <a:cubicBezTo>
                    <a:pt x="77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7" y="40"/>
                  </a:cubicBezTo>
                  <a:cubicBezTo>
                    <a:pt x="76" y="40"/>
                    <a:pt x="78" y="41"/>
                    <a:pt x="78" y="41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8" y="42"/>
                    <a:pt x="78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80" y="42"/>
                    <a:pt x="81" y="43"/>
                    <a:pt x="82" y="44"/>
                  </a:cubicBezTo>
                  <a:cubicBezTo>
                    <a:pt x="82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5"/>
                  </a:cubicBezTo>
                  <a:cubicBezTo>
                    <a:pt x="83" y="45"/>
                    <a:pt x="83" y="44"/>
                    <a:pt x="83" y="44"/>
                  </a:cubicBezTo>
                  <a:cubicBezTo>
                    <a:pt x="83" y="44"/>
                    <a:pt x="83" y="44"/>
                    <a:pt x="84" y="44"/>
                  </a:cubicBezTo>
                  <a:cubicBezTo>
                    <a:pt x="84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6"/>
                    <a:pt x="85" y="46"/>
                  </a:cubicBezTo>
                  <a:cubicBezTo>
                    <a:pt x="85" y="46"/>
                    <a:pt x="85" y="45"/>
                    <a:pt x="85" y="46"/>
                  </a:cubicBezTo>
                  <a:cubicBezTo>
                    <a:pt x="85" y="46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7"/>
                    <a:pt x="88" y="47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7"/>
                    <a:pt x="88" y="48"/>
                    <a:pt x="87" y="48"/>
                  </a:cubicBezTo>
                  <a:cubicBezTo>
                    <a:pt x="87" y="47"/>
                    <a:pt x="86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4" y="46"/>
                    <a:pt x="83" y="45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1" y="44"/>
                    <a:pt x="81" y="44"/>
                  </a:cubicBezTo>
                  <a:cubicBezTo>
                    <a:pt x="81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80" y="43"/>
                    <a:pt x="80" y="44"/>
                  </a:cubicBezTo>
                  <a:cubicBezTo>
                    <a:pt x="80" y="44"/>
                    <a:pt x="80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2" y="45"/>
                    <a:pt x="81" y="44"/>
                  </a:cubicBezTo>
                  <a:cubicBezTo>
                    <a:pt x="82" y="44"/>
                    <a:pt x="82" y="45"/>
                    <a:pt x="81" y="44"/>
                  </a:cubicBezTo>
                  <a:cubicBezTo>
                    <a:pt x="81" y="45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4"/>
                    <a:pt x="81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1" y="45"/>
                  </a:cubicBezTo>
                  <a:cubicBezTo>
                    <a:pt x="80" y="45"/>
                    <a:pt x="81" y="45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3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5" y="48"/>
                    <a:pt x="85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49"/>
                    <a:pt x="87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9" y="49"/>
                  </a:cubicBezTo>
                  <a:cubicBezTo>
                    <a:pt x="89" y="49"/>
                    <a:pt x="89" y="49"/>
                    <a:pt x="88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90" y="50"/>
                    <a:pt x="90" y="49"/>
                  </a:cubicBezTo>
                  <a:cubicBezTo>
                    <a:pt x="91" y="50"/>
                    <a:pt x="91" y="50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2" y="51"/>
                  </a:cubicBezTo>
                  <a:cubicBezTo>
                    <a:pt x="92" y="51"/>
                    <a:pt x="91" y="51"/>
                    <a:pt x="92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3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3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2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7" y="53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9" y="54"/>
                    <a:pt x="99" y="55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4"/>
                    <a:pt x="99" y="55"/>
                  </a:cubicBezTo>
                  <a:cubicBezTo>
                    <a:pt x="98" y="54"/>
                    <a:pt x="97" y="54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6" y="53"/>
                    <a:pt x="96" y="53"/>
                    <a:pt x="96" y="52"/>
                  </a:cubicBezTo>
                  <a:cubicBezTo>
                    <a:pt x="96" y="52"/>
                    <a:pt x="96" y="52"/>
                    <a:pt x="96" y="53"/>
                  </a:cubicBezTo>
                  <a:cubicBezTo>
                    <a:pt x="93" y="51"/>
                    <a:pt x="91" y="50"/>
                    <a:pt x="89" y="49"/>
                  </a:cubicBezTo>
                  <a:cubicBezTo>
                    <a:pt x="89" y="48"/>
                    <a:pt x="89" y="49"/>
                    <a:pt x="89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5" y="52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6"/>
                    <a:pt x="100" y="55"/>
                    <a:pt x="100" y="56"/>
                  </a:cubicBezTo>
                  <a:cubicBezTo>
                    <a:pt x="100" y="56"/>
                    <a:pt x="101" y="56"/>
                    <a:pt x="101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1" y="56"/>
                    <a:pt x="101" y="56"/>
                    <a:pt x="101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1" y="57"/>
                    <a:pt x="102" y="57"/>
                    <a:pt x="101" y="57"/>
                  </a:cubicBezTo>
                  <a:cubicBezTo>
                    <a:pt x="102" y="57"/>
                    <a:pt x="102" y="57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8"/>
                    <a:pt x="102" y="58"/>
                  </a:cubicBezTo>
                  <a:cubicBezTo>
                    <a:pt x="102" y="58"/>
                    <a:pt x="102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6"/>
                    <a:pt x="100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ubicBezTo>
                    <a:pt x="100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7"/>
                  </a:cubicBezTo>
                  <a:cubicBezTo>
                    <a:pt x="98" y="56"/>
                    <a:pt x="98" y="57"/>
                    <a:pt x="99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8"/>
                  </a:cubicBezTo>
                  <a:cubicBezTo>
                    <a:pt x="99" y="58"/>
                    <a:pt x="98" y="58"/>
                    <a:pt x="98" y="57"/>
                  </a:cubicBezTo>
                  <a:cubicBezTo>
                    <a:pt x="98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7" y="57"/>
                  </a:cubicBezTo>
                  <a:cubicBezTo>
                    <a:pt x="97" y="56"/>
                    <a:pt x="97" y="57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4" y="55"/>
                    <a:pt x="94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5"/>
                    <a:pt x="93" y="55"/>
                  </a:cubicBezTo>
                  <a:cubicBezTo>
                    <a:pt x="93" y="54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5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6" y="56"/>
                    <a:pt x="96" y="57"/>
                    <a:pt x="96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7"/>
                    <a:pt x="96" y="56"/>
                    <a:pt x="96" y="57"/>
                  </a:cubicBezTo>
                  <a:cubicBezTo>
                    <a:pt x="96" y="57"/>
                    <a:pt x="96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7" y="58"/>
                  </a:cubicBezTo>
                  <a:cubicBezTo>
                    <a:pt x="96" y="57"/>
                    <a:pt x="96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5" y="57"/>
                    <a:pt x="95" y="57"/>
                  </a:cubicBezTo>
                  <a:cubicBezTo>
                    <a:pt x="95" y="57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lose/>
                  <a:moveTo>
                    <a:pt x="76" y="40"/>
                  </a:move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1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3"/>
                    <a:pt x="80" y="44"/>
                  </a:cubicBezTo>
                  <a:cubicBezTo>
                    <a:pt x="80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8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9" y="42"/>
                    <a:pt x="79" y="42"/>
                  </a:cubicBezTo>
                  <a:close/>
                  <a:moveTo>
                    <a:pt x="74" y="40"/>
                  </a:move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39"/>
                  </a:cubicBezTo>
                  <a:cubicBezTo>
                    <a:pt x="74" y="39"/>
                    <a:pt x="74" y="39"/>
                    <a:pt x="74" y="40"/>
                  </a:cubicBezTo>
                  <a:close/>
                  <a:moveTo>
                    <a:pt x="75" y="40"/>
                  </a:moveTo>
                  <a:cubicBezTo>
                    <a:pt x="75" y="40"/>
                    <a:pt x="74" y="40"/>
                    <a:pt x="74" y="40"/>
                  </a:cubicBezTo>
                  <a:cubicBezTo>
                    <a:pt x="74" y="40"/>
                    <a:pt x="75" y="40"/>
                    <a:pt x="75" y="40"/>
                  </a:cubicBezTo>
                  <a:close/>
                  <a:moveTo>
                    <a:pt x="77" y="42"/>
                  </a:moveTo>
                  <a:cubicBezTo>
                    <a:pt x="78" y="42"/>
                    <a:pt x="78" y="42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6" y="41"/>
                    <a:pt x="75" y="40"/>
                  </a:cubicBezTo>
                  <a:cubicBezTo>
                    <a:pt x="76" y="41"/>
                    <a:pt x="77" y="41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2" y="39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lose/>
                  <a:moveTo>
                    <a:pt x="73" y="39"/>
                  </a:moveTo>
                  <a:cubicBezTo>
                    <a:pt x="73" y="39"/>
                    <a:pt x="73" y="40"/>
                    <a:pt x="73" y="40"/>
                  </a:cubicBezTo>
                  <a:cubicBezTo>
                    <a:pt x="73" y="40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0"/>
                    <a:pt x="74" y="40"/>
                  </a:cubicBezTo>
                  <a:cubicBezTo>
                    <a:pt x="73" y="40"/>
                    <a:pt x="73" y="39"/>
                    <a:pt x="73" y="40"/>
                  </a:cubicBezTo>
                  <a:close/>
                  <a:moveTo>
                    <a:pt x="76" y="42"/>
                  </a:moveTo>
                  <a:cubicBezTo>
                    <a:pt x="76" y="42"/>
                    <a:pt x="75" y="41"/>
                    <a:pt x="75" y="42"/>
                  </a:cubicBezTo>
                  <a:cubicBezTo>
                    <a:pt x="76" y="42"/>
                    <a:pt x="75" y="42"/>
                    <a:pt x="76" y="42"/>
                  </a:cubicBezTo>
                  <a:close/>
                  <a:moveTo>
                    <a:pt x="73" y="41"/>
                  </a:move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1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1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4" y="41"/>
                  </a:moveTo>
                  <a:cubicBezTo>
                    <a:pt x="73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7" y="43"/>
                  </a:cubicBezTo>
                  <a:cubicBezTo>
                    <a:pt x="78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2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3"/>
                  </a:cubicBezTo>
                  <a:cubicBezTo>
                    <a:pt x="77" y="43"/>
                    <a:pt x="77" y="42"/>
                    <a:pt x="76" y="42"/>
                  </a:cubicBezTo>
                  <a:cubicBezTo>
                    <a:pt x="77" y="42"/>
                    <a:pt x="77" y="43"/>
                    <a:pt x="78" y="43"/>
                  </a:cubicBezTo>
                  <a:cubicBezTo>
                    <a:pt x="78" y="43"/>
                    <a:pt x="78" y="44"/>
                    <a:pt x="78" y="43"/>
                  </a:cubicBezTo>
                  <a:cubicBezTo>
                    <a:pt x="78" y="44"/>
                    <a:pt x="79" y="44"/>
                    <a:pt x="78" y="44"/>
                  </a:cubicBezTo>
                  <a:cubicBezTo>
                    <a:pt x="78" y="44"/>
                    <a:pt x="78" y="43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56"/>
                    <a:pt x="88" y="56"/>
                    <a:pt x="88" y="56"/>
                  </a:cubicBezTo>
                  <a:close/>
                  <a:moveTo>
                    <a:pt x="90" y="57"/>
                  </a:move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8" y="55"/>
                  </a:moveTo>
                  <a:cubicBezTo>
                    <a:pt x="88" y="55"/>
                    <a:pt x="89" y="56"/>
                    <a:pt x="89" y="56"/>
                  </a:cubicBezTo>
                  <a:cubicBezTo>
                    <a:pt x="89" y="55"/>
                    <a:pt x="88" y="55"/>
                    <a:pt x="88" y="55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4"/>
                  </a:cubicBezTo>
                  <a:cubicBezTo>
                    <a:pt x="86" y="53"/>
                    <a:pt x="87" y="54"/>
                    <a:pt x="87" y="54"/>
                  </a:cubicBezTo>
                  <a:cubicBezTo>
                    <a:pt x="87" y="54"/>
                    <a:pt x="87" y="53"/>
                    <a:pt x="87" y="54"/>
                  </a:cubicBezTo>
                  <a:cubicBezTo>
                    <a:pt x="87" y="54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4"/>
                    <a:pt x="88" y="54"/>
                    <a:pt x="88" y="53"/>
                  </a:cubicBezTo>
                  <a:cubicBezTo>
                    <a:pt x="87" y="54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4" y="51"/>
                  </a:move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4" y="51"/>
                    <a:pt x="84" y="51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1"/>
                    <a:pt x="85" y="50"/>
                  </a:cubicBezTo>
                  <a:close/>
                  <a:moveTo>
                    <a:pt x="95" y="57"/>
                  </a:moveTo>
                  <a:cubicBezTo>
                    <a:pt x="95" y="56"/>
                    <a:pt x="95" y="57"/>
                    <a:pt x="95" y="57"/>
                  </a:cubicBez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5" y="57"/>
                  </a:cubicBezTo>
                  <a:close/>
                  <a:moveTo>
                    <a:pt x="93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lose/>
                  <a:moveTo>
                    <a:pt x="92" y="54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4"/>
                    <a:pt x="92" y="55"/>
                    <a:pt x="92" y="54"/>
                  </a:cubicBezTo>
                  <a:close/>
                  <a:moveTo>
                    <a:pt x="91" y="53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8" y="51"/>
                    <a:pt x="87" y="51"/>
                  </a:cubicBezTo>
                  <a:cubicBezTo>
                    <a:pt x="87" y="51"/>
                    <a:pt x="88" y="51"/>
                    <a:pt x="87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2"/>
                    <a:pt x="88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89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lose/>
                  <a:moveTo>
                    <a:pt x="93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4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3"/>
                  </a:cubicBezTo>
                  <a:cubicBezTo>
                    <a:pt x="92" y="54"/>
                    <a:pt x="91" y="53"/>
                    <a:pt x="91" y="54"/>
                  </a:cubicBezTo>
                  <a:close/>
                  <a:moveTo>
                    <a:pt x="90" y="52"/>
                  </a:move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1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1" y="53"/>
                    <a:pt x="90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1" y="53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1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49"/>
                    <a:pt x="86" y="50"/>
                    <a:pt x="86" y="50"/>
                  </a:cubicBezTo>
                  <a:cubicBezTo>
                    <a:pt x="86" y="50"/>
                    <a:pt x="85" y="49"/>
                    <a:pt x="85" y="49"/>
                  </a:cubicBezTo>
                  <a:cubicBezTo>
                    <a:pt x="85" y="49"/>
                    <a:pt x="85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5" y="49"/>
                    <a:pt x="85" y="49"/>
                  </a:cubicBezTo>
                  <a:close/>
                  <a:moveTo>
                    <a:pt x="91" y="53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2" y="53"/>
                    <a:pt x="92" y="53"/>
                  </a:cubicBezTo>
                  <a:cubicBezTo>
                    <a:pt x="92" y="53"/>
                    <a:pt x="91" y="52"/>
                    <a:pt x="91" y="53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1"/>
                    <a:pt x="90" y="52"/>
                  </a:cubicBezTo>
                  <a:cubicBezTo>
                    <a:pt x="90" y="52"/>
                    <a:pt x="90" y="52"/>
                    <a:pt x="90" y="51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4"/>
                  </a:moveTo>
                  <a:cubicBezTo>
                    <a:pt x="94" y="54"/>
                    <a:pt x="95" y="54"/>
                    <a:pt x="95" y="54"/>
                  </a:cubicBezTo>
                  <a:cubicBezTo>
                    <a:pt x="95" y="54"/>
                    <a:pt x="95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3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2" y="53"/>
                  </a:cubicBezTo>
                  <a:close/>
                  <a:moveTo>
                    <a:pt x="93" y="53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6" y="55"/>
                  </a:move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6" y="56"/>
                    <a:pt x="96" y="55"/>
                  </a:cubicBezTo>
                  <a:close/>
                  <a:moveTo>
                    <a:pt x="94" y="55"/>
                  </a:moveTo>
                  <a:cubicBezTo>
                    <a:pt x="94" y="55"/>
                    <a:pt x="94" y="54"/>
                    <a:pt x="94" y="54"/>
                  </a:cubicBezTo>
                  <a:cubicBezTo>
                    <a:pt x="94" y="54"/>
                    <a:pt x="94" y="55"/>
                    <a:pt x="94" y="55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3" y="54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lose/>
                  <a:moveTo>
                    <a:pt x="96" y="55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6"/>
                  </a:cubicBezTo>
                  <a:cubicBezTo>
                    <a:pt x="96" y="56"/>
                    <a:pt x="96" y="56"/>
                    <a:pt x="96" y="55"/>
                  </a:cubicBezTo>
                  <a:close/>
                  <a:moveTo>
                    <a:pt x="98" y="56"/>
                  </a:move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lose/>
                  <a:moveTo>
                    <a:pt x="98" y="56"/>
                  </a:moveTo>
                  <a:cubicBezTo>
                    <a:pt x="98" y="57"/>
                    <a:pt x="99" y="57"/>
                    <a:pt x="99" y="57"/>
                  </a:cubicBezTo>
                  <a:cubicBezTo>
                    <a:pt x="98" y="56"/>
                    <a:pt x="99" y="56"/>
                    <a:pt x="98" y="56"/>
                  </a:cubicBezTo>
                  <a:close/>
                  <a:moveTo>
                    <a:pt x="95" y="54"/>
                  </a:move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5" y="55"/>
                    <a:pt x="95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7" y="54"/>
                    <a:pt x="97" y="54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99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99" y="56"/>
                  </a:cubicBezTo>
                  <a:close/>
                  <a:moveTo>
                    <a:pt x="99" y="56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lose/>
                  <a:moveTo>
                    <a:pt x="98" y="55"/>
                  </a:move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100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8" y="55"/>
                    <a:pt x="98" y="55"/>
                    <a:pt x="98" y="55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6" y="54"/>
                    <a:pt x="95" y="54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5" y="53"/>
                  </a:cubicBezTo>
                  <a:close/>
                  <a:moveTo>
                    <a:pt x="93" y="53"/>
                  </a:moveTo>
                  <a:cubicBezTo>
                    <a:pt x="94" y="53"/>
                    <a:pt x="94" y="53"/>
                    <a:pt x="93" y="53"/>
                  </a:cubicBez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lose/>
                  <a:moveTo>
                    <a:pt x="93" y="53"/>
                  </a:moveTo>
                  <a:cubicBezTo>
                    <a:pt x="93" y="53"/>
                    <a:pt x="93" y="52"/>
                    <a:pt x="92" y="53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3"/>
                    <a:pt x="93" y="53"/>
                  </a:cubicBezTo>
                  <a:cubicBezTo>
                    <a:pt x="94" y="53"/>
                    <a:pt x="93" y="53"/>
                    <a:pt x="94" y="53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0" y="51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0" y="50"/>
                    <a:pt x="90" y="51"/>
                  </a:cubicBezTo>
                  <a:close/>
                  <a:moveTo>
                    <a:pt x="90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lose/>
                  <a:moveTo>
                    <a:pt x="89" y="49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1"/>
                    <a:pt x="90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49"/>
                  </a:cubicBezTo>
                  <a:cubicBezTo>
                    <a:pt x="89" y="49"/>
                    <a:pt x="90" y="50"/>
                    <a:pt x="90" y="50"/>
                  </a:cubicBezTo>
                  <a:cubicBezTo>
                    <a:pt x="90" y="49"/>
                    <a:pt x="90" y="50"/>
                    <a:pt x="90" y="50"/>
                  </a:cubicBezTo>
                  <a:cubicBezTo>
                    <a:pt x="89" y="49"/>
                    <a:pt x="89" y="49"/>
                    <a:pt x="89" y="49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8" y="50"/>
                    <a:pt x="88" y="49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1"/>
                  </a:cubicBezTo>
                  <a:cubicBezTo>
                    <a:pt x="88" y="50"/>
                    <a:pt x="87" y="50"/>
                    <a:pt x="87" y="51"/>
                  </a:cubicBezTo>
                  <a:cubicBezTo>
                    <a:pt x="88" y="50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0"/>
                    <a:pt x="88" y="5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8" y="50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1"/>
                    <a:pt x="89" y="51"/>
                  </a:cubicBezTo>
                  <a:cubicBezTo>
                    <a:pt x="89" y="50"/>
                    <a:pt x="90" y="51"/>
                    <a:pt x="90" y="51"/>
                  </a:cubicBezTo>
                  <a:cubicBezTo>
                    <a:pt x="89" y="51"/>
                    <a:pt x="89" y="51"/>
                    <a:pt x="89" y="50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1"/>
                    <a:pt x="91" y="52"/>
                  </a:cubicBezTo>
                  <a:cubicBezTo>
                    <a:pt x="91" y="51"/>
                    <a:pt x="90" y="51"/>
                    <a:pt x="90" y="50"/>
                  </a:cubicBezTo>
                  <a:cubicBezTo>
                    <a:pt x="89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ubicBezTo>
                    <a:pt x="88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8" y="50"/>
                    <a:pt x="88" y="50"/>
                  </a:cubicBezTo>
                  <a:close/>
                  <a:moveTo>
                    <a:pt x="84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5" y="49"/>
                  </a:moveTo>
                  <a:cubicBezTo>
                    <a:pt x="85" y="49"/>
                    <a:pt x="86" y="49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5" y="49"/>
                  </a:cubicBezTo>
                  <a:cubicBezTo>
                    <a:pt x="85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6" y="49"/>
                    <a:pt x="85" y="49"/>
                  </a:cubicBezTo>
                  <a:cubicBezTo>
                    <a:pt x="86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lose/>
                  <a:moveTo>
                    <a:pt x="85" y="48"/>
                  </a:moveTo>
                  <a:cubicBezTo>
                    <a:pt x="84" y="48"/>
                    <a:pt x="84" y="47"/>
                    <a:pt x="83" y="47"/>
                  </a:cubicBezTo>
                  <a:cubicBezTo>
                    <a:pt x="83" y="47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lose/>
                  <a:moveTo>
                    <a:pt x="83" y="47"/>
                  </a:moveTo>
                  <a:cubicBezTo>
                    <a:pt x="83" y="47"/>
                    <a:pt x="83" y="47"/>
                    <a:pt x="82" y="47"/>
                  </a:cubicBezTo>
                  <a:cubicBezTo>
                    <a:pt x="83" y="47"/>
                    <a:pt x="83" y="47"/>
                    <a:pt x="83" y="47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9" y="45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7" y="44"/>
                  </a:cubicBezTo>
                  <a:cubicBezTo>
                    <a:pt x="77" y="43"/>
                    <a:pt x="76" y="43"/>
                    <a:pt x="76" y="43"/>
                  </a:cubicBezTo>
                  <a:close/>
                  <a:moveTo>
                    <a:pt x="78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8" y="45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5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6"/>
                  </a:cubicBezTo>
                  <a:cubicBezTo>
                    <a:pt x="81" y="46"/>
                    <a:pt x="81" y="46"/>
                    <a:pt x="82" y="46"/>
                  </a:cubicBezTo>
                  <a:cubicBezTo>
                    <a:pt x="82" y="46"/>
                    <a:pt x="82" y="47"/>
                    <a:pt x="82" y="47"/>
                  </a:cubicBezTo>
                  <a:cubicBezTo>
                    <a:pt x="82" y="47"/>
                    <a:pt x="82" y="46"/>
                    <a:pt x="82" y="46"/>
                  </a:cubicBezTo>
                  <a:cubicBezTo>
                    <a:pt x="82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1" y="46"/>
                    <a:pt x="81" y="47"/>
                    <a:pt x="81" y="47"/>
                  </a:cubicBezTo>
                  <a:cubicBezTo>
                    <a:pt x="81" y="47"/>
                    <a:pt x="82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8"/>
                    <a:pt x="84" y="48"/>
                    <a:pt x="83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9"/>
                    <a:pt x="84" y="48"/>
                    <a:pt x="84" y="49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4" y="49"/>
                    <a:pt x="84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7" y="51"/>
                  </a:move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lose/>
                  <a:moveTo>
                    <a:pt x="87" y="51"/>
                  </a:move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7" y="51"/>
                    <a:pt x="86" y="51"/>
                  </a:cubicBezTo>
                  <a:cubicBezTo>
                    <a:pt x="86" y="51"/>
                    <a:pt x="86" y="50"/>
                    <a:pt x="86" y="51"/>
                  </a:cubicBezTo>
                  <a:cubicBezTo>
                    <a:pt x="86" y="51"/>
                    <a:pt x="86" y="51"/>
                    <a:pt x="87" y="51"/>
                  </a:cubicBezTo>
                  <a:cubicBezTo>
                    <a:pt x="87" y="51"/>
                    <a:pt x="88" y="52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7" y="51"/>
                    <a:pt x="87" y="51"/>
                  </a:cubicBezTo>
                  <a:close/>
                  <a:moveTo>
                    <a:pt x="83" y="49"/>
                  </a:moveTo>
                  <a:cubicBezTo>
                    <a:pt x="83" y="49"/>
                    <a:pt x="84" y="49"/>
                    <a:pt x="83" y="49"/>
                  </a:cubicBezTo>
                  <a:cubicBezTo>
                    <a:pt x="83" y="49"/>
                    <a:pt x="83" y="48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lose/>
                  <a:moveTo>
                    <a:pt x="86" y="51"/>
                  </a:moveTo>
                  <a:cubicBezTo>
                    <a:pt x="86" y="51"/>
                    <a:pt x="86" y="51"/>
                    <a:pt x="86" y="50"/>
                  </a:cubicBezTo>
                  <a:cubicBezTo>
                    <a:pt x="86" y="50"/>
                    <a:pt x="86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6" y="50"/>
                    <a:pt x="85" y="50"/>
                    <a:pt x="86" y="51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4" y="50"/>
                  </a:cubicBezTo>
                  <a:cubicBezTo>
                    <a:pt x="84" y="50"/>
                    <a:pt x="85" y="50"/>
                    <a:pt x="85" y="50"/>
                  </a:cubicBezTo>
                  <a:close/>
                  <a:moveTo>
                    <a:pt x="85" y="50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5" y="51"/>
                    <a:pt x="86" y="51"/>
                    <a:pt x="85" y="50"/>
                  </a:cubicBezTo>
                  <a:close/>
                  <a:moveTo>
                    <a:pt x="89" y="53"/>
                  </a:move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2"/>
                    <a:pt x="89" y="53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4"/>
                    <a:pt x="91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2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lose/>
                  <a:moveTo>
                    <a:pt x="90" y="54"/>
                  </a:move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4" y="56"/>
                    <a:pt x="94" y="56"/>
                  </a:cubicBezTo>
                  <a:cubicBezTo>
                    <a:pt x="94" y="56"/>
                    <a:pt x="95" y="56"/>
                    <a:pt x="95" y="56"/>
                  </a:cubicBezTo>
                  <a:cubicBezTo>
                    <a:pt x="94" y="56"/>
                    <a:pt x="94" y="56"/>
                    <a:pt x="94" y="55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7"/>
                    <a:pt x="94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8" y="59"/>
                  </a:move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7" y="59"/>
                    <a:pt x="98" y="59"/>
                  </a:cubicBezTo>
                  <a:close/>
                  <a:moveTo>
                    <a:pt x="83" y="50"/>
                  </a:moveTo>
                  <a:cubicBezTo>
                    <a:pt x="82" y="50"/>
                    <a:pt x="83" y="50"/>
                    <a:pt x="82" y="50"/>
                  </a:cubicBezTo>
                  <a:cubicBezTo>
                    <a:pt x="82" y="50"/>
                    <a:pt x="83" y="50"/>
                    <a:pt x="83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3"/>
                    <a:pt x="67" y="43"/>
                  </a:cubicBezTo>
                  <a:cubicBezTo>
                    <a:pt x="67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2"/>
                    <a:pt x="66" y="43"/>
                    <a:pt x="66" y="42"/>
                  </a:cubicBezTo>
                  <a:close/>
                  <a:moveTo>
                    <a:pt x="65" y="47"/>
                  </a:moveTo>
                  <a:cubicBezTo>
                    <a:pt x="65" y="47"/>
                    <a:pt x="64" y="46"/>
                    <a:pt x="65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6"/>
                    <a:pt x="64" y="46"/>
                  </a:cubicBezTo>
                  <a:cubicBezTo>
                    <a:pt x="64" y="46"/>
                    <a:pt x="65" y="46"/>
                    <a:pt x="65" y="47"/>
                  </a:cubicBezTo>
                  <a:close/>
                  <a:moveTo>
                    <a:pt x="68" y="41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7" y="42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8" y="41"/>
                    <a:pt x="68" y="41"/>
                  </a:cubicBezTo>
                  <a:close/>
                  <a:moveTo>
                    <a:pt x="68" y="43"/>
                  </a:moveTo>
                  <a:cubicBezTo>
                    <a:pt x="67" y="43"/>
                    <a:pt x="67" y="43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8" y="42"/>
                    <a:pt x="68" y="42"/>
                  </a:cubicBezTo>
                  <a:cubicBezTo>
                    <a:pt x="67" y="42"/>
                    <a:pt x="68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3"/>
                    <a:pt x="68" y="42"/>
                    <a:pt x="68" y="43"/>
                  </a:cubicBezTo>
                  <a:cubicBezTo>
                    <a:pt x="68" y="43"/>
                    <a:pt x="68" y="43"/>
                    <a:pt x="68" y="42"/>
                  </a:cubicBezTo>
                  <a:cubicBezTo>
                    <a:pt x="68" y="43"/>
                    <a:pt x="68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8" y="43"/>
                    <a:pt x="68" y="43"/>
                    <a:pt x="68" y="43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0"/>
                    <a:pt x="68" y="41"/>
                    <a:pt x="68" y="40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4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70" y="41"/>
                    <a:pt x="70" y="41"/>
                  </a:cubicBezTo>
                  <a:cubicBezTo>
                    <a:pt x="70" y="41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2" y="43"/>
                  </a:cubicBezTo>
                  <a:close/>
                  <a:moveTo>
                    <a:pt x="71" y="42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5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8" y="45"/>
                    <a:pt x="67" y="45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8" y="47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lose/>
                  <a:moveTo>
                    <a:pt x="66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8" y="46"/>
                  </a:cubicBezTo>
                  <a:cubicBezTo>
                    <a:pt x="68" y="46"/>
                    <a:pt x="67" y="46"/>
                    <a:pt x="68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8" y="47"/>
                    <a:pt x="68" y="47"/>
                  </a:cubicBezTo>
                  <a:cubicBezTo>
                    <a:pt x="68" y="47"/>
                    <a:pt x="68" y="46"/>
                    <a:pt x="68" y="46"/>
                  </a:cubicBezTo>
                  <a:cubicBezTo>
                    <a:pt x="68" y="46"/>
                    <a:pt x="67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6"/>
                    <a:pt x="68" y="47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9" y="47"/>
                    <a:pt x="69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8" y="47"/>
                    <a:pt x="68" y="47"/>
                  </a:cubicBezTo>
                  <a:cubicBezTo>
                    <a:pt x="68" y="47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7" y="46"/>
                    <a:pt x="67" y="47"/>
                  </a:cubicBezTo>
                  <a:cubicBezTo>
                    <a:pt x="67" y="47"/>
                    <a:pt x="67" y="47"/>
                    <a:pt x="66" y="46"/>
                  </a:cubicBezTo>
                  <a:cubicBezTo>
                    <a:pt x="66" y="46"/>
                    <a:pt x="67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4"/>
                    <a:pt x="69" y="45"/>
                    <a:pt x="69" y="44"/>
                  </a:cubicBezTo>
                  <a:cubicBezTo>
                    <a:pt x="69" y="44"/>
                    <a:pt x="69" y="44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69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70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69" y="46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1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2"/>
                  </a:cubicBezTo>
                  <a:close/>
                  <a:moveTo>
                    <a:pt x="71" y="45"/>
                  </a:move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1" y="46"/>
                    <a:pt x="71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6"/>
                    <a:pt x="71" y="46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3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1" y="49"/>
                    <a:pt x="70" y="50"/>
                    <a:pt x="70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1" y="50"/>
                    <a:pt x="71" y="50"/>
                    <a:pt x="71" y="49"/>
                  </a:cubicBezTo>
                  <a:cubicBezTo>
                    <a:pt x="71" y="50"/>
                    <a:pt x="72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lose/>
                  <a:moveTo>
                    <a:pt x="71" y="50"/>
                  </a:moveTo>
                  <a:cubicBezTo>
                    <a:pt x="71" y="50"/>
                    <a:pt x="71" y="49"/>
                    <a:pt x="71" y="50"/>
                  </a:cubicBezTo>
                  <a:cubicBezTo>
                    <a:pt x="71" y="50"/>
                    <a:pt x="72" y="50"/>
                    <a:pt x="71" y="50"/>
                  </a:cubicBezTo>
                  <a:close/>
                  <a:moveTo>
                    <a:pt x="72" y="46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6"/>
                    <a:pt x="72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3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9"/>
                    <a:pt x="75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9"/>
                    <a:pt x="74" y="49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4" y="48"/>
                    <a:pt x="74" y="48"/>
                    <a:pt x="73" y="47"/>
                  </a:cubicBezTo>
                  <a:cubicBezTo>
                    <a:pt x="73" y="48"/>
                    <a:pt x="72" y="48"/>
                    <a:pt x="73" y="48"/>
                  </a:cubicBezTo>
                  <a:close/>
                  <a:moveTo>
                    <a:pt x="73" y="50"/>
                  </a:moveTo>
                  <a:cubicBezTo>
                    <a:pt x="73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9"/>
                    <a:pt x="71" y="48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3" y="49"/>
                    <a:pt x="72" y="50"/>
                  </a:cubicBezTo>
                  <a:cubicBezTo>
                    <a:pt x="73" y="50"/>
                    <a:pt x="72" y="50"/>
                    <a:pt x="73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49"/>
                  </a:lnTo>
                  <a:close/>
                  <a:moveTo>
                    <a:pt x="75" y="45"/>
                  </a:moveTo>
                  <a:cubicBezTo>
                    <a:pt x="75" y="45"/>
                    <a:pt x="74" y="45"/>
                    <a:pt x="74" y="45"/>
                  </a:cubicBezTo>
                  <a:cubicBezTo>
                    <a:pt x="74" y="45"/>
                    <a:pt x="74" y="44"/>
                    <a:pt x="74" y="44"/>
                  </a:cubicBezTo>
                  <a:cubicBezTo>
                    <a:pt x="74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5" y="47"/>
                    <a:pt x="75" y="47"/>
                  </a:cubicBezTo>
                  <a:cubicBezTo>
                    <a:pt x="75" y="47"/>
                    <a:pt x="75" y="47"/>
                    <a:pt x="74" y="47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4"/>
                    <a:pt x="75" y="44"/>
                  </a:cubicBez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4"/>
                    <a:pt x="75" y="43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8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6"/>
                  </a:cubicBezTo>
                  <a:cubicBezTo>
                    <a:pt x="77" y="47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7" y="46"/>
                    <a:pt x="77" y="46"/>
                  </a:cubicBezTo>
                  <a:cubicBezTo>
                    <a:pt x="77" y="46"/>
                    <a:pt x="78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2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1"/>
                    <a:pt x="74" y="51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6" y="47"/>
                    <a:pt x="76" y="47"/>
                  </a:cubicBezTo>
                  <a:cubicBezTo>
                    <a:pt x="76" y="47"/>
                    <a:pt x="77" y="47"/>
                    <a:pt x="77" y="48"/>
                  </a:cubicBezTo>
                  <a:cubicBezTo>
                    <a:pt x="76" y="47"/>
                    <a:pt x="75" y="47"/>
                    <a:pt x="75" y="46"/>
                  </a:cubicBezTo>
                  <a:cubicBezTo>
                    <a:pt x="76" y="46"/>
                    <a:pt x="76" y="47"/>
                    <a:pt x="77" y="47"/>
                  </a:cubicBezTo>
                  <a:close/>
                  <a:moveTo>
                    <a:pt x="74" y="51"/>
                  </a:moveTo>
                  <a:cubicBezTo>
                    <a:pt x="74" y="51"/>
                    <a:pt x="74" y="51"/>
                    <a:pt x="73" y="50"/>
                  </a:cubicBezTo>
                  <a:cubicBezTo>
                    <a:pt x="74" y="50"/>
                    <a:pt x="74" y="51"/>
                    <a:pt x="74" y="5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6"/>
                    <a:pt x="78" y="45"/>
                    <a:pt x="78" y="4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7" y="50"/>
                  </a:cubicBezTo>
                  <a:cubicBezTo>
                    <a:pt x="77" y="49"/>
                    <a:pt x="78" y="50"/>
                    <a:pt x="78" y="50"/>
                  </a:cubicBezTo>
                  <a:cubicBezTo>
                    <a:pt x="78" y="50"/>
                    <a:pt x="77" y="50"/>
                    <a:pt x="77" y="50"/>
                  </a:cubicBezTo>
                  <a:cubicBezTo>
                    <a:pt x="77" y="49"/>
                    <a:pt x="77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80" y="45"/>
                  </a:moveTo>
                  <a:cubicBezTo>
                    <a:pt x="80" y="44"/>
                    <a:pt x="80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4"/>
                    <a:pt x="80" y="44"/>
                    <a:pt x="80" y="45"/>
                  </a:cubicBezTo>
                  <a:close/>
                  <a:moveTo>
                    <a:pt x="76" y="53"/>
                  </a:moveTo>
                  <a:cubicBezTo>
                    <a:pt x="75" y="53"/>
                    <a:pt x="75" y="53"/>
                    <a:pt x="75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7" y="50"/>
                    <a:pt x="77" y="50"/>
                  </a:cubicBezTo>
                  <a:close/>
                  <a:moveTo>
                    <a:pt x="82" y="45"/>
                  </a:moveTo>
                  <a:cubicBezTo>
                    <a:pt x="82" y="45"/>
                    <a:pt x="83" y="45"/>
                    <a:pt x="83" y="46"/>
                  </a:cubicBezTo>
                  <a:cubicBezTo>
                    <a:pt x="83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2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5"/>
                    <a:pt x="83" y="46"/>
                  </a:cubicBezTo>
                  <a:cubicBezTo>
                    <a:pt x="82" y="46"/>
                    <a:pt x="84" y="46"/>
                    <a:pt x="84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5"/>
                    <a:pt x="82" y="46"/>
                    <a:pt x="82" y="46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0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80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1" y="56"/>
                  </a:move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5"/>
                    <a:pt x="79" y="55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1" y="56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lose/>
                  <a:moveTo>
                    <a:pt x="80" y="53"/>
                  </a:moveTo>
                  <a:cubicBezTo>
                    <a:pt x="79" y="53"/>
                    <a:pt x="80" y="53"/>
                    <a:pt x="80" y="54"/>
                  </a:cubicBezTo>
                  <a:cubicBezTo>
                    <a:pt x="80" y="54"/>
                    <a:pt x="80" y="53"/>
                    <a:pt x="80" y="54"/>
                  </a:cubicBezTo>
                  <a:cubicBezTo>
                    <a:pt x="79" y="53"/>
                    <a:pt x="80" y="53"/>
                    <a:pt x="80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4"/>
                    <a:pt x="80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3"/>
                  </a:cubicBezTo>
                  <a:cubicBezTo>
                    <a:pt x="81" y="53"/>
                    <a:pt x="81" y="53"/>
                    <a:pt x="80" y="53"/>
                  </a:cubicBezTo>
                  <a:cubicBezTo>
                    <a:pt x="80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3"/>
                    <a:pt x="81" y="53"/>
                  </a:cubicBezTo>
                  <a:cubicBezTo>
                    <a:pt x="81" y="53"/>
                    <a:pt x="81" y="52"/>
                    <a:pt x="81" y="52"/>
                  </a:cubicBezTo>
                  <a:cubicBezTo>
                    <a:pt x="81" y="52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5"/>
                    <a:pt x="85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4"/>
                    <a:pt x="84" y="54"/>
                  </a:cubicBezTo>
                  <a:cubicBezTo>
                    <a:pt x="83" y="54"/>
                    <a:pt x="83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1" y="54"/>
                    <a:pt x="80" y="54"/>
                  </a:cubicBezTo>
                  <a:cubicBezTo>
                    <a:pt x="80" y="54"/>
                    <a:pt x="80" y="54"/>
                    <a:pt x="81" y="54"/>
                  </a:cubicBezTo>
                  <a:cubicBezTo>
                    <a:pt x="81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4"/>
                  </a:cubicBezTo>
                  <a:close/>
                  <a:moveTo>
                    <a:pt x="83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4" y="53"/>
                    <a:pt x="84" y="54"/>
                  </a:cubicBezTo>
                  <a:cubicBezTo>
                    <a:pt x="84" y="54"/>
                    <a:pt x="83" y="53"/>
                    <a:pt x="83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8" y="58"/>
                  </a:cubicBezTo>
                  <a:cubicBezTo>
                    <a:pt x="87" y="58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lose/>
                  <a:moveTo>
                    <a:pt x="93" y="51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3" y="51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1" y="56"/>
                    <a:pt x="91" y="55"/>
                    <a:pt x="91" y="56"/>
                  </a:cubicBezTo>
                  <a:cubicBezTo>
                    <a:pt x="90" y="56"/>
                    <a:pt x="91" y="55"/>
                    <a:pt x="91" y="56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2" y="56"/>
                    <a:pt x="92" y="57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3" y="57"/>
                    <a:pt x="93" y="57"/>
                    <a:pt x="92" y="57"/>
                  </a:cubicBezTo>
                  <a:cubicBezTo>
                    <a:pt x="92" y="57"/>
                    <a:pt x="92" y="57"/>
                    <a:pt x="91" y="56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3" y="52"/>
                  </a:cubicBezTo>
                  <a:close/>
                  <a:moveTo>
                    <a:pt x="89" y="60"/>
                  </a:move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1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60"/>
                    <a:pt x="90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90" y="60"/>
                  </a:cubicBezTo>
                  <a:cubicBezTo>
                    <a:pt x="90" y="60"/>
                    <a:pt x="89" y="60"/>
                    <a:pt x="89" y="60"/>
                  </a:cubicBezTo>
                  <a:close/>
                  <a:moveTo>
                    <a:pt x="95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1"/>
                    <a:pt x="95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100" y="56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9" y="56"/>
                    <a:pt x="99" y="56"/>
                    <a:pt x="99" y="56"/>
                  </a:cubicBezTo>
                  <a:close/>
                  <a:moveTo>
                    <a:pt x="103" y="59"/>
                  </a:moveTo>
                  <a:cubicBezTo>
                    <a:pt x="103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8"/>
                  </a:cubicBezTo>
                  <a:cubicBezTo>
                    <a:pt x="102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7"/>
                    <a:pt x="100" y="56"/>
                  </a:cubicBezTo>
                  <a:close/>
                  <a:moveTo>
                    <a:pt x="102" y="60"/>
                  </a:moveTo>
                  <a:cubicBezTo>
                    <a:pt x="101" y="60"/>
                    <a:pt x="101" y="60"/>
                    <a:pt x="101" y="59"/>
                  </a:cubicBezTo>
                  <a:cubicBezTo>
                    <a:pt x="101" y="59"/>
                    <a:pt x="101" y="60"/>
                    <a:pt x="101" y="60"/>
                  </a:cubicBezTo>
                  <a:cubicBezTo>
                    <a:pt x="101" y="59"/>
                    <a:pt x="101" y="60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04" y="61"/>
                    <a:pt x="104" y="60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ubicBezTo>
                    <a:pt x="104" y="61"/>
                    <a:pt x="103" y="61"/>
                    <a:pt x="103" y="61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2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59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3" y="60"/>
                    <a:pt x="102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1" y="60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1" y="59"/>
                  </a:cubicBezTo>
                  <a:cubicBezTo>
                    <a:pt x="101" y="59"/>
                    <a:pt x="101" y="59"/>
                    <a:pt x="101" y="58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lose/>
                  <a:moveTo>
                    <a:pt x="102" y="59"/>
                  </a:move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1" y="60"/>
                    <a:pt x="100" y="60"/>
                    <a:pt x="101" y="60"/>
                  </a:cubicBezTo>
                  <a:cubicBezTo>
                    <a:pt x="101" y="60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102" y="57"/>
                  </a:moveTo>
                  <a:cubicBezTo>
                    <a:pt x="101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1" y="56"/>
                  </a:cubicBezTo>
                  <a:cubicBezTo>
                    <a:pt x="102" y="56"/>
                    <a:pt x="101" y="56"/>
                    <a:pt x="102" y="56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0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100" y="62"/>
                    <a:pt x="100" y="62"/>
                  </a:cubicBezTo>
                  <a:close/>
                  <a:moveTo>
                    <a:pt x="102" y="56"/>
                  </a:moveTo>
                  <a:cubicBezTo>
                    <a:pt x="102" y="56"/>
                    <a:pt x="102" y="56"/>
                    <a:pt x="102" y="56"/>
                  </a:cubicBezTo>
                  <a:cubicBezTo>
                    <a:pt x="102" y="57"/>
                    <a:pt x="103" y="56"/>
                    <a:pt x="103" y="57"/>
                  </a:cubicBezTo>
                  <a:cubicBezTo>
                    <a:pt x="103" y="57"/>
                    <a:pt x="102" y="57"/>
                    <a:pt x="102" y="57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6"/>
                    <a:pt x="102" y="56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3" y="58"/>
                    <a:pt x="102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lose/>
                  <a:moveTo>
                    <a:pt x="105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4" y="59"/>
                    <a:pt x="104" y="59"/>
                  </a:cubicBezTo>
                  <a:cubicBezTo>
                    <a:pt x="104" y="58"/>
                    <a:pt x="103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9"/>
                    <a:pt x="105" y="58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6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6" y="60"/>
                    <a:pt x="106" y="60"/>
                    <a:pt x="105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5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60"/>
                    <a:pt x="105" y="60"/>
                  </a:cubicBezTo>
                  <a:close/>
                  <a:moveTo>
                    <a:pt x="106" y="61"/>
                  </a:moveTo>
                  <a:cubicBezTo>
                    <a:pt x="106" y="62"/>
                    <a:pt x="106" y="62"/>
                    <a:pt x="107" y="62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6" y="61"/>
                    <a:pt x="105" y="61"/>
                    <a:pt x="105" y="61"/>
                  </a:cubicBezTo>
                  <a:cubicBezTo>
                    <a:pt x="105" y="61"/>
                    <a:pt x="106" y="61"/>
                    <a:pt x="106" y="61"/>
                  </a:cubicBezTo>
                  <a:close/>
                  <a:moveTo>
                    <a:pt x="108" y="61"/>
                  </a:moveTo>
                  <a:cubicBezTo>
                    <a:pt x="108" y="61"/>
                    <a:pt x="108" y="61"/>
                    <a:pt x="108" y="61"/>
                  </a:cubicBezTo>
                  <a:cubicBezTo>
                    <a:pt x="108" y="60"/>
                    <a:pt x="109" y="61"/>
                    <a:pt x="108" y="60"/>
                  </a:cubicBezTo>
                  <a:cubicBezTo>
                    <a:pt x="108" y="60"/>
                    <a:pt x="109" y="60"/>
                    <a:pt x="109" y="61"/>
                  </a:cubicBezTo>
                  <a:cubicBezTo>
                    <a:pt x="109" y="61"/>
                    <a:pt x="108" y="61"/>
                    <a:pt x="108" y="61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110" y="65"/>
                  </a:move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4"/>
                  </a:cubicBezTo>
                  <a:cubicBezTo>
                    <a:pt x="110" y="64"/>
                    <a:pt x="110" y="65"/>
                    <a:pt x="110" y="65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6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0" y="65"/>
                    <a:pt x="111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1" y="65"/>
                  </a:cubicBezTo>
                  <a:cubicBezTo>
                    <a:pt x="111" y="65"/>
                    <a:pt x="110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7" y="66"/>
                    <a:pt x="118" y="67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6" y="66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lose/>
                  <a:moveTo>
                    <a:pt x="117" y="66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7" y="65"/>
                    <a:pt x="117" y="66"/>
                    <a:pt x="117" y="66"/>
                  </a:cubicBezTo>
                  <a:close/>
                  <a:moveTo>
                    <a:pt x="118" y="66"/>
                  </a:moveTo>
                  <a:cubicBezTo>
                    <a:pt x="118" y="66"/>
                    <a:pt x="117" y="66"/>
                    <a:pt x="117" y="66"/>
                  </a:cubicBezTo>
                  <a:cubicBezTo>
                    <a:pt x="117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lose/>
                  <a:moveTo>
                    <a:pt x="121" y="69"/>
                  </a:moveTo>
                  <a:cubicBezTo>
                    <a:pt x="121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2" y="70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6" y="71"/>
                    <a:pt x="126" y="72"/>
                  </a:cubicBezTo>
                  <a:cubicBezTo>
                    <a:pt x="125" y="72"/>
                    <a:pt x="125" y="72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4" y="71"/>
                    <a:pt x="124" y="70"/>
                    <a:pt x="123" y="70"/>
                  </a:cubicBezTo>
                  <a:cubicBezTo>
                    <a:pt x="123" y="70"/>
                    <a:pt x="123" y="70"/>
                    <a:pt x="124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69"/>
                    <a:pt x="121" y="69"/>
                    <a:pt x="120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19" y="68"/>
                    <a:pt x="119" y="68"/>
                  </a:cubicBezTo>
                  <a:cubicBezTo>
                    <a:pt x="119" y="67"/>
                    <a:pt x="118" y="67"/>
                    <a:pt x="117" y="66"/>
                  </a:cubicBezTo>
                  <a:cubicBezTo>
                    <a:pt x="118" y="66"/>
                    <a:pt x="120" y="68"/>
                    <a:pt x="121" y="68"/>
                  </a:cubicBezTo>
                  <a:cubicBezTo>
                    <a:pt x="121" y="69"/>
                    <a:pt x="121" y="69"/>
                    <a:pt x="121" y="69"/>
                  </a:cubicBezTo>
                  <a:close/>
                  <a:moveTo>
                    <a:pt x="117" y="67"/>
                  </a:move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lose/>
                  <a:moveTo>
                    <a:pt x="128" y="72"/>
                  </a:moveTo>
                  <a:cubicBezTo>
                    <a:pt x="126" y="71"/>
                    <a:pt x="125" y="70"/>
                    <a:pt x="124" y="69"/>
                  </a:cubicBezTo>
                  <a:cubicBezTo>
                    <a:pt x="125" y="70"/>
                    <a:pt x="126" y="71"/>
                    <a:pt x="128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7" y="77"/>
                  </a:move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6"/>
                    <a:pt x="136" y="76"/>
                  </a:cubicBezTo>
                  <a:cubicBezTo>
                    <a:pt x="136" y="77"/>
                    <a:pt x="136" y="77"/>
                    <a:pt x="136" y="76"/>
                  </a:cubicBezTo>
                  <a:cubicBezTo>
                    <a:pt x="137" y="77"/>
                    <a:pt x="136" y="77"/>
                    <a:pt x="137" y="77"/>
                  </a:cubicBezTo>
                  <a:close/>
                  <a:moveTo>
                    <a:pt x="146" y="82"/>
                  </a:moveTo>
                  <a:cubicBezTo>
                    <a:pt x="145" y="82"/>
                    <a:pt x="145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0"/>
                    <a:pt x="142" y="81"/>
                    <a:pt x="141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1" y="80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2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1"/>
                    <a:pt x="143" y="80"/>
                    <a:pt x="143" y="80"/>
                  </a:cubicBezTo>
                  <a:cubicBezTo>
                    <a:pt x="143" y="80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1"/>
                    <a:pt x="145" y="81"/>
                    <a:pt x="145" y="81"/>
                  </a:cubicBezTo>
                  <a:cubicBezTo>
                    <a:pt x="146" y="81"/>
                    <a:pt x="146" y="82"/>
                    <a:pt x="147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0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0" y="80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1" y="80"/>
                    <a:pt x="142" y="81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3" y="81"/>
                  </a:cubicBezTo>
                  <a:cubicBezTo>
                    <a:pt x="143" y="81"/>
                    <a:pt x="142" y="81"/>
                    <a:pt x="142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1" y="86"/>
                  </a:moveTo>
                  <a:cubicBezTo>
                    <a:pt x="151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1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6" y="92"/>
                    <a:pt x="156" y="92"/>
                  </a:cubicBezTo>
                  <a:cubicBezTo>
                    <a:pt x="156" y="92"/>
                    <a:pt x="156" y="92"/>
                    <a:pt x="156" y="93"/>
                  </a:cubicBezTo>
                  <a:cubicBezTo>
                    <a:pt x="156" y="93"/>
                    <a:pt x="156" y="92"/>
                    <a:pt x="155" y="92"/>
                  </a:cubicBezTo>
                  <a:close/>
                  <a:moveTo>
                    <a:pt x="159" y="90"/>
                  </a:moveTo>
                  <a:cubicBezTo>
                    <a:pt x="159" y="90"/>
                    <a:pt x="159" y="91"/>
                    <a:pt x="160" y="91"/>
                  </a:cubicBezTo>
                  <a:cubicBezTo>
                    <a:pt x="159" y="91"/>
                    <a:pt x="159" y="91"/>
                    <a:pt x="159" y="90"/>
                  </a:cubicBezTo>
                  <a:close/>
                  <a:moveTo>
                    <a:pt x="12" y="19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9"/>
                    <a:pt x="12" y="19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4" y="28"/>
                    <a:pt x="34" y="28"/>
                    <a:pt x="34" y="28"/>
                  </a:cubicBezTo>
                  <a:close/>
                  <a:moveTo>
                    <a:pt x="35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lose/>
                  <a:moveTo>
                    <a:pt x="36" y="27"/>
                  </a:moveTo>
                  <a:cubicBezTo>
                    <a:pt x="36" y="28"/>
                    <a:pt x="36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6" y="27"/>
                    <a:pt x="36" y="28"/>
                    <a:pt x="36" y="27"/>
                  </a:cubicBezTo>
                  <a:close/>
                  <a:moveTo>
                    <a:pt x="38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6"/>
                  </a:cubicBezTo>
                  <a:cubicBezTo>
                    <a:pt x="39" y="26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7" y="26"/>
                    <a:pt x="47" y="26"/>
                  </a:cubicBezTo>
                  <a:close/>
                  <a:moveTo>
                    <a:pt x="46" y="32"/>
                  </a:moveTo>
                  <a:cubicBezTo>
                    <a:pt x="46" y="33"/>
                    <a:pt x="46" y="33"/>
                    <a:pt x="47" y="33"/>
                  </a:cubicBezTo>
                  <a:cubicBezTo>
                    <a:pt x="46" y="33"/>
                    <a:pt x="46" y="33"/>
                    <a:pt x="45" y="32"/>
                  </a:cubicBezTo>
                  <a:cubicBezTo>
                    <a:pt x="46" y="32"/>
                    <a:pt x="46" y="33"/>
                    <a:pt x="4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7" y="31"/>
                    <a:pt x="57" y="31"/>
                  </a:cubicBezTo>
                  <a:cubicBezTo>
                    <a:pt x="57" y="31"/>
                    <a:pt x="58" y="31"/>
                    <a:pt x="58" y="32"/>
                  </a:cubicBezTo>
                  <a:close/>
                  <a:moveTo>
                    <a:pt x="63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4" y="34"/>
                    <a:pt x="64" y="34"/>
                  </a:cubicBezTo>
                  <a:cubicBezTo>
                    <a:pt x="64" y="34"/>
                    <a:pt x="64" y="34"/>
                    <a:pt x="64" y="35"/>
                  </a:cubicBezTo>
                  <a:cubicBezTo>
                    <a:pt x="64" y="34"/>
                    <a:pt x="63" y="34"/>
                    <a:pt x="63" y="34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40"/>
                  </a:cubicBezTo>
                  <a:lnTo>
                    <a:pt x="61" y="39"/>
                  </a:lnTo>
                  <a:close/>
                  <a:moveTo>
                    <a:pt x="67" y="41"/>
                  </a:moveTo>
                  <a:cubicBezTo>
                    <a:pt x="67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0"/>
                    <a:pt x="67" y="41"/>
                    <a:pt x="67" y="41"/>
                  </a:cubicBezTo>
                  <a:close/>
                  <a:moveTo>
                    <a:pt x="68" y="47"/>
                  </a:move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2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2" y="43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ubicBezTo>
                    <a:pt x="73" y="44"/>
                    <a:pt x="73" y="44"/>
                    <a:pt x="72" y="44"/>
                  </a:cubicBezTo>
                  <a:cubicBezTo>
                    <a:pt x="73" y="44"/>
                    <a:pt x="73" y="45"/>
                    <a:pt x="73" y="45"/>
                  </a:cubicBezTo>
                  <a:close/>
                  <a:moveTo>
                    <a:pt x="74" y="45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6"/>
                    <a:pt x="74" y="45"/>
                  </a:cubicBezTo>
                  <a:close/>
                  <a:moveTo>
                    <a:pt x="76" y="49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4" y="48"/>
                    <a:pt x="74" y="47"/>
                    <a:pt x="74" y="47"/>
                  </a:cubicBezTo>
                  <a:cubicBezTo>
                    <a:pt x="75" y="47"/>
                    <a:pt x="75" y="47"/>
                    <a:pt x="75" y="48"/>
                  </a:cubicBezTo>
                  <a:cubicBezTo>
                    <a:pt x="75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9"/>
                  </a:cubicBezTo>
                  <a:close/>
                  <a:moveTo>
                    <a:pt x="76" y="52"/>
                  </a:moveTo>
                  <a:cubicBezTo>
                    <a:pt x="75" y="52"/>
                    <a:pt x="75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9" y="48"/>
                  </a:move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lose/>
                  <a:moveTo>
                    <a:pt x="99" y="59"/>
                  </a:moveTo>
                  <a:cubicBezTo>
                    <a:pt x="99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9" y="58"/>
                    <a:pt x="99" y="58"/>
                    <a:pt x="100" y="59"/>
                  </a:cubicBezTo>
                  <a:cubicBezTo>
                    <a:pt x="100" y="59"/>
                    <a:pt x="99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28783C6-01DC-4B80-8036-454CF8738166}"/>
                </a:ext>
              </a:extLst>
            </p:cNvPr>
            <p:cNvSpPr/>
            <p:nvPr/>
          </p:nvSpPr>
          <p:spPr bwMode="auto">
            <a:xfrm>
              <a:off x="3595688" y="1528763"/>
              <a:ext cx="255588" cy="385763"/>
            </a:xfrm>
            <a:custGeom>
              <a:avLst/>
              <a:gdLst>
                <a:gd name="T0" fmla="*/ 22 w 103"/>
                <a:gd name="T1" fmla="*/ 40 h 156"/>
                <a:gd name="T2" fmla="*/ 27 w 103"/>
                <a:gd name="T3" fmla="*/ 42 h 156"/>
                <a:gd name="T4" fmla="*/ 29 w 103"/>
                <a:gd name="T5" fmla="*/ 48 h 156"/>
                <a:gd name="T6" fmla="*/ 30 w 103"/>
                <a:gd name="T7" fmla="*/ 51 h 156"/>
                <a:gd name="T8" fmla="*/ 33 w 103"/>
                <a:gd name="T9" fmla="*/ 58 h 156"/>
                <a:gd name="T10" fmla="*/ 43 w 103"/>
                <a:gd name="T11" fmla="*/ 57 h 156"/>
                <a:gd name="T12" fmla="*/ 47 w 103"/>
                <a:gd name="T13" fmla="*/ 65 h 156"/>
                <a:gd name="T14" fmla="*/ 42 w 103"/>
                <a:gd name="T15" fmla="*/ 72 h 156"/>
                <a:gd name="T16" fmla="*/ 48 w 103"/>
                <a:gd name="T17" fmla="*/ 73 h 156"/>
                <a:gd name="T18" fmla="*/ 49 w 103"/>
                <a:gd name="T19" fmla="*/ 81 h 156"/>
                <a:gd name="T20" fmla="*/ 53 w 103"/>
                <a:gd name="T21" fmla="*/ 88 h 156"/>
                <a:gd name="T22" fmla="*/ 58 w 103"/>
                <a:gd name="T23" fmla="*/ 93 h 156"/>
                <a:gd name="T24" fmla="*/ 68 w 103"/>
                <a:gd name="T25" fmla="*/ 97 h 156"/>
                <a:gd name="T26" fmla="*/ 65 w 103"/>
                <a:gd name="T27" fmla="*/ 103 h 156"/>
                <a:gd name="T28" fmla="*/ 74 w 103"/>
                <a:gd name="T29" fmla="*/ 110 h 156"/>
                <a:gd name="T30" fmla="*/ 93 w 103"/>
                <a:gd name="T31" fmla="*/ 138 h 156"/>
                <a:gd name="T32" fmla="*/ 101 w 103"/>
                <a:gd name="T33" fmla="*/ 148 h 156"/>
                <a:gd name="T34" fmla="*/ 30 w 103"/>
                <a:gd name="T35" fmla="*/ 37 h 156"/>
                <a:gd name="T36" fmla="*/ 34 w 103"/>
                <a:gd name="T37" fmla="*/ 44 h 156"/>
                <a:gd name="T38" fmla="*/ 29 w 103"/>
                <a:gd name="T39" fmla="*/ 40 h 156"/>
                <a:gd name="T40" fmla="*/ 31 w 103"/>
                <a:gd name="T41" fmla="*/ 45 h 156"/>
                <a:gd name="T42" fmla="*/ 22 w 103"/>
                <a:gd name="T43" fmla="*/ 34 h 156"/>
                <a:gd name="T44" fmla="*/ 19 w 103"/>
                <a:gd name="T45" fmla="*/ 35 h 156"/>
                <a:gd name="T46" fmla="*/ 9 w 103"/>
                <a:gd name="T47" fmla="*/ 27 h 156"/>
                <a:gd name="T48" fmla="*/ 13 w 103"/>
                <a:gd name="T49" fmla="*/ 30 h 156"/>
                <a:gd name="T50" fmla="*/ 23 w 103"/>
                <a:gd name="T51" fmla="*/ 38 h 156"/>
                <a:gd name="T52" fmla="*/ 30 w 103"/>
                <a:gd name="T53" fmla="*/ 44 h 156"/>
                <a:gd name="T54" fmla="*/ 25 w 103"/>
                <a:gd name="T55" fmla="*/ 31 h 156"/>
                <a:gd name="T56" fmla="*/ 26 w 103"/>
                <a:gd name="T57" fmla="*/ 30 h 156"/>
                <a:gd name="T58" fmla="*/ 23 w 103"/>
                <a:gd name="T59" fmla="*/ 42 h 156"/>
                <a:gd name="T60" fmla="*/ 27 w 103"/>
                <a:gd name="T61" fmla="*/ 45 h 156"/>
                <a:gd name="T62" fmla="*/ 40 w 103"/>
                <a:gd name="T63" fmla="*/ 53 h 156"/>
                <a:gd name="T64" fmla="*/ 44 w 103"/>
                <a:gd name="T65" fmla="*/ 59 h 156"/>
                <a:gd name="T66" fmla="*/ 45 w 103"/>
                <a:gd name="T67" fmla="*/ 63 h 156"/>
                <a:gd name="T68" fmla="*/ 40 w 103"/>
                <a:gd name="T69" fmla="*/ 59 h 156"/>
                <a:gd name="T70" fmla="*/ 43 w 103"/>
                <a:gd name="T71" fmla="*/ 60 h 156"/>
                <a:gd name="T72" fmla="*/ 38 w 103"/>
                <a:gd name="T73" fmla="*/ 66 h 156"/>
                <a:gd name="T74" fmla="*/ 63 w 103"/>
                <a:gd name="T75" fmla="*/ 96 h 156"/>
                <a:gd name="T76" fmla="*/ 58 w 103"/>
                <a:gd name="T77" fmla="*/ 88 h 156"/>
                <a:gd name="T78" fmla="*/ 57 w 103"/>
                <a:gd name="T79" fmla="*/ 89 h 156"/>
                <a:gd name="T80" fmla="*/ 53 w 103"/>
                <a:gd name="T81" fmla="*/ 82 h 156"/>
                <a:gd name="T82" fmla="*/ 49 w 103"/>
                <a:gd name="T83" fmla="*/ 71 h 156"/>
                <a:gd name="T84" fmla="*/ 50 w 103"/>
                <a:gd name="T85" fmla="*/ 65 h 156"/>
                <a:gd name="T86" fmla="*/ 57 w 103"/>
                <a:gd name="T87" fmla="*/ 80 h 156"/>
                <a:gd name="T88" fmla="*/ 65 w 103"/>
                <a:gd name="T89" fmla="*/ 93 h 156"/>
                <a:gd name="T90" fmla="*/ 61 w 103"/>
                <a:gd name="T91" fmla="*/ 92 h 156"/>
                <a:gd name="T92" fmla="*/ 49 w 103"/>
                <a:gd name="T93" fmla="*/ 69 h 156"/>
                <a:gd name="T94" fmla="*/ 54 w 103"/>
                <a:gd name="T95" fmla="*/ 82 h 156"/>
                <a:gd name="T96" fmla="*/ 57 w 103"/>
                <a:gd name="T97" fmla="*/ 84 h 156"/>
                <a:gd name="T98" fmla="*/ 65 w 103"/>
                <a:gd name="T99" fmla="*/ 94 h 156"/>
                <a:gd name="T100" fmla="*/ 57 w 103"/>
                <a:gd name="T101" fmla="*/ 83 h 156"/>
                <a:gd name="T102" fmla="*/ 50 w 103"/>
                <a:gd name="T103" fmla="*/ 72 h 156"/>
                <a:gd name="T104" fmla="*/ 61 w 103"/>
                <a:gd name="T105" fmla="*/ 92 h 156"/>
                <a:gd name="T106" fmla="*/ 46 w 103"/>
                <a:gd name="T107" fmla="*/ 68 h 156"/>
                <a:gd name="T108" fmla="*/ 45 w 103"/>
                <a:gd name="T109" fmla="*/ 71 h 156"/>
                <a:gd name="T110" fmla="*/ 43 w 103"/>
                <a:gd name="T111" fmla="*/ 74 h 156"/>
                <a:gd name="T112" fmla="*/ 45 w 103"/>
                <a:gd name="T113" fmla="*/ 80 h 156"/>
                <a:gd name="T114" fmla="*/ 49 w 103"/>
                <a:gd name="T115" fmla="*/ 83 h 156"/>
                <a:gd name="T116" fmla="*/ 65 w 103"/>
                <a:gd name="T117" fmla="*/ 94 h 156"/>
                <a:gd name="T118" fmla="*/ 67 w 103"/>
                <a:gd name="T119" fmla="*/ 96 h 156"/>
                <a:gd name="T120" fmla="*/ 76 w 103"/>
                <a:gd name="T121" fmla="*/ 109 h 156"/>
                <a:gd name="T122" fmla="*/ 94 w 103"/>
                <a:gd name="T123" fmla="*/ 138 h 156"/>
                <a:gd name="T124" fmla="*/ 41 w 103"/>
                <a:gd name="T125" fmla="*/ 7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" h="156">
                  <a:moveTo>
                    <a:pt x="7" y="0"/>
                  </a:moveTo>
                  <a:cubicBezTo>
                    <a:pt x="7" y="0"/>
                    <a:pt x="7" y="1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lose/>
                  <a:moveTo>
                    <a:pt x="4" y="19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4" y="18"/>
                    <a:pt x="4" y="19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2"/>
                    <a:pt x="6" y="22"/>
                    <a:pt x="6" y="22"/>
                  </a:cubicBezTo>
                  <a:close/>
                  <a:moveTo>
                    <a:pt x="8" y="2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lose/>
                  <a:moveTo>
                    <a:pt x="10" y="29"/>
                  </a:moveTo>
                  <a:cubicBezTo>
                    <a:pt x="10" y="29"/>
                    <a:pt x="10" y="29"/>
                    <a:pt x="11" y="30"/>
                  </a:cubicBezTo>
                  <a:cubicBezTo>
                    <a:pt x="10" y="30"/>
                    <a:pt x="10" y="29"/>
                    <a:pt x="10" y="30"/>
                  </a:cubicBezTo>
                  <a:cubicBezTo>
                    <a:pt x="10" y="29"/>
                    <a:pt x="10" y="29"/>
                    <a:pt x="10" y="29"/>
                  </a:cubicBezTo>
                  <a:close/>
                  <a:moveTo>
                    <a:pt x="10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0" y="30"/>
                  </a:cubicBezTo>
                  <a:close/>
                  <a:moveTo>
                    <a:pt x="12" y="30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16" y="33"/>
                  </a:move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6" y="33"/>
                  </a:cubicBezTo>
                  <a:close/>
                  <a:moveTo>
                    <a:pt x="15" y="33"/>
                  </a:moveTo>
                  <a:cubicBezTo>
                    <a:pt x="15" y="33"/>
                    <a:pt x="15" y="33"/>
                    <a:pt x="15" y="34"/>
                  </a:cubicBezTo>
                  <a:cubicBezTo>
                    <a:pt x="15" y="34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lose/>
                  <a:moveTo>
                    <a:pt x="16" y="34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4"/>
                    <a:pt x="16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17" y="37"/>
                  </a:moveTo>
                  <a:cubicBezTo>
                    <a:pt x="16" y="37"/>
                    <a:pt x="16" y="36"/>
                    <a:pt x="16" y="36"/>
                  </a:cubicBezTo>
                  <a:cubicBezTo>
                    <a:pt x="16" y="36"/>
                    <a:pt x="17" y="37"/>
                    <a:pt x="17" y="37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6" y="37"/>
                  </a:cubicBezTo>
                  <a:cubicBezTo>
                    <a:pt x="17" y="37"/>
                    <a:pt x="17" y="38"/>
                    <a:pt x="17" y="38"/>
                  </a:cubicBezTo>
                  <a:close/>
                  <a:moveTo>
                    <a:pt x="23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3" y="35"/>
                  </a:cubicBezTo>
                  <a:close/>
                  <a:moveTo>
                    <a:pt x="20" y="38"/>
                  </a:move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22" y="36"/>
                  </a:moveTo>
                  <a:cubicBezTo>
                    <a:pt x="22" y="35"/>
                    <a:pt x="22" y="36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lose/>
                  <a:moveTo>
                    <a:pt x="27" y="33"/>
                  </a:move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4" y="37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6"/>
                  </a:cubicBezTo>
                  <a:cubicBezTo>
                    <a:pt x="24" y="37"/>
                    <a:pt x="24" y="36"/>
                    <a:pt x="24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8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1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40"/>
                    <a:pt x="22" y="40"/>
                  </a:cubicBezTo>
                  <a:cubicBezTo>
                    <a:pt x="21" y="39"/>
                    <a:pt x="21" y="39"/>
                    <a:pt x="21" y="39"/>
                  </a:cubicBezTo>
                  <a:close/>
                  <a:moveTo>
                    <a:pt x="24" y="37"/>
                  </a:moveTo>
                  <a:cubicBezTo>
                    <a:pt x="24" y="36"/>
                    <a:pt x="25" y="37"/>
                    <a:pt x="25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5" y="37"/>
                    <a:pt x="24" y="37"/>
                  </a:cubicBezTo>
                  <a:close/>
                  <a:moveTo>
                    <a:pt x="20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40"/>
                  </a:cubicBezTo>
                  <a:cubicBezTo>
                    <a:pt x="21" y="40"/>
                    <a:pt x="21" y="39"/>
                    <a:pt x="20" y="39"/>
                  </a:cubicBezTo>
                  <a:close/>
                  <a:moveTo>
                    <a:pt x="24" y="38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22" y="40"/>
                  </a:moveTo>
                  <a:cubicBezTo>
                    <a:pt x="21" y="40"/>
                    <a:pt x="21" y="40"/>
                    <a:pt x="21" y="39"/>
                  </a:cubicBezTo>
                  <a:cubicBezTo>
                    <a:pt x="21" y="39"/>
                    <a:pt x="22" y="40"/>
                    <a:pt x="22" y="40"/>
                  </a:cubicBezTo>
                  <a:close/>
                  <a:moveTo>
                    <a:pt x="29" y="35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lose/>
                  <a:moveTo>
                    <a:pt x="24" y="38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4" y="38"/>
                  </a:cubicBezTo>
                  <a:close/>
                  <a:moveTo>
                    <a:pt x="22" y="41"/>
                  </a:moveTo>
                  <a:cubicBezTo>
                    <a:pt x="21" y="41"/>
                    <a:pt x="21" y="41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lnTo>
                    <a:pt x="22" y="41"/>
                  </a:lnTo>
                  <a:close/>
                  <a:moveTo>
                    <a:pt x="19" y="42"/>
                  </a:move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19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lose/>
                  <a:moveTo>
                    <a:pt x="30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5"/>
                  </a:cubicBezTo>
                  <a:cubicBezTo>
                    <a:pt x="30" y="35"/>
                    <a:pt x="30" y="36"/>
                    <a:pt x="30" y="36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6" y="39"/>
                  </a:moveTo>
                  <a:cubicBezTo>
                    <a:pt x="26" y="40"/>
                    <a:pt x="26" y="39"/>
                    <a:pt x="25" y="39"/>
                  </a:cubicBezTo>
                  <a:cubicBezTo>
                    <a:pt x="26" y="39"/>
                    <a:pt x="26" y="39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40"/>
                    <a:pt x="26" y="39"/>
                  </a:cubicBezTo>
                  <a:close/>
                  <a:moveTo>
                    <a:pt x="22" y="42"/>
                  </a:move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1"/>
                    <a:pt x="27" y="40"/>
                  </a:cubicBezTo>
                  <a:cubicBezTo>
                    <a:pt x="27" y="40"/>
                    <a:pt x="27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1" y="45"/>
                  </a:move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40"/>
                    <a:pt x="31" y="40"/>
                  </a:cubicBezTo>
                  <a:cubicBezTo>
                    <a:pt x="31" y="40"/>
                    <a:pt x="30" y="39"/>
                    <a:pt x="30" y="39"/>
                  </a:cubicBezTo>
                  <a:close/>
                  <a:moveTo>
                    <a:pt x="28" y="41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1"/>
                  </a:cubicBezTo>
                  <a:close/>
                  <a:moveTo>
                    <a:pt x="26" y="44"/>
                  </a:move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4"/>
                  </a:cubicBezTo>
                  <a:close/>
                  <a:moveTo>
                    <a:pt x="23" y="44"/>
                  </a:moveTo>
                  <a:cubicBezTo>
                    <a:pt x="24" y="44"/>
                    <a:pt x="24" y="44"/>
                    <a:pt x="24" y="45"/>
                  </a:cubicBezTo>
                  <a:cubicBezTo>
                    <a:pt x="24" y="45"/>
                    <a:pt x="24" y="44"/>
                    <a:pt x="23" y="44"/>
                  </a:cubicBezTo>
                  <a:close/>
                  <a:moveTo>
                    <a:pt x="28" y="43"/>
                  </a:moveTo>
                  <a:cubicBezTo>
                    <a:pt x="27" y="43"/>
                    <a:pt x="27" y="42"/>
                    <a:pt x="27" y="42"/>
                  </a:cubicBezTo>
                  <a:cubicBezTo>
                    <a:pt x="27" y="42"/>
                    <a:pt x="28" y="43"/>
                    <a:pt x="28" y="43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7" y="43"/>
                  </a:move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30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30" y="41"/>
                    <a:pt x="30" y="41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9" y="44"/>
                  </a:moveTo>
                  <a:cubicBezTo>
                    <a:pt x="29" y="44"/>
                    <a:pt x="28" y="43"/>
                    <a:pt x="28" y="42"/>
                  </a:cubicBezTo>
                  <a:cubicBezTo>
                    <a:pt x="28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4" y="45"/>
                    <a:pt x="24" y="45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4" y="46"/>
                    <a:pt x="24" y="45"/>
                    <a:pt x="24" y="45"/>
                  </a:cubicBezTo>
                  <a:close/>
                  <a:moveTo>
                    <a:pt x="28" y="44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lose/>
                  <a:moveTo>
                    <a:pt x="28" y="44"/>
                  </a:moveTo>
                  <a:cubicBezTo>
                    <a:pt x="28" y="44"/>
                    <a:pt x="29" y="44"/>
                    <a:pt x="29" y="45"/>
                  </a:cubicBezTo>
                  <a:cubicBezTo>
                    <a:pt x="28" y="45"/>
                    <a:pt x="28" y="44"/>
                    <a:pt x="28" y="44"/>
                  </a:cubicBezTo>
                  <a:close/>
                  <a:moveTo>
                    <a:pt x="23" y="47"/>
                  </a:move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7"/>
                    <a:pt x="23" y="47"/>
                    <a:pt x="23" y="47"/>
                  </a:cubicBezTo>
                  <a:close/>
                  <a:moveTo>
                    <a:pt x="27" y="45"/>
                  </a:move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lose/>
                  <a:moveTo>
                    <a:pt x="25" y="47"/>
                  </a:moveTo>
                  <a:cubicBezTo>
                    <a:pt x="25" y="46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27" y="46"/>
                  </a:move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29" y="45"/>
                  </a:moveTo>
                  <a:cubicBezTo>
                    <a:pt x="29" y="45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8" y="46"/>
                    <a:pt x="28" y="45"/>
                    <a:pt x="29" y="45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1" y="43"/>
                  </a:cubicBezTo>
                  <a:cubicBezTo>
                    <a:pt x="32" y="43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lose/>
                  <a:moveTo>
                    <a:pt x="26" y="47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8"/>
                    <a:pt x="26" y="47"/>
                    <a:pt x="26" y="47"/>
                  </a:cubicBezTo>
                  <a:close/>
                  <a:moveTo>
                    <a:pt x="34" y="42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2"/>
                  </a:cubicBezTo>
                  <a:close/>
                  <a:moveTo>
                    <a:pt x="28" y="47"/>
                  </a:move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7"/>
                    <a:pt x="28" y="47"/>
                  </a:cubicBezTo>
                  <a:close/>
                  <a:moveTo>
                    <a:pt x="27" y="47"/>
                  </a:move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8"/>
                  </a:cubicBezTo>
                  <a:cubicBezTo>
                    <a:pt x="28" y="48"/>
                    <a:pt x="28" y="47"/>
                    <a:pt x="27" y="47"/>
                  </a:cubicBezTo>
                  <a:close/>
                  <a:moveTo>
                    <a:pt x="27" y="47"/>
                  </a:moveTo>
                  <a:cubicBezTo>
                    <a:pt x="28" y="47"/>
                    <a:pt x="28" y="47"/>
                    <a:pt x="28" y="48"/>
                  </a:cubicBezTo>
                  <a:cubicBezTo>
                    <a:pt x="27" y="47"/>
                    <a:pt x="28" y="48"/>
                    <a:pt x="28" y="48"/>
                  </a:cubicBezTo>
                  <a:cubicBezTo>
                    <a:pt x="28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lose/>
                  <a:moveTo>
                    <a:pt x="30" y="46"/>
                  </a:moveTo>
                  <a:cubicBezTo>
                    <a:pt x="30" y="46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8"/>
                  </a:cubicBezTo>
                  <a:cubicBezTo>
                    <a:pt x="30" y="47"/>
                    <a:pt x="30" y="47"/>
                    <a:pt x="29" y="47"/>
                  </a:cubicBezTo>
                  <a:cubicBezTo>
                    <a:pt x="29" y="47"/>
                    <a:pt x="29" y="46"/>
                    <a:pt x="29" y="46"/>
                  </a:cubicBezTo>
                  <a:cubicBezTo>
                    <a:pt x="29" y="46"/>
                    <a:pt x="29" y="46"/>
                    <a:pt x="30" y="46"/>
                  </a:cubicBezTo>
                  <a:close/>
                  <a:moveTo>
                    <a:pt x="35" y="44"/>
                  </a:moveTo>
                  <a:cubicBezTo>
                    <a:pt x="35" y="44"/>
                    <a:pt x="35" y="43"/>
                    <a:pt x="35" y="43"/>
                  </a:cubicBezTo>
                  <a:cubicBezTo>
                    <a:pt x="35" y="43"/>
                    <a:pt x="35" y="44"/>
                    <a:pt x="35" y="44"/>
                  </a:cubicBezTo>
                  <a:close/>
                  <a:moveTo>
                    <a:pt x="29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8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lose/>
                  <a:moveTo>
                    <a:pt x="32" y="47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2" y="46"/>
                    <a:pt x="32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1" y="47"/>
                    <a:pt x="32" y="47"/>
                  </a:cubicBezTo>
                  <a:close/>
                  <a:moveTo>
                    <a:pt x="35" y="45"/>
                  </a:moveTo>
                  <a:cubicBezTo>
                    <a:pt x="35" y="44"/>
                    <a:pt x="35" y="44"/>
                    <a:pt x="35" y="44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28" y="49"/>
                  </a:moveTo>
                  <a:cubicBezTo>
                    <a:pt x="28" y="49"/>
                    <a:pt x="29" y="50"/>
                    <a:pt x="29" y="50"/>
                  </a:cubicBezTo>
                  <a:cubicBezTo>
                    <a:pt x="29" y="50"/>
                    <a:pt x="29" y="49"/>
                    <a:pt x="28" y="49"/>
                  </a:cubicBezTo>
                  <a:close/>
                  <a:moveTo>
                    <a:pt x="25" y="52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2"/>
                    <a:pt x="25" y="52"/>
                  </a:cubicBezTo>
                  <a:close/>
                  <a:moveTo>
                    <a:pt x="32" y="48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2" y="48"/>
                    <a:pt x="32" y="48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lose/>
                  <a:moveTo>
                    <a:pt x="35" y="46"/>
                  </a:moveTo>
                  <a:cubicBezTo>
                    <a:pt x="35" y="46"/>
                    <a:pt x="35" y="46"/>
                    <a:pt x="35" y="45"/>
                  </a:cubicBezTo>
                  <a:cubicBezTo>
                    <a:pt x="35" y="45"/>
                    <a:pt x="35" y="46"/>
                    <a:pt x="36" y="45"/>
                  </a:cubicBezTo>
                  <a:cubicBezTo>
                    <a:pt x="36" y="45"/>
                    <a:pt x="36" y="45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6" y="46"/>
                    <a:pt x="35" y="46"/>
                  </a:cubicBezTo>
                  <a:close/>
                  <a:moveTo>
                    <a:pt x="30" y="50"/>
                  </a:moveTo>
                  <a:cubicBezTo>
                    <a:pt x="29" y="50"/>
                    <a:pt x="29" y="50"/>
                    <a:pt x="29" y="49"/>
                  </a:cubicBezTo>
                  <a:cubicBezTo>
                    <a:pt x="29" y="50"/>
                    <a:pt x="29" y="50"/>
                    <a:pt x="30" y="50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6"/>
                    <a:pt x="36" y="46"/>
                  </a:cubicBezTo>
                  <a:cubicBezTo>
                    <a:pt x="36" y="46"/>
                    <a:pt x="36" y="45"/>
                    <a:pt x="36" y="45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50"/>
                    <a:pt x="31" y="49"/>
                    <a:pt x="31" y="49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1" y="50"/>
                    <a:pt x="32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7" y="46"/>
                    <a:pt x="37" y="46"/>
                  </a:cubicBezTo>
                  <a:cubicBezTo>
                    <a:pt x="37" y="46"/>
                    <a:pt x="36" y="47"/>
                    <a:pt x="36" y="46"/>
                  </a:cubicBezTo>
                  <a:close/>
                  <a:moveTo>
                    <a:pt x="35" y="48"/>
                  </a:moveTo>
                  <a:cubicBezTo>
                    <a:pt x="35" y="48"/>
                    <a:pt x="35" y="48"/>
                    <a:pt x="35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8"/>
                    <a:pt x="35" y="47"/>
                  </a:cubicBezTo>
                  <a:cubicBezTo>
                    <a:pt x="35" y="47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lose/>
                  <a:moveTo>
                    <a:pt x="27" y="54"/>
                  </a:moveTo>
                  <a:cubicBezTo>
                    <a:pt x="26" y="54"/>
                    <a:pt x="26" y="53"/>
                    <a:pt x="26" y="54"/>
                  </a:cubicBezTo>
                  <a:cubicBezTo>
                    <a:pt x="26" y="54"/>
                    <a:pt x="26" y="53"/>
                    <a:pt x="26" y="53"/>
                  </a:cubicBezTo>
                  <a:cubicBezTo>
                    <a:pt x="26" y="53"/>
                    <a:pt x="26" y="54"/>
                    <a:pt x="27" y="54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0" y="52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49"/>
                  </a:moveTo>
                  <a:cubicBezTo>
                    <a:pt x="36" y="49"/>
                    <a:pt x="36" y="48"/>
                    <a:pt x="36" y="48"/>
                  </a:cubicBezTo>
                  <a:cubicBezTo>
                    <a:pt x="36" y="49"/>
                    <a:pt x="37" y="49"/>
                    <a:pt x="37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5" y="49"/>
                    <a:pt x="35" y="49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9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1"/>
                    <a:pt x="32" y="51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7" y="49"/>
                  </a:cubicBezTo>
                  <a:cubicBezTo>
                    <a:pt x="37" y="49"/>
                    <a:pt x="36" y="49"/>
                    <a:pt x="36" y="49"/>
                  </a:cubicBezTo>
                  <a:close/>
                  <a:moveTo>
                    <a:pt x="32" y="53"/>
                  </a:moveTo>
                  <a:cubicBezTo>
                    <a:pt x="31" y="53"/>
                    <a:pt x="31" y="52"/>
                    <a:pt x="31" y="53"/>
                  </a:cubicBezTo>
                  <a:cubicBezTo>
                    <a:pt x="31" y="52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4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4"/>
                  </a:moveTo>
                  <a:cubicBezTo>
                    <a:pt x="31" y="54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5"/>
                    <a:pt x="33" y="56"/>
                    <a:pt x="33" y="56"/>
                  </a:cubicBezTo>
                  <a:cubicBezTo>
                    <a:pt x="33" y="57"/>
                    <a:pt x="32" y="56"/>
                    <a:pt x="33" y="56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2" y="54"/>
                  </a:cubicBezTo>
                  <a:close/>
                  <a:moveTo>
                    <a:pt x="39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9" y="50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7" y="52"/>
                    <a:pt x="37" y="53"/>
                  </a:cubicBezTo>
                  <a:cubicBezTo>
                    <a:pt x="36" y="53"/>
                    <a:pt x="36" y="52"/>
                    <a:pt x="36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40" y="50"/>
                  </a:cubicBezTo>
                  <a:cubicBezTo>
                    <a:pt x="39" y="50"/>
                    <a:pt x="39" y="51"/>
                    <a:pt x="39" y="50"/>
                  </a:cubicBezTo>
                  <a:close/>
                  <a:moveTo>
                    <a:pt x="36" y="53"/>
                  </a:moveTo>
                  <a:cubicBezTo>
                    <a:pt x="36" y="53"/>
                    <a:pt x="35" y="53"/>
                    <a:pt x="35" y="53"/>
                  </a:cubicBezTo>
                  <a:cubicBezTo>
                    <a:pt x="35" y="53"/>
                    <a:pt x="36" y="53"/>
                    <a:pt x="36" y="53"/>
                  </a:cubicBezTo>
                  <a:close/>
                  <a:moveTo>
                    <a:pt x="40" y="51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8"/>
                    <a:pt x="30" y="58"/>
                  </a:cubicBezTo>
                  <a:cubicBezTo>
                    <a:pt x="30" y="58"/>
                    <a:pt x="30" y="58"/>
                    <a:pt x="30" y="57"/>
                  </a:cubicBezTo>
                  <a:close/>
                  <a:moveTo>
                    <a:pt x="33" y="57"/>
                  </a:move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4" y="57"/>
                    <a:pt x="33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3" y="58"/>
                    <a:pt x="34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3" y="58"/>
                    <a:pt x="34" y="59"/>
                    <a:pt x="34" y="59"/>
                  </a:cubicBezTo>
                  <a:cubicBezTo>
                    <a:pt x="33" y="58"/>
                    <a:pt x="33" y="58"/>
                    <a:pt x="33" y="57"/>
                  </a:cubicBezTo>
                  <a:close/>
                  <a:moveTo>
                    <a:pt x="38" y="54"/>
                  </a:move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7" y="54"/>
                    <a:pt x="38" y="54"/>
                  </a:cubicBezTo>
                  <a:close/>
                  <a:moveTo>
                    <a:pt x="36" y="56"/>
                  </a:move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lose/>
                  <a:moveTo>
                    <a:pt x="34" y="58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7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7"/>
                  </a:cubicBezTo>
                  <a:cubicBezTo>
                    <a:pt x="38" y="57"/>
                    <a:pt x="37" y="56"/>
                    <a:pt x="37" y="56"/>
                  </a:cubicBezTo>
                  <a:close/>
                  <a:moveTo>
                    <a:pt x="35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3" y="61"/>
                  </a:moveTo>
                  <a:cubicBezTo>
                    <a:pt x="33" y="61"/>
                    <a:pt x="33" y="60"/>
                    <a:pt x="32" y="60"/>
                  </a:cubicBezTo>
                  <a:cubicBezTo>
                    <a:pt x="33" y="60"/>
                    <a:pt x="33" y="60"/>
                    <a:pt x="33" y="61"/>
                  </a:cubicBezTo>
                  <a:close/>
                  <a:moveTo>
                    <a:pt x="40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40" y="56"/>
                    <a:pt x="39" y="56"/>
                    <a:pt x="40" y="56"/>
                  </a:cubicBezTo>
                  <a:close/>
                  <a:moveTo>
                    <a:pt x="42" y="55"/>
                  </a:move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8" y="58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8" y="58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7"/>
                    <a:pt x="40" y="57"/>
                  </a:cubicBezTo>
                  <a:cubicBezTo>
                    <a:pt x="40" y="57"/>
                    <a:pt x="40" y="57"/>
                    <a:pt x="39" y="57"/>
                  </a:cubicBezTo>
                  <a:cubicBezTo>
                    <a:pt x="39" y="57"/>
                    <a:pt x="40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41" y="57"/>
                  </a:move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8"/>
                    <a:pt x="41" y="58"/>
                  </a:cubicBezTo>
                  <a:cubicBezTo>
                    <a:pt x="41" y="58"/>
                    <a:pt x="41" y="57"/>
                    <a:pt x="41" y="57"/>
                  </a:cubicBezTo>
                  <a:close/>
                  <a:moveTo>
                    <a:pt x="35" y="60"/>
                  </a:moveTo>
                  <a:cubicBezTo>
                    <a:pt x="36" y="60"/>
                    <a:pt x="36" y="61"/>
                    <a:pt x="36" y="61"/>
                  </a:cubicBezTo>
                  <a:cubicBezTo>
                    <a:pt x="36" y="61"/>
                    <a:pt x="36" y="61"/>
                    <a:pt x="35" y="60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9"/>
                    <a:pt x="39" y="59"/>
                  </a:cubicBezTo>
                  <a:cubicBezTo>
                    <a:pt x="39" y="59"/>
                    <a:pt x="40" y="59"/>
                    <a:pt x="39" y="58"/>
                  </a:cubicBezTo>
                  <a:close/>
                  <a:moveTo>
                    <a:pt x="38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0"/>
                    <a:pt x="38" y="60"/>
                    <a:pt x="38" y="60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42" y="58"/>
                  </a:move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lose/>
                  <a:moveTo>
                    <a:pt x="44" y="58"/>
                  </a:moveTo>
                  <a:cubicBezTo>
                    <a:pt x="45" y="58"/>
                    <a:pt x="45" y="59"/>
                    <a:pt x="45" y="59"/>
                  </a:cubicBezTo>
                  <a:cubicBezTo>
                    <a:pt x="45" y="59"/>
                    <a:pt x="44" y="58"/>
                    <a:pt x="44" y="57"/>
                  </a:cubicBezTo>
                  <a:cubicBezTo>
                    <a:pt x="44" y="57"/>
                    <a:pt x="44" y="57"/>
                    <a:pt x="44" y="58"/>
                  </a:cubicBezTo>
                  <a:close/>
                  <a:moveTo>
                    <a:pt x="37" y="63"/>
                  </a:move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3"/>
                  </a:cubicBezTo>
                  <a:close/>
                  <a:moveTo>
                    <a:pt x="42" y="59"/>
                  </a:moveTo>
                  <a:cubicBezTo>
                    <a:pt x="42" y="59"/>
                    <a:pt x="42" y="59"/>
                    <a:pt x="42" y="60"/>
                  </a:cubicBezTo>
                  <a:cubicBezTo>
                    <a:pt x="42" y="60"/>
                    <a:pt x="42" y="59"/>
                    <a:pt x="41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39" y="62"/>
                  </a:move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lose/>
                  <a:moveTo>
                    <a:pt x="39" y="63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lose/>
                  <a:moveTo>
                    <a:pt x="47" y="61"/>
                  </a:moveTo>
                  <a:cubicBezTo>
                    <a:pt x="46" y="61"/>
                    <a:pt x="46" y="60"/>
                    <a:pt x="47" y="61"/>
                  </a:cubicBezTo>
                  <a:close/>
                  <a:moveTo>
                    <a:pt x="43" y="63"/>
                  </a:move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lose/>
                  <a:moveTo>
                    <a:pt x="41" y="65"/>
                  </a:moveTo>
                  <a:cubicBezTo>
                    <a:pt x="41" y="65"/>
                    <a:pt x="41" y="64"/>
                    <a:pt x="41" y="64"/>
                  </a:cubicBezTo>
                  <a:cubicBezTo>
                    <a:pt x="41" y="64"/>
                    <a:pt x="41" y="65"/>
                    <a:pt x="41" y="65"/>
                  </a:cubicBezTo>
                  <a:close/>
                  <a:moveTo>
                    <a:pt x="44" y="63"/>
                  </a:move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lose/>
                  <a:moveTo>
                    <a:pt x="40" y="66"/>
                  </a:moveTo>
                  <a:cubicBezTo>
                    <a:pt x="40" y="66"/>
                    <a:pt x="40" y="66"/>
                    <a:pt x="39" y="66"/>
                  </a:cubicBezTo>
                  <a:cubicBezTo>
                    <a:pt x="39" y="66"/>
                    <a:pt x="40" y="66"/>
                    <a:pt x="40" y="66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5"/>
                    <a:pt x="42" y="65"/>
                  </a:cubicBezTo>
                  <a:cubicBezTo>
                    <a:pt x="42" y="65"/>
                    <a:pt x="41" y="65"/>
                    <a:pt x="41" y="64"/>
                  </a:cubicBezTo>
                  <a:cubicBezTo>
                    <a:pt x="42" y="65"/>
                    <a:pt x="42" y="65"/>
                    <a:pt x="42" y="66"/>
                  </a:cubicBezTo>
                  <a:close/>
                  <a:moveTo>
                    <a:pt x="41" y="66"/>
                  </a:move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6"/>
                  </a:cubicBezTo>
                  <a:close/>
                  <a:moveTo>
                    <a:pt x="43" y="64"/>
                  </a:moveTo>
                  <a:cubicBezTo>
                    <a:pt x="44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lose/>
                  <a:moveTo>
                    <a:pt x="43" y="65"/>
                  </a:move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lose/>
                  <a:moveTo>
                    <a:pt x="48" y="63"/>
                  </a:moveTo>
                  <a:cubicBezTo>
                    <a:pt x="48" y="63"/>
                    <a:pt x="47" y="62"/>
                    <a:pt x="47" y="62"/>
                  </a:cubicBezTo>
                  <a:cubicBezTo>
                    <a:pt x="48" y="62"/>
                    <a:pt x="48" y="63"/>
                    <a:pt x="48" y="63"/>
                  </a:cubicBezTo>
                  <a:close/>
                  <a:moveTo>
                    <a:pt x="38" y="68"/>
                  </a:moveTo>
                  <a:cubicBezTo>
                    <a:pt x="38" y="68"/>
                    <a:pt x="38" y="69"/>
                    <a:pt x="39" y="69"/>
                  </a:cubicBezTo>
                  <a:cubicBezTo>
                    <a:pt x="38" y="69"/>
                    <a:pt x="38" y="69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6"/>
                    <a:pt x="44" y="65"/>
                    <a:pt x="43" y="65"/>
                  </a:cubicBezTo>
                  <a:cubicBezTo>
                    <a:pt x="43" y="65"/>
                    <a:pt x="44" y="65"/>
                    <a:pt x="44" y="65"/>
                  </a:cubicBezTo>
                  <a:close/>
                  <a:moveTo>
                    <a:pt x="40" y="68"/>
                  </a:move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7"/>
                  </a:cubicBezTo>
                  <a:cubicBezTo>
                    <a:pt x="40" y="68"/>
                    <a:pt x="40" y="67"/>
                    <a:pt x="40" y="68"/>
                  </a:cubicBezTo>
                  <a:close/>
                  <a:moveTo>
                    <a:pt x="41" y="67"/>
                  </a:moveTo>
                  <a:cubicBezTo>
                    <a:pt x="42" y="67"/>
                    <a:pt x="42" y="67"/>
                    <a:pt x="42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43" y="66"/>
                  </a:move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6"/>
                  </a:cubicBezTo>
                  <a:close/>
                  <a:moveTo>
                    <a:pt x="44" y="67"/>
                  </a:moveTo>
                  <a:cubicBezTo>
                    <a:pt x="44" y="67"/>
                    <a:pt x="44" y="66"/>
                    <a:pt x="44" y="66"/>
                  </a:cubicBezTo>
                  <a:cubicBezTo>
                    <a:pt x="44" y="66"/>
                    <a:pt x="44" y="67"/>
                    <a:pt x="44" y="67"/>
                  </a:cubicBezTo>
                  <a:close/>
                  <a:moveTo>
                    <a:pt x="40" y="69"/>
                  </a:move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lose/>
                  <a:moveTo>
                    <a:pt x="47" y="65"/>
                  </a:moveTo>
                  <a:cubicBezTo>
                    <a:pt x="47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7" y="64"/>
                    <a:pt x="47" y="65"/>
                    <a:pt x="47" y="65"/>
                  </a:cubicBezTo>
                  <a:cubicBezTo>
                    <a:pt x="47" y="65"/>
                    <a:pt x="47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lose/>
                  <a:moveTo>
                    <a:pt x="41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8"/>
                  </a:cubicBezTo>
                  <a:cubicBezTo>
                    <a:pt x="41" y="68"/>
                    <a:pt x="41" y="69"/>
                    <a:pt x="41" y="69"/>
                  </a:cubicBezTo>
                  <a:close/>
                  <a:moveTo>
                    <a:pt x="38" y="70"/>
                  </a:moveTo>
                  <a:cubicBezTo>
                    <a:pt x="38" y="71"/>
                    <a:pt x="38" y="71"/>
                    <a:pt x="39" y="71"/>
                  </a:cubicBezTo>
                  <a:cubicBezTo>
                    <a:pt x="38" y="71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lose/>
                  <a:moveTo>
                    <a:pt x="40" y="71"/>
                  </a:moveTo>
                  <a:cubicBezTo>
                    <a:pt x="40" y="72"/>
                    <a:pt x="41" y="73"/>
                    <a:pt x="41" y="73"/>
                  </a:cubicBezTo>
                  <a:cubicBezTo>
                    <a:pt x="40" y="73"/>
                    <a:pt x="40" y="72"/>
                    <a:pt x="39" y="71"/>
                  </a:cubicBezTo>
                  <a:cubicBezTo>
                    <a:pt x="39" y="71"/>
                    <a:pt x="39" y="71"/>
                    <a:pt x="39" y="70"/>
                  </a:cubicBezTo>
                  <a:cubicBezTo>
                    <a:pt x="39" y="70"/>
                    <a:pt x="39" y="71"/>
                    <a:pt x="40" y="71"/>
                  </a:cubicBezTo>
                  <a:close/>
                  <a:moveTo>
                    <a:pt x="42" y="68"/>
                  </a:move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8"/>
                    <a:pt x="42" y="68"/>
                  </a:cubicBezTo>
                  <a:close/>
                  <a:moveTo>
                    <a:pt x="42" y="68"/>
                  </a:moveTo>
                  <a:cubicBezTo>
                    <a:pt x="43" y="68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8"/>
                    <a:pt x="43" y="68"/>
                    <a:pt x="42" y="68"/>
                  </a:cubicBezTo>
                  <a:close/>
                  <a:moveTo>
                    <a:pt x="39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lose/>
                  <a:moveTo>
                    <a:pt x="41" y="70"/>
                  </a:moveTo>
                  <a:cubicBezTo>
                    <a:pt x="41" y="70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70"/>
                    <a:pt x="41" y="70"/>
                  </a:cubicBezTo>
                  <a:close/>
                  <a:moveTo>
                    <a:pt x="42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2" y="70"/>
                    <a:pt x="41" y="70"/>
                  </a:cubicBezTo>
                  <a:cubicBezTo>
                    <a:pt x="41" y="69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lnTo>
                    <a:pt x="42" y="69"/>
                  </a:lnTo>
                  <a:close/>
                  <a:moveTo>
                    <a:pt x="40" y="72"/>
                  </a:moveTo>
                  <a:cubicBezTo>
                    <a:pt x="40" y="71"/>
                    <a:pt x="40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2"/>
                  </a:cubicBezTo>
                  <a:close/>
                  <a:moveTo>
                    <a:pt x="40" y="71"/>
                  </a:move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8"/>
                    <a:pt x="44" y="69"/>
                  </a:cubicBezTo>
                  <a:cubicBezTo>
                    <a:pt x="44" y="69"/>
                    <a:pt x="44" y="69"/>
                    <a:pt x="43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4" y="69"/>
                    <a:pt x="44" y="69"/>
                  </a:cubicBezTo>
                  <a:close/>
                  <a:moveTo>
                    <a:pt x="45" y="67"/>
                  </a:moveTo>
                  <a:cubicBezTo>
                    <a:pt x="45" y="67"/>
                    <a:pt x="45" y="68"/>
                    <a:pt x="45" y="68"/>
                  </a:cubicBezTo>
                  <a:cubicBezTo>
                    <a:pt x="45" y="68"/>
                    <a:pt x="45" y="68"/>
                    <a:pt x="45" y="67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3" y="69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69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9"/>
                    <a:pt x="45" y="69"/>
                  </a:cubicBezTo>
                  <a:cubicBezTo>
                    <a:pt x="45" y="69"/>
                    <a:pt x="45" y="69"/>
                    <a:pt x="45" y="68"/>
                  </a:cubicBezTo>
                  <a:close/>
                  <a:moveTo>
                    <a:pt x="45" y="68"/>
                  </a:moveTo>
                  <a:cubicBezTo>
                    <a:pt x="45" y="68"/>
                    <a:pt x="46" y="68"/>
                    <a:pt x="46" y="68"/>
                  </a:cubicBezTo>
                  <a:cubicBezTo>
                    <a:pt x="46" y="68"/>
                    <a:pt x="45" y="68"/>
                    <a:pt x="45" y="68"/>
                  </a:cubicBezTo>
                  <a:close/>
                  <a:moveTo>
                    <a:pt x="41" y="72"/>
                  </a:moveTo>
                  <a:cubicBezTo>
                    <a:pt x="40" y="72"/>
                    <a:pt x="40" y="72"/>
                    <a:pt x="40" y="71"/>
                  </a:cubicBezTo>
                  <a:cubicBezTo>
                    <a:pt x="40" y="71"/>
                    <a:pt x="41" y="72"/>
                    <a:pt x="41" y="72"/>
                  </a:cubicBezTo>
                  <a:close/>
                  <a:moveTo>
                    <a:pt x="41" y="72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lose/>
                  <a:moveTo>
                    <a:pt x="45" y="70"/>
                  </a:move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1"/>
                    <a:pt x="42" y="71"/>
                  </a:cubicBezTo>
                  <a:cubicBezTo>
                    <a:pt x="43" y="72"/>
                    <a:pt x="43" y="72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3" y="72"/>
                  </a:moveTo>
                  <a:cubicBezTo>
                    <a:pt x="43" y="72"/>
                    <a:pt x="43" y="73"/>
                    <a:pt x="43" y="73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0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3"/>
                    <a:pt x="42" y="73"/>
                    <a:pt x="41" y="73"/>
                  </a:cubicBezTo>
                  <a:cubicBezTo>
                    <a:pt x="42" y="73"/>
                    <a:pt x="42" y="72"/>
                    <a:pt x="42" y="72"/>
                  </a:cubicBezTo>
                  <a:close/>
                  <a:moveTo>
                    <a:pt x="47" y="70"/>
                  </a:move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70"/>
                    <a:pt x="47" y="70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48" y="70"/>
                    <a:pt x="49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8"/>
                  </a:cubicBezTo>
                  <a:cubicBezTo>
                    <a:pt x="48" y="68"/>
                    <a:pt x="48" y="69"/>
                    <a:pt x="48" y="6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8" y="68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48" y="69"/>
                    <a:pt x="48" y="69"/>
                  </a:cubicBezTo>
                  <a:close/>
                  <a:moveTo>
                    <a:pt x="42" y="74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6" y="71"/>
                  </a:moveTo>
                  <a:cubicBezTo>
                    <a:pt x="45" y="71"/>
                    <a:pt x="45" y="71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1" y="74"/>
                  </a:moveTo>
                  <a:cubicBezTo>
                    <a:pt x="41" y="74"/>
                    <a:pt x="41" y="74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42" y="74"/>
                  </a:moveTo>
                  <a:cubicBezTo>
                    <a:pt x="41" y="74"/>
                    <a:pt x="42" y="74"/>
                    <a:pt x="42" y="75"/>
                  </a:cubicBezTo>
                  <a:cubicBezTo>
                    <a:pt x="42" y="74"/>
                    <a:pt x="42" y="74"/>
                    <a:pt x="41" y="74"/>
                  </a:cubicBezTo>
                  <a:cubicBezTo>
                    <a:pt x="41" y="74"/>
                    <a:pt x="41" y="73"/>
                    <a:pt x="42" y="74"/>
                  </a:cubicBezTo>
                  <a:close/>
                  <a:moveTo>
                    <a:pt x="46" y="71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5" y="72"/>
                  </a:moveTo>
                  <a:cubicBezTo>
                    <a:pt x="45" y="73"/>
                    <a:pt x="45" y="72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8" y="71"/>
                  </a:moveTo>
                  <a:cubicBezTo>
                    <a:pt x="48" y="71"/>
                    <a:pt x="48" y="71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1"/>
                  </a:cubicBezTo>
                  <a:cubicBezTo>
                    <a:pt x="46" y="71"/>
                    <a:pt x="46" y="71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4" y="74"/>
                  </a:moveTo>
                  <a:cubicBezTo>
                    <a:pt x="43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2" y="75"/>
                  </a:move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lose/>
                  <a:moveTo>
                    <a:pt x="44" y="74"/>
                  </a:move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7" y="72"/>
                  </a:cubicBezTo>
                  <a:cubicBezTo>
                    <a:pt x="48" y="72"/>
                    <a:pt x="48" y="73"/>
                    <a:pt x="48" y="73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6"/>
                    <a:pt x="43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3" y="76"/>
                    <a:pt x="43" y="75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49" y="73"/>
                  </a:cubicBezTo>
                  <a:cubicBezTo>
                    <a:pt x="49" y="74"/>
                    <a:pt x="48" y="73"/>
                    <a:pt x="48" y="73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4"/>
                    <a:pt x="48" y="74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5" y="75"/>
                  </a:cubicBezTo>
                  <a:cubicBezTo>
                    <a:pt x="45" y="75"/>
                    <a:pt x="45" y="76"/>
                    <a:pt x="45" y="76"/>
                  </a:cubicBezTo>
                  <a:close/>
                  <a:moveTo>
                    <a:pt x="50" y="74"/>
                  </a:move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50" y="73"/>
                    <a:pt x="50" y="74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9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9"/>
                  </a:cubicBezTo>
                  <a:cubicBezTo>
                    <a:pt x="44" y="79"/>
                    <a:pt x="44" y="78"/>
                    <a:pt x="44" y="78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9" y="76"/>
                  </a:moveTo>
                  <a:cubicBezTo>
                    <a:pt x="49" y="76"/>
                    <a:pt x="50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lose/>
                  <a:moveTo>
                    <a:pt x="46" y="77"/>
                  </a:moveTo>
                  <a:cubicBezTo>
                    <a:pt x="47" y="77"/>
                    <a:pt x="47" y="78"/>
                    <a:pt x="47" y="78"/>
                  </a:cubicBezTo>
                  <a:cubicBezTo>
                    <a:pt x="47" y="78"/>
                    <a:pt x="47" y="77"/>
                    <a:pt x="46" y="77"/>
                  </a:cubicBezTo>
                  <a:close/>
                  <a:moveTo>
                    <a:pt x="48" y="77"/>
                  </a:moveTo>
                  <a:cubicBezTo>
                    <a:pt x="48" y="76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46" y="78"/>
                  </a:moveTo>
                  <a:cubicBezTo>
                    <a:pt x="46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8"/>
                  </a:cubicBezTo>
                  <a:close/>
                  <a:moveTo>
                    <a:pt x="46" y="80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80"/>
                    <a:pt x="46" y="80"/>
                  </a:cubicBezTo>
                  <a:close/>
                  <a:moveTo>
                    <a:pt x="48" y="79"/>
                  </a:moveTo>
                  <a:cubicBezTo>
                    <a:pt x="48" y="79"/>
                    <a:pt x="48" y="79"/>
                    <a:pt x="48" y="80"/>
                  </a:cubicBezTo>
                  <a:cubicBezTo>
                    <a:pt x="48" y="80"/>
                    <a:pt x="48" y="80"/>
                    <a:pt x="47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7" y="79"/>
                    <a:pt x="48" y="79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49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80"/>
                    <a:pt x="49" y="79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7" y="81"/>
                    <a:pt x="47" y="81"/>
                    <a:pt x="47" y="80"/>
                  </a:cubicBezTo>
                  <a:close/>
                  <a:moveTo>
                    <a:pt x="51" y="78"/>
                  </a:moveTo>
                  <a:cubicBezTo>
                    <a:pt x="51" y="79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48" y="80"/>
                  </a:moveTo>
                  <a:cubicBezTo>
                    <a:pt x="48" y="80"/>
                    <a:pt x="48" y="81"/>
                    <a:pt x="49" y="81"/>
                  </a:cubicBezTo>
                  <a:cubicBezTo>
                    <a:pt x="48" y="81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1"/>
                  </a:moveTo>
                  <a:cubicBezTo>
                    <a:pt x="50" y="81"/>
                    <a:pt x="49" y="80"/>
                    <a:pt x="49" y="80"/>
                  </a:cubicBezTo>
                  <a:cubicBezTo>
                    <a:pt x="49" y="80"/>
                    <a:pt x="50" y="81"/>
                    <a:pt x="50" y="81"/>
                  </a:cubicBezTo>
                  <a:close/>
                  <a:moveTo>
                    <a:pt x="52" y="78"/>
                  </a:moveTo>
                  <a:cubicBezTo>
                    <a:pt x="52" y="78"/>
                    <a:pt x="52" y="78"/>
                    <a:pt x="52" y="79"/>
                  </a:cubicBezTo>
                  <a:cubicBezTo>
                    <a:pt x="52" y="79"/>
                    <a:pt x="52" y="78"/>
                    <a:pt x="52" y="78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2"/>
                    <a:pt x="47" y="82"/>
                  </a:cubicBezTo>
                  <a:close/>
                  <a:moveTo>
                    <a:pt x="49" y="81"/>
                  </a:move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lose/>
                  <a:moveTo>
                    <a:pt x="48" y="83"/>
                  </a:moveTo>
                  <a:cubicBezTo>
                    <a:pt x="48" y="83"/>
                    <a:pt x="48" y="83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lose/>
                  <a:moveTo>
                    <a:pt x="5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3" y="79"/>
                  </a:moveTo>
                  <a:cubicBezTo>
                    <a:pt x="53" y="79"/>
                    <a:pt x="53" y="79"/>
                    <a:pt x="53" y="80"/>
                  </a:cubicBezTo>
                  <a:cubicBezTo>
                    <a:pt x="53" y="80"/>
                    <a:pt x="53" y="79"/>
                    <a:pt x="53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6" y="78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8"/>
                  </a:cubicBezTo>
                  <a:close/>
                  <a:moveTo>
                    <a:pt x="51" y="82"/>
                  </a:move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3"/>
                    <a:pt x="51" y="82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lose/>
                  <a:moveTo>
                    <a:pt x="50" y="85"/>
                  </a:moveTo>
                  <a:cubicBezTo>
                    <a:pt x="49" y="85"/>
                    <a:pt x="49" y="85"/>
                    <a:pt x="49" y="84"/>
                  </a:cubicBezTo>
                  <a:cubicBezTo>
                    <a:pt x="49" y="84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6"/>
                    <a:pt x="50" y="86"/>
                  </a:cubicBezTo>
                  <a:cubicBezTo>
                    <a:pt x="50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0" y="85"/>
                    <a:pt x="50" y="85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1" y="87"/>
                  </a:move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6"/>
                  </a:cubicBezTo>
                  <a:cubicBezTo>
                    <a:pt x="51" y="86"/>
                    <a:pt x="51" y="87"/>
                    <a:pt x="51" y="87"/>
                  </a:cubicBezTo>
                  <a:close/>
                  <a:moveTo>
                    <a:pt x="55" y="85"/>
                  </a:move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lose/>
                  <a:moveTo>
                    <a:pt x="62" y="85"/>
                  </a:moveTo>
                  <a:cubicBezTo>
                    <a:pt x="62" y="85"/>
                    <a:pt x="62" y="85"/>
                    <a:pt x="62" y="86"/>
                  </a:cubicBezTo>
                  <a:cubicBezTo>
                    <a:pt x="61" y="84"/>
                    <a:pt x="60" y="83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3"/>
                    <a:pt x="61" y="84"/>
                    <a:pt x="62" y="85"/>
                  </a:cubicBezTo>
                  <a:cubicBezTo>
                    <a:pt x="62" y="85"/>
                    <a:pt x="61" y="85"/>
                    <a:pt x="62" y="85"/>
                  </a:cubicBezTo>
                  <a:close/>
                  <a:moveTo>
                    <a:pt x="53" y="88"/>
                  </a:moveTo>
                  <a:cubicBezTo>
                    <a:pt x="53" y="88"/>
                    <a:pt x="53" y="87"/>
                    <a:pt x="53" y="87"/>
                  </a:cubicBezTo>
                  <a:cubicBezTo>
                    <a:pt x="53" y="88"/>
                    <a:pt x="53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4" y="88"/>
                    <a:pt x="53" y="88"/>
                  </a:cubicBezTo>
                  <a:close/>
                  <a:moveTo>
                    <a:pt x="54" y="89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90"/>
                    <a:pt x="54" y="89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9"/>
                    <a:pt x="53" y="89"/>
                    <a:pt x="53" y="88"/>
                  </a:cubicBezTo>
                  <a:cubicBezTo>
                    <a:pt x="54" y="89"/>
                    <a:pt x="54" y="89"/>
                    <a:pt x="54" y="88"/>
                  </a:cubicBezTo>
                  <a:cubicBezTo>
                    <a:pt x="54" y="88"/>
                    <a:pt x="54" y="89"/>
                    <a:pt x="54" y="89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8"/>
                  </a:cubicBezTo>
                  <a:cubicBezTo>
                    <a:pt x="56" y="88"/>
                    <a:pt x="56" y="87"/>
                    <a:pt x="56" y="87"/>
                  </a:cubicBezTo>
                  <a:close/>
                  <a:moveTo>
                    <a:pt x="54" y="88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8"/>
                    <a:pt x="54" y="88"/>
                  </a:cubicBezTo>
                  <a:close/>
                  <a:moveTo>
                    <a:pt x="54" y="90"/>
                  </a:moveTo>
                  <a:cubicBezTo>
                    <a:pt x="54" y="90"/>
                    <a:pt x="53" y="89"/>
                    <a:pt x="53" y="89"/>
                  </a:cubicBezTo>
                  <a:cubicBezTo>
                    <a:pt x="53" y="89"/>
                    <a:pt x="54" y="89"/>
                    <a:pt x="54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4" y="90"/>
                    <a:pt x="53" y="90"/>
                  </a:cubicBezTo>
                  <a:close/>
                  <a:moveTo>
                    <a:pt x="57" y="89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2"/>
                    <a:pt x="55" y="92"/>
                    <a:pt x="55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5" y="91"/>
                    <a:pt x="55" y="91"/>
                  </a:cubicBezTo>
                  <a:close/>
                  <a:moveTo>
                    <a:pt x="58" y="89"/>
                  </a:moveTo>
                  <a:cubicBezTo>
                    <a:pt x="58" y="90"/>
                    <a:pt x="59" y="90"/>
                    <a:pt x="59" y="91"/>
                  </a:cubicBezTo>
                  <a:cubicBezTo>
                    <a:pt x="58" y="91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0"/>
                    <a:pt x="57" y="91"/>
                  </a:cubicBezTo>
                  <a:cubicBezTo>
                    <a:pt x="57" y="91"/>
                    <a:pt x="57" y="91"/>
                    <a:pt x="57" y="90"/>
                  </a:cubicBezTo>
                  <a:cubicBezTo>
                    <a:pt x="57" y="90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6" y="91"/>
                  </a:moveTo>
                  <a:cubicBezTo>
                    <a:pt x="56" y="91"/>
                    <a:pt x="57" y="92"/>
                    <a:pt x="57" y="92"/>
                  </a:cubicBezTo>
                  <a:cubicBezTo>
                    <a:pt x="57" y="92"/>
                    <a:pt x="56" y="91"/>
                    <a:pt x="56" y="91"/>
                  </a:cubicBezTo>
                  <a:close/>
                  <a:moveTo>
                    <a:pt x="57" y="92"/>
                  </a:move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lose/>
                  <a:moveTo>
                    <a:pt x="58" y="92"/>
                  </a:move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9" y="93"/>
                    <a:pt x="59" y="93"/>
                  </a:cubicBezTo>
                  <a:cubicBezTo>
                    <a:pt x="59" y="94"/>
                    <a:pt x="60" y="94"/>
                    <a:pt x="60" y="95"/>
                  </a:cubicBezTo>
                  <a:cubicBezTo>
                    <a:pt x="59" y="94"/>
                    <a:pt x="58" y="92"/>
                    <a:pt x="58" y="91"/>
                  </a:cubicBezTo>
                  <a:cubicBezTo>
                    <a:pt x="58" y="91"/>
                    <a:pt x="58" y="92"/>
                    <a:pt x="58" y="92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6" y="94"/>
                    <a:pt x="55" y="94"/>
                  </a:cubicBezTo>
                  <a:cubicBezTo>
                    <a:pt x="55" y="94"/>
                    <a:pt x="55" y="94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8" y="93"/>
                  </a:moveTo>
                  <a:cubicBezTo>
                    <a:pt x="58" y="92"/>
                    <a:pt x="57" y="92"/>
                    <a:pt x="57" y="92"/>
                  </a:cubicBezTo>
                  <a:cubicBezTo>
                    <a:pt x="57" y="92"/>
                    <a:pt x="58" y="92"/>
                    <a:pt x="58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6" y="94"/>
                  </a:moveTo>
                  <a:cubicBezTo>
                    <a:pt x="56" y="94"/>
                    <a:pt x="56" y="94"/>
                    <a:pt x="55" y="94"/>
                  </a:cubicBezTo>
                  <a:cubicBezTo>
                    <a:pt x="56" y="93"/>
                    <a:pt x="56" y="94"/>
                    <a:pt x="56" y="94"/>
                  </a:cubicBezTo>
                  <a:close/>
                  <a:moveTo>
                    <a:pt x="60" y="90"/>
                  </a:moveTo>
                  <a:cubicBezTo>
                    <a:pt x="61" y="90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0" y="90"/>
                  </a:cubicBezTo>
                  <a:close/>
                  <a:moveTo>
                    <a:pt x="59" y="91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59" y="92"/>
                    <a:pt x="59" y="92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lose/>
                  <a:moveTo>
                    <a:pt x="56" y="95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6" y="95"/>
                  </a:cubicBezTo>
                  <a:close/>
                  <a:moveTo>
                    <a:pt x="58" y="93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lose/>
                  <a:moveTo>
                    <a:pt x="57" y="95"/>
                  </a:moveTo>
                  <a:cubicBezTo>
                    <a:pt x="57" y="95"/>
                    <a:pt x="57" y="94"/>
                    <a:pt x="57" y="94"/>
                  </a:cubicBezTo>
                  <a:cubicBezTo>
                    <a:pt x="57" y="94"/>
                    <a:pt x="57" y="95"/>
                    <a:pt x="57" y="95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3"/>
                    <a:pt x="60" y="93"/>
                  </a:cubicBezTo>
                  <a:cubicBezTo>
                    <a:pt x="60" y="93"/>
                    <a:pt x="60" y="93"/>
                    <a:pt x="60" y="9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1" y="92"/>
                    <a:pt x="61" y="92"/>
                  </a:cubicBezTo>
                  <a:close/>
                  <a:moveTo>
                    <a:pt x="59" y="96"/>
                  </a:move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3"/>
                    <a:pt x="63" y="94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5"/>
                    <a:pt x="63" y="95"/>
                  </a:cubicBezTo>
                  <a:cubicBezTo>
                    <a:pt x="63" y="95"/>
                    <a:pt x="63" y="96"/>
                    <a:pt x="63" y="96"/>
                  </a:cubicBezTo>
                  <a:close/>
                  <a:moveTo>
                    <a:pt x="60" y="97"/>
                  </a:moveTo>
                  <a:cubicBezTo>
                    <a:pt x="60" y="97"/>
                    <a:pt x="60" y="97"/>
                    <a:pt x="61" y="98"/>
                  </a:cubicBezTo>
                  <a:cubicBezTo>
                    <a:pt x="60" y="98"/>
                    <a:pt x="60" y="97"/>
                    <a:pt x="60" y="97"/>
                  </a:cubicBezTo>
                  <a:close/>
                  <a:moveTo>
                    <a:pt x="66" y="96"/>
                  </a:moveTo>
                  <a:cubicBezTo>
                    <a:pt x="66" y="96"/>
                    <a:pt x="65" y="96"/>
                    <a:pt x="65" y="95"/>
                  </a:cubicBez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ubicBezTo>
                    <a:pt x="65" y="95"/>
                    <a:pt x="65" y="95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5"/>
                    <a:pt x="66" y="95"/>
                  </a:cubicBezTo>
                  <a:cubicBezTo>
                    <a:pt x="65" y="95"/>
                    <a:pt x="65" y="96"/>
                    <a:pt x="66" y="96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5" y="96"/>
                  </a:cubicBezTo>
                  <a:cubicBezTo>
                    <a:pt x="65" y="96"/>
                    <a:pt x="66" y="96"/>
                    <a:pt x="66" y="96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4" y="95"/>
                  </a:move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4" y="95"/>
                  </a:cubicBezTo>
                  <a:close/>
                  <a:moveTo>
                    <a:pt x="65" y="95"/>
                  </a:moveTo>
                  <a:cubicBezTo>
                    <a:pt x="65" y="95"/>
                    <a:pt x="65" y="95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5"/>
                  </a:cubicBezTo>
                  <a:close/>
                  <a:moveTo>
                    <a:pt x="67" y="94"/>
                  </a:moveTo>
                  <a:cubicBezTo>
                    <a:pt x="67" y="94"/>
                    <a:pt x="67" y="94"/>
                    <a:pt x="67" y="94"/>
                  </a:cubicBezTo>
                  <a:cubicBezTo>
                    <a:pt x="67" y="94"/>
                    <a:pt x="67" y="94"/>
                    <a:pt x="67" y="95"/>
                  </a:cubicBezTo>
                  <a:cubicBezTo>
                    <a:pt x="67" y="95"/>
                    <a:pt x="66" y="94"/>
                    <a:pt x="66" y="94"/>
                  </a:cubicBezTo>
                  <a:cubicBezTo>
                    <a:pt x="67" y="94"/>
                    <a:pt x="67" y="94"/>
                    <a:pt x="67" y="94"/>
                  </a:cubicBezTo>
                  <a:close/>
                  <a:moveTo>
                    <a:pt x="62" y="99"/>
                  </a:moveTo>
                  <a:cubicBezTo>
                    <a:pt x="62" y="99"/>
                    <a:pt x="61" y="98"/>
                    <a:pt x="61" y="98"/>
                  </a:cubicBezTo>
                  <a:cubicBezTo>
                    <a:pt x="61" y="98"/>
                    <a:pt x="61" y="98"/>
                    <a:pt x="62" y="99"/>
                  </a:cubicBezTo>
                  <a:close/>
                  <a:moveTo>
                    <a:pt x="65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7"/>
                    <a:pt x="64" y="97"/>
                  </a:cubicBezTo>
                  <a:cubicBezTo>
                    <a:pt x="64" y="97"/>
                    <a:pt x="64" y="97"/>
                    <a:pt x="64" y="96"/>
                  </a:cubicBezTo>
                  <a:close/>
                  <a:moveTo>
                    <a:pt x="59" y="101"/>
                  </a:moveTo>
                  <a:cubicBezTo>
                    <a:pt x="59" y="101"/>
                    <a:pt x="59" y="101"/>
                    <a:pt x="59" y="100"/>
                  </a:cubicBezTo>
                  <a:cubicBezTo>
                    <a:pt x="59" y="100"/>
                    <a:pt x="59" y="101"/>
                    <a:pt x="59" y="101"/>
                  </a:cubicBezTo>
                  <a:close/>
                  <a:moveTo>
                    <a:pt x="62" y="99"/>
                  </a:moveTo>
                  <a:cubicBezTo>
                    <a:pt x="62" y="98"/>
                    <a:pt x="62" y="99"/>
                    <a:pt x="62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9"/>
                    <a:pt x="62" y="99"/>
                    <a:pt x="62" y="99"/>
                  </a:cubicBezTo>
                  <a:close/>
                  <a:moveTo>
                    <a:pt x="60" y="101"/>
                  </a:move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60" y="101"/>
                  </a:cubicBezTo>
                  <a:close/>
                  <a:moveTo>
                    <a:pt x="65" y="99"/>
                  </a:moveTo>
                  <a:cubicBezTo>
                    <a:pt x="65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5" y="98"/>
                    <a:pt x="65" y="99"/>
                  </a:cubicBezTo>
                  <a:cubicBezTo>
                    <a:pt x="65" y="99"/>
                    <a:pt x="65" y="99"/>
                    <a:pt x="65" y="99"/>
                  </a:cubicBezTo>
                  <a:close/>
                  <a:moveTo>
                    <a:pt x="67" y="97"/>
                  </a:moveTo>
                  <a:cubicBezTo>
                    <a:pt x="67" y="97"/>
                    <a:pt x="67" y="97"/>
                    <a:pt x="68" y="97"/>
                  </a:cubicBezTo>
                  <a:cubicBezTo>
                    <a:pt x="68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lose/>
                  <a:moveTo>
                    <a:pt x="64" y="99"/>
                  </a:move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lose/>
                  <a:moveTo>
                    <a:pt x="67" y="98"/>
                  </a:moveTo>
                  <a:cubicBezTo>
                    <a:pt x="67" y="98"/>
                    <a:pt x="68" y="98"/>
                    <a:pt x="68" y="97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7" y="98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8" y="97"/>
                    <a:pt x="67" y="98"/>
                  </a:cubicBezTo>
                  <a:close/>
                  <a:moveTo>
                    <a:pt x="68" y="97"/>
                  </a:moveTo>
                  <a:cubicBezTo>
                    <a:pt x="68" y="97"/>
                    <a:pt x="68" y="97"/>
                    <a:pt x="68" y="97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8" y="96"/>
                    <a:pt x="68" y="97"/>
                    <a:pt x="68" y="97"/>
                  </a:cubicBezTo>
                  <a:close/>
                  <a:moveTo>
                    <a:pt x="67" y="98"/>
                  </a:moveTo>
                  <a:cubicBezTo>
                    <a:pt x="67" y="97"/>
                    <a:pt x="67" y="98"/>
                    <a:pt x="67" y="98"/>
                  </a:cubicBezTo>
                  <a:cubicBezTo>
                    <a:pt x="66" y="97"/>
                    <a:pt x="67" y="97"/>
                    <a:pt x="67" y="97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67" y="98"/>
                    <a:pt x="67" y="98"/>
                    <a:pt x="67" y="98"/>
                  </a:cubicBezTo>
                  <a:close/>
                  <a:moveTo>
                    <a:pt x="64" y="100"/>
                  </a:moveTo>
                  <a:cubicBezTo>
                    <a:pt x="64" y="101"/>
                    <a:pt x="64" y="101"/>
                    <a:pt x="64" y="101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7" y="99"/>
                  </a:cubicBezTo>
                  <a:cubicBezTo>
                    <a:pt x="66" y="99"/>
                    <a:pt x="66" y="98"/>
                    <a:pt x="66" y="98"/>
                  </a:cubicBezTo>
                  <a:close/>
                  <a:moveTo>
                    <a:pt x="67" y="98"/>
                  </a:moveTo>
                  <a:cubicBezTo>
                    <a:pt x="67" y="98"/>
                    <a:pt x="67" y="98"/>
                    <a:pt x="67" y="99"/>
                  </a:cubicBezTo>
                  <a:cubicBezTo>
                    <a:pt x="67" y="99"/>
                    <a:pt x="67" y="98"/>
                    <a:pt x="67" y="98"/>
                  </a:cubicBezTo>
                  <a:close/>
                  <a:moveTo>
                    <a:pt x="65" y="100"/>
                  </a:move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6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6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0"/>
                    <a:pt x="65" y="101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99"/>
                    <a:pt x="67" y="98"/>
                  </a:cubicBezTo>
                  <a:cubicBezTo>
                    <a:pt x="68" y="99"/>
                    <a:pt x="68" y="99"/>
                    <a:pt x="68" y="100"/>
                  </a:cubicBezTo>
                  <a:close/>
                  <a:moveTo>
                    <a:pt x="66" y="100"/>
                  </a:moveTo>
                  <a:cubicBezTo>
                    <a:pt x="66" y="100"/>
                    <a:pt x="65" y="100"/>
                    <a:pt x="65" y="99"/>
                  </a:cubicBezTo>
                  <a:cubicBezTo>
                    <a:pt x="66" y="100"/>
                    <a:pt x="66" y="100"/>
                    <a:pt x="66" y="100"/>
                  </a:cubicBezTo>
                  <a:close/>
                  <a:moveTo>
                    <a:pt x="69" y="99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98"/>
                    <a:pt x="69" y="98"/>
                    <a:pt x="69" y="99"/>
                  </a:cubicBezTo>
                  <a:close/>
                  <a:moveTo>
                    <a:pt x="66" y="101"/>
                  </a:moveTo>
                  <a:cubicBezTo>
                    <a:pt x="66" y="101"/>
                    <a:pt x="66" y="101"/>
                    <a:pt x="65" y="101"/>
                  </a:cubicBezTo>
                  <a:cubicBezTo>
                    <a:pt x="66" y="101"/>
                    <a:pt x="66" y="101"/>
                    <a:pt x="66" y="101"/>
                  </a:cubicBezTo>
                  <a:close/>
                  <a:moveTo>
                    <a:pt x="67" y="100"/>
                  </a:moveTo>
                  <a:cubicBezTo>
                    <a:pt x="67" y="100"/>
                    <a:pt x="67" y="101"/>
                    <a:pt x="67" y="101"/>
                  </a:cubicBezTo>
                  <a:cubicBezTo>
                    <a:pt x="67" y="101"/>
                    <a:pt x="67" y="100"/>
                    <a:pt x="66" y="101"/>
                  </a:cubicBezTo>
                  <a:cubicBezTo>
                    <a:pt x="66" y="100"/>
                    <a:pt x="67" y="100"/>
                    <a:pt x="66" y="100"/>
                  </a:cubicBezTo>
                  <a:cubicBezTo>
                    <a:pt x="67" y="100"/>
                    <a:pt x="67" y="100"/>
                    <a:pt x="67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100"/>
                    <a:pt x="70" y="100"/>
                  </a:cubicBezTo>
                  <a:cubicBezTo>
                    <a:pt x="69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65" y="103"/>
                  </a:moveTo>
                  <a:cubicBezTo>
                    <a:pt x="65" y="103"/>
                    <a:pt x="65" y="103"/>
                    <a:pt x="64" y="103"/>
                  </a:cubicBezTo>
                  <a:cubicBezTo>
                    <a:pt x="65" y="103"/>
                    <a:pt x="65" y="103"/>
                    <a:pt x="65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2"/>
                  </a:cubicBezTo>
                  <a:cubicBezTo>
                    <a:pt x="65" y="102"/>
                    <a:pt x="66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4"/>
                    <a:pt x="65" y="103"/>
                    <a:pt x="65" y="103"/>
                  </a:cubicBezTo>
                  <a:cubicBezTo>
                    <a:pt x="65" y="103"/>
                    <a:pt x="66" y="103"/>
                    <a:pt x="65" y="103"/>
                  </a:cubicBezTo>
                  <a:cubicBezTo>
                    <a:pt x="66" y="103"/>
                    <a:pt x="65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lose/>
                  <a:moveTo>
                    <a:pt x="64" y="104"/>
                  </a:moveTo>
                  <a:cubicBezTo>
                    <a:pt x="63" y="105"/>
                    <a:pt x="63" y="104"/>
                    <a:pt x="63" y="105"/>
                  </a:cubicBezTo>
                  <a:cubicBezTo>
                    <a:pt x="63" y="104"/>
                    <a:pt x="63" y="104"/>
                    <a:pt x="64" y="104"/>
                  </a:cubicBezTo>
                  <a:close/>
                  <a:moveTo>
                    <a:pt x="69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  <a:moveTo>
                    <a:pt x="71" y="100"/>
                  </a:moveTo>
                  <a:cubicBezTo>
                    <a:pt x="71" y="100"/>
                    <a:pt x="71" y="100"/>
                    <a:pt x="71" y="101"/>
                  </a:cubicBezTo>
                  <a:cubicBezTo>
                    <a:pt x="71" y="101"/>
                    <a:pt x="71" y="100"/>
                    <a:pt x="70" y="100"/>
                  </a:cubicBezTo>
                  <a:lnTo>
                    <a:pt x="71" y="100"/>
                  </a:lnTo>
                  <a:close/>
                  <a:moveTo>
                    <a:pt x="70" y="100"/>
                  </a:moveTo>
                  <a:cubicBezTo>
                    <a:pt x="71" y="100"/>
                    <a:pt x="71" y="101"/>
                    <a:pt x="71" y="101"/>
                  </a:cubicBezTo>
                  <a:cubicBezTo>
                    <a:pt x="71" y="101"/>
                    <a:pt x="70" y="101"/>
                    <a:pt x="70" y="100"/>
                  </a:cubicBezTo>
                  <a:close/>
                  <a:moveTo>
                    <a:pt x="69" y="101"/>
                  </a:moveTo>
                  <a:cubicBezTo>
                    <a:pt x="69" y="101"/>
                    <a:pt x="70" y="102"/>
                    <a:pt x="70" y="102"/>
                  </a:cubicBezTo>
                  <a:cubicBezTo>
                    <a:pt x="70" y="102"/>
                    <a:pt x="69" y="101"/>
                    <a:pt x="69" y="101"/>
                  </a:cubicBezTo>
                  <a:close/>
                  <a:moveTo>
                    <a:pt x="70" y="101"/>
                  </a:move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6" y="104"/>
                  </a:cubicBezTo>
                  <a:cubicBezTo>
                    <a:pt x="67" y="104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6"/>
                    <a:pt x="67" y="105"/>
                    <a:pt x="67" y="106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70" y="105"/>
                  </a:moveTo>
                  <a:cubicBezTo>
                    <a:pt x="69" y="105"/>
                    <a:pt x="69" y="105"/>
                    <a:pt x="69" y="104"/>
                  </a:cubicBezTo>
                  <a:cubicBezTo>
                    <a:pt x="70" y="104"/>
                    <a:pt x="70" y="105"/>
                    <a:pt x="70" y="105"/>
                  </a:cubicBezTo>
                  <a:close/>
                  <a:moveTo>
                    <a:pt x="65" y="108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65" y="107"/>
                    <a:pt x="65" y="108"/>
                    <a:pt x="65" y="108"/>
                  </a:cubicBezTo>
                  <a:close/>
                  <a:moveTo>
                    <a:pt x="68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8" y="106"/>
                    <a:pt x="68" y="107"/>
                  </a:cubicBezTo>
                  <a:lnTo>
                    <a:pt x="68" y="106"/>
                  </a:lnTo>
                  <a:close/>
                  <a:moveTo>
                    <a:pt x="68" y="107"/>
                  </a:moveTo>
                  <a:cubicBezTo>
                    <a:pt x="68" y="107"/>
                    <a:pt x="68" y="107"/>
                    <a:pt x="68" y="107"/>
                  </a:cubicBezTo>
                  <a:cubicBezTo>
                    <a:pt x="68" y="107"/>
                    <a:pt x="68" y="107"/>
                    <a:pt x="68" y="107"/>
                  </a:cubicBezTo>
                  <a:cubicBezTo>
                    <a:pt x="69" y="107"/>
                    <a:pt x="68" y="107"/>
                    <a:pt x="68" y="107"/>
                  </a:cubicBezTo>
                  <a:close/>
                  <a:moveTo>
                    <a:pt x="66" y="110"/>
                  </a:moveTo>
                  <a:cubicBezTo>
                    <a:pt x="66" y="110"/>
                    <a:pt x="66" y="110"/>
                    <a:pt x="66" y="110"/>
                  </a:cubicBezTo>
                  <a:cubicBezTo>
                    <a:pt x="66" y="110"/>
                    <a:pt x="66" y="110"/>
                    <a:pt x="66" y="109"/>
                  </a:cubicBezTo>
                  <a:cubicBezTo>
                    <a:pt x="66" y="109"/>
                    <a:pt x="66" y="110"/>
                    <a:pt x="66" y="110"/>
                  </a:cubicBezTo>
                  <a:close/>
                  <a:moveTo>
                    <a:pt x="69" y="107"/>
                  </a:moveTo>
                  <a:cubicBezTo>
                    <a:pt x="69" y="107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lose/>
                  <a:moveTo>
                    <a:pt x="68" y="108"/>
                  </a:moveTo>
                  <a:cubicBezTo>
                    <a:pt x="68" y="108"/>
                    <a:pt x="68" y="108"/>
                    <a:pt x="69" y="108"/>
                  </a:cubicBezTo>
                  <a:cubicBezTo>
                    <a:pt x="68" y="108"/>
                    <a:pt x="68" y="108"/>
                    <a:pt x="68" y="108"/>
                  </a:cubicBezTo>
                  <a:close/>
                  <a:moveTo>
                    <a:pt x="69" y="108"/>
                  </a:moveTo>
                  <a:cubicBezTo>
                    <a:pt x="69" y="108"/>
                    <a:pt x="69" y="109"/>
                    <a:pt x="69" y="108"/>
                  </a:cubicBezTo>
                  <a:close/>
                  <a:moveTo>
                    <a:pt x="66" y="111"/>
                  </a:moveTo>
                  <a:cubicBezTo>
                    <a:pt x="65" y="111"/>
                    <a:pt x="65" y="111"/>
                    <a:pt x="65" y="110"/>
                  </a:cubicBezTo>
                  <a:cubicBezTo>
                    <a:pt x="66" y="110"/>
                    <a:pt x="66" y="111"/>
                    <a:pt x="66" y="111"/>
                  </a:cubicBezTo>
                  <a:close/>
                  <a:moveTo>
                    <a:pt x="71" y="108"/>
                  </a:moveTo>
                  <a:cubicBezTo>
                    <a:pt x="71" y="108"/>
                    <a:pt x="71" y="108"/>
                    <a:pt x="71" y="107"/>
                  </a:cubicBezTo>
                  <a:cubicBezTo>
                    <a:pt x="71" y="107"/>
                    <a:pt x="71" y="108"/>
                    <a:pt x="71" y="108"/>
                  </a:cubicBezTo>
                  <a:close/>
                  <a:moveTo>
                    <a:pt x="73" y="109"/>
                  </a:moveTo>
                  <a:cubicBezTo>
                    <a:pt x="73" y="109"/>
                    <a:pt x="73" y="108"/>
                    <a:pt x="73" y="109"/>
                  </a:cubicBezTo>
                  <a:cubicBezTo>
                    <a:pt x="73" y="108"/>
                    <a:pt x="73" y="109"/>
                    <a:pt x="73" y="109"/>
                  </a:cubicBezTo>
                  <a:close/>
                  <a:moveTo>
                    <a:pt x="69" y="112"/>
                  </a:moveTo>
                  <a:cubicBezTo>
                    <a:pt x="69" y="111"/>
                    <a:pt x="69" y="111"/>
                    <a:pt x="69" y="111"/>
                  </a:cubicBezTo>
                  <a:cubicBezTo>
                    <a:pt x="69" y="111"/>
                    <a:pt x="69" y="112"/>
                    <a:pt x="69" y="112"/>
                  </a:cubicBezTo>
                  <a:close/>
                  <a:moveTo>
                    <a:pt x="71" y="111"/>
                  </a:moveTo>
                  <a:cubicBezTo>
                    <a:pt x="71" y="111"/>
                    <a:pt x="70" y="111"/>
                    <a:pt x="70" y="111"/>
                  </a:cubicBezTo>
                  <a:cubicBezTo>
                    <a:pt x="71" y="111"/>
                    <a:pt x="71" y="111"/>
                    <a:pt x="71" y="111"/>
                  </a:cubicBezTo>
                  <a:close/>
                  <a:moveTo>
                    <a:pt x="74" y="109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lose/>
                  <a:moveTo>
                    <a:pt x="74" y="110"/>
                  </a:moveTo>
                  <a:cubicBezTo>
                    <a:pt x="74" y="110"/>
                    <a:pt x="74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lose/>
                  <a:moveTo>
                    <a:pt x="75" y="109"/>
                  </a:move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lose/>
                  <a:moveTo>
                    <a:pt x="70" y="113"/>
                  </a:moveTo>
                  <a:cubicBezTo>
                    <a:pt x="70" y="113"/>
                    <a:pt x="70" y="113"/>
                    <a:pt x="70" y="113"/>
                  </a:cubicBezTo>
                  <a:cubicBezTo>
                    <a:pt x="70" y="113"/>
                    <a:pt x="70" y="113"/>
                    <a:pt x="70" y="113"/>
                  </a:cubicBezTo>
                  <a:close/>
                  <a:moveTo>
                    <a:pt x="77" y="110"/>
                  </a:moveTo>
                  <a:cubicBezTo>
                    <a:pt x="77" y="110"/>
                    <a:pt x="77" y="109"/>
                    <a:pt x="77" y="109"/>
                  </a:cubicBezTo>
                  <a:cubicBezTo>
                    <a:pt x="77" y="109"/>
                    <a:pt x="77" y="110"/>
                    <a:pt x="77" y="110"/>
                  </a:cubicBezTo>
                  <a:close/>
                  <a:moveTo>
                    <a:pt x="75" y="111"/>
                  </a:move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lose/>
                  <a:moveTo>
                    <a:pt x="73" y="117"/>
                  </a:moveTo>
                  <a:cubicBezTo>
                    <a:pt x="74" y="117"/>
                    <a:pt x="74" y="117"/>
                    <a:pt x="74" y="117"/>
                  </a:cubicBezTo>
                  <a:cubicBezTo>
                    <a:pt x="74" y="117"/>
                    <a:pt x="74" y="117"/>
                    <a:pt x="73" y="117"/>
                  </a:cubicBezTo>
                  <a:close/>
                  <a:moveTo>
                    <a:pt x="80" y="119"/>
                  </a:moveTo>
                  <a:cubicBezTo>
                    <a:pt x="81" y="119"/>
                    <a:pt x="81" y="120"/>
                    <a:pt x="81" y="120"/>
                  </a:cubicBezTo>
                  <a:cubicBezTo>
                    <a:pt x="80" y="120"/>
                    <a:pt x="80" y="120"/>
                    <a:pt x="80" y="119"/>
                  </a:cubicBezTo>
                  <a:close/>
                  <a:moveTo>
                    <a:pt x="78" y="122"/>
                  </a:moveTo>
                  <a:cubicBezTo>
                    <a:pt x="78" y="122"/>
                    <a:pt x="78" y="123"/>
                    <a:pt x="78" y="123"/>
                  </a:cubicBezTo>
                  <a:cubicBezTo>
                    <a:pt x="78" y="123"/>
                    <a:pt x="78" y="122"/>
                    <a:pt x="78" y="122"/>
                  </a:cubicBezTo>
                  <a:close/>
                  <a:moveTo>
                    <a:pt x="82" y="121"/>
                  </a:move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6" y="126"/>
                  </a:moveTo>
                  <a:cubicBezTo>
                    <a:pt x="86" y="126"/>
                    <a:pt x="86" y="126"/>
                    <a:pt x="86" y="126"/>
                  </a:cubicBezTo>
                  <a:cubicBezTo>
                    <a:pt x="86" y="126"/>
                    <a:pt x="86" y="126"/>
                    <a:pt x="86" y="126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9"/>
                  </a:move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6" y="128"/>
                    <a:pt x="87" y="129"/>
                    <a:pt x="87" y="129"/>
                  </a:cubicBezTo>
                  <a:close/>
                  <a:moveTo>
                    <a:pt x="86" y="131"/>
                  </a:moveTo>
                  <a:cubicBezTo>
                    <a:pt x="86" y="131"/>
                    <a:pt x="86" y="131"/>
                    <a:pt x="86" y="131"/>
                  </a:cubicBezTo>
                  <a:cubicBezTo>
                    <a:pt x="86" y="131"/>
                    <a:pt x="86" y="131"/>
                    <a:pt x="86" y="131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2"/>
                    <a:pt x="90" y="132"/>
                  </a:cubicBezTo>
                  <a:cubicBezTo>
                    <a:pt x="89" y="131"/>
                    <a:pt x="89" y="131"/>
                    <a:pt x="89" y="130"/>
                  </a:cubicBezTo>
                  <a:cubicBezTo>
                    <a:pt x="89" y="130"/>
                    <a:pt x="89" y="131"/>
                    <a:pt x="90" y="132"/>
                  </a:cubicBezTo>
                  <a:close/>
                  <a:moveTo>
                    <a:pt x="87" y="133"/>
                  </a:moveTo>
                  <a:cubicBezTo>
                    <a:pt x="86" y="133"/>
                    <a:pt x="86" y="132"/>
                    <a:pt x="86" y="132"/>
                  </a:cubicBezTo>
                  <a:cubicBezTo>
                    <a:pt x="86" y="132"/>
                    <a:pt x="87" y="133"/>
                    <a:pt x="87" y="133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3"/>
                    <a:pt x="91" y="134"/>
                  </a:cubicBezTo>
                  <a:cubicBezTo>
                    <a:pt x="91" y="134"/>
                    <a:pt x="90" y="133"/>
                    <a:pt x="90" y="132"/>
                  </a:cubicBezTo>
                  <a:close/>
                  <a:moveTo>
                    <a:pt x="93" y="135"/>
                  </a:move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3" y="135"/>
                    <a:pt x="93" y="135"/>
                  </a:cubicBezTo>
                  <a:close/>
                  <a:moveTo>
                    <a:pt x="92" y="135"/>
                  </a:moveTo>
                  <a:cubicBezTo>
                    <a:pt x="93" y="135"/>
                    <a:pt x="93" y="136"/>
                    <a:pt x="93" y="136"/>
                  </a:cubicBezTo>
                  <a:cubicBezTo>
                    <a:pt x="93" y="136"/>
                    <a:pt x="93" y="135"/>
                    <a:pt x="92" y="135"/>
                  </a:cubicBezTo>
                  <a:close/>
                  <a:moveTo>
                    <a:pt x="92" y="136"/>
                  </a:moveTo>
                  <a:cubicBezTo>
                    <a:pt x="92" y="136"/>
                    <a:pt x="92" y="137"/>
                    <a:pt x="92" y="137"/>
                  </a:cubicBezTo>
                  <a:cubicBezTo>
                    <a:pt x="92" y="136"/>
                    <a:pt x="92" y="137"/>
                    <a:pt x="91" y="136"/>
                  </a:cubicBezTo>
                  <a:cubicBezTo>
                    <a:pt x="91" y="136"/>
                    <a:pt x="91" y="136"/>
                    <a:pt x="92" y="136"/>
                  </a:cubicBezTo>
                  <a:cubicBezTo>
                    <a:pt x="92" y="136"/>
                    <a:pt x="92" y="136"/>
                    <a:pt x="91" y="136"/>
                  </a:cubicBezTo>
                  <a:cubicBezTo>
                    <a:pt x="92" y="136"/>
                    <a:pt x="92" y="136"/>
                    <a:pt x="92" y="136"/>
                  </a:cubicBezTo>
                  <a:close/>
                  <a:moveTo>
                    <a:pt x="88" y="139"/>
                  </a:moveTo>
                  <a:cubicBezTo>
                    <a:pt x="88" y="139"/>
                    <a:pt x="88" y="139"/>
                    <a:pt x="88" y="139"/>
                  </a:cubicBezTo>
                  <a:cubicBezTo>
                    <a:pt x="88" y="139"/>
                    <a:pt x="88" y="139"/>
                    <a:pt x="88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1" y="137"/>
                    <a:pt x="91" y="137"/>
                  </a:cubicBezTo>
                  <a:cubicBezTo>
                    <a:pt x="91" y="137"/>
                    <a:pt x="92" y="137"/>
                    <a:pt x="92" y="138"/>
                  </a:cubicBezTo>
                  <a:close/>
                  <a:moveTo>
                    <a:pt x="92" y="136"/>
                  </a:moveTo>
                  <a:cubicBezTo>
                    <a:pt x="92" y="136"/>
                    <a:pt x="93" y="137"/>
                    <a:pt x="92" y="137"/>
                  </a:cubicBezTo>
                  <a:cubicBezTo>
                    <a:pt x="92" y="137"/>
                    <a:pt x="92" y="136"/>
                    <a:pt x="92" y="136"/>
                  </a:cubicBezTo>
                  <a:close/>
                  <a:moveTo>
                    <a:pt x="92" y="137"/>
                  </a:moveTo>
                  <a:cubicBezTo>
                    <a:pt x="92" y="137"/>
                    <a:pt x="92" y="137"/>
                    <a:pt x="92" y="137"/>
                  </a:cubicBezTo>
                  <a:cubicBezTo>
                    <a:pt x="92" y="137"/>
                    <a:pt x="93" y="137"/>
                    <a:pt x="93" y="138"/>
                  </a:cubicBezTo>
                  <a:cubicBezTo>
                    <a:pt x="93" y="138"/>
                    <a:pt x="92" y="137"/>
                    <a:pt x="92" y="137"/>
                  </a:cubicBezTo>
                  <a:close/>
                  <a:moveTo>
                    <a:pt x="92" y="139"/>
                  </a:moveTo>
                  <a:cubicBezTo>
                    <a:pt x="92" y="139"/>
                    <a:pt x="92" y="138"/>
                    <a:pt x="92" y="138"/>
                  </a:cubicBezTo>
                  <a:cubicBezTo>
                    <a:pt x="92" y="138"/>
                    <a:pt x="92" y="139"/>
                    <a:pt x="92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2" y="138"/>
                    <a:pt x="93" y="138"/>
                  </a:cubicBezTo>
                  <a:cubicBezTo>
                    <a:pt x="92" y="139"/>
                    <a:pt x="92" y="138"/>
                    <a:pt x="92" y="138"/>
                  </a:cubicBezTo>
                  <a:close/>
                  <a:moveTo>
                    <a:pt x="93" y="138"/>
                  </a:move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lose/>
                  <a:moveTo>
                    <a:pt x="94" y="139"/>
                  </a:moveTo>
                  <a:cubicBezTo>
                    <a:pt x="94" y="139"/>
                    <a:pt x="94" y="139"/>
                    <a:pt x="94" y="138"/>
                  </a:cubicBezTo>
                  <a:cubicBezTo>
                    <a:pt x="94" y="138"/>
                    <a:pt x="94" y="138"/>
                    <a:pt x="94" y="139"/>
                  </a:cubicBezTo>
                  <a:close/>
                  <a:moveTo>
                    <a:pt x="90" y="142"/>
                  </a:moveTo>
                  <a:cubicBezTo>
                    <a:pt x="90" y="142"/>
                    <a:pt x="89" y="142"/>
                    <a:pt x="89" y="142"/>
                  </a:cubicBezTo>
                  <a:cubicBezTo>
                    <a:pt x="89" y="142"/>
                    <a:pt x="90" y="142"/>
                    <a:pt x="90" y="142"/>
                  </a:cubicBezTo>
                  <a:close/>
                  <a:moveTo>
                    <a:pt x="91" y="144"/>
                  </a:moveTo>
                  <a:cubicBezTo>
                    <a:pt x="90" y="144"/>
                    <a:pt x="90" y="143"/>
                    <a:pt x="90" y="143"/>
                  </a:cubicBezTo>
                  <a:cubicBezTo>
                    <a:pt x="90" y="143"/>
                    <a:pt x="90" y="143"/>
                    <a:pt x="91" y="144"/>
                  </a:cubicBezTo>
                  <a:close/>
                  <a:moveTo>
                    <a:pt x="95" y="141"/>
                  </a:moveTo>
                  <a:cubicBezTo>
                    <a:pt x="96" y="142"/>
                    <a:pt x="96" y="143"/>
                    <a:pt x="97" y="144"/>
                  </a:cubicBezTo>
                  <a:cubicBezTo>
                    <a:pt x="97" y="144"/>
                    <a:pt x="98" y="145"/>
                    <a:pt x="98" y="146"/>
                  </a:cubicBezTo>
                  <a:cubicBezTo>
                    <a:pt x="97" y="145"/>
                    <a:pt x="96" y="143"/>
                    <a:pt x="95" y="141"/>
                  </a:cubicBezTo>
                  <a:close/>
                  <a:moveTo>
                    <a:pt x="97" y="141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6" y="141"/>
                    <a:pt x="97" y="141"/>
                  </a:cubicBezTo>
                  <a:close/>
                  <a:moveTo>
                    <a:pt x="95" y="143"/>
                  </a:move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lose/>
                  <a:moveTo>
                    <a:pt x="97" y="142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7" y="142"/>
                    <a:pt x="97" y="142"/>
                  </a:cubicBezTo>
                  <a:close/>
                  <a:moveTo>
                    <a:pt x="97" y="143"/>
                  </a:moveTo>
                  <a:cubicBezTo>
                    <a:pt x="97" y="143"/>
                    <a:pt x="97" y="142"/>
                    <a:pt x="97" y="142"/>
                  </a:cubicBezTo>
                  <a:cubicBezTo>
                    <a:pt x="97" y="142"/>
                    <a:pt x="97" y="143"/>
                    <a:pt x="97" y="143"/>
                  </a:cubicBezTo>
                  <a:close/>
                  <a:moveTo>
                    <a:pt x="97" y="142"/>
                  </a:moveTo>
                  <a:cubicBezTo>
                    <a:pt x="97" y="143"/>
                    <a:pt x="98" y="143"/>
                    <a:pt x="98" y="143"/>
                  </a:cubicBezTo>
                  <a:cubicBezTo>
                    <a:pt x="98" y="143"/>
                    <a:pt x="98" y="143"/>
                    <a:pt x="98" y="143"/>
                  </a:cubicBezTo>
                  <a:cubicBezTo>
                    <a:pt x="98" y="143"/>
                    <a:pt x="97" y="143"/>
                    <a:pt x="97" y="142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5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2" y="148"/>
                  </a:moveTo>
                  <a:cubicBezTo>
                    <a:pt x="92" y="148"/>
                    <a:pt x="92" y="148"/>
                    <a:pt x="93" y="148"/>
                  </a:cubicBezTo>
                  <a:cubicBezTo>
                    <a:pt x="92" y="148"/>
                    <a:pt x="92" y="148"/>
                    <a:pt x="92" y="148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7"/>
                    <a:pt x="97" y="147"/>
                  </a:cubicBezTo>
                  <a:cubicBezTo>
                    <a:pt x="96" y="147"/>
                    <a:pt x="96" y="146"/>
                    <a:pt x="96" y="146"/>
                  </a:cubicBezTo>
                  <a:cubicBezTo>
                    <a:pt x="96" y="146"/>
                    <a:pt x="96" y="146"/>
                    <a:pt x="97" y="146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6"/>
                    <a:pt x="97" y="146"/>
                  </a:cubicBezTo>
                  <a:cubicBezTo>
                    <a:pt x="97" y="146"/>
                    <a:pt x="97" y="146"/>
                    <a:pt x="97" y="146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7"/>
                    <a:pt x="97" y="146"/>
                  </a:cubicBezTo>
                  <a:close/>
                  <a:moveTo>
                    <a:pt x="97" y="147"/>
                  </a:moveTo>
                  <a:cubicBezTo>
                    <a:pt x="98" y="147"/>
                    <a:pt x="98" y="147"/>
                    <a:pt x="98" y="147"/>
                  </a:cubicBezTo>
                  <a:cubicBezTo>
                    <a:pt x="98" y="147"/>
                    <a:pt x="97" y="147"/>
                    <a:pt x="98" y="148"/>
                  </a:cubicBezTo>
                  <a:cubicBezTo>
                    <a:pt x="97" y="147"/>
                    <a:pt x="98" y="147"/>
                    <a:pt x="97" y="147"/>
                  </a:cubicBezTo>
                  <a:close/>
                  <a:moveTo>
                    <a:pt x="100" y="146"/>
                  </a:moveTo>
                  <a:cubicBezTo>
                    <a:pt x="100" y="146"/>
                    <a:pt x="99" y="146"/>
                    <a:pt x="99" y="146"/>
                  </a:cubicBezTo>
                  <a:cubicBezTo>
                    <a:pt x="100" y="146"/>
                    <a:pt x="100" y="146"/>
                    <a:pt x="100" y="146"/>
                  </a:cubicBezTo>
                  <a:close/>
                  <a:moveTo>
                    <a:pt x="94" y="151"/>
                  </a:moveTo>
                  <a:cubicBezTo>
                    <a:pt x="94" y="151"/>
                    <a:pt x="94" y="150"/>
                    <a:pt x="93" y="150"/>
                  </a:cubicBezTo>
                  <a:cubicBezTo>
                    <a:pt x="94" y="150"/>
                    <a:pt x="94" y="150"/>
                    <a:pt x="94" y="151"/>
                  </a:cubicBezTo>
                  <a:close/>
                  <a:moveTo>
                    <a:pt x="98" y="147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7"/>
                  </a:cubicBezTo>
                  <a:cubicBezTo>
                    <a:pt x="98" y="147"/>
                    <a:pt x="98" y="147"/>
                    <a:pt x="98" y="147"/>
                  </a:cubicBezTo>
                  <a:close/>
                  <a:moveTo>
                    <a:pt x="100" y="146"/>
                  </a:moveTo>
                  <a:cubicBezTo>
                    <a:pt x="100" y="147"/>
                    <a:pt x="100" y="147"/>
                    <a:pt x="101" y="148"/>
                  </a:cubicBezTo>
                  <a:cubicBezTo>
                    <a:pt x="100" y="147"/>
                    <a:pt x="100" y="147"/>
                    <a:pt x="100" y="146"/>
                  </a:cubicBezTo>
                  <a:close/>
                  <a:moveTo>
                    <a:pt x="99" y="147"/>
                  </a:moveTo>
                  <a:cubicBezTo>
                    <a:pt x="99" y="147"/>
                    <a:pt x="99" y="147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lose/>
                  <a:moveTo>
                    <a:pt x="94" y="151"/>
                  </a:moveTo>
                  <a:cubicBezTo>
                    <a:pt x="94" y="151"/>
                    <a:pt x="95" y="151"/>
                    <a:pt x="95" y="151"/>
                  </a:cubicBezTo>
                  <a:cubicBezTo>
                    <a:pt x="95" y="151"/>
                    <a:pt x="94" y="151"/>
                    <a:pt x="94" y="151"/>
                  </a:cubicBezTo>
                  <a:close/>
                  <a:moveTo>
                    <a:pt x="97" y="150"/>
                  </a:moveTo>
                  <a:cubicBezTo>
                    <a:pt x="97" y="150"/>
                    <a:pt x="97" y="149"/>
                    <a:pt x="97" y="149"/>
                  </a:cubicBezTo>
                  <a:cubicBezTo>
                    <a:pt x="97" y="149"/>
                    <a:pt x="97" y="149"/>
                    <a:pt x="97" y="150"/>
                  </a:cubicBezTo>
                  <a:close/>
                  <a:moveTo>
                    <a:pt x="98" y="149"/>
                  </a:moveTo>
                  <a:cubicBezTo>
                    <a:pt x="98" y="149"/>
                    <a:pt x="98" y="149"/>
                    <a:pt x="99" y="149"/>
                  </a:cubicBezTo>
                  <a:cubicBezTo>
                    <a:pt x="98" y="149"/>
                    <a:pt x="98" y="149"/>
                    <a:pt x="98" y="149"/>
                  </a:cubicBezTo>
                  <a:close/>
                  <a:moveTo>
                    <a:pt x="101" y="148"/>
                  </a:moveTo>
                  <a:cubicBezTo>
                    <a:pt x="101" y="148"/>
                    <a:pt x="101" y="148"/>
                    <a:pt x="101" y="148"/>
                  </a:cubicBezTo>
                  <a:cubicBezTo>
                    <a:pt x="101" y="148"/>
                    <a:pt x="101" y="148"/>
                    <a:pt x="101" y="148"/>
                  </a:cubicBezTo>
                  <a:close/>
                  <a:moveTo>
                    <a:pt x="98" y="151"/>
                  </a:moveTo>
                  <a:cubicBezTo>
                    <a:pt x="97" y="151"/>
                    <a:pt x="97" y="150"/>
                    <a:pt x="97" y="150"/>
                  </a:cubicBezTo>
                  <a:cubicBezTo>
                    <a:pt x="97" y="150"/>
                    <a:pt x="97" y="151"/>
                    <a:pt x="98" y="151"/>
                  </a:cubicBezTo>
                  <a:close/>
                  <a:moveTo>
                    <a:pt x="95" y="152"/>
                  </a:moveTo>
                  <a:cubicBezTo>
                    <a:pt x="95" y="152"/>
                    <a:pt x="95" y="152"/>
                    <a:pt x="95" y="152"/>
                  </a:cubicBezTo>
                  <a:cubicBezTo>
                    <a:pt x="95" y="152"/>
                    <a:pt x="95" y="152"/>
                    <a:pt x="95" y="152"/>
                  </a:cubicBezTo>
                  <a:close/>
                  <a:moveTo>
                    <a:pt x="102" y="150"/>
                  </a:move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50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1" y="149"/>
                    <a:pt x="101" y="148"/>
                  </a:cubicBezTo>
                  <a:cubicBezTo>
                    <a:pt x="101" y="149"/>
                    <a:pt x="102" y="149"/>
                    <a:pt x="102" y="150"/>
                  </a:cubicBezTo>
                  <a:close/>
                  <a:moveTo>
                    <a:pt x="95" y="154"/>
                  </a:moveTo>
                  <a:cubicBezTo>
                    <a:pt x="95" y="154"/>
                    <a:pt x="95" y="153"/>
                    <a:pt x="95" y="153"/>
                  </a:cubicBezTo>
                  <a:cubicBezTo>
                    <a:pt x="95" y="153"/>
                    <a:pt x="95" y="153"/>
                    <a:pt x="94" y="153"/>
                  </a:cubicBezTo>
                  <a:cubicBezTo>
                    <a:pt x="95" y="153"/>
                    <a:pt x="95" y="154"/>
                    <a:pt x="95" y="154"/>
                  </a:cubicBezTo>
                  <a:cubicBezTo>
                    <a:pt x="95" y="154"/>
                    <a:pt x="95" y="154"/>
                    <a:pt x="95" y="154"/>
                  </a:cubicBezTo>
                  <a:close/>
                  <a:moveTo>
                    <a:pt x="100" y="150"/>
                  </a:moveTo>
                  <a:cubicBezTo>
                    <a:pt x="99" y="151"/>
                    <a:pt x="99" y="150"/>
                    <a:pt x="99" y="150"/>
                  </a:cubicBezTo>
                  <a:cubicBezTo>
                    <a:pt x="99" y="150"/>
                    <a:pt x="100" y="150"/>
                    <a:pt x="100" y="150"/>
                  </a:cubicBezTo>
                  <a:close/>
                  <a:moveTo>
                    <a:pt x="99" y="151"/>
                  </a:moveTo>
                  <a:cubicBezTo>
                    <a:pt x="99" y="151"/>
                    <a:pt x="99" y="151"/>
                    <a:pt x="99" y="150"/>
                  </a:cubicBezTo>
                  <a:cubicBezTo>
                    <a:pt x="99" y="150"/>
                    <a:pt x="99" y="151"/>
                    <a:pt x="99" y="151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5" y="154"/>
                  </a:cubicBezTo>
                  <a:cubicBezTo>
                    <a:pt x="96" y="154"/>
                    <a:pt x="96" y="154"/>
                    <a:pt x="96" y="154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6" y="154"/>
                  </a:cubicBezTo>
                  <a:cubicBezTo>
                    <a:pt x="95" y="154"/>
                    <a:pt x="95" y="154"/>
                    <a:pt x="95" y="154"/>
                  </a:cubicBezTo>
                  <a:cubicBezTo>
                    <a:pt x="96" y="154"/>
                    <a:pt x="95" y="154"/>
                    <a:pt x="96" y="154"/>
                  </a:cubicBezTo>
                  <a:close/>
                  <a:moveTo>
                    <a:pt x="99" y="153"/>
                  </a:move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lose/>
                  <a:moveTo>
                    <a:pt x="96" y="155"/>
                  </a:moveTo>
                  <a:cubicBezTo>
                    <a:pt x="96" y="155"/>
                    <a:pt x="96" y="155"/>
                    <a:pt x="97" y="155"/>
                  </a:cubicBezTo>
                  <a:cubicBezTo>
                    <a:pt x="96" y="156"/>
                    <a:pt x="96" y="155"/>
                    <a:pt x="96" y="155"/>
                  </a:cubicBezTo>
                  <a:close/>
                  <a:moveTo>
                    <a:pt x="102" y="152"/>
                  </a:moveTo>
                  <a:cubicBezTo>
                    <a:pt x="102" y="151"/>
                    <a:pt x="102" y="151"/>
                    <a:pt x="102" y="151"/>
                  </a:cubicBezTo>
                  <a:cubicBezTo>
                    <a:pt x="102" y="151"/>
                    <a:pt x="102" y="152"/>
                    <a:pt x="102" y="151"/>
                  </a:cubicBezTo>
                  <a:cubicBezTo>
                    <a:pt x="103" y="151"/>
                    <a:pt x="103" y="152"/>
                    <a:pt x="102" y="152"/>
                  </a:cubicBezTo>
                  <a:close/>
                  <a:moveTo>
                    <a:pt x="103" y="154"/>
                  </a:moveTo>
                  <a:cubicBezTo>
                    <a:pt x="102" y="153"/>
                    <a:pt x="102" y="153"/>
                    <a:pt x="102" y="153"/>
                  </a:cubicBezTo>
                  <a:cubicBezTo>
                    <a:pt x="102" y="153"/>
                    <a:pt x="103" y="153"/>
                    <a:pt x="103" y="154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19" y="13"/>
                  </a:moveTo>
                  <a:cubicBezTo>
                    <a:pt x="20" y="14"/>
                    <a:pt x="20" y="14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1" y="16"/>
                    <a:pt x="21" y="17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3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4" y="2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3" y="21"/>
                    <a:pt x="24" y="22"/>
                    <a:pt x="24" y="22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4" y="23"/>
                    <a:pt x="24" y="22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4"/>
                    <a:pt x="25" y="23"/>
                  </a:cubicBez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7"/>
                    <a:pt x="26" y="27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29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31"/>
                    <a:pt x="29" y="32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2"/>
                    <a:pt x="28" y="32"/>
                  </a:cubicBezTo>
                  <a:cubicBezTo>
                    <a:pt x="28" y="33"/>
                    <a:pt x="28" y="33"/>
                    <a:pt x="29" y="33"/>
                  </a:cubicBezTo>
                  <a:cubicBezTo>
                    <a:pt x="29" y="33"/>
                    <a:pt x="29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4"/>
                    <a:pt x="29" y="34"/>
                    <a:pt x="29" y="35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7"/>
                    <a:pt x="30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0" y="37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30" y="38"/>
                    <a:pt x="31" y="38"/>
                    <a:pt x="31" y="39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9"/>
                    <a:pt x="31" y="38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2" y="39"/>
                    <a:pt x="31" y="38"/>
                    <a:pt x="31" y="38"/>
                  </a:cubicBezTo>
                  <a:cubicBezTo>
                    <a:pt x="32" y="39"/>
                    <a:pt x="32" y="39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40"/>
                    <a:pt x="33" y="40"/>
                  </a:cubicBezTo>
                  <a:cubicBezTo>
                    <a:pt x="33" y="40"/>
                    <a:pt x="32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1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2"/>
                    <a:pt x="34" y="42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3"/>
                    <a:pt x="33" y="43"/>
                  </a:cubicBezTo>
                  <a:cubicBezTo>
                    <a:pt x="34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4" y="43"/>
                    <a:pt x="33" y="43"/>
                    <a:pt x="34" y="43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5"/>
                    <a:pt x="35" y="45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6" y="46"/>
                    <a:pt x="35" y="46"/>
                  </a:cubicBezTo>
                  <a:cubicBezTo>
                    <a:pt x="36" y="47"/>
                    <a:pt x="36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9"/>
                    <a:pt x="37" y="48"/>
                    <a:pt x="37" y="49"/>
                  </a:cubicBezTo>
                  <a:cubicBezTo>
                    <a:pt x="37" y="49"/>
                    <a:pt x="38" y="50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38" y="52"/>
                    <a:pt x="38" y="51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6" y="49"/>
                    <a:pt x="36" y="48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4" y="45"/>
                    <a:pt x="35" y="45"/>
                    <a:pt x="35" y="45"/>
                  </a:cubicBezTo>
                  <a:cubicBezTo>
                    <a:pt x="35" y="45"/>
                    <a:pt x="34" y="45"/>
                    <a:pt x="35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3" y="44"/>
                    <a:pt x="33" y="43"/>
                  </a:cubicBezTo>
                  <a:cubicBezTo>
                    <a:pt x="33" y="43"/>
                    <a:pt x="33" y="43"/>
                    <a:pt x="33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4" y="44"/>
                    <a:pt x="33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5" y="46"/>
                    <a:pt x="34" y="46"/>
                  </a:cubicBezTo>
                  <a:cubicBezTo>
                    <a:pt x="34" y="46"/>
                    <a:pt x="34" y="46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3" y="46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1" y="42"/>
                  </a:cubicBezTo>
                  <a:cubicBezTo>
                    <a:pt x="32" y="42"/>
                    <a:pt x="32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3"/>
                    <a:pt x="32" y="43"/>
                  </a:cubicBezTo>
                  <a:cubicBezTo>
                    <a:pt x="32" y="43"/>
                    <a:pt x="33" y="43"/>
                    <a:pt x="33" y="43"/>
                  </a:cubicBezTo>
                  <a:cubicBezTo>
                    <a:pt x="33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2"/>
                  </a:cubicBezTo>
                  <a:cubicBezTo>
                    <a:pt x="33" y="42"/>
                    <a:pt x="33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1"/>
                    <a:pt x="32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2"/>
                  </a:cubicBezTo>
                  <a:cubicBezTo>
                    <a:pt x="32" y="42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39"/>
                    <a:pt x="30" y="39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30" y="37"/>
                  </a:cubicBezTo>
                  <a:cubicBezTo>
                    <a:pt x="30" y="37"/>
                    <a:pt x="29" y="36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7" y="34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5" y="30"/>
                    <a:pt x="26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7" y="33"/>
                    <a:pt x="27" y="34"/>
                    <a:pt x="28" y="34"/>
                  </a:cubicBezTo>
                  <a:cubicBezTo>
                    <a:pt x="27" y="34"/>
                    <a:pt x="27" y="34"/>
                    <a:pt x="28" y="34"/>
                  </a:cubicBezTo>
                  <a:cubicBezTo>
                    <a:pt x="27" y="35"/>
                    <a:pt x="27" y="34"/>
                    <a:pt x="27" y="34"/>
                  </a:cubicBezTo>
                  <a:cubicBezTo>
                    <a:pt x="27" y="34"/>
                    <a:pt x="28" y="35"/>
                    <a:pt x="27" y="35"/>
                  </a:cubicBezTo>
                  <a:cubicBezTo>
                    <a:pt x="27" y="35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9"/>
                  </a:cubicBezTo>
                  <a:cubicBezTo>
                    <a:pt x="29" y="38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8" y="38"/>
                    <a:pt x="29" y="39"/>
                  </a:cubicBezTo>
                  <a:cubicBezTo>
                    <a:pt x="29" y="38"/>
                    <a:pt x="28" y="39"/>
                    <a:pt x="28" y="38"/>
                  </a:cubicBezTo>
                  <a:cubicBezTo>
                    <a:pt x="28" y="38"/>
                    <a:pt x="28" y="38"/>
                    <a:pt x="28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7"/>
                    <a:pt x="28" y="39"/>
                    <a:pt x="29" y="39"/>
                  </a:cubicBezTo>
                  <a:cubicBezTo>
                    <a:pt x="29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40"/>
                    <a:pt x="29" y="40"/>
                  </a:cubicBezTo>
                  <a:cubicBezTo>
                    <a:pt x="29" y="40"/>
                    <a:pt x="29" y="40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1"/>
                  </a:cubicBezTo>
                  <a:cubicBezTo>
                    <a:pt x="29" y="41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1"/>
                    <a:pt x="29" y="41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9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0" y="44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4"/>
                    <a:pt x="31" y="44"/>
                  </a:cubicBezTo>
                  <a:cubicBezTo>
                    <a:pt x="31" y="44"/>
                    <a:pt x="30" y="44"/>
                    <a:pt x="30" y="44"/>
                  </a:cubicBezTo>
                  <a:cubicBezTo>
                    <a:pt x="30" y="44"/>
                    <a:pt x="31" y="44"/>
                    <a:pt x="31" y="44"/>
                  </a:cubicBezTo>
                  <a:cubicBezTo>
                    <a:pt x="30" y="44"/>
                    <a:pt x="31" y="44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3"/>
                    <a:pt x="31" y="44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2"/>
                    <a:pt x="31" y="43"/>
                    <a:pt x="31" y="43"/>
                  </a:cubicBezTo>
                  <a:cubicBezTo>
                    <a:pt x="31" y="43"/>
                    <a:pt x="31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4"/>
                    <a:pt x="31" y="44"/>
                  </a:cubicBezTo>
                  <a:cubicBezTo>
                    <a:pt x="31" y="44"/>
                    <a:pt x="31" y="44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1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5"/>
                    <a:pt x="32" y="45"/>
                  </a:cubicBezTo>
                  <a:cubicBezTo>
                    <a:pt x="32" y="45"/>
                    <a:pt x="32" y="45"/>
                    <a:pt x="33" y="46"/>
                  </a:cubicBezTo>
                  <a:cubicBezTo>
                    <a:pt x="32" y="46"/>
                    <a:pt x="33" y="46"/>
                    <a:pt x="32" y="46"/>
                  </a:cubicBezTo>
                  <a:cubicBezTo>
                    <a:pt x="33" y="46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5" y="49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3" y="49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2" y="47"/>
                    <a:pt x="33" y="47"/>
                    <a:pt x="32" y="47"/>
                  </a:cubicBezTo>
                  <a:cubicBezTo>
                    <a:pt x="32" y="47"/>
                    <a:pt x="33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2" y="45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0" y="44"/>
                    <a:pt x="30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5"/>
                    <a:pt x="31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ubicBezTo>
                    <a:pt x="29" y="44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3"/>
                    <a:pt x="29" y="42"/>
                    <a:pt x="28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2"/>
                    <a:pt x="29" y="42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1"/>
                    <a:pt x="28" y="41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7"/>
                    <a:pt x="25" y="36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7"/>
                    <a:pt x="25" y="37"/>
                    <a:pt x="25" y="37"/>
                  </a:cubicBezTo>
                  <a:cubicBezTo>
                    <a:pt x="25" y="37"/>
                    <a:pt x="25" y="37"/>
                    <a:pt x="25" y="36"/>
                  </a:cubicBezTo>
                  <a:cubicBezTo>
                    <a:pt x="25" y="37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6"/>
                    <a:pt x="25" y="37"/>
                    <a:pt x="25" y="37"/>
                  </a:cubicBezTo>
                  <a:cubicBezTo>
                    <a:pt x="25" y="37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6"/>
                    <a:pt x="23" y="36"/>
                    <a:pt x="24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5"/>
                    <a:pt x="22" y="35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4" y="35"/>
                    <a:pt x="24" y="36"/>
                  </a:cubicBezTo>
                  <a:cubicBezTo>
                    <a:pt x="24" y="35"/>
                    <a:pt x="23" y="35"/>
                    <a:pt x="23" y="35"/>
                  </a:cubicBezTo>
                  <a:cubicBezTo>
                    <a:pt x="23" y="35"/>
                    <a:pt x="24" y="35"/>
                    <a:pt x="24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3" y="34"/>
                    <a:pt x="23" y="35"/>
                    <a:pt x="23" y="35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2" y="34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7"/>
                  </a:cubicBezTo>
                  <a:cubicBezTo>
                    <a:pt x="23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6"/>
                  </a:cubicBezTo>
                  <a:cubicBezTo>
                    <a:pt x="23" y="36"/>
                    <a:pt x="23" y="36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4" y="37"/>
                    <a:pt x="23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9"/>
                    <a:pt x="25" y="39"/>
                    <a:pt x="25" y="40"/>
                  </a:cubicBezTo>
                  <a:cubicBezTo>
                    <a:pt x="25" y="40"/>
                    <a:pt x="25" y="39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6" y="41"/>
                    <a:pt x="25" y="41"/>
                    <a:pt x="25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2"/>
                  </a:cubicBezTo>
                  <a:cubicBezTo>
                    <a:pt x="26" y="42"/>
                    <a:pt x="26" y="41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3"/>
                    <a:pt x="27" y="44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5" y="42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3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8"/>
                    <a:pt x="22" y="38"/>
                  </a:cubicBezTo>
                  <a:cubicBezTo>
                    <a:pt x="22" y="38"/>
                    <a:pt x="23" y="38"/>
                    <a:pt x="23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8"/>
                    <a:pt x="22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8"/>
                  </a:cubicBezTo>
                  <a:cubicBezTo>
                    <a:pt x="20" y="37"/>
                    <a:pt x="21" y="37"/>
                    <a:pt x="21" y="3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5"/>
                    <a:pt x="19" y="35"/>
                  </a:cubicBezTo>
                  <a:cubicBezTo>
                    <a:pt x="19" y="35"/>
                    <a:pt x="19" y="35"/>
                    <a:pt x="19" y="36"/>
                  </a:cubicBezTo>
                  <a:cubicBezTo>
                    <a:pt x="19" y="36"/>
                    <a:pt x="19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8"/>
                    <a:pt x="2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7"/>
                    <a:pt x="20" y="38"/>
                    <a:pt x="20" y="38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9" y="37"/>
                  </a:cubicBezTo>
                  <a:cubicBezTo>
                    <a:pt x="19" y="37"/>
                    <a:pt x="19" y="36"/>
                    <a:pt x="19" y="37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8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8" y="34"/>
                  </a:cubicBezTo>
                  <a:cubicBezTo>
                    <a:pt x="18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7" y="33"/>
                    <a:pt x="17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6" y="32"/>
                    <a:pt x="16" y="33"/>
                  </a:cubicBezTo>
                  <a:cubicBezTo>
                    <a:pt x="16" y="32"/>
                    <a:pt x="16" y="32"/>
                    <a:pt x="15" y="32"/>
                  </a:cubicBezTo>
                  <a:cubicBezTo>
                    <a:pt x="15" y="32"/>
                    <a:pt x="16" y="32"/>
                    <a:pt x="15" y="32"/>
                  </a:cubicBezTo>
                  <a:cubicBezTo>
                    <a:pt x="15" y="32"/>
                    <a:pt x="15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2"/>
                    <a:pt x="14" y="31"/>
                    <a:pt x="14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5" y="32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2"/>
                    <a:pt x="14" y="33"/>
                    <a:pt x="14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3" y="32"/>
                    <a:pt x="14" y="32"/>
                    <a:pt x="14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2" y="30"/>
                    <a:pt x="13" y="30"/>
                    <a:pt x="13" y="30"/>
                  </a:cubicBezTo>
                  <a:cubicBezTo>
                    <a:pt x="13" y="30"/>
                    <a:pt x="12" y="30"/>
                    <a:pt x="12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8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0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9" y="27"/>
                    <a:pt x="9" y="27"/>
                  </a:cubicBezTo>
                  <a:cubicBezTo>
                    <a:pt x="9" y="27"/>
                    <a:pt x="9" y="28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8" y="26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8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7" y="22"/>
                    <a:pt x="8" y="22"/>
                    <a:pt x="8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0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7" y="22"/>
                    <a:pt x="6" y="21"/>
                    <a:pt x="7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6" y="19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4" y="17"/>
                    <a:pt x="5" y="17"/>
                    <a:pt x="5" y="18"/>
                  </a:cubicBezTo>
                  <a:cubicBezTo>
                    <a:pt x="4" y="18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7"/>
                    <a:pt x="4" y="16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5"/>
                    <a:pt x="3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5"/>
                    <a:pt x="2" y="14"/>
                    <a:pt x="2" y="14"/>
                  </a:cubicBezTo>
                  <a:cubicBezTo>
                    <a:pt x="3" y="14"/>
                    <a:pt x="2" y="14"/>
                    <a:pt x="3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1" y="12"/>
                  </a:cubicBezTo>
                  <a:cubicBezTo>
                    <a:pt x="1" y="12"/>
                    <a:pt x="1" y="12"/>
                    <a:pt x="1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3"/>
                    <a:pt x="10" y="3"/>
                  </a:cubicBezTo>
                  <a:cubicBezTo>
                    <a:pt x="11" y="4"/>
                    <a:pt x="12" y="4"/>
                    <a:pt x="13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5" y="6"/>
                    <a:pt x="15" y="7"/>
                  </a:cubicBezTo>
                  <a:cubicBezTo>
                    <a:pt x="15" y="7"/>
                    <a:pt x="16" y="8"/>
                    <a:pt x="16" y="8"/>
                  </a:cubicBezTo>
                  <a:cubicBezTo>
                    <a:pt x="16" y="9"/>
                    <a:pt x="16" y="9"/>
                    <a:pt x="17" y="9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1" y="29"/>
                    <a:pt x="11" y="29"/>
                  </a:cubicBezTo>
                  <a:close/>
                  <a:moveTo>
                    <a:pt x="11" y="28"/>
                  </a:moveTo>
                  <a:cubicBezTo>
                    <a:pt x="12" y="28"/>
                    <a:pt x="12" y="29"/>
                    <a:pt x="12" y="29"/>
                  </a:cubicBezTo>
                  <a:cubicBezTo>
                    <a:pt x="12" y="28"/>
                    <a:pt x="12" y="28"/>
                    <a:pt x="11" y="28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3" y="30"/>
                  </a:move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lose/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3" y="30"/>
                    <a:pt x="14" y="30"/>
                    <a:pt x="14" y="30"/>
                  </a:cubicBezTo>
                  <a:close/>
                  <a:moveTo>
                    <a:pt x="14" y="30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0"/>
                    <a:pt x="14" y="30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5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4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  <a:moveTo>
                    <a:pt x="14" y="29"/>
                  </a:moveTo>
                  <a:cubicBezTo>
                    <a:pt x="14" y="29"/>
                    <a:pt x="13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lose/>
                  <a:moveTo>
                    <a:pt x="16" y="32"/>
                  </a:moveTo>
                  <a:cubicBezTo>
                    <a:pt x="16" y="32"/>
                    <a:pt x="15" y="32"/>
                    <a:pt x="16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2"/>
                    <a:pt x="15" y="32"/>
                  </a:cubicBezTo>
                  <a:cubicBezTo>
                    <a:pt x="15" y="32"/>
                    <a:pt x="16" y="32"/>
                    <a:pt x="16" y="32"/>
                  </a:cubicBezTo>
                  <a:close/>
                  <a:moveTo>
                    <a:pt x="16" y="32"/>
                  </a:moveTo>
                  <a:cubicBezTo>
                    <a:pt x="16" y="32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lose/>
                  <a:moveTo>
                    <a:pt x="17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lose/>
                  <a:moveTo>
                    <a:pt x="18" y="34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4"/>
                    <a:pt x="18" y="34"/>
                  </a:cubicBezTo>
                  <a:close/>
                  <a:moveTo>
                    <a:pt x="18" y="33"/>
                  </a:move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lose/>
                  <a:moveTo>
                    <a:pt x="18" y="33"/>
                  </a:moveTo>
                  <a:cubicBezTo>
                    <a:pt x="17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8" y="33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4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5"/>
                  </a:cubicBezTo>
                  <a:cubicBezTo>
                    <a:pt x="19" y="34"/>
                    <a:pt x="19" y="35"/>
                    <a:pt x="19" y="35"/>
                  </a:cubicBezTo>
                  <a:close/>
                  <a:moveTo>
                    <a:pt x="22" y="36"/>
                  </a:moveTo>
                  <a:cubicBezTo>
                    <a:pt x="22" y="36"/>
                    <a:pt x="21" y="36"/>
                    <a:pt x="21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6"/>
                  </a:cubicBezTo>
                  <a:close/>
                  <a:moveTo>
                    <a:pt x="22" y="36"/>
                  </a:move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7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2" y="36"/>
                    <a:pt x="22" y="36"/>
                  </a:cubicBezTo>
                  <a:close/>
                  <a:moveTo>
                    <a:pt x="24" y="38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4" y="38"/>
                    <a:pt x="23" y="38"/>
                    <a:pt x="24" y="38"/>
                  </a:cubicBezTo>
                  <a:close/>
                  <a:moveTo>
                    <a:pt x="24" y="39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39"/>
                    <a:pt x="24" y="39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3" y="38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0" y="33"/>
                  </a:moveTo>
                  <a:cubicBezTo>
                    <a:pt x="20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3"/>
                  </a:cubicBezTo>
                  <a:close/>
                  <a:moveTo>
                    <a:pt x="15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lose/>
                  <a:moveTo>
                    <a:pt x="21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1" y="31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1" y="31"/>
                    <a:pt x="21" y="32"/>
                    <a:pt x="20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0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19" y="31"/>
                  </a:moveTo>
                  <a:cubicBezTo>
                    <a:pt x="19" y="30"/>
                    <a:pt x="20" y="31"/>
                    <a:pt x="19" y="31"/>
                  </a:cubicBezTo>
                  <a:cubicBezTo>
                    <a:pt x="19" y="31"/>
                    <a:pt x="19" y="30"/>
                    <a:pt x="19" y="30"/>
                  </a:cubicBezTo>
                  <a:cubicBezTo>
                    <a:pt x="19" y="30"/>
                    <a:pt x="19" y="31"/>
                    <a:pt x="19" y="31"/>
                  </a:cubicBezTo>
                  <a:close/>
                  <a:moveTo>
                    <a:pt x="22" y="33"/>
                  </a:moveTo>
                  <a:cubicBezTo>
                    <a:pt x="22" y="34"/>
                    <a:pt x="22" y="33"/>
                    <a:pt x="21" y="33"/>
                  </a:cubicBezTo>
                  <a:cubicBezTo>
                    <a:pt x="22" y="34"/>
                    <a:pt x="21" y="34"/>
                    <a:pt x="22" y="34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1" y="34"/>
                    <a:pt x="21" y="34"/>
                    <a:pt x="22" y="34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2" y="34"/>
                    <a:pt x="22" y="33"/>
                  </a:cubicBezTo>
                  <a:cubicBezTo>
                    <a:pt x="22" y="33"/>
                    <a:pt x="22" y="33"/>
                    <a:pt x="21" y="33"/>
                  </a:cubicBezTo>
                  <a:close/>
                  <a:moveTo>
                    <a:pt x="22" y="33"/>
                  </a:moveTo>
                  <a:cubicBezTo>
                    <a:pt x="21" y="33"/>
                    <a:pt x="21" y="33"/>
                    <a:pt x="21" y="32"/>
                  </a:cubicBezTo>
                  <a:cubicBezTo>
                    <a:pt x="21" y="33"/>
                    <a:pt x="21" y="32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lose/>
                  <a:moveTo>
                    <a:pt x="22" y="33"/>
                  </a:move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lose/>
                  <a:moveTo>
                    <a:pt x="22" y="32"/>
                  </a:move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21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lose/>
                  <a:moveTo>
                    <a:pt x="23" y="34"/>
                  </a:move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3" y="33"/>
                    <a:pt x="23" y="33"/>
                  </a:cubicBezTo>
                  <a:cubicBezTo>
                    <a:pt x="23" y="33"/>
                    <a:pt x="23" y="33"/>
                    <a:pt x="22" y="33"/>
                  </a:cubicBezTo>
                  <a:cubicBezTo>
                    <a:pt x="23" y="34"/>
                    <a:pt x="23" y="33"/>
                    <a:pt x="23" y="3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5" y="36"/>
                  </a:moveTo>
                  <a:cubicBezTo>
                    <a:pt x="25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5" y="36"/>
                    <a:pt x="25" y="36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3" y="48"/>
                    <a:pt x="33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lose/>
                  <a:moveTo>
                    <a:pt x="32" y="45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3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6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6" y="38"/>
                    <a:pt x="26" y="38"/>
                  </a:cubicBezTo>
                  <a:close/>
                  <a:moveTo>
                    <a:pt x="28" y="40"/>
                  </a:moveTo>
                  <a:cubicBezTo>
                    <a:pt x="28" y="40"/>
                    <a:pt x="28" y="40"/>
                    <a:pt x="28" y="41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9" y="40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8" y="41"/>
                    <a:pt x="28" y="41"/>
                  </a:cubicBezTo>
                  <a:cubicBezTo>
                    <a:pt x="28" y="41"/>
                    <a:pt x="28" y="41"/>
                    <a:pt x="29" y="41"/>
                  </a:cubicBezTo>
                  <a:cubicBezTo>
                    <a:pt x="28" y="41"/>
                    <a:pt x="28" y="40"/>
                    <a:pt x="29" y="40"/>
                  </a:cubicBezTo>
                  <a:close/>
                  <a:moveTo>
                    <a:pt x="28" y="40"/>
                  </a:moveTo>
                  <a:cubicBezTo>
                    <a:pt x="28" y="39"/>
                    <a:pt x="28" y="40"/>
                    <a:pt x="28" y="40"/>
                  </a:cubicBezTo>
                  <a:cubicBezTo>
                    <a:pt x="28" y="39"/>
                    <a:pt x="27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8"/>
                    <a:pt x="27" y="38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7" y="36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lose/>
                  <a:moveTo>
                    <a:pt x="27" y="36"/>
                  </a:moveTo>
                  <a:cubicBezTo>
                    <a:pt x="26" y="36"/>
                    <a:pt x="27" y="35"/>
                    <a:pt x="26" y="35"/>
                  </a:cubicBezTo>
                  <a:cubicBezTo>
                    <a:pt x="26" y="35"/>
                    <a:pt x="26" y="36"/>
                    <a:pt x="27" y="36"/>
                  </a:cubicBezTo>
                  <a:close/>
                  <a:moveTo>
                    <a:pt x="27" y="37"/>
                  </a:moveTo>
                  <a:cubicBezTo>
                    <a:pt x="27" y="37"/>
                    <a:pt x="27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lose/>
                  <a:moveTo>
                    <a:pt x="23" y="28"/>
                  </a:moveTo>
                  <a:cubicBezTo>
                    <a:pt x="23" y="29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5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2"/>
                    <a:pt x="26" y="32"/>
                    <a:pt x="25" y="32"/>
                  </a:cubicBezTo>
                  <a:close/>
                  <a:moveTo>
                    <a:pt x="24" y="30"/>
                  </a:moveTo>
                  <a:cubicBezTo>
                    <a:pt x="24" y="30"/>
                    <a:pt x="24" y="30"/>
                    <a:pt x="24" y="29"/>
                  </a:cubicBezTo>
                  <a:cubicBezTo>
                    <a:pt x="24" y="29"/>
                    <a:pt x="24" y="30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lnTo>
                    <a:pt x="24" y="30"/>
                  </a:lnTo>
                  <a:close/>
                  <a:moveTo>
                    <a:pt x="24" y="30"/>
                  </a:moveTo>
                  <a:cubicBezTo>
                    <a:pt x="24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5" y="31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7" y="35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5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5"/>
                    <a:pt x="27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7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2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2"/>
                  </a:cubicBezTo>
                  <a:cubicBezTo>
                    <a:pt x="25" y="32"/>
                    <a:pt x="25" y="31"/>
                    <a:pt x="25" y="31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27" y="34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lose/>
                  <a:moveTo>
                    <a:pt x="27" y="33"/>
                  </a:moveTo>
                  <a:cubicBezTo>
                    <a:pt x="27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7" y="33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3" y="27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23" y="27"/>
                  </a:lnTo>
                  <a:close/>
                  <a:moveTo>
                    <a:pt x="24" y="29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lnTo>
                    <a:pt x="24" y="29"/>
                  </a:lnTo>
                  <a:close/>
                  <a:moveTo>
                    <a:pt x="25" y="29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29"/>
                  </a:cubicBezTo>
                  <a:close/>
                  <a:moveTo>
                    <a:pt x="34" y="45"/>
                  </a:moveTo>
                  <a:cubicBezTo>
                    <a:pt x="33" y="45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lose/>
                  <a:moveTo>
                    <a:pt x="31" y="40"/>
                  </a:moveTo>
                  <a:cubicBezTo>
                    <a:pt x="32" y="40"/>
                    <a:pt x="32" y="40"/>
                    <a:pt x="32" y="41"/>
                  </a:cubicBezTo>
                  <a:cubicBezTo>
                    <a:pt x="32" y="40"/>
                    <a:pt x="32" y="40"/>
                    <a:pt x="31" y="40"/>
                  </a:cubicBezTo>
                  <a:close/>
                  <a:moveTo>
                    <a:pt x="32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lose/>
                  <a:moveTo>
                    <a:pt x="32" y="40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0"/>
                    <a:pt x="32" y="40"/>
                  </a:cubicBezTo>
                  <a:cubicBezTo>
                    <a:pt x="32" y="40"/>
                    <a:pt x="32" y="40"/>
                    <a:pt x="32" y="39"/>
                  </a:cubicBezTo>
                  <a:cubicBezTo>
                    <a:pt x="32" y="40"/>
                    <a:pt x="32" y="39"/>
                    <a:pt x="32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lose/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39"/>
                  </a:cubicBezTo>
                  <a:cubicBezTo>
                    <a:pt x="31" y="39"/>
                    <a:pt x="31" y="40"/>
                    <a:pt x="31" y="40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1"/>
                    <a:pt x="27" y="31"/>
                  </a:cubicBezTo>
                  <a:cubicBezTo>
                    <a:pt x="26" y="32"/>
                    <a:pt x="27" y="32"/>
                    <a:pt x="27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3"/>
                    <a:pt x="27" y="33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4"/>
                  </a:cubicBezTo>
                  <a:cubicBezTo>
                    <a:pt x="28" y="33"/>
                    <a:pt x="27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3"/>
                    <a:pt x="27" y="33"/>
                    <a:pt x="28" y="33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5"/>
                    <a:pt x="29" y="35"/>
                  </a:cubicBezTo>
                  <a:cubicBezTo>
                    <a:pt x="28" y="35"/>
                    <a:pt x="28" y="34"/>
                    <a:pt x="28" y="34"/>
                  </a:cubicBezTo>
                  <a:close/>
                  <a:moveTo>
                    <a:pt x="27" y="32"/>
                  </a:moveTo>
                  <a:cubicBezTo>
                    <a:pt x="27" y="32"/>
                    <a:pt x="28" y="32"/>
                    <a:pt x="27" y="32"/>
                  </a:cubicBezTo>
                  <a:cubicBezTo>
                    <a:pt x="27" y="33"/>
                    <a:pt x="28" y="32"/>
                    <a:pt x="28" y="33"/>
                  </a:cubicBezTo>
                  <a:cubicBezTo>
                    <a:pt x="27" y="33"/>
                    <a:pt x="28" y="33"/>
                    <a:pt x="28" y="34"/>
                  </a:cubicBezTo>
                  <a:cubicBezTo>
                    <a:pt x="28" y="33"/>
                    <a:pt x="28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9" y="34"/>
                  </a:cubicBezTo>
                  <a:cubicBezTo>
                    <a:pt x="28" y="34"/>
                    <a:pt x="28" y="33"/>
                    <a:pt x="28" y="33"/>
                  </a:cubicBezTo>
                  <a:close/>
                  <a:moveTo>
                    <a:pt x="27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1"/>
                  </a:cubicBezTo>
                  <a:cubicBezTo>
                    <a:pt x="26" y="31"/>
                    <a:pt x="26" y="30"/>
                    <a:pt x="26" y="3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0"/>
                  </a:cubicBezTo>
                  <a:cubicBezTo>
                    <a:pt x="26" y="31"/>
                    <a:pt x="26" y="31"/>
                    <a:pt x="27" y="32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7" y="31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3"/>
                    <a:pt x="28" y="33"/>
                    <a:pt x="28" y="33"/>
                  </a:cubicBezTo>
                  <a:close/>
                  <a:moveTo>
                    <a:pt x="28" y="32"/>
                  </a:move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6" y="28"/>
                  </a:move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2"/>
                    <a:pt x="23" y="22"/>
                  </a:cubicBezTo>
                  <a:cubicBezTo>
                    <a:pt x="24" y="22"/>
                    <a:pt x="23" y="22"/>
                    <a:pt x="23" y="22"/>
                  </a:cubicBezTo>
                  <a:cubicBezTo>
                    <a:pt x="24" y="22"/>
                    <a:pt x="24" y="23"/>
                    <a:pt x="24" y="22"/>
                  </a:cubicBezTo>
                  <a:close/>
                  <a:moveTo>
                    <a:pt x="23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3" y="20"/>
                    <a:pt x="23" y="21"/>
                  </a:cubicBezTo>
                  <a:cubicBezTo>
                    <a:pt x="22" y="21"/>
                    <a:pt x="22" y="20"/>
                    <a:pt x="22" y="20"/>
                  </a:cubicBezTo>
                  <a:cubicBezTo>
                    <a:pt x="22" y="20"/>
                    <a:pt x="22" y="21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6"/>
                    <a:pt x="29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7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0"/>
                    <a:pt x="7" y="1"/>
                    <a:pt x="7" y="1"/>
                  </a:cubicBezTo>
                  <a:close/>
                  <a:moveTo>
                    <a:pt x="17" y="37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lose/>
                  <a:moveTo>
                    <a:pt x="22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1"/>
                    <a:pt x="24" y="42"/>
                  </a:cubicBezTo>
                  <a:cubicBezTo>
                    <a:pt x="23" y="42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3" y="39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39"/>
                    <a:pt x="23" y="39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2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23" y="42"/>
                    <a:pt x="24" y="42"/>
                    <a:pt x="24" y="43"/>
                  </a:cubicBezTo>
                  <a:cubicBezTo>
                    <a:pt x="24" y="43"/>
                    <a:pt x="23" y="41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2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2"/>
                  </a:moveTo>
                  <a:cubicBezTo>
                    <a:pt x="27" y="41"/>
                    <a:pt x="26" y="41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1"/>
                    <a:pt x="26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5" y="41"/>
                  </a:moveTo>
                  <a:cubicBezTo>
                    <a:pt x="25" y="41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1"/>
                    <a:pt x="25" y="41"/>
                  </a:cubicBezTo>
                  <a:close/>
                  <a:moveTo>
                    <a:pt x="27" y="41"/>
                  </a:moveTo>
                  <a:cubicBezTo>
                    <a:pt x="26" y="40"/>
                    <a:pt x="27" y="40"/>
                    <a:pt x="26" y="40"/>
                  </a:cubicBezTo>
                  <a:cubicBezTo>
                    <a:pt x="26" y="40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1" y="40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41"/>
                    <a:pt x="30" y="41"/>
                    <a:pt x="31" y="41"/>
                  </a:cubicBezTo>
                  <a:cubicBezTo>
                    <a:pt x="31" y="41"/>
                    <a:pt x="30" y="41"/>
                    <a:pt x="30" y="41"/>
                  </a:cubicBezTo>
                  <a:cubicBezTo>
                    <a:pt x="30" y="41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29" y="40"/>
                  </a:cubicBezTo>
                  <a:cubicBezTo>
                    <a:pt x="30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8"/>
                  </a:cubicBezTo>
                  <a:cubicBezTo>
                    <a:pt x="30" y="38"/>
                    <a:pt x="30" y="39"/>
                    <a:pt x="30" y="39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5" y="43"/>
                  </a:moveTo>
                  <a:cubicBezTo>
                    <a:pt x="26" y="44"/>
                    <a:pt x="26" y="45"/>
                    <a:pt x="27" y="46"/>
                  </a:cubicBezTo>
                  <a:cubicBezTo>
                    <a:pt x="27" y="46"/>
                    <a:pt x="26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4"/>
                    <a:pt x="25" y="43"/>
                    <a:pt x="25" y="42"/>
                  </a:cubicBezTo>
                  <a:cubicBezTo>
                    <a:pt x="24" y="42"/>
                    <a:pt x="25" y="42"/>
                    <a:pt x="25" y="42"/>
                  </a:cubicBezTo>
                  <a:cubicBezTo>
                    <a:pt x="25" y="42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4" y="43"/>
                  </a:cubicBezTo>
                  <a:cubicBezTo>
                    <a:pt x="24" y="43"/>
                    <a:pt x="25" y="43"/>
                    <a:pt x="25" y="43"/>
                  </a:cubicBezTo>
                  <a:close/>
                  <a:moveTo>
                    <a:pt x="3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1"/>
                  </a:cubicBezTo>
                  <a:cubicBezTo>
                    <a:pt x="30" y="41"/>
                    <a:pt x="30" y="41"/>
                    <a:pt x="29" y="40"/>
                  </a:cubicBezTo>
                  <a:cubicBezTo>
                    <a:pt x="29" y="40"/>
                    <a:pt x="30" y="40"/>
                    <a:pt x="30" y="40"/>
                  </a:cubicBezTo>
                  <a:cubicBezTo>
                    <a:pt x="29" y="40"/>
                    <a:pt x="30" y="40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0" y="42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23" y="45"/>
                  </a:moveTo>
                  <a:cubicBezTo>
                    <a:pt x="23" y="46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lose/>
                  <a:moveTo>
                    <a:pt x="24" y="44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7" y="45"/>
                  </a:moveTo>
                  <a:cubicBezTo>
                    <a:pt x="27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9" y="46"/>
                    <a:pt x="29" y="47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8" y="46"/>
                    <a:pt x="28" y="46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30" y="47"/>
                  </a:moveTo>
                  <a:cubicBezTo>
                    <a:pt x="30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0" y="49"/>
                    <a:pt x="30" y="48"/>
                    <a:pt x="30" y="47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ubicBezTo>
                    <a:pt x="29" y="50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30" y="49"/>
                    <a:pt x="30" y="50"/>
                  </a:cubicBezTo>
                  <a:close/>
                  <a:moveTo>
                    <a:pt x="29" y="51"/>
                  </a:moveTo>
                  <a:cubicBezTo>
                    <a:pt x="30" y="52"/>
                    <a:pt x="30" y="52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2"/>
                    <a:pt x="30" y="53"/>
                  </a:cubicBezTo>
                  <a:cubicBezTo>
                    <a:pt x="29" y="52"/>
                    <a:pt x="29" y="51"/>
                    <a:pt x="28" y="50"/>
                  </a:cubicBezTo>
                  <a:cubicBezTo>
                    <a:pt x="29" y="50"/>
                    <a:pt x="29" y="51"/>
                    <a:pt x="29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1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38" y="49"/>
                  </a:moveTo>
                  <a:cubicBezTo>
                    <a:pt x="39" y="49"/>
                    <a:pt x="38" y="48"/>
                    <a:pt x="38" y="48"/>
                  </a:cubicBezTo>
                  <a:cubicBezTo>
                    <a:pt x="38" y="48"/>
                    <a:pt x="38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0"/>
                    <a:pt x="38" y="51"/>
                  </a:cubicBezTo>
                  <a:cubicBezTo>
                    <a:pt x="38" y="51"/>
                    <a:pt x="37" y="51"/>
                    <a:pt x="37" y="51"/>
                  </a:cubicBezTo>
                  <a:cubicBezTo>
                    <a:pt x="38" y="51"/>
                    <a:pt x="38" y="52"/>
                    <a:pt x="38" y="52"/>
                  </a:cubicBezTo>
                  <a:cubicBezTo>
                    <a:pt x="38" y="52"/>
                    <a:pt x="37" y="51"/>
                    <a:pt x="37" y="51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3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41" y="55"/>
                  </a:moveTo>
                  <a:cubicBezTo>
                    <a:pt x="40" y="55"/>
                    <a:pt x="40" y="55"/>
                    <a:pt x="40" y="55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6"/>
                    <a:pt x="39" y="55"/>
                    <a:pt x="39" y="54"/>
                  </a:cubicBezTo>
                  <a:cubicBezTo>
                    <a:pt x="39" y="53"/>
                    <a:pt x="38" y="53"/>
                    <a:pt x="38" y="52"/>
                  </a:cubicBezTo>
                  <a:cubicBezTo>
                    <a:pt x="38" y="52"/>
                    <a:pt x="38" y="52"/>
                    <a:pt x="38" y="53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2"/>
                    <a:pt x="38" y="53"/>
                  </a:cubicBezTo>
                  <a:cubicBezTo>
                    <a:pt x="39" y="53"/>
                    <a:pt x="40" y="54"/>
                    <a:pt x="40" y="55"/>
                  </a:cubicBezTo>
                  <a:cubicBezTo>
                    <a:pt x="40" y="55"/>
                    <a:pt x="40" y="55"/>
                    <a:pt x="41" y="55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1" y="54"/>
                    <a:pt x="41" y="53"/>
                    <a:pt x="41" y="53"/>
                  </a:cubicBezTo>
                  <a:cubicBezTo>
                    <a:pt x="41" y="53"/>
                    <a:pt x="41" y="54"/>
                    <a:pt x="41" y="54"/>
                  </a:cubicBezTo>
                  <a:cubicBezTo>
                    <a:pt x="41" y="54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1" y="53"/>
                    <a:pt x="40" y="52"/>
                    <a:pt x="40" y="52"/>
                  </a:cubicBezTo>
                  <a:cubicBezTo>
                    <a:pt x="41" y="52"/>
                    <a:pt x="40" y="53"/>
                    <a:pt x="41" y="53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2" y="54"/>
                  </a:move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2" y="54"/>
                    <a:pt x="42" y="54"/>
                  </a:cubicBezTo>
                  <a:close/>
                  <a:moveTo>
                    <a:pt x="38" y="56"/>
                  </a:moveTo>
                  <a:cubicBezTo>
                    <a:pt x="39" y="57"/>
                    <a:pt x="39" y="56"/>
                    <a:pt x="39" y="57"/>
                  </a:cubicBezTo>
                  <a:cubicBezTo>
                    <a:pt x="39" y="57"/>
                    <a:pt x="39" y="56"/>
                    <a:pt x="39" y="56"/>
                  </a:cubicBezTo>
                  <a:cubicBezTo>
                    <a:pt x="39" y="56"/>
                    <a:pt x="39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8"/>
                    <a:pt x="39" y="58"/>
                  </a:cubicBezTo>
                  <a:cubicBezTo>
                    <a:pt x="38" y="58"/>
                    <a:pt x="39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9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5"/>
                  </a:moveTo>
                  <a:cubicBezTo>
                    <a:pt x="39" y="55"/>
                    <a:pt x="39" y="56"/>
                    <a:pt x="39" y="56"/>
                  </a:cubicBezTo>
                  <a:cubicBezTo>
                    <a:pt x="39" y="56"/>
                    <a:pt x="39" y="56"/>
                    <a:pt x="38" y="55"/>
                  </a:cubicBezTo>
                  <a:close/>
                  <a:moveTo>
                    <a:pt x="39" y="58"/>
                  </a:moveTo>
                  <a:cubicBezTo>
                    <a:pt x="39" y="57"/>
                    <a:pt x="40" y="57"/>
                    <a:pt x="40" y="58"/>
                  </a:cubicBezTo>
                  <a:cubicBezTo>
                    <a:pt x="40" y="57"/>
                    <a:pt x="40" y="58"/>
                    <a:pt x="39" y="58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1" y="58"/>
                  </a:cubicBezTo>
                  <a:cubicBezTo>
                    <a:pt x="41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42" y="60"/>
                  </a:moveTo>
                  <a:cubicBezTo>
                    <a:pt x="43" y="60"/>
                    <a:pt x="42" y="60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1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1" y="57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8"/>
                    <a:pt x="42" y="58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4" y="59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59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8"/>
                  </a:cubicBezTo>
                  <a:cubicBezTo>
                    <a:pt x="44" y="58"/>
                    <a:pt x="44" y="59"/>
                    <a:pt x="44" y="59"/>
                  </a:cubicBezTo>
                  <a:cubicBezTo>
                    <a:pt x="44" y="59"/>
                    <a:pt x="45" y="59"/>
                    <a:pt x="45" y="60"/>
                  </a:cubicBezTo>
                  <a:cubicBezTo>
                    <a:pt x="45" y="60"/>
                    <a:pt x="45" y="60"/>
                    <a:pt x="45" y="59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5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0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0"/>
                    <a:pt x="45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6" y="61"/>
                    <a:pt x="46" y="61"/>
                    <a:pt x="47" y="62"/>
                  </a:cubicBezTo>
                  <a:cubicBezTo>
                    <a:pt x="47" y="62"/>
                    <a:pt x="46" y="62"/>
                    <a:pt x="46" y="62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4"/>
                    <a:pt x="47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4"/>
                  </a:cubicBezTo>
                  <a:cubicBezTo>
                    <a:pt x="47" y="64"/>
                    <a:pt x="46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7" y="63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6" y="64"/>
                    <a:pt x="46" y="64"/>
                  </a:cubicBezTo>
                  <a:cubicBezTo>
                    <a:pt x="46" y="64"/>
                    <a:pt x="46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5"/>
                    <a:pt x="46" y="64"/>
                    <a:pt x="46" y="65"/>
                  </a:cubicBezTo>
                  <a:cubicBezTo>
                    <a:pt x="46" y="65"/>
                    <a:pt x="46" y="64"/>
                    <a:pt x="47" y="64"/>
                  </a:cubicBezTo>
                  <a:cubicBezTo>
                    <a:pt x="47" y="64"/>
                    <a:pt x="46" y="64"/>
                    <a:pt x="47" y="64"/>
                  </a:cubicBezTo>
                  <a:cubicBezTo>
                    <a:pt x="47" y="64"/>
                    <a:pt x="47" y="64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6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5"/>
                    <a:pt x="46" y="65"/>
                    <a:pt x="46" y="65"/>
                  </a:cubicBezTo>
                  <a:cubicBezTo>
                    <a:pt x="46" y="65"/>
                    <a:pt x="46" y="65"/>
                    <a:pt x="47" y="65"/>
                  </a:cubicBezTo>
                  <a:cubicBezTo>
                    <a:pt x="46" y="65"/>
                    <a:pt x="46" y="65"/>
                    <a:pt x="46" y="66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3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2"/>
                  </a:cubicBezTo>
                  <a:cubicBezTo>
                    <a:pt x="45" y="63"/>
                    <a:pt x="45" y="62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4" y="62"/>
                  </a:cubicBezTo>
                  <a:cubicBezTo>
                    <a:pt x="45" y="62"/>
                    <a:pt x="45" y="62"/>
                    <a:pt x="45" y="63"/>
                  </a:cubicBezTo>
                  <a:cubicBezTo>
                    <a:pt x="44" y="63"/>
                    <a:pt x="44" y="63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5" y="62"/>
                    <a:pt x="44" y="62"/>
                    <a:pt x="45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4"/>
                    <a:pt x="45" y="64"/>
                    <a:pt x="45" y="65"/>
                  </a:cubicBezTo>
                  <a:cubicBezTo>
                    <a:pt x="45" y="65"/>
                    <a:pt x="45" y="65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7"/>
                  </a:cubicBezTo>
                  <a:cubicBezTo>
                    <a:pt x="46" y="67"/>
                    <a:pt x="46" y="66"/>
                    <a:pt x="45" y="66"/>
                  </a:cubicBezTo>
                  <a:cubicBezTo>
                    <a:pt x="46" y="66"/>
                    <a:pt x="45" y="65"/>
                    <a:pt x="46" y="66"/>
                  </a:cubicBezTo>
                  <a:cubicBezTo>
                    <a:pt x="46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4"/>
                    <a:pt x="44" y="62"/>
                    <a:pt x="43" y="61"/>
                  </a:cubicBezTo>
                  <a:cubicBezTo>
                    <a:pt x="42" y="61"/>
                    <a:pt x="43" y="62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2"/>
                    <a:pt x="42" y="62"/>
                  </a:cubicBezTo>
                  <a:cubicBezTo>
                    <a:pt x="43" y="62"/>
                    <a:pt x="43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1"/>
                    <a:pt x="42" y="61"/>
                    <a:pt x="42" y="62"/>
                  </a:cubicBezTo>
                  <a:cubicBezTo>
                    <a:pt x="43" y="62"/>
                    <a:pt x="42" y="62"/>
                    <a:pt x="43" y="63"/>
                  </a:cubicBezTo>
                  <a:cubicBezTo>
                    <a:pt x="42" y="63"/>
                    <a:pt x="43" y="64"/>
                    <a:pt x="43" y="63"/>
                  </a:cubicBezTo>
                  <a:cubicBezTo>
                    <a:pt x="43" y="63"/>
                    <a:pt x="43" y="64"/>
                    <a:pt x="43" y="64"/>
                  </a:cubicBezTo>
                  <a:cubicBezTo>
                    <a:pt x="43" y="64"/>
                    <a:pt x="42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2"/>
                    <a:pt x="42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2" y="62"/>
                    <a:pt x="42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63"/>
                    <a:pt x="40" y="63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40" y="62"/>
                    <a:pt x="39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39" y="61"/>
                  </a:cubicBezTo>
                  <a:cubicBezTo>
                    <a:pt x="40" y="61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40" y="60"/>
                  </a:cubicBezTo>
                  <a:cubicBezTo>
                    <a:pt x="40" y="60"/>
                    <a:pt x="40" y="59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59"/>
                    <a:pt x="41" y="59"/>
                  </a:cubicBezTo>
                  <a:cubicBezTo>
                    <a:pt x="41" y="59"/>
                    <a:pt x="41" y="59"/>
                    <a:pt x="40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9"/>
                    <a:pt x="40" y="59"/>
                    <a:pt x="40" y="59"/>
                  </a:cubicBezTo>
                  <a:cubicBezTo>
                    <a:pt x="40" y="59"/>
                    <a:pt x="41" y="59"/>
                    <a:pt x="40" y="59"/>
                  </a:cubicBezTo>
                  <a:cubicBezTo>
                    <a:pt x="40" y="58"/>
                    <a:pt x="41" y="59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1" y="59"/>
                    <a:pt x="41" y="59"/>
                    <a:pt x="4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1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lose/>
                  <a:moveTo>
                    <a:pt x="39" y="62"/>
                  </a:moveTo>
                  <a:cubicBezTo>
                    <a:pt x="39" y="62"/>
                    <a:pt x="39" y="62"/>
                    <a:pt x="39" y="6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lose/>
                  <a:moveTo>
                    <a:pt x="40" y="61"/>
                  </a:moveTo>
                  <a:cubicBezTo>
                    <a:pt x="40" y="62"/>
                    <a:pt x="40" y="61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1"/>
                    <a:pt x="40" y="61"/>
                    <a:pt x="40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42" y="61"/>
                  </a:move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2" y="61"/>
                  </a:cubicBezTo>
                  <a:close/>
                  <a:moveTo>
                    <a:pt x="46" y="65"/>
                  </a:move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lose/>
                  <a:moveTo>
                    <a:pt x="45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6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4"/>
                  </a:cubicBezTo>
                  <a:cubicBezTo>
                    <a:pt x="45" y="64"/>
                    <a:pt x="46" y="64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4"/>
                    <a:pt x="46" y="64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6" y="63"/>
                  </a:moveTo>
                  <a:cubicBezTo>
                    <a:pt x="46" y="62"/>
                    <a:pt x="46" y="62"/>
                    <a:pt x="45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2"/>
                    <a:pt x="46" y="63"/>
                    <a:pt x="46" y="63"/>
                  </a:cubicBezTo>
                  <a:close/>
                  <a:moveTo>
                    <a:pt x="4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6" y="62"/>
                    <a:pt x="46" y="62"/>
                    <a:pt x="46" y="63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6" y="61"/>
                    <a:pt x="46" y="61"/>
                  </a:cubicBezTo>
                  <a:cubicBezTo>
                    <a:pt x="46" y="62"/>
                    <a:pt x="45" y="61"/>
                    <a:pt x="45" y="61"/>
                  </a:cubicBezTo>
                  <a:cubicBezTo>
                    <a:pt x="45" y="61"/>
                    <a:pt x="45" y="61"/>
                    <a:pt x="45" y="62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lose/>
                  <a:moveTo>
                    <a:pt x="44" y="60"/>
                  </a:moveTo>
                  <a:cubicBezTo>
                    <a:pt x="44" y="60"/>
                    <a:pt x="43" y="59"/>
                    <a:pt x="43" y="59"/>
                  </a:cubicBezTo>
                  <a:cubicBezTo>
                    <a:pt x="43" y="60"/>
                    <a:pt x="44" y="60"/>
                    <a:pt x="44" y="60"/>
                  </a:cubicBezTo>
                  <a:close/>
                  <a:moveTo>
                    <a:pt x="44" y="62"/>
                  </a:moveTo>
                  <a:cubicBezTo>
                    <a:pt x="43" y="62"/>
                    <a:pt x="44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2"/>
                    <a:pt x="44" y="62"/>
                    <a:pt x="44" y="62"/>
                  </a:cubicBezTo>
                  <a:close/>
                  <a:moveTo>
                    <a:pt x="43" y="62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2"/>
                    <a:pt x="43" y="62"/>
                  </a:cubicBezTo>
                  <a:cubicBezTo>
                    <a:pt x="43" y="62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43" y="60"/>
                  </a:moveTo>
                  <a:cubicBezTo>
                    <a:pt x="42" y="60"/>
                    <a:pt x="42" y="60"/>
                    <a:pt x="42" y="59"/>
                  </a:cubicBezTo>
                  <a:cubicBezTo>
                    <a:pt x="42" y="59"/>
                    <a:pt x="43" y="60"/>
                    <a:pt x="43" y="60"/>
                  </a:cubicBezTo>
                  <a:cubicBezTo>
                    <a:pt x="43" y="60"/>
                    <a:pt x="43" y="60"/>
                    <a:pt x="42" y="60"/>
                  </a:cubicBezTo>
                  <a:cubicBezTo>
                    <a:pt x="42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3" y="60"/>
                  </a:cubicBezTo>
                  <a:close/>
                  <a:moveTo>
                    <a:pt x="42" y="59"/>
                  </a:moveTo>
                  <a:cubicBezTo>
                    <a:pt x="42" y="60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43" y="61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1"/>
                    <a:pt x="43" y="61"/>
                  </a:cubicBezTo>
                  <a:close/>
                  <a:moveTo>
                    <a:pt x="45" y="65"/>
                  </a:moveTo>
                  <a:cubicBezTo>
                    <a:pt x="45" y="65"/>
                    <a:pt x="46" y="65"/>
                    <a:pt x="46" y="65"/>
                  </a:cubicBezTo>
                  <a:cubicBezTo>
                    <a:pt x="46" y="65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5"/>
                    <a:pt x="46" y="65"/>
                    <a:pt x="45" y="65"/>
                  </a:cubicBezTo>
                  <a:cubicBezTo>
                    <a:pt x="45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0"/>
                    <a:pt x="45" y="60"/>
                  </a:cubicBezTo>
                  <a:cubicBezTo>
                    <a:pt x="45" y="60"/>
                    <a:pt x="45" y="61"/>
                    <a:pt x="45" y="61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40" y="59"/>
                    <a:pt x="39" y="58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9" y="59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9"/>
                  </a:move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lose/>
                  <a:moveTo>
                    <a:pt x="35" y="63"/>
                  </a:moveTo>
                  <a:cubicBezTo>
                    <a:pt x="35" y="62"/>
                    <a:pt x="35" y="63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2"/>
                    <a:pt x="38" y="62"/>
                  </a:cubicBezTo>
                  <a:cubicBezTo>
                    <a:pt x="38" y="62"/>
                    <a:pt x="37" y="61"/>
                    <a:pt x="37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39" y="64"/>
                    <a:pt x="39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5"/>
                    <a:pt x="39" y="65"/>
                    <a:pt x="39" y="65"/>
                  </a:cubicBezTo>
                  <a:cubicBezTo>
                    <a:pt x="39" y="64"/>
                    <a:pt x="39" y="65"/>
                    <a:pt x="38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39" y="65"/>
                    <a:pt x="39" y="65"/>
                    <a:pt x="38" y="65"/>
                  </a:cubicBezTo>
                  <a:cubicBezTo>
                    <a:pt x="38" y="66"/>
                    <a:pt x="38" y="65"/>
                    <a:pt x="38" y="66"/>
                  </a:cubicBezTo>
                  <a:cubicBezTo>
                    <a:pt x="38" y="65"/>
                    <a:pt x="39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7"/>
                  </a:cubicBezTo>
                  <a:cubicBezTo>
                    <a:pt x="38" y="67"/>
                    <a:pt x="38" y="66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8"/>
                    <a:pt x="38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7" y="67"/>
                    <a:pt x="38" y="67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7" y="66"/>
                    <a:pt x="37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7" y="65"/>
                    <a:pt x="38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4"/>
                  </a:cubicBezTo>
                  <a:cubicBezTo>
                    <a:pt x="37" y="64"/>
                    <a:pt x="37" y="65"/>
                    <a:pt x="37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4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4"/>
                    <a:pt x="37" y="63"/>
                    <a:pt x="37" y="63"/>
                  </a:cubicBez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7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7" y="63"/>
                    <a:pt x="38" y="63"/>
                    <a:pt x="38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8" y="63"/>
                    <a:pt x="38" y="63"/>
                  </a:cubicBezTo>
                  <a:cubicBezTo>
                    <a:pt x="38" y="63"/>
                    <a:pt x="38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6"/>
                    <a:pt x="38" y="66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2"/>
                    <a:pt x="38" y="62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40" y="59"/>
                  </a:moveTo>
                  <a:cubicBezTo>
                    <a:pt x="41" y="59"/>
                    <a:pt x="41" y="59"/>
                    <a:pt x="41" y="60"/>
                  </a:cubicBezTo>
                  <a:cubicBezTo>
                    <a:pt x="41" y="60"/>
                    <a:pt x="41" y="59"/>
                    <a:pt x="40" y="59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lose/>
                  <a:moveTo>
                    <a:pt x="42" y="64"/>
                  </a:moveTo>
                  <a:cubicBezTo>
                    <a:pt x="42" y="64"/>
                    <a:pt x="42" y="64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3" y="65"/>
                    <a:pt x="42" y="65"/>
                  </a:cubicBezTo>
                  <a:cubicBezTo>
                    <a:pt x="42" y="65"/>
                    <a:pt x="42" y="64"/>
                    <a:pt x="42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4" y="64"/>
                  </a:cubicBezTo>
                  <a:close/>
                  <a:moveTo>
                    <a:pt x="62" y="94"/>
                  </a:moveTo>
                  <a:cubicBezTo>
                    <a:pt x="61" y="94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7"/>
                    <a:pt x="63" y="96"/>
                    <a:pt x="63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7"/>
                    <a:pt x="64" y="98"/>
                    <a:pt x="64" y="99"/>
                  </a:cubicBezTo>
                  <a:cubicBezTo>
                    <a:pt x="63" y="98"/>
                    <a:pt x="63" y="97"/>
                    <a:pt x="63" y="97"/>
                  </a:cubicBezTo>
                  <a:cubicBezTo>
                    <a:pt x="63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7"/>
                    <a:pt x="63" y="99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7"/>
                    <a:pt x="62" y="97"/>
                  </a:cubicBezTo>
                  <a:cubicBezTo>
                    <a:pt x="62" y="97"/>
                    <a:pt x="63" y="97"/>
                    <a:pt x="62" y="97"/>
                  </a:cubicBezTo>
                  <a:cubicBezTo>
                    <a:pt x="63" y="97"/>
                    <a:pt x="63" y="98"/>
                    <a:pt x="63" y="97"/>
                  </a:cubicBezTo>
                  <a:cubicBezTo>
                    <a:pt x="63" y="98"/>
                    <a:pt x="63" y="98"/>
                    <a:pt x="64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8"/>
                    <a:pt x="62" y="97"/>
                    <a:pt x="61" y="97"/>
                  </a:cubicBezTo>
                  <a:cubicBezTo>
                    <a:pt x="61" y="97"/>
                    <a:pt x="61" y="97"/>
                    <a:pt x="62" y="97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2" y="97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61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7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6"/>
                    <a:pt x="61" y="96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6"/>
                    <a:pt x="61" y="95"/>
                  </a:cubicBezTo>
                  <a:cubicBezTo>
                    <a:pt x="61" y="96"/>
                    <a:pt x="61" y="97"/>
                    <a:pt x="61" y="97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7"/>
                    <a:pt x="61" y="96"/>
                    <a:pt x="61" y="96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0" y="94"/>
                    <a:pt x="60" y="94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2" y="96"/>
                    <a:pt x="62" y="95"/>
                  </a:cubicBezTo>
                  <a:cubicBezTo>
                    <a:pt x="62" y="95"/>
                    <a:pt x="61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5"/>
                    <a:pt x="61" y="94"/>
                    <a:pt x="61" y="94"/>
                  </a:cubicBezTo>
                  <a:cubicBezTo>
                    <a:pt x="61" y="94"/>
                    <a:pt x="61" y="95"/>
                    <a:pt x="61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0" y="93"/>
                  </a:cubicBezTo>
                  <a:cubicBezTo>
                    <a:pt x="61" y="93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59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59" y="91"/>
                    <a:pt x="59" y="91"/>
                  </a:cubicBezTo>
                  <a:cubicBezTo>
                    <a:pt x="59" y="91"/>
                    <a:pt x="60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0"/>
                    <a:pt x="59" y="90"/>
                  </a:cubicBezTo>
                  <a:cubicBezTo>
                    <a:pt x="59" y="90"/>
                    <a:pt x="59" y="91"/>
                    <a:pt x="59" y="91"/>
                  </a:cubicBezTo>
                  <a:cubicBezTo>
                    <a:pt x="59" y="90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8" y="89"/>
                    <a:pt x="58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6"/>
                    <a:pt x="57" y="87"/>
                    <a:pt x="57" y="87"/>
                  </a:cubicBezTo>
                  <a:cubicBezTo>
                    <a:pt x="57" y="87"/>
                    <a:pt x="57" y="86"/>
                    <a:pt x="56" y="86"/>
                  </a:cubicBezTo>
                  <a:cubicBezTo>
                    <a:pt x="56" y="85"/>
                    <a:pt x="56" y="85"/>
                    <a:pt x="55" y="84"/>
                  </a:cubicBezTo>
                  <a:cubicBezTo>
                    <a:pt x="55" y="84"/>
                    <a:pt x="56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7" y="86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7" y="87"/>
                    <a:pt x="58" y="87"/>
                  </a:cubicBezTo>
                  <a:cubicBezTo>
                    <a:pt x="58" y="87"/>
                    <a:pt x="57" y="87"/>
                    <a:pt x="58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7" y="85"/>
                  </a:cubicBezTo>
                  <a:cubicBezTo>
                    <a:pt x="57" y="85"/>
                    <a:pt x="56" y="84"/>
                    <a:pt x="56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4"/>
                    <a:pt x="55" y="84"/>
                  </a:cubicBezTo>
                  <a:cubicBezTo>
                    <a:pt x="55" y="83"/>
                    <a:pt x="55" y="83"/>
                    <a:pt x="54" y="83"/>
                  </a:cubicBezTo>
                  <a:cubicBezTo>
                    <a:pt x="54" y="83"/>
                    <a:pt x="55" y="83"/>
                    <a:pt x="54" y="83"/>
                  </a:cubicBezTo>
                  <a:cubicBezTo>
                    <a:pt x="55" y="83"/>
                    <a:pt x="55" y="83"/>
                    <a:pt x="55" y="84"/>
                  </a:cubicBezTo>
                  <a:cubicBezTo>
                    <a:pt x="54" y="84"/>
                    <a:pt x="55" y="84"/>
                    <a:pt x="55" y="84"/>
                  </a:cubicBezTo>
                  <a:cubicBezTo>
                    <a:pt x="55" y="84"/>
                    <a:pt x="55" y="84"/>
                    <a:pt x="54" y="84"/>
                  </a:cubicBezTo>
                  <a:cubicBezTo>
                    <a:pt x="54" y="84"/>
                    <a:pt x="55" y="84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5"/>
                    <a:pt x="56" y="85"/>
                  </a:cubicBezTo>
                  <a:cubicBezTo>
                    <a:pt x="56" y="85"/>
                    <a:pt x="56" y="85"/>
                    <a:pt x="55" y="85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6" y="88"/>
                    <a:pt x="56" y="87"/>
                    <a:pt x="55" y="87"/>
                  </a:cubicBezTo>
                  <a:cubicBezTo>
                    <a:pt x="55" y="87"/>
                    <a:pt x="56" y="87"/>
                    <a:pt x="56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7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6" y="88"/>
                    <a:pt x="56" y="89"/>
                    <a:pt x="57" y="89"/>
                  </a:cubicBezTo>
                  <a:cubicBezTo>
                    <a:pt x="57" y="89"/>
                    <a:pt x="57" y="90"/>
                    <a:pt x="57" y="90"/>
                  </a:cubicBezTo>
                  <a:cubicBezTo>
                    <a:pt x="58" y="90"/>
                    <a:pt x="58" y="91"/>
                    <a:pt x="58" y="91"/>
                  </a:cubicBezTo>
                  <a:cubicBezTo>
                    <a:pt x="58" y="91"/>
                    <a:pt x="58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6" y="90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9"/>
                    <a:pt x="57" y="89"/>
                  </a:cubicBezTo>
                  <a:cubicBezTo>
                    <a:pt x="57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89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1"/>
                    <a:pt x="56" y="90"/>
                  </a:cubicBezTo>
                  <a:cubicBezTo>
                    <a:pt x="56" y="90"/>
                    <a:pt x="56" y="91"/>
                    <a:pt x="56" y="90"/>
                  </a:cubicBezTo>
                  <a:cubicBezTo>
                    <a:pt x="56" y="90"/>
                    <a:pt x="56" y="91"/>
                    <a:pt x="56" y="91"/>
                  </a:cubicBezTo>
                  <a:cubicBezTo>
                    <a:pt x="56" y="91"/>
                    <a:pt x="56" y="91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3" y="85"/>
                    <a:pt x="54" y="86"/>
                    <a:pt x="54" y="86"/>
                  </a:cubicBezTo>
                  <a:cubicBezTo>
                    <a:pt x="54" y="86"/>
                    <a:pt x="55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2" y="83"/>
                    <a:pt x="52" y="83"/>
                  </a:cubicBezTo>
                  <a:cubicBezTo>
                    <a:pt x="53" y="83"/>
                    <a:pt x="52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4"/>
                    <a:pt x="53" y="84"/>
                  </a:cubicBezTo>
                  <a:cubicBezTo>
                    <a:pt x="53" y="84"/>
                    <a:pt x="53" y="83"/>
                    <a:pt x="53" y="83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3" y="84"/>
                  </a:cubicBezTo>
                  <a:cubicBezTo>
                    <a:pt x="53" y="83"/>
                    <a:pt x="54" y="84"/>
                    <a:pt x="53" y="8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2"/>
                    <a:pt x="53" y="83"/>
                    <a:pt x="53" y="83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3"/>
                    <a:pt x="54" y="8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3"/>
                    <a:pt x="53" y="83"/>
                  </a:cubicBezTo>
                  <a:cubicBezTo>
                    <a:pt x="53" y="82"/>
                    <a:pt x="54" y="82"/>
                    <a:pt x="53" y="82"/>
                  </a:cubicBezTo>
                  <a:cubicBezTo>
                    <a:pt x="53" y="82"/>
                    <a:pt x="53" y="82"/>
                    <a:pt x="54" y="82"/>
                  </a:cubicBezTo>
                  <a:cubicBezTo>
                    <a:pt x="54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ubicBezTo>
                    <a:pt x="53" y="81"/>
                    <a:pt x="53" y="80"/>
                    <a:pt x="53" y="80"/>
                  </a:cubicBezTo>
                  <a:cubicBezTo>
                    <a:pt x="53" y="80"/>
                    <a:pt x="53" y="80"/>
                    <a:pt x="52" y="80"/>
                  </a:cubicBezTo>
                  <a:cubicBezTo>
                    <a:pt x="52" y="80"/>
                    <a:pt x="53" y="80"/>
                    <a:pt x="52" y="80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79"/>
                    <a:pt x="52" y="79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1"/>
                    <a:pt x="53" y="80"/>
                    <a:pt x="54" y="80"/>
                  </a:cubicBezTo>
                  <a:cubicBezTo>
                    <a:pt x="54" y="81"/>
                    <a:pt x="54" y="81"/>
                    <a:pt x="53" y="80"/>
                  </a:cubicBezTo>
                  <a:cubicBezTo>
                    <a:pt x="53" y="81"/>
                    <a:pt x="54" y="81"/>
                    <a:pt x="54" y="81"/>
                  </a:cubicBezTo>
                  <a:cubicBezTo>
                    <a:pt x="54" y="81"/>
                    <a:pt x="54" y="80"/>
                    <a:pt x="54" y="8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1"/>
                  </a:cubicBezTo>
                  <a:cubicBezTo>
                    <a:pt x="54" y="81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4" y="80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4" y="79"/>
                  </a:cubicBezTo>
                  <a:cubicBezTo>
                    <a:pt x="54" y="79"/>
                    <a:pt x="54" y="79"/>
                    <a:pt x="53" y="78"/>
                  </a:cubicBezTo>
                  <a:cubicBezTo>
                    <a:pt x="53" y="79"/>
                    <a:pt x="53" y="78"/>
                    <a:pt x="53" y="79"/>
                  </a:cubicBezTo>
                  <a:cubicBezTo>
                    <a:pt x="53" y="79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7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2" y="77"/>
                    <a:pt x="53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7"/>
                    <a:pt x="52" y="76"/>
                    <a:pt x="52" y="77"/>
                  </a:cubicBezTo>
                  <a:cubicBezTo>
                    <a:pt x="52" y="76"/>
                    <a:pt x="52" y="77"/>
                    <a:pt x="52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2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5"/>
                    <a:pt x="51" y="75"/>
                  </a:cubicBezTo>
                  <a:cubicBezTo>
                    <a:pt x="50" y="75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5"/>
                    <a:pt x="52" y="75"/>
                  </a:cubicBezTo>
                  <a:cubicBezTo>
                    <a:pt x="52" y="75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1" y="75"/>
                    <a:pt x="51" y="74"/>
                    <a:pt x="51" y="74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1" y="74"/>
                    <a:pt x="51" y="74"/>
                    <a:pt x="51" y="73"/>
                  </a:cubicBezTo>
                  <a:cubicBezTo>
                    <a:pt x="51" y="73"/>
                    <a:pt x="51" y="74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49" y="71"/>
                  </a:cubicBezTo>
                  <a:cubicBezTo>
                    <a:pt x="49" y="72"/>
                    <a:pt x="49" y="72"/>
                    <a:pt x="50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9" y="73"/>
                    <a:pt x="49" y="72"/>
                    <a:pt x="49" y="72"/>
                  </a:cubicBezTo>
                  <a:cubicBezTo>
                    <a:pt x="49" y="72"/>
                    <a:pt x="48" y="72"/>
                    <a:pt x="48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49" y="71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50" y="70"/>
                  </a:cubicBezTo>
                  <a:cubicBezTo>
                    <a:pt x="50" y="71"/>
                    <a:pt x="50" y="71"/>
                    <a:pt x="51" y="72"/>
                  </a:cubicBezTo>
                  <a:cubicBezTo>
                    <a:pt x="51" y="72"/>
                    <a:pt x="50" y="72"/>
                    <a:pt x="51" y="72"/>
                  </a:cubicBezTo>
                  <a:cubicBezTo>
                    <a:pt x="51" y="72"/>
                    <a:pt x="50" y="72"/>
                    <a:pt x="50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2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2" y="73"/>
                  </a:cubicBezTo>
                  <a:cubicBezTo>
                    <a:pt x="52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1" y="71"/>
                    <a:pt x="51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49" y="70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49" y="70"/>
                    <a:pt x="49" y="70"/>
                  </a:cubicBezTo>
                  <a:cubicBezTo>
                    <a:pt x="49" y="69"/>
                    <a:pt x="50" y="70"/>
                    <a:pt x="50" y="69"/>
                  </a:cubicBezTo>
                  <a:cubicBezTo>
                    <a:pt x="50" y="69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69"/>
                    <a:pt x="49" y="69"/>
                  </a:cubicBezTo>
                  <a:cubicBezTo>
                    <a:pt x="49" y="69"/>
                    <a:pt x="50" y="69"/>
                    <a:pt x="50" y="69"/>
                  </a:cubicBezTo>
                  <a:cubicBezTo>
                    <a:pt x="49" y="69"/>
                    <a:pt x="49" y="69"/>
                    <a:pt x="50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9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7"/>
                  </a:cubicBezTo>
                  <a:cubicBezTo>
                    <a:pt x="48" y="67"/>
                    <a:pt x="48" y="68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9" y="67"/>
                    <a:pt x="48" y="67"/>
                    <a:pt x="48" y="67"/>
                  </a:cubicBezTo>
                  <a:cubicBezTo>
                    <a:pt x="49" y="67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7"/>
                    <a:pt x="48" y="66"/>
                  </a:cubicBezTo>
                  <a:cubicBezTo>
                    <a:pt x="48" y="67"/>
                    <a:pt x="48" y="67"/>
                    <a:pt x="48" y="66"/>
                  </a:cubicBezTo>
                  <a:cubicBezTo>
                    <a:pt x="48" y="66"/>
                    <a:pt x="48" y="67"/>
                    <a:pt x="48" y="67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5"/>
                  </a:cubicBezTo>
                  <a:cubicBezTo>
                    <a:pt x="48" y="65"/>
                    <a:pt x="48" y="65"/>
                    <a:pt x="48" y="66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7" y="65"/>
                    <a:pt x="47" y="64"/>
                  </a:cubicBezTo>
                  <a:cubicBezTo>
                    <a:pt x="47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3"/>
                  </a:cubicBezTo>
                  <a:cubicBezTo>
                    <a:pt x="47" y="63"/>
                    <a:pt x="48" y="64"/>
                    <a:pt x="48" y="64"/>
                  </a:cubicBezTo>
                  <a:cubicBezTo>
                    <a:pt x="47" y="64"/>
                    <a:pt x="47" y="63"/>
                    <a:pt x="48" y="63"/>
                  </a:cubicBezTo>
                  <a:cubicBezTo>
                    <a:pt x="47" y="63"/>
                    <a:pt x="47" y="63"/>
                    <a:pt x="47" y="62"/>
                  </a:cubicBezTo>
                  <a:cubicBezTo>
                    <a:pt x="47" y="62"/>
                    <a:pt x="47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4"/>
                  </a:cubicBezTo>
                  <a:cubicBezTo>
                    <a:pt x="48" y="64"/>
                    <a:pt x="48" y="63"/>
                    <a:pt x="48" y="63"/>
                  </a:cubicBezTo>
                  <a:cubicBezTo>
                    <a:pt x="48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9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3" y="70"/>
                    <a:pt x="52" y="71"/>
                  </a:cubicBezTo>
                  <a:cubicBezTo>
                    <a:pt x="52" y="71"/>
                    <a:pt x="52" y="70"/>
                    <a:pt x="52" y="71"/>
                  </a:cubicBezTo>
                  <a:cubicBezTo>
                    <a:pt x="53" y="71"/>
                    <a:pt x="53" y="71"/>
                    <a:pt x="53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2"/>
                    <a:pt x="55" y="74"/>
                    <a:pt x="55" y="75"/>
                  </a:cubicBezTo>
                  <a:cubicBezTo>
                    <a:pt x="55" y="75"/>
                    <a:pt x="55" y="75"/>
                    <a:pt x="56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6" y="76"/>
                    <a:pt x="55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57" y="78"/>
                    <a:pt x="57" y="77"/>
                    <a:pt x="57" y="78"/>
                  </a:cubicBezTo>
                  <a:cubicBezTo>
                    <a:pt x="57" y="78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78"/>
                    <a:pt x="58" y="79"/>
                    <a:pt x="58" y="79"/>
                  </a:cubicBezTo>
                  <a:cubicBezTo>
                    <a:pt x="58" y="79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8" y="81"/>
                    <a:pt x="59" y="81"/>
                    <a:pt x="59" y="81"/>
                  </a:cubicBezTo>
                  <a:cubicBezTo>
                    <a:pt x="59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1"/>
                    <a:pt x="58" y="80"/>
                  </a:cubicBezTo>
                  <a:cubicBezTo>
                    <a:pt x="58" y="80"/>
                    <a:pt x="57" y="79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6" y="77"/>
                    <a:pt x="55" y="76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4"/>
                    <a:pt x="54" y="75"/>
                    <a:pt x="54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4" y="73"/>
                    <a:pt x="53" y="73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3"/>
                    <a:pt x="54" y="74"/>
                  </a:cubicBezTo>
                  <a:cubicBezTo>
                    <a:pt x="54" y="74"/>
                    <a:pt x="54" y="73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4"/>
                    <a:pt x="54" y="75"/>
                  </a:cubicBezTo>
                  <a:cubicBezTo>
                    <a:pt x="54" y="74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5"/>
                    <a:pt x="54" y="74"/>
                    <a:pt x="54" y="74"/>
                  </a:cubicBezTo>
                  <a:cubicBezTo>
                    <a:pt x="53" y="74"/>
                    <a:pt x="53" y="74"/>
                    <a:pt x="53" y="73"/>
                  </a:cubicBezTo>
                  <a:cubicBezTo>
                    <a:pt x="53" y="73"/>
                    <a:pt x="53" y="73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5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3" y="75"/>
                    <a:pt x="53" y="75"/>
                    <a:pt x="54" y="76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3" y="75"/>
                    <a:pt x="53" y="75"/>
                  </a:cubicBezTo>
                  <a:cubicBezTo>
                    <a:pt x="53" y="75"/>
                    <a:pt x="54" y="76"/>
                    <a:pt x="54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4" y="76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4" y="77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5" y="78"/>
                    <a:pt x="54" y="78"/>
                  </a:cubicBezTo>
                  <a:cubicBezTo>
                    <a:pt x="54" y="78"/>
                    <a:pt x="55" y="78"/>
                    <a:pt x="55" y="78"/>
                  </a:cubicBezTo>
                  <a:cubicBezTo>
                    <a:pt x="55" y="79"/>
                    <a:pt x="56" y="79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5" y="79"/>
                    <a:pt x="55" y="79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5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7" y="80"/>
                    <a:pt x="56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7" y="81"/>
                    <a:pt x="58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60" y="83"/>
                  </a:cubicBezTo>
                  <a:cubicBezTo>
                    <a:pt x="60" y="84"/>
                    <a:pt x="60" y="85"/>
                    <a:pt x="61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0" y="86"/>
                    <a:pt x="60" y="85"/>
                  </a:cubicBezTo>
                  <a:cubicBezTo>
                    <a:pt x="60" y="85"/>
                    <a:pt x="60" y="85"/>
                    <a:pt x="61" y="86"/>
                  </a:cubicBezTo>
                  <a:cubicBezTo>
                    <a:pt x="60" y="85"/>
                    <a:pt x="60" y="84"/>
                    <a:pt x="59" y="85"/>
                  </a:cubicBezTo>
                  <a:cubicBezTo>
                    <a:pt x="59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2" y="88"/>
                    <a:pt x="61" y="88"/>
                    <a:pt x="61" y="87"/>
                  </a:cubicBezTo>
                  <a:cubicBezTo>
                    <a:pt x="61" y="87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9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3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89"/>
                    <a:pt x="62" y="89"/>
                    <a:pt x="62" y="88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3" y="89"/>
                    <a:pt x="63" y="90"/>
                    <a:pt x="64" y="90"/>
                  </a:cubicBezTo>
                  <a:cubicBezTo>
                    <a:pt x="64" y="90"/>
                    <a:pt x="64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91"/>
                    <a:pt x="65" y="92"/>
                    <a:pt x="64" y="91"/>
                  </a:cubicBezTo>
                  <a:cubicBezTo>
                    <a:pt x="65" y="91"/>
                    <a:pt x="64" y="92"/>
                    <a:pt x="65" y="92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3" y="90"/>
                    <a:pt x="63" y="89"/>
                    <a:pt x="63" y="89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2" y="86"/>
                    <a:pt x="60" y="84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1"/>
                    <a:pt x="59" y="81"/>
                    <a:pt x="59" y="82"/>
                  </a:cubicBezTo>
                  <a:cubicBezTo>
                    <a:pt x="59" y="82"/>
                    <a:pt x="59" y="82"/>
                    <a:pt x="60" y="82"/>
                  </a:cubicBezTo>
                  <a:cubicBezTo>
                    <a:pt x="60" y="82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5"/>
                  </a:cubicBezTo>
                  <a:cubicBezTo>
                    <a:pt x="61" y="85"/>
                    <a:pt x="61" y="84"/>
                    <a:pt x="61" y="84"/>
                  </a:cubicBezTo>
                  <a:cubicBezTo>
                    <a:pt x="61" y="85"/>
                    <a:pt x="61" y="85"/>
                    <a:pt x="62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7"/>
                    <a:pt x="62" y="87"/>
                  </a:cubicBezTo>
                  <a:cubicBezTo>
                    <a:pt x="63" y="88"/>
                    <a:pt x="65" y="91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6" y="93"/>
                    <a:pt x="66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3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3"/>
                    <a:pt x="66" y="93"/>
                    <a:pt x="65" y="92"/>
                  </a:cubicBezTo>
                  <a:cubicBezTo>
                    <a:pt x="65" y="92"/>
                    <a:pt x="65" y="93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6" y="93"/>
                    <a:pt x="65" y="93"/>
                  </a:cubicBezTo>
                  <a:cubicBezTo>
                    <a:pt x="66" y="93"/>
                    <a:pt x="66" y="93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5"/>
                    <a:pt x="66" y="95"/>
                  </a:cubicBezTo>
                  <a:cubicBezTo>
                    <a:pt x="66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7" y="96"/>
                    <a:pt x="66" y="96"/>
                    <a:pt x="66" y="96"/>
                  </a:cubicBezTo>
                  <a:cubicBezTo>
                    <a:pt x="67" y="96"/>
                    <a:pt x="66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4"/>
                    <a:pt x="65" y="94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4" y="93"/>
                    <a:pt x="64" y="92"/>
                    <a:pt x="64" y="92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3" y="92"/>
                    <a:pt x="63" y="91"/>
                  </a:cubicBezTo>
                  <a:cubicBezTo>
                    <a:pt x="63" y="91"/>
                    <a:pt x="63" y="91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3" y="92"/>
                    <a:pt x="64" y="92"/>
                  </a:cubicBezTo>
                  <a:cubicBezTo>
                    <a:pt x="64" y="92"/>
                    <a:pt x="63" y="92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4" y="92"/>
                    <a:pt x="63" y="92"/>
                    <a:pt x="64" y="92"/>
                  </a:cubicBezTo>
                  <a:cubicBezTo>
                    <a:pt x="64" y="93"/>
                    <a:pt x="64" y="92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3" y="92"/>
                    <a:pt x="63" y="92"/>
                  </a:cubicBezTo>
                  <a:cubicBezTo>
                    <a:pt x="63" y="92"/>
                    <a:pt x="63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4"/>
                    <a:pt x="64" y="93"/>
                  </a:cubicBezTo>
                  <a:cubicBezTo>
                    <a:pt x="64" y="94"/>
                    <a:pt x="64" y="94"/>
                    <a:pt x="65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4"/>
                    <a:pt x="64" y="93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4"/>
                    <a:pt x="64" y="94"/>
                  </a:cubicBezTo>
                  <a:cubicBezTo>
                    <a:pt x="64" y="94"/>
                    <a:pt x="63" y="94"/>
                    <a:pt x="63" y="94"/>
                  </a:cubicBezTo>
                  <a:cubicBezTo>
                    <a:pt x="63" y="94"/>
                    <a:pt x="64" y="94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5"/>
                    <a:pt x="64" y="95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1" y="92"/>
                    <a:pt x="62" y="92"/>
                  </a:cubicBezTo>
                  <a:cubicBezTo>
                    <a:pt x="61" y="91"/>
                    <a:pt x="62" y="91"/>
                    <a:pt x="62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0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90"/>
                  </a:cubicBezTo>
                  <a:cubicBezTo>
                    <a:pt x="60" y="89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1" y="91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1" y="94"/>
                    <a:pt x="61" y="94"/>
                    <a:pt x="62" y="95"/>
                  </a:cubicBezTo>
                  <a:cubicBezTo>
                    <a:pt x="61" y="94"/>
                    <a:pt x="61" y="93"/>
                    <a:pt x="60" y="92"/>
                  </a:cubicBezTo>
                  <a:cubicBezTo>
                    <a:pt x="61" y="92"/>
                    <a:pt x="61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5"/>
                  </a:cubicBezTo>
                  <a:cubicBezTo>
                    <a:pt x="62" y="94"/>
                    <a:pt x="62" y="94"/>
                    <a:pt x="62" y="94"/>
                  </a:cubicBezTo>
                  <a:close/>
                  <a:moveTo>
                    <a:pt x="51" y="68"/>
                  </a:move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lose/>
                  <a:moveTo>
                    <a:pt x="56" y="77"/>
                  </a:moveTo>
                  <a:cubicBezTo>
                    <a:pt x="56" y="77"/>
                    <a:pt x="56" y="77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7"/>
                    <a:pt x="56" y="77"/>
                    <a:pt x="56" y="77"/>
                  </a:cubicBezTo>
                  <a:close/>
                  <a:moveTo>
                    <a:pt x="53" y="75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2" y="73"/>
                    <a:pt x="52" y="72"/>
                    <a:pt x="53" y="73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3" y="72"/>
                  </a:cubicBezTo>
                  <a:cubicBezTo>
                    <a:pt x="53" y="72"/>
                    <a:pt x="52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2" y="71"/>
                  </a:cubicBezTo>
                  <a:cubicBezTo>
                    <a:pt x="52" y="72"/>
                    <a:pt x="53" y="72"/>
                    <a:pt x="53" y="72"/>
                  </a:cubicBezTo>
                  <a:close/>
                  <a:moveTo>
                    <a:pt x="50" y="67"/>
                  </a:move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7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lose/>
                  <a:moveTo>
                    <a:pt x="52" y="71"/>
                  </a:moveTo>
                  <a:cubicBezTo>
                    <a:pt x="52" y="71"/>
                    <a:pt x="52" y="71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0"/>
                    <a:pt x="51" y="69"/>
                    <a:pt x="51" y="68"/>
                  </a:cubicBezTo>
                  <a:cubicBezTo>
                    <a:pt x="51" y="69"/>
                    <a:pt x="52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49" y="66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6"/>
                    <a:pt x="49" y="66"/>
                  </a:cubicBezTo>
                  <a:close/>
                  <a:moveTo>
                    <a:pt x="50" y="70"/>
                  </a:moveTo>
                  <a:cubicBezTo>
                    <a:pt x="51" y="70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7"/>
                    <a:pt x="49" y="68"/>
                  </a:cubicBezTo>
                  <a:close/>
                  <a:moveTo>
                    <a:pt x="48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8" y="68"/>
                    <a:pt x="49" y="68"/>
                  </a:cubicBezTo>
                  <a:cubicBezTo>
                    <a:pt x="48" y="68"/>
                    <a:pt x="48" y="67"/>
                    <a:pt x="48" y="67"/>
                  </a:cubicBezTo>
                  <a:cubicBezTo>
                    <a:pt x="48" y="68"/>
                    <a:pt x="48" y="68"/>
                    <a:pt x="49" y="68"/>
                  </a:cubicBezTo>
                  <a:cubicBezTo>
                    <a:pt x="49" y="68"/>
                    <a:pt x="48" y="68"/>
                    <a:pt x="48" y="68"/>
                  </a:cubicBezTo>
                  <a:close/>
                  <a:moveTo>
                    <a:pt x="49" y="69"/>
                  </a:moveTo>
                  <a:cubicBezTo>
                    <a:pt x="49" y="69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49" y="68"/>
                    <a:pt x="49" y="68"/>
                  </a:cubicBezTo>
                  <a:close/>
                  <a:moveTo>
                    <a:pt x="52" y="73"/>
                  </a:moveTo>
                  <a:cubicBezTo>
                    <a:pt x="52" y="74"/>
                    <a:pt x="53" y="74"/>
                    <a:pt x="53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4"/>
                    <a:pt x="53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2" y="72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lose/>
                  <a:moveTo>
                    <a:pt x="56" y="89"/>
                  </a:move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89"/>
                  </a:cubicBezTo>
                  <a:close/>
                  <a:moveTo>
                    <a:pt x="55" y="88"/>
                  </a:move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7"/>
                    <a:pt x="55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lose/>
                  <a:moveTo>
                    <a:pt x="55" y="86"/>
                  </a:moveTo>
                  <a:cubicBezTo>
                    <a:pt x="55" y="85"/>
                    <a:pt x="55" y="85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4" y="85"/>
                  </a:cubicBezTo>
                  <a:cubicBezTo>
                    <a:pt x="55" y="85"/>
                    <a:pt x="54" y="85"/>
                    <a:pt x="54" y="85"/>
                  </a:cubicBezTo>
                  <a:cubicBezTo>
                    <a:pt x="54" y="85"/>
                    <a:pt x="55" y="86"/>
                    <a:pt x="55" y="86"/>
                  </a:cubicBezTo>
                  <a:cubicBezTo>
                    <a:pt x="55" y="86"/>
                    <a:pt x="55" y="85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6"/>
                    <a:pt x="55" y="85"/>
                  </a:cubicBezTo>
                  <a:cubicBezTo>
                    <a:pt x="55" y="85"/>
                    <a:pt x="55" y="85"/>
                    <a:pt x="55" y="86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4" y="83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3"/>
                    <a:pt x="54" y="83"/>
                  </a:cubicBezTo>
                  <a:close/>
                  <a:moveTo>
                    <a:pt x="54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82"/>
                    <a:pt x="53" y="81"/>
                    <a:pt x="53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5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5" y="83"/>
                    <a:pt x="55" y="82"/>
                    <a:pt x="54" y="82"/>
                  </a:cubicBezTo>
                  <a:cubicBezTo>
                    <a:pt x="54" y="82"/>
                    <a:pt x="55" y="83"/>
                    <a:pt x="55" y="82"/>
                  </a:cubicBezTo>
                  <a:close/>
                  <a:moveTo>
                    <a:pt x="54" y="82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2"/>
                    <a:pt x="54" y="8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lose/>
                  <a:moveTo>
                    <a:pt x="60" y="90"/>
                  </a:moveTo>
                  <a:cubicBezTo>
                    <a:pt x="60" y="90"/>
                    <a:pt x="60" y="90"/>
                    <a:pt x="59" y="90"/>
                  </a:cubicBezTo>
                  <a:cubicBezTo>
                    <a:pt x="60" y="90"/>
                    <a:pt x="60" y="90"/>
                    <a:pt x="60" y="90"/>
                  </a:cubicBezTo>
                  <a:close/>
                  <a:moveTo>
                    <a:pt x="59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9"/>
                    <a:pt x="60" y="90"/>
                  </a:cubicBezTo>
                  <a:cubicBezTo>
                    <a:pt x="60" y="90"/>
                    <a:pt x="59" y="89"/>
                    <a:pt x="59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59" y="89"/>
                    <a:pt x="59" y="89"/>
                  </a:cubicBezTo>
                  <a:close/>
                  <a:moveTo>
                    <a:pt x="58" y="87"/>
                  </a:moveTo>
                  <a:cubicBezTo>
                    <a:pt x="58" y="88"/>
                    <a:pt x="59" y="88"/>
                    <a:pt x="58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8" y="88"/>
                    <a:pt x="58" y="87"/>
                    <a:pt x="58" y="87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4"/>
                  </a:cubicBezTo>
                  <a:cubicBezTo>
                    <a:pt x="57" y="84"/>
                    <a:pt x="56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6" y="84"/>
                  </a:cubicBezTo>
                  <a:cubicBezTo>
                    <a:pt x="56" y="84"/>
                    <a:pt x="57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4"/>
                    <a:pt x="57" y="85"/>
                    <a:pt x="57" y="85"/>
                  </a:cubicBezTo>
                  <a:close/>
                  <a:moveTo>
                    <a:pt x="57" y="86"/>
                  </a:moveTo>
                  <a:cubicBezTo>
                    <a:pt x="58" y="86"/>
                    <a:pt x="57" y="85"/>
                    <a:pt x="57" y="85"/>
                  </a:cubicBezTo>
                  <a:cubicBezTo>
                    <a:pt x="57" y="85"/>
                    <a:pt x="57" y="85"/>
                    <a:pt x="57" y="86"/>
                  </a:cubicBezTo>
                  <a:close/>
                  <a:moveTo>
                    <a:pt x="57" y="86"/>
                  </a:move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59" y="88"/>
                  </a:cubicBezTo>
                  <a:cubicBezTo>
                    <a:pt x="59" y="88"/>
                    <a:pt x="60" y="89"/>
                    <a:pt x="59" y="89"/>
                  </a:cubicBezTo>
                  <a:cubicBezTo>
                    <a:pt x="59" y="88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lose/>
                  <a:moveTo>
                    <a:pt x="58" y="87"/>
                  </a:move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59" y="88"/>
                  </a:move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8"/>
                  </a:cubicBezTo>
                  <a:close/>
                  <a:moveTo>
                    <a:pt x="58" y="86"/>
                  </a:moveTo>
                  <a:cubicBezTo>
                    <a:pt x="58" y="86"/>
                    <a:pt x="58" y="86"/>
                    <a:pt x="59" y="86"/>
                  </a:cubicBezTo>
                  <a:cubicBezTo>
                    <a:pt x="58" y="86"/>
                    <a:pt x="58" y="86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4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7" y="85"/>
                    <a:pt x="58" y="84"/>
                    <a:pt x="57" y="84"/>
                  </a:cubicBezTo>
                  <a:cubicBezTo>
                    <a:pt x="57" y="84"/>
                    <a:pt x="57" y="84"/>
                    <a:pt x="57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8" y="84"/>
                    <a:pt x="57" y="84"/>
                  </a:cubicBezTo>
                  <a:close/>
                  <a:moveTo>
                    <a:pt x="56" y="82"/>
                  </a:moveTo>
                  <a:cubicBezTo>
                    <a:pt x="56" y="83"/>
                    <a:pt x="56" y="83"/>
                    <a:pt x="57" y="83"/>
                  </a:cubicBezTo>
                  <a:cubicBezTo>
                    <a:pt x="56" y="83"/>
                    <a:pt x="56" y="82"/>
                    <a:pt x="56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2"/>
                    <a:pt x="56" y="81"/>
                  </a:cubicBezTo>
                  <a:cubicBezTo>
                    <a:pt x="56" y="81"/>
                    <a:pt x="55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lose/>
                  <a:moveTo>
                    <a:pt x="55" y="80"/>
                  </a:move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1"/>
                    <a:pt x="55" y="80"/>
                  </a:cubicBezTo>
                  <a:close/>
                  <a:moveTo>
                    <a:pt x="59" y="87"/>
                  </a:moveTo>
                  <a:cubicBezTo>
                    <a:pt x="59" y="87"/>
                    <a:pt x="59" y="86"/>
                    <a:pt x="59" y="86"/>
                  </a:cubicBezTo>
                  <a:cubicBezTo>
                    <a:pt x="59" y="86"/>
                    <a:pt x="59" y="87"/>
                    <a:pt x="59" y="86"/>
                  </a:cubicBezTo>
                  <a:cubicBezTo>
                    <a:pt x="59" y="87"/>
                    <a:pt x="59" y="87"/>
                    <a:pt x="59" y="88"/>
                  </a:cubicBezTo>
                  <a:cubicBezTo>
                    <a:pt x="59" y="87"/>
                    <a:pt x="59" y="86"/>
                    <a:pt x="59" y="87"/>
                  </a:cubicBezTo>
                  <a:close/>
                  <a:moveTo>
                    <a:pt x="58" y="85"/>
                  </a:move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9" y="85"/>
                    <a:pt x="58" y="85"/>
                    <a:pt x="59" y="86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5"/>
                    <a:pt x="58" y="84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lose/>
                  <a:moveTo>
                    <a:pt x="61" y="89"/>
                  </a:moveTo>
                  <a:cubicBezTo>
                    <a:pt x="61" y="89"/>
                    <a:pt x="61" y="90"/>
                    <a:pt x="61" y="90"/>
                  </a:cubicBezTo>
                  <a:cubicBezTo>
                    <a:pt x="62" y="90"/>
                    <a:pt x="62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1" y="89"/>
                  </a:move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9"/>
                    <a:pt x="61" y="89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2" y="91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2"/>
                    <a:pt x="62" y="91"/>
                  </a:cubicBezTo>
                  <a:close/>
                  <a:moveTo>
                    <a:pt x="61" y="90"/>
                  </a:moveTo>
                  <a:cubicBezTo>
                    <a:pt x="61" y="90"/>
                    <a:pt x="61" y="89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lose/>
                  <a:moveTo>
                    <a:pt x="62" y="91"/>
                  </a:moveTo>
                  <a:cubicBezTo>
                    <a:pt x="62" y="90"/>
                    <a:pt x="61" y="90"/>
                    <a:pt x="61" y="90"/>
                  </a:cubicBezTo>
                  <a:cubicBezTo>
                    <a:pt x="61" y="90"/>
                    <a:pt x="62" y="91"/>
                    <a:pt x="62" y="91"/>
                  </a:cubicBezTo>
                  <a:close/>
                  <a:moveTo>
                    <a:pt x="60" y="89"/>
                  </a:moveTo>
                  <a:cubicBezTo>
                    <a:pt x="60" y="89"/>
                    <a:pt x="60" y="89"/>
                    <a:pt x="60" y="89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9"/>
                  </a:cubicBezTo>
                  <a:close/>
                  <a:moveTo>
                    <a:pt x="62" y="92"/>
                  </a:moveTo>
                  <a:cubicBezTo>
                    <a:pt x="62" y="92"/>
                    <a:pt x="62" y="91"/>
                    <a:pt x="62" y="91"/>
                  </a:cubicBezTo>
                  <a:cubicBezTo>
                    <a:pt x="62" y="92"/>
                    <a:pt x="62" y="91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lose/>
                  <a:moveTo>
                    <a:pt x="63" y="93"/>
                  </a:moveTo>
                  <a:cubicBezTo>
                    <a:pt x="63" y="93"/>
                    <a:pt x="63" y="92"/>
                    <a:pt x="62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2" y="92"/>
                    <a:pt x="62" y="92"/>
                  </a:cubicBezTo>
                  <a:cubicBezTo>
                    <a:pt x="63" y="93"/>
                    <a:pt x="63" y="92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lose/>
                  <a:moveTo>
                    <a:pt x="64" y="93"/>
                  </a:moveTo>
                  <a:cubicBezTo>
                    <a:pt x="64" y="93"/>
                    <a:pt x="64" y="94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lose/>
                  <a:moveTo>
                    <a:pt x="62" y="90"/>
                  </a:move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0"/>
                    <a:pt x="62" y="90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4" y="91"/>
                  </a:moveTo>
                  <a:cubicBezTo>
                    <a:pt x="64" y="91"/>
                    <a:pt x="64" y="92"/>
                    <a:pt x="64" y="92"/>
                  </a:cubicBezTo>
                  <a:cubicBezTo>
                    <a:pt x="64" y="92"/>
                    <a:pt x="64" y="91"/>
                    <a:pt x="64" y="91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4" y="92"/>
                  </a:cubicBezTo>
                  <a:cubicBezTo>
                    <a:pt x="65" y="93"/>
                    <a:pt x="65" y="93"/>
                    <a:pt x="65" y="93"/>
                  </a:cubicBezTo>
                  <a:close/>
                  <a:moveTo>
                    <a:pt x="64" y="92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4" y="92"/>
                    <a:pt x="64" y="92"/>
                    <a:pt x="64" y="92"/>
                  </a:cubicBezTo>
                  <a:close/>
                  <a:moveTo>
                    <a:pt x="63" y="90"/>
                  </a:move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lose/>
                  <a:moveTo>
                    <a:pt x="62" y="89"/>
                  </a:move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89"/>
                    <a:pt x="62" y="89"/>
                    <a:pt x="62" y="88"/>
                  </a:cubicBezTo>
                  <a:cubicBezTo>
                    <a:pt x="62" y="88"/>
                    <a:pt x="62" y="88"/>
                    <a:pt x="61" y="88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1" y="88"/>
                  </a:move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9"/>
                    <a:pt x="61" y="89"/>
                  </a:cubicBezTo>
                  <a:cubicBezTo>
                    <a:pt x="61" y="89"/>
                    <a:pt x="61" y="88"/>
                    <a:pt x="61" y="88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lose/>
                  <a:moveTo>
                    <a:pt x="61" y="88"/>
                  </a:moveTo>
                  <a:cubicBezTo>
                    <a:pt x="60" y="88"/>
                    <a:pt x="60" y="87"/>
                    <a:pt x="60" y="87"/>
                  </a:cubicBezTo>
                  <a:cubicBezTo>
                    <a:pt x="60" y="87"/>
                    <a:pt x="60" y="88"/>
                    <a:pt x="61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7"/>
                    <a:pt x="61" y="87"/>
                    <a:pt x="61" y="87"/>
                  </a:cubicBezTo>
                  <a:close/>
                  <a:moveTo>
                    <a:pt x="59" y="84"/>
                  </a:move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4"/>
                    <a:pt x="59" y="84"/>
                  </a:cubicBezTo>
                  <a:close/>
                  <a:moveTo>
                    <a:pt x="59" y="84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8" y="83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5"/>
                  </a:cubicBezTo>
                  <a:cubicBezTo>
                    <a:pt x="60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4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8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3"/>
                    <a:pt x="57" y="82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4"/>
                    <a:pt x="57" y="84"/>
                    <a:pt x="58" y="84"/>
                  </a:cubicBezTo>
                  <a:cubicBezTo>
                    <a:pt x="58" y="84"/>
                    <a:pt x="57" y="83"/>
                    <a:pt x="57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5"/>
                    <a:pt x="59" y="85"/>
                    <a:pt x="59" y="84"/>
                  </a:cubicBezTo>
                  <a:cubicBezTo>
                    <a:pt x="58" y="84"/>
                    <a:pt x="58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8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2"/>
                    <a:pt x="57" y="83"/>
                    <a:pt x="58" y="83"/>
                  </a:cubicBezTo>
                  <a:close/>
                  <a:moveTo>
                    <a:pt x="55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4" y="79"/>
                    <a:pt x="55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5" y="81"/>
                  </a:moveTo>
                  <a:cubicBezTo>
                    <a:pt x="56" y="81"/>
                    <a:pt x="56" y="81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0"/>
                  </a:moveTo>
                  <a:cubicBezTo>
                    <a:pt x="55" y="79"/>
                    <a:pt x="55" y="79"/>
                    <a:pt x="55" y="78"/>
                  </a:cubicBezTo>
                  <a:cubicBezTo>
                    <a:pt x="55" y="78"/>
                    <a:pt x="54" y="78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lose/>
                  <a:moveTo>
                    <a:pt x="54" y="78"/>
                  </a:move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lose/>
                  <a:moveTo>
                    <a:pt x="52" y="74"/>
                  </a:move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lose/>
                  <a:moveTo>
                    <a:pt x="52" y="74"/>
                  </a:moveTo>
                  <a:cubicBezTo>
                    <a:pt x="52" y="74"/>
                    <a:pt x="51" y="73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2" y="73"/>
                    <a:pt x="51" y="74"/>
                  </a:cubicBezTo>
                  <a:cubicBezTo>
                    <a:pt x="52" y="74"/>
                    <a:pt x="51" y="74"/>
                    <a:pt x="52" y="74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lose/>
                  <a:moveTo>
                    <a:pt x="51" y="74"/>
                  </a:moveTo>
                  <a:cubicBezTo>
                    <a:pt x="51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4"/>
                  </a:cubicBezTo>
                  <a:close/>
                  <a:moveTo>
                    <a:pt x="50" y="71"/>
                  </a:moveTo>
                  <a:cubicBezTo>
                    <a:pt x="50" y="71"/>
                    <a:pt x="50" y="71"/>
                    <a:pt x="50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lose/>
                  <a:moveTo>
                    <a:pt x="50" y="71"/>
                  </a:moveTo>
                  <a:cubicBezTo>
                    <a:pt x="49" y="71"/>
                    <a:pt x="50" y="71"/>
                    <a:pt x="50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1"/>
                  </a:cubicBezTo>
                  <a:cubicBezTo>
                    <a:pt x="49" y="70"/>
                    <a:pt x="49" y="71"/>
                    <a:pt x="50" y="71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2"/>
                    <a:pt x="50" y="72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54" y="78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8"/>
                    <a:pt x="54" y="79"/>
                    <a:pt x="54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7"/>
                    <a:pt x="53" y="77"/>
                  </a:cubicBezTo>
                  <a:cubicBezTo>
                    <a:pt x="54" y="77"/>
                    <a:pt x="54" y="78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3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3" y="76"/>
                    <a:pt x="52" y="77"/>
                    <a:pt x="53" y="77"/>
                  </a:cubicBezTo>
                  <a:cubicBezTo>
                    <a:pt x="53" y="77"/>
                    <a:pt x="53" y="78"/>
                    <a:pt x="54" y="78"/>
                  </a:cubicBezTo>
                  <a:close/>
                  <a:moveTo>
                    <a:pt x="54" y="80"/>
                  </a:moveTo>
                  <a:cubicBezTo>
                    <a:pt x="54" y="80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ubicBezTo>
                    <a:pt x="54" y="80"/>
                    <a:pt x="54" y="79"/>
                    <a:pt x="54" y="80"/>
                  </a:cubicBezTo>
                  <a:close/>
                  <a:moveTo>
                    <a:pt x="55" y="81"/>
                  </a:moveTo>
                  <a:cubicBezTo>
                    <a:pt x="55" y="81"/>
                    <a:pt x="55" y="81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4"/>
                    <a:pt x="57" y="83"/>
                  </a:cubicBezTo>
                  <a:cubicBezTo>
                    <a:pt x="57" y="83"/>
                    <a:pt x="56" y="83"/>
                    <a:pt x="56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2"/>
                    <a:pt x="55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4"/>
                    <a:pt x="57" y="84"/>
                    <a:pt x="56" y="83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lose/>
                  <a:moveTo>
                    <a:pt x="54" y="80"/>
                  </a:moveTo>
                  <a:cubicBezTo>
                    <a:pt x="54" y="79"/>
                    <a:pt x="54" y="80"/>
                    <a:pt x="54" y="80"/>
                  </a:cubicBezTo>
                  <a:cubicBezTo>
                    <a:pt x="54" y="80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6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5" y="81"/>
                  </a:moveTo>
                  <a:cubicBezTo>
                    <a:pt x="54" y="81"/>
                    <a:pt x="55" y="81"/>
                    <a:pt x="54" y="81"/>
                  </a:cubicBezTo>
                  <a:cubicBezTo>
                    <a:pt x="54" y="81"/>
                    <a:pt x="54" y="81"/>
                    <a:pt x="55" y="81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7" y="86"/>
                  </a:moveTo>
                  <a:cubicBezTo>
                    <a:pt x="57" y="86"/>
                    <a:pt x="57" y="86"/>
                    <a:pt x="57" y="86"/>
                  </a:cubicBezTo>
                  <a:cubicBezTo>
                    <a:pt x="58" y="86"/>
                    <a:pt x="57" y="85"/>
                    <a:pt x="57" y="86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8"/>
                    <a:pt x="58" y="87"/>
                    <a:pt x="58" y="88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lose/>
                  <a:moveTo>
                    <a:pt x="5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8" y="88"/>
                  </a:cubicBezTo>
                  <a:cubicBezTo>
                    <a:pt x="59" y="89"/>
                    <a:pt x="59" y="89"/>
                    <a:pt x="58" y="89"/>
                  </a:cubicBezTo>
                  <a:close/>
                  <a:moveTo>
                    <a:pt x="58" y="88"/>
                  </a:moveTo>
                  <a:cubicBezTo>
                    <a:pt x="58" y="87"/>
                    <a:pt x="57" y="87"/>
                    <a:pt x="57" y="87"/>
                  </a:cubicBezTo>
                  <a:cubicBezTo>
                    <a:pt x="57" y="87"/>
                    <a:pt x="58" y="88"/>
                    <a:pt x="58" y="88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1"/>
                    <a:pt x="60" y="91"/>
                  </a:cubicBezTo>
                  <a:cubicBezTo>
                    <a:pt x="60" y="91"/>
                    <a:pt x="60" y="92"/>
                    <a:pt x="61" y="91"/>
                  </a:cubicBezTo>
                  <a:cubicBezTo>
                    <a:pt x="60" y="91"/>
                    <a:pt x="60" y="91"/>
                    <a:pt x="60" y="90"/>
                  </a:cubicBezTo>
                  <a:cubicBezTo>
                    <a:pt x="60" y="90"/>
                    <a:pt x="60" y="91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62" y="95"/>
                  </a:move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lose/>
                  <a:moveTo>
                    <a:pt x="53" y="81"/>
                  </a:moveTo>
                  <a:cubicBezTo>
                    <a:pt x="52" y="81"/>
                    <a:pt x="53" y="81"/>
                    <a:pt x="52" y="80"/>
                  </a:cubicBezTo>
                  <a:cubicBezTo>
                    <a:pt x="53" y="80"/>
                    <a:pt x="53" y="81"/>
                    <a:pt x="53" y="81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7"/>
                    <a:pt x="42" y="67"/>
                  </a:cubicBezTo>
                  <a:cubicBezTo>
                    <a:pt x="42" y="67"/>
                    <a:pt x="42" y="67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38" y="69"/>
                  </a:moveTo>
                  <a:cubicBezTo>
                    <a:pt x="39" y="69"/>
                    <a:pt x="38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4" y="66"/>
                  </a:move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lose/>
                  <a:moveTo>
                    <a:pt x="43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4" y="68"/>
                  </a:cubicBezTo>
                  <a:cubicBezTo>
                    <a:pt x="44" y="68"/>
                    <a:pt x="44" y="68"/>
                    <a:pt x="43" y="68"/>
                  </a:cubicBezTo>
                  <a:cubicBezTo>
                    <a:pt x="43" y="68"/>
                    <a:pt x="43" y="68"/>
                    <a:pt x="43" y="67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lose/>
                  <a:moveTo>
                    <a:pt x="38" y="69"/>
                  </a:move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7" y="69"/>
                  </a:move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70"/>
                    <a:pt x="47" y="70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0"/>
                    <a:pt x="47" y="70"/>
                  </a:cubicBezTo>
                  <a:cubicBezTo>
                    <a:pt x="47" y="70"/>
                    <a:pt x="47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8"/>
                    <a:pt x="46" y="68"/>
                  </a:cubicBezTo>
                  <a:cubicBezTo>
                    <a:pt x="46" y="68"/>
                    <a:pt x="45" y="68"/>
                    <a:pt x="46" y="68"/>
                  </a:cubicBezTo>
                  <a:cubicBezTo>
                    <a:pt x="45" y="67"/>
                    <a:pt x="45" y="67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8"/>
                    <a:pt x="46" y="68"/>
                  </a:cubicBezTo>
                  <a:cubicBezTo>
                    <a:pt x="46" y="68"/>
                    <a:pt x="46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70"/>
                    <a:pt x="48" y="70"/>
                  </a:cubicBezTo>
                  <a:cubicBezTo>
                    <a:pt x="47" y="70"/>
                    <a:pt x="47" y="69"/>
                    <a:pt x="47" y="70"/>
                  </a:cubicBezTo>
                  <a:cubicBezTo>
                    <a:pt x="47" y="70"/>
                    <a:pt x="47" y="69"/>
                    <a:pt x="47" y="69"/>
                  </a:cubicBezTo>
                  <a:close/>
                  <a:moveTo>
                    <a:pt x="46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7"/>
                    <a:pt x="46" y="68"/>
                  </a:cubicBezTo>
                  <a:close/>
                  <a:moveTo>
                    <a:pt x="41" y="69"/>
                  </a:moveTo>
                  <a:cubicBezTo>
                    <a:pt x="41" y="68"/>
                    <a:pt x="42" y="69"/>
                    <a:pt x="41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1" y="69"/>
                  </a:cubicBezTo>
                  <a:close/>
                  <a:moveTo>
                    <a:pt x="39" y="70"/>
                  </a:moveTo>
                  <a:cubicBezTo>
                    <a:pt x="40" y="70"/>
                    <a:pt x="40" y="70"/>
                    <a:pt x="39" y="70"/>
                  </a:cubicBezTo>
                  <a:cubicBezTo>
                    <a:pt x="39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1"/>
                    <a:pt x="40" y="71"/>
                    <a:pt x="41" y="71"/>
                  </a:cubicBezTo>
                  <a:cubicBezTo>
                    <a:pt x="41" y="71"/>
                    <a:pt x="40" y="71"/>
                    <a:pt x="40" y="71"/>
                  </a:cubicBezTo>
                  <a:cubicBezTo>
                    <a:pt x="41" y="71"/>
                    <a:pt x="41" y="71"/>
                    <a:pt x="40" y="71"/>
                  </a:cubicBezTo>
                  <a:cubicBezTo>
                    <a:pt x="40" y="71"/>
                    <a:pt x="40" y="70"/>
                    <a:pt x="39" y="70"/>
                  </a:cubicBezTo>
                  <a:close/>
                  <a:moveTo>
                    <a:pt x="40" y="69"/>
                  </a:move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70"/>
                    <a:pt x="41" y="70"/>
                  </a:cubicBezTo>
                  <a:cubicBezTo>
                    <a:pt x="41" y="70"/>
                    <a:pt x="41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1" y="71"/>
                  </a:cubicBezTo>
                  <a:cubicBezTo>
                    <a:pt x="42" y="71"/>
                    <a:pt x="41" y="70"/>
                    <a:pt x="41" y="70"/>
                  </a:cubicBezTo>
                  <a:cubicBezTo>
                    <a:pt x="41" y="70"/>
                    <a:pt x="41" y="70"/>
                    <a:pt x="41" y="71"/>
                  </a:cubicBezTo>
                  <a:cubicBezTo>
                    <a:pt x="41" y="71"/>
                    <a:pt x="41" y="71"/>
                    <a:pt x="41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2"/>
                    <a:pt x="42" y="72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1" y="71"/>
                    <a:pt x="41" y="71"/>
                  </a:cubicBezTo>
                  <a:cubicBezTo>
                    <a:pt x="41" y="71"/>
                    <a:pt x="41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70"/>
                    <a:pt x="42" y="69"/>
                  </a:cubicBezTo>
                  <a:close/>
                  <a:moveTo>
                    <a:pt x="43" y="70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9"/>
                    <a:pt x="44" y="69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3" y="70"/>
                    <a:pt x="43" y="70"/>
                    <a:pt x="43" y="70"/>
                  </a:cubicBezTo>
                  <a:close/>
                  <a:moveTo>
                    <a:pt x="43" y="71"/>
                  </a:move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8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5" y="72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4" y="71"/>
                  </a:cubicBezTo>
                  <a:cubicBezTo>
                    <a:pt x="44" y="71"/>
                    <a:pt x="44" y="72"/>
                    <a:pt x="44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0"/>
                    <a:pt x="44" y="71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5" y="71"/>
                    <a:pt x="45" y="71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1"/>
                    <a:pt x="43" y="71"/>
                  </a:cubicBezTo>
                  <a:cubicBezTo>
                    <a:pt x="43" y="71"/>
                    <a:pt x="44" y="71"/>
                    <a:pt x="44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3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2" y="75"/>
                    <a:pt x="42" y="75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4"/>
                    <a:pt x="42" y="75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3" y="74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4" y="76"/>
                  </a:cubicBezTo>
                  <a:cubicBezTo>
                    <a:pt x="43" y="76"/>
                    <a:pt x="44" y="76"/>
                    <a:pt x="44" y="76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3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2"/>
                    <a:pt x="45" y="72"/>
                  </a:cubicBezTo>
                  <a:close/>
                  <a:moveTo>
                    <a:pt x="45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3"/>
                    <a:pt x="45" y="73"/>
                    <a:pt x="45" y="73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5"/>
                    <a:pt x="46" y="75"/>
                  </a:cubicBezTo>
                  <a:cubicBezTo>
                    <a:pt x="46" y="75"/>
                    <a:pt x="47" y="75"/>
                    <a:pt x="47" y="75"/>
                  </a:cubicBezTo>
                  <a:cubicBezTo>
                    <a:pt x="47" y="76"/>
                    <a:pt x="47" y="75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4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3" y="73"/>
                    <a:pt x="43" y="74"/>
                    <a:pt x="43" y="74"/>
                  </a:cubicBezTo>
                  <a:cubicBezTo>
                    <a:pt x="43" y="74"/>
                    <a:pt x="43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6"/>
                  </a:cubicBezTo>
                  <a:close/>
                  <a:moveTo>
                    <a:pt x="44" y="75"/>
                  </a:move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lose/>
                  <a:moveTo>
                    <a:pt x="48" y="72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8" y="71"/>
                    <a:pt x="48" y="7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2"/>
                    <a:pt x="46" y="72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7" y="73"/>
                    <a:pt x="47" y="74"/>
                    <a:pt x="48" y="75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7" y="72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49" y="71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lose/>
                  <a:moveTo>
                    <a:pt x="45" y="75"/>
                  </a:moveTo>
                  <a:cubicBezTo>
                    <a:pt x="44" y="75"/>
                    <a:pt x="45" y="75"/>
                    <a:pt x="44" y="75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5"/>
                    <a:pt x="45" y="75"/>
                  </a:cubicBezTo>
                  <a:close/>
                  <a:moveTo>
                    <a:pt x="49" y="75"/>
                  </a:moveTo>
                  <a:cubicBezTo>
                    <a:pt x="49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8" y="73"/>
                  </a:cubicBezTo>
                  <a:cubicBezTo>
                    <a:pt x="48" y="73"/>
                    <a:pt x="48" y="73"/>
                    <a:pt x="48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9" y="73"/>
                    <a:pt x="49" y="74"/>
                    <a:pt x="49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50" y="75"/>
                    <a:pt x="49" y="75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5"/>
                    <a:pt x="44" y="75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5" y="76"/>
                    <a:pt x="44" y="76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5" y="77"/>
                    <a:pt x="45" y="77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9"/>
                    <a:pt x="46" y="79"/>
                  </a:cubicBezTo>
                  <a:cubicBezTo>
                    <a:pt x="46" y="79"/>
                    <a:pt x="46" y="78"/>
                    <a:pt x="46" y="78"/>
                  </a:cubicBezTo>
                  <a:cubicBezTo>
                    <a:pt x="46" y="77"/>
                    <a:pt x="45" y="77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5"/>
                  </a:cubicBezTo>
                  <a:cubicBezTo>
                    <a:pt x="44" y="75"/>
                    <a:pt x="44" y="76"/>
                    <a:pt x="44" y="76"/>
                  </a:cubicBezTo>
                  <a:cubicBezTo>
                    <a:pt x="44" y="75"/>
                    <a:pt x="44" y="76"/>
                    <a:pt x="44" y="75"/>
                  </a:cubicBezTo>
                  <a:cubicBezTo>
                    <a:pt x="45" y="76"/>
                    <a:pt x="45" y="75"/>
                    <a:pt x="45" y="76"/>
                  </a:cubicBezTo>
                  <a:close/>
                  <a:moveTo>
                    <a:pt x="49" y="75"/>
                  </a:move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6"/>
                  </a:cubicBezTo>
                  <a:cubicBezTo>
                    <a:pt x="49" y="75"/>
                    <a:pt x="48" y="74"/>
                    <a:pt x="48" y="74"/>
                  </a:cubicBezTo>
                  <a:cubicBezTo>
                    <a:pt x="48" y="74"/>
                    <a:pt x="49" y="74"/>
                    <a:pt x="49" y="75"/>
                  </a:cubicBezTo>
                  <a:close/>
                  <a:moveTo>
                    <a:pt x="45" y="77"/>
                  </a:moveTo>
                  <a:cubicBezTo>
                    <a:pt x="45" y="77"/>
                    <a:pt x="44" y="77"/>
                    <a:pt x="44" y="77"/>
                  </a:cubicBezTo>
                  <a:cubicBezTo>
                    <a:pt x="44" y="77"/>
                    <a:pt x="45" y="77"/>
                    <a:pt x="45" y="77"/>
                  </a:cubicBezTo>
                  <a:close/>
                  <a:moveTo>
                    <a:pt x="51" y="74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51" y="75"/>
                    <a:pt x="51" y="74"/>
                    <a:pt x="51" y="74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8"/>
                  </a:cubicBezTo>
                  <a:cubicBezTo>
                    <a:pt x="48" y="77"/>
                    <a:pt x="49" y="78"/>
                    <a:pt x="48" y="79"/>
                  </a:cubicBezTo>
                  <a:cubicBezTo>
                    <a:pt x="48" y="78"/>
                    <a:pt x="48" y="78"/>
                    <a:pt x="48" y="77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6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3" y="74"/>
                  </a:move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79"/>
                  </a:cubicBezTo>
                  <a:cubicBezTo>
                    <a:pt x="45" y="79"/>
                    <a:pt x="45" y="80"/>
                    <a:pt x="45" y="80"/>
                  </a:cubicBezTo>
                  <a:cubicBezTo>
                    <a:pt x="46" y="80"/>
                    <a:pt x="45" y="80"/>
                    <a:pt x="45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55" y="75"/>
                  </a:moveTo>
                  <a:cubicBezTo>
                    <a:pt x="55" y="76"/>
                    <a:pt x="55" y="76"/>
                    <a:pt x="55" y="77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5"/>
                    <a:pt x="55" y="75"/>
                  </a:cubicBezTo>
                  <a:close/>
                  <a:moveTo>
                    <a:pt x="54" y="76"/>
                  </a:moveTo>
                  <a:cubicBezTo>
                    <a:pt x="54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7"/>
                  </a:cubicBezTo>
                  <a:cubicBezTo>
                    <a:pt x="55" y="77"/>
                    <a:pt x="55" y="78"/>
                    <a:pt x="55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5" y="76"/>
                    <a:pt x="55" y="76"/>
                    <a:pt x="54" y="76"/>
                  </a:cubicBezTo>
                  <a:close/>
                  <a:moveTo>
                    <a:pt x="49" y="82"/>
                  </a:move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2"/>
                    <a:pt x="49" y="82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9" y="84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8" y="84"/>
                    <a:pt x="48" y="84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8" y="83"/>
                    <a:pt x="48" y="83"/>
                    <a:pt x="47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4"/>
                    <a:pt x="48" y="84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9" y="84"/>
                  </a:cubicBezTo>
                  <a:close/>
                  <a:moveTo>
                    <a:pt x="48" y="82"/>
                  </a:moveTo>
                  <a:cubicBezTo>
                    <a:pt x="48" y="82"/>
                    <a:pt x="49" y="82"/>
                    <a:pt x="49" y="83"/>
                  </a:cubicBezTo>
                  <a:cubicBezTo>
                    <a:pt x="49" y="82"/>
                    <a:pt x="49" y="82"/>
                    <a:pt x="48" y="82"/>
                  </a:cubicBezTo>
                  <a:cubicBezTo>
                    <a:pt x="48" y="82"/>
                    <a:pt x="49" y="82"/>
                    <a:pt x="48" y="82"/>
                  </a:cubicBezTo>
                  <a:close/>
                  <a:moveTo>
                    <a:pt x="51" y="85"/>
                  </a:moveTo>
                  <a:cubicBezTo>
                    <a:pt x="50" y="84"/>
                    <a:pt x="50" y="83"/>
                    <a:pt x="49" y="8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2"/>
                    <a:pt x="50" y="82"/>
                    <a:pt x="49" y="82"/>
                  </a:cubicBezTo>
                  <a:cubicBezTo>
                    <a:pt x="49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3"/>
                  </a:cubicBezTo>
                  <a:cubicBezTo>
                    <a:pt x="50" y="83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1" y="84"/>
                  </a:cubicBezTo>
                  <a:cubicBezTo>
                    <a:pt x="52" y="84"/>
                    <a:pt x="51" y="84"/>
                    <a:pt x="51" y="84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2" y="85"/>
                    <a:pt x="53" y="86"/>
                  </a:cubicBezTo>
                  <a:cubicBezTo>
                    <a:pt x="52" y="86"/>
                    <a:pt x="52" y="85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4"/>
                    <a:pt x="51" y="84"/>
                  </a:cubicBezTo>
                  <a:cubicBezTo>
                    <a:pt x="51" y="84"/>
                    <a:pt x="51" y="84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4"/>
                  </a:cubicBezTo>
                  <a:cubicBezTo>
                    <a:pt x="51" y="84"/>
                    <a:pt x="51" y="84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8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51" y="84"/>
                  </a:moveTo>
                  <a:cubicBezTo>
                    <a:pt x="52" y="84"/>
                    <a:pt x="52" y="83"/>
                    <a:pt x="52" y="83"/>
                  </a:cubicBezTo>
                  <a:cubicBezTo>
                    <a:pt x="52" y="83"/>
                    <a:pt x="52" y="84"/>
                    <a:pt x="52" y="83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1" y="84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1"/>
                    <a:pt x="54" y="91"/>
                  </a:cubicBezTo>
                  <a:cubicBezTo>
                    <a:pt x="54" y="91"/>
                    <a:pt x="53" y="91"/>
                    <a:pt x="53" y="91"/>
                  </a:cubicBezTo>
                  <a:cubicBezTo>
                    <a:pt x="53" y="91"/>
                    <a:pt x="53" y="90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3" y="90"/>
                    <a:pt x="53" y="90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3" y="89"/>
                    <a:pt x="53" y="89"/>
                    <a:pt x="53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lose/>
                  <a:moveTo>
                    <a:pt x="61" y="86"/>
                  </a:moveTo>
                  <a:cubicBezTo>
                    <a:pt x="61" y="86"/>
                    <a:pt x="61" y="85"/>
                    <a:pt x="61" y="85"/>
                  </a:cubicBezTo>
                  <a:cubicBezTo>
                    <a:pt x="61" y="85"/>
                    <a:pt x="61" y="86"/>
                    <a:pt x="61" y="86"/>
                  </a:cubicBezTo>
                  <a:close/>
                  <a:moveTo>
                    <a:pt x="58" y="90"/>
                  </a:move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89"/>
                    <a:pt x="57" y="89"/>
                  </a:cubicBezTo>
                  <a:cubicBezTo>
                    <a:pt x="57" y="89"/>
                    <a:pt x="57" y="89"/>
                    <a:pt x="58" y="89"/>
                  </a:cubicBezTo>
                  <a:cubicBezTo>
                    <a:pt x="57" y="89"/>
                    <a:pt x="58" y="90"/>
                    <a:pt x="58" y="90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1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9" y="92"/>
                    <a:pt x="59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58" y="91"/>
                    <a:pt x="58" y="91"/>
                    <a:pt x="58" y="90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8"/>
                    <a:pt x="57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2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2" y="87"/>
                    <a:pt x="62" y="87"/>
                    <a:pt x="61" y="87"/>
                  </a:cubicBezTo>
                  <a:cubicBezTo>
                    <a:pt x="61" y="86"/>
                    <a:pt x="62" y="87"/>
                    <a:pt x="61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7"/>
                    <a:pt x="62" y="88"/>
                    <a:pt x="62" y="88"/>
                  </a:cubicBezTo>
                  <a:cubicBezTo>
                    <a:pt x="62" y="88"/>
                    <a:pt x="62" y="87"/>
                    <a:pt x="61" y="87"/>
                  </a:cubicBezTo>
                  <a:close/>
                  <a:moveTo>
                    <a:pt x="54" y="92"/>
                  </a:moveTo>
                  <a:cubicBezTo>
                    <a:pt x="54" y="92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4" y="93"/>
                  </a:cubicBezTo>
                  <a:cubicBezTo>
                    <a:pt x="54" y="93"/>
                    <a:pt x="55" y="93"/>
                    <a:pt x="55" y="93"/>
                  </a:cubicBezTo>
                  <a:cubicBezTo>
                    <a:pt x="55" y="93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lose/>
                  <a:moveTo>
                    <a:pt x="63" y="87"/>
                  </a:move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65" y="94"/>
                  </a:move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5" y="94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7" y="98"/>
                    <a:pt x="67" y="98"/>
                  </a:cubicBezTo>
                  <a:cubicBezTo>
                    <a:pt x="66" y="98"/>
                    <a:pt x="66" y="98"/>
                    <a:pt x="66" y="98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lose/>
                  <a:moveTo>
                    <a:pt x="65" y="98"/>
                  </a:moveTo>
                  <a:cubicBezTo>
                    <a:pt x="65" y="98"/>
                    <a:pt x="65" y="98"/>
                    <a:pt x="64" y="97"/>
                  </a:cubicBezTo>
                  <a:cubicBezTo>
                    <a:pt x="65" y="97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8"/>
                  </a:cubicBezTo>
                  <a:close/>
                  <a:moveTo>
                    <a:pt x="66" y="99"/>
                  </a:move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100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6" y="100"/>
                    <a:pt x="66" y="99"/>
                    <a:pt x="66" y="100"/>
                  </a:cubicBezTo>
                  <a:cubicBezTo>
                    <a:pt x="66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100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5" y="98"/>
                    <a:pt x="66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9"/>
                    <a:pt x="66" y="99"/>
                  </a:cubicBezTo>
                  <a:cubicBezTo>
                    <a:pt x="66" y="99"/>
                    <a:pt x="65" y="99"/>
                    <a:pt x="66" y="99"/>
                  </a:cubicBezTo>
                  <a:cubicBezTo>
                    <a:pt x="65" y="99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4" y="97"/>
                    <a:pt x="65" y="97"/>
                    <a:pt x="65" y="97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5"/>
                    <a:pt x="64" y="95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4" y="95"/>
                    <a:pt x="64" y="96"/>
                  </a:cubicBezTo>
                  <a:cubicBezTo>
                    <a:pt x="64" y="96"/>
                    <a:pt x="64" y="96"/>
                    <a:pt x="64" y="95"/>
                  </a:cubicBezTo>
                  <a:cubicBezTo>
                    <a:pt x="64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7"/>
                    <a:pt x="65" y="96"/>
                    <a:pt x="65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5" y="97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lose/>
                  <a:moveTo>
                    <a:pt x="65" y="97"/>
                  </a:move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4"/>
                    <a:pt x="65" y="94"/>
                  </a:cubicBezTo>
                  <a:close/>
                  <a:moveTo>
                    <a:pt x="64" y="96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8"/>
                    <a:pt x="64" y="97"/>
                    <a:pt x="64" y="97"/>
                  </a:cubicBezTo>
                  <a:cubicBezTo>
                    <a:pt x="64" y="97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lose/>
                  <a:moveTo>
                    <a:pt x="62" y="99"/>
                  </a:moveTo>
                  <a:cubicBezTo>
                    <a:pt x="62" y="99"/>
                    <a:pt x="62" y="99"/>
                    <a:pt x="62" y="99"/>
                  </a:cubicBezTo>
                  <a:cubicBezTo>
                    <a:pt x="62" y="99"/>
                    <a:pt x="62" y="99"/>
                    <a:pt x="62" y="98"/>
                  </a:cubicBezTo>
                  <a:cubicBezTo>
                    <a:pt x="62" y="98"/>
                    <a:pt x="62" y="99"/>
                    <a:pt x="62" y="99"/>
                  </a:cubicBezTo>
                  <a:close/>
                  <a:moveTo>
                    <a:pt x="67" y="95"/>
                  </a:move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lose/>
                  <a:moveTo>
                    <a:pt x="67" y="96"/>
                  </a:move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6"/>
                  </a:cubicBez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9" y="99"/>
                  </a:cubicBezTo>
                  <a:cubicBezTo>
                    <a:pt x="68" y="99"/>
                    <a:pt x="68" y="98"/>
                    <a:pt x="68" y="98"/>
                  </a:cubicBezTo>
                  <a:cubicBezTo>
                    <a:pt x="68" y="98"/>
                    <a:pt x="67" y="97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8"/>
                    <a:pt x="68" y="98"/>
                    <a:pt x="69" y="98"/>
                  </a:cubicBezTo>
                  <a:cubicBezTo>
                    <a:pt x="68" y="98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100"/>
                    <a:pt x="69" y="99"/>
                  </a:cubicBezTo>
                  <a:cubicBezTo>
                    <a:pt x="69" y="100"/>
                    <a:pt x="70" y="100"/>
                    <a:pt x="70" y="100"/>
                  </a:cubicBezTo>
                  <a:cubicBezTo>
                    <a:pt x="70" y="100"/>
                    <a:pt x="70" y="101"/>
                    <a:pt x="70" y="101"/>
                  </a:cubicBezTo>
                  <a:cubicBezTo>
                    <a:pt x="69" y="100"/>
                    <a:pt x="69" y="99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8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8" y="100"/>
                    <a:pt x="68" y="101"/>
                  </a:cubicBezTo>
                  <a:cubicBezTo>
                    <a:pt x="68" y="101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99"/>
                    <a:pt x="67" y="99"/>
                    <a:pt x="68" y="99"/>
                  </a:cubicBezTo>
                  <a:cubicBezTo>
                    <a:pt x="68" y="100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lose/>
                  <a:moveTo>
                    <a:pt x="68" y="101"/>
                  </a:moveTo>
                  <a:cubicBezTo>
                    <a:pt x="68" y="101"/>
                    <a:pt x="68" y="102"/>
                    <a:pt x="68" y="102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67" y="100"/>
                    <a:pt x="68" y="101"/>
                    <a:pt x="68" y="101"/>
                  </a:cubicBezTo>
                  <a:close/>
                  <a:moveTo>
                    <a:pt x="71" y="102"/>
                  </a:moveTo>
                  <a:cubicBezTo>
                    <a:pt x="70" y="102"/>
                    <a:pt x="70" y="102"/>
                    <a:pt x="70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1" y="102"/>
                  </a:moveTo>
                  <a:cubicBezTo>
                    <a:pt x="71" y="102"/>
                    <a:pt x="71" y="101"/>
                    <a:pt x="71" y="101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0" y="106"/>
                  </a:move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lose/>
                  <a:moveTo>
                    <a:pt x="71" y="106"/>
                  </a:moveTo>
                  <a:cubicBezTo>
                    <a:pt x="71" y="106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1" y="107"/>
                  </a:cubicBezTo>
                  <a:cubicBezTo>
                    <a:pt x="71" y="107"/>
                    <a:pt x="70" y="106"/>
                    <a:pt x="71" y="106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6"/>
                    <a:pt x="71" y="106"/>
                  </a:cubicBezTo>
                  <a:close/>
                  <a:moveTo>
                    <a:pt x="75" y="109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1"/>
                    <a:pt x="76" y="111"/>
                    <a:pt x="75" y="110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0"/>
                    <a:pt x="75" y="110"/>
                  </a:cubicBezTo>
                  <a:cubicBezTo>
                    <a:pt x="75" y="109"/>
                    <a:pt x="74" y="110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5" y="109"/>
                    <a:pt x="75" y="109"/>
                  </a:cubicBezTo>
                  <a:close/>
                  <a:moveTo>
                    <a:pt x="75" y="110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0"/>
                    <a:pt x="75" y="110"/>
                    <a:pt x="75" y="110"/>
                  </a:cubicBezTo>
                  <a:close/>
                  <a:moveTo>
                    <a:pt x="76" y="110"/>
                  </a:moveTo>
                  <a:cubicBezTo>
                    <a:pt x="75" y="110"/>
                    <a:pt x="75" y="109"/>
                    <a:pt x="75" y="109"/>
                  </a:cubicBezTo>
                  <a:cubicBezTo>
                    <a:pt x="76" y="109"/>
                    <a:pt x="75" y="109"/>
                    <a:pt x="75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6" y="110"/>
                  </a:cubicBezTo>
                  <a:cubicBezTo>
                    <a:pt x="76" y="110"/>
                    <a:pt x="76" y="110"/>
                    <a:pt x="76" y="110"/>
                  </a:cubicBezTo>
                  <a:close/>
                  <a:moveTo>
                    <a:pt x="76" y="111"/>
                  </a:moveTo>
                  <a:cubicBezTo>
                    <a:pt x="76" y="111"/>
                    <a:pt x="76" y="110"/>
                    <a:pt x="76" y="110"/>
                  </a:cubicBezTo>
                  <a:cubicBezTo>
                    <a:pt x="76" y="110"/>
                    <a:pt x="76" y="111"/>
                    <a:pt x="77" y="111"/>
                  </a:cubicBezTo>
                  <a:cubicBezTo>
                    <a:pt x="77" y="111"/>
                    <a:pt x="76" y="111"/>
                    <a:pt x="77" y="111"/>
                  </a:cubicBezTo>
                  <a:cubicBezTo>
                    <a:pt x="76" y="111"/>
                    <a:pt x="77" y="111"/>
                    <a:pt x="76" y="111"/>
                  </a:cubicBezTo>
                  <a:close/>
                  <a:moveTo>
                    <a:pt x="78" y="115"/>
                  </a:moveTo>
                  <a:cubicBezTo>
                    <a:pt x="78" y="115"/>
                    <a:pt x="79" y="115"/>
                    <a:pt x="79" y="116"/>
                  </a:cubicBezTo>
                  <a:cubicBezTo>
                    <a:pt x="79" y="116"/>
                    <a:pt x="79" y="115"/>
                    <a:pt x="78" y="115"/>
                  </a:cubicBezTo>
                  <a:cubicBezTo>
                    <a:pt x="79" y="116"/>
                    <a:pt x="79" y="117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20"/>
                  </a:cubicBezTo>
                  <a:cubicBezTo>
                    <a:pt x="81" y="119"/>
                    <a:pt x="81" y="119"/>
                    <a:pt x="80" y="119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8"/>
                    <a:pt x="80" y="118"/>
                    <a:pt x="79" y="117"/>
                  </a:cubicBezTo>
                  <a:cubicBezTo>
                    <a:pt x="79" y="117"/>
                    <a:pt x="80" y="117"/>
                    <a:pt x="80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6"/>
                    <a:pt x="78" y="115"/>
                    <a:pt x="77" y="114"/>
                  </a:cubicBezTo>
                  <a:cubicBezTo>
                    <a:pt x="78" y="114"/>
                    <a:pt x="77" y="114"/>
                    <a:pt x="77" y="113"/>
                  </a:cubicBezTo>
                  <a:cubicBezTo>
                    <a:pt x="77" y="113"/>
                    <a:pt x="77" y="113"/>
                    <a:pt x="77" y="113"/>
                  </a:cubicBezTo>
                  <a:cubicBezTo>
                    <a:pt x="77" y="112"/>
                    <a:pt x="76" y="112"/>
                    <a:pt x="76" y="111"/>
                  </a:cubicBezTo>
                  <a:cubicBezTo>
                    <a:pt x="77" y="111"/>
                    <a:pt x="78" y="113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lose/>
                  <a:moveTo>
                    <a:pt x="75" y="111"/>
                  </a:moveTo>
                  <a:cubicBezTo>
                    <a:pt x="76" y="111"/>
                    <a:pt x="76" y="111"/>
                    <a:pt x="76" y="111"/>
                  </a:cubicBezTo>
                  <a:cubicBezTo>
                    <a:pt x="76" y="112"/>
                    <a:pt x="76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6" y="111"/>
                    <a:pt x="75" y="111"/>
                  </a:cubicBezTo>
                  <a:close/>
                  <a:moveTo>
                    <a:pt x="82" y="121"/>
                  </a:moveTo>
                  <a:cubicBezTo>
                    <a:pt x="82" y="119"/>
                    <a:pt x="81" y="118"/>
                    <a:pt x="80" y="117"/>
                  </a:cubicBezTo>
                  <a:cubicBezTo>
                    <a:pt x="81" y="118"/>
                    <a:pt x="82" y="119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84" y="124"/>
                    <a:pt x="84" y="125"/>
                    <a:pt x="84" y="125"/>
                  </a:cubicBezTo>
                  <a:cubicBezTo>
                    <a:pt x="84" y="125"/>
                    <a:pt x="84" y="124"/>
                    <a:pt x="84" y="124"/>
                  </a:cubicBezTo>
                  <a:cubicBezTo>
                    <a:pt x="84" y="124"/>
                    <a:pt x="84" y="124"/>
                    <a:pt x="84" y="124"/>
                  </a:cubicBezTo>
                  <a:cubicBezTo>
                    <a:pt x="83" y="124"/>
                    <a:pt x="84" y="124"/>
                    <a:pt x="84" y="124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8" y="129"/>
                  </a:moveTo>
                  <a:cubicBezTo>
                    <a:pt x="88" y="129"/>
                    <a:pt x="88" y="130"/>
                    <a:pt x="89" y="130"/>
                  </a:cubicBezTo>
                  <a:cubicBezTo>
                    <a:pt x="89" y="130"/>
                    <a:pt x="88" y="130"/>
                    <a:pt x="88" y="130"/>
                  </a:cubicBezTo>
                  <a:cubicBezTo>
                    <a:pt x="88" y="130"/>
                    <a:pt x="88" y="130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8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lose/>
                  <a:moveTo>
                    <a:pt x="94" y="138"/>
                  </a:moveTo>
                  <a:cubicBezTo>
                    <a:pt x="94" y="138"/>
                    <a:pt x="93" y="137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5"/>
                    <a:pt x="91" y="135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1" y="135"/>
                    <a:pt x="91" y="134"/>
                    <a:pt x="91" y="135"/>
                  </a:cubicBezTo>
                  <a:cubicBezTo>
                    <a:pt x="91" y="134"/>
                    <a:pt x="91" y="134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4"/>
                    <a:pt x="91" y="133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2" y="135"/>
                    <a:pt x="92" y="134"/>
                    <a:pt x="92" y="134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6"/>
                    <a:pt x="92" y="135"/>
                    <a:pt x="92" y="135"/>
                  </a:cubicBezTo>
                  <a:cubicBezTo>
                    <a:pt x="93" y="135"/>
                    <a:pt x="92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3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5" y="138"/>
                    <a:pt x="95" y="139"/>
                  </a:cubicBezTo>
                  <a:cubicBezTo>
                    <a:pt x="95" y="139"/>
                    <a:pt x="95" y="138"/>
                    <a:pt x="95" y="138"/>
                  </a:cubicBezTo>
                  <a:cubicBezTo>
                    <a:pt x="95" y="138"/>
                    <a:pt x="95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lose/>
                  <a:moveTo>
                    <a:pt x="90" y="134"/>
                  </a:moveTo>
                  <a:cubicBezTo>
                    <a:pt x="90" y="134"/>
                    <a:pt x="90" y="134"/>
                    <a:pt x="91" y="134"/>
                  </a:cubicBezTo>
                  <a:cubicBezTo>
                    <a:pt x="90" y="134"/>
                    <a:pt x="90" y="134"/>
                    <a:pt x="90" y="134"/>
                  </a:cubicBezTo>
                  <a:close/>
                  <a:moveTo>
                    <a:pt x="91" y="135"/>
                  </a:moveTo>
                  <a:cubicBezTo>
                    <a:pt x="91" y="135"/>
                    <a:pt x="91" y="135"/>
                    <a:pt x="91" y="135"/>
                  </a:cubicBezTo>
                  <a:cubicBezTo>
                    <a:pt x="91" y="135"/>
                    <a:pt x="91" y="134"/>
                    <a:pt x="91" y="135"/>
                  </a:cubicBezTo>
                  <a:close/>
                  <a:moveTo>
                    <a:pt x="91" y="135"/>
                  </a:moveTo>
                  <a:cubicBezTo>
                    <a:pt x="91" y="136"/>
                    <a:pt x="91" y="136"/>
                    <a:pt x="91" y="136"/>
                  </a:cubicBezTo>
                  <a:cubicBezTo>
                    <a:pt x="91" y="136"/>
                    <a:pt x="91" y="135"/>
                    <a:pt x="91" y="135"/>
                  </a:cubicBezTo>
                  <a:close/>
                  <a:moveTo>
                    <a:pt x="96" y="141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96" y="141"/>
                    <a:pt x="96" y="141"/>
                  </a:cubicBezTo>
                  <a:close/>
                  <a:moveTo>
                    <a:pt x="96" y="143"/>
                  </a:moveTo>
                  <a:cubicBezTo>
                    <a:pt x="96" y="143"/>
                    <a:pt x="96" y="144"/>
                    <a:pt x="96" y="144"/>
                  </a:cubicBezTo>
                  <a:cubicBezTo>
                    <a:pt x="96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6" y="143"/>
                    <a:pt x="96" y="143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8" y="152"/>
                  </a:moveTo>
                  <a:cubicBezTo>
                    <a:pt x="98" y="151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lose/>
                  <a:moveTo>
                    <a:pt x="102" y="152"/>
                  </a:moveTo>
                  <a:cubicBezTo>
                    <a:pt x="102" y="152"/>
                    <a:pt x="102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lose/>
                  <a:moveTo>
                    <a:pt x="5" y="20"/>
                  </a:moveTo>
                  <a:cubicBezTo>
                    <a:pt x="5" y="20"/>
                    <a:pt x="5" y="19"/>
                    <a:pt x="5" y="19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9"/>
                  </a:cubicBezTo>
                  <a:cubicBezTo>
                    <a:pt x="20" y="39"/>
                    <a:pt x="20" y="38"/>
                    <a:pt x="20" y="38"/>
                  </a:cubicBezTo>
                  <a:close/>
                  <a:moveTo>
                    <a:pt x="21" y="37"/>
                  </a:moveTo>
                  <a:cubicBezTo>
                    <a:pt x="21" y="37"/>
                    <a:pt x="21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8"/>
                    <a:pt x="21" y="37"/>
                  </a:cubicBezTo>
                  <a:close/>
                  <a:moveTo>
                    <a:pt x="22" y="39"/>
                  </a:moveTo>
                  <a:cubicBezTo>
                    <a:pt x="22" y="39"/>
                    <a:pt x="22" y="39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39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lose/>
                  <a:moveTo>
                    <a:pt x="25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6" y="39"/>
                  </a:cubicBezTo>
                  <a:cubicBezTo>
                    <a:pt x="25" y="39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7"/>
                  </a:cubicBezTo>
                  <a:close/>
                  <a:moveTo>
                    <a:pt x="32" y="42"/>
                  </a:moveTo>
                  <a:cubicBezTo>
                    <a:pt x="32" y="42"/>
                    <a:pt x="32" y="43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lose/>
                  <a:moveTo>
                    <a:pt x="28" y="48"/>
                  </a:moveTo>
                  <a:cubicBezTo>
                    <a:pt x="28" y="48"/>
                    <a:pt x="29" y="48"/>
                    <a:pt x="29" y="49"/>
                  </a:cubicBezTo>
                  <a:cubicBezTo>
                    <a:pt x="28" y="49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3" y="58"/>
                    <a:pt x="43" y="57"/>
                    <a:pt x="43" y="57"/>
                  </a:cubicBezTo>
                  <a:close/>
                  <a:moveTo>
                    <a:pt x="38" y="61"/>
                  </a:move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lnTo>
                    <a:pt x="38" y="61"/>
                  </a:lnTo>
                  <a:close/>
                  <a:moveTo>
                    <a:pt x="43" y="65"/>
                  </a:moveTo>
                  <a:cubicBezTo>
                    <a:pt x="43" y="65"/>
                    <a:pt x="43" y="65"/>
                    <a:pt x="42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4"/>
                    <a:pt x="43" y="65"/>
                    <a:pt x="43" y="65"/>
                  </a:cubicBezTo>
                  <a:close/>
                  <a:moveTo>
                    <a:pt x="41" y="71"/>
                  </a:moveTo>
                  <a:cubicBezTo>
                    <a:pt x="41" y="71"/>
                    <a:pt x="41" y="71"/>
                    <a:pt x="40" y="71"/>
                  </a:cubicBezTo>
                  <a:cubicBezTo>
                    <a:pt x="40" y="70"/>
                    <a:pt x="41" y="70"/>
                    <a:pt x="41" y="70"/>
                  </a:cubicBezTo>
                  <a:cubicBezTo>
                    <a:pt x="41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lose/>
                  <a:moveTo>
                    <a:pt x="47" y="71"/>
                  </a:moveTo>
                  <a:cubicBezTo>
                    <a:pt x="46" y="71"/>
                    <a:pt x="46" y="71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69"/>
                    <a:pt x="45" y="70"/>
                    <a:pt x="45" y="69"/>
                  </a:cubicBezTo>
                  <a:cubicBezTo>
                    <a:pt x="45" y="69"/>
                    <a:pt x="45" y="70"/>
                    <a:pt x="45" y="70"/>
                  </a:cubicBezTo>
                  <a:cubicBezTo>
                    <a:pt x="45" y="70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70"/>
                  </a:cubicBezTo>
                  <a:cubicBezTo>
                    <a:pt x="45" y="70"/>
                    <a:pt x="45" y="69"/>
                    <a:pt x="45" y="70"/>
                  </a:cubicBezTo>
                  <a:cubicBezTo>
                    <a:pt x="46" y="70"/>
                    <a:pt x="45" y="69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7" y="70"/>
                    <a:pt x="46" y="71"/>
                    <a:pt x="47" y="71"/>
                  </a:cubicBezTo>
                  <a:cubicBezTo>
                    <a:pt x="47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6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5"/>
                  </a:cubicBezTo>
                  <a:cubicBezTo>
                    <a:pt x="47" y="75"/>
                    <a:pt x="48" y="75"/>
                    <a:pt x="48" y="76"/>
                  </a:cubicBezTo>
                  <a:cubicBezTo>
                    <a:pt x="48" y="76"/>
                    <a:pt x="48" y="76"/>
                    <a:pt x="47" y="76"/>
                  </a:cubicBezTo>
                  <a:close/>
                  <a:moveTo>
                    <a:pt x="46" y="79"/>
                  </a:moveTo>
                  <a:cubicBezTo>
                    <a:pt x="45" y="79"/>
                    <a:pt x="45" y="78"/>
                    <a:pt x="45" y="77"/>
                  </a:cubicBezTo>
                  <a:cubicBezTo>
                    <a:pt x="45" y="77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9"/>
                    <a:pt x="46" y="79"/>
                  </a:cubicBezTo>
                  <a:cubicBezTo>
                    <a:pt x="46" y="79"/>
                    <a:pt x="45" y="79"/>
                    <a:pt x="46" y="79"/>
                  </a:cubicBezTo>
                  <a:close/>
                  <a:moveTo>
                    <a:pt x="50" y="77"/>
                  </a:moveTo>
                  <a:cubicBezTo>
                    <a:pt x="50" y="77"/>
                    <a:pt x="50" y="77"/>
                    <a:pt x="51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7"/>
                  </a:cubicBezTo>
                  <a:close/>
                  <a:moveTo>
                    <a:pt x="63" y="96"/>
                  </a:move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6"/>
                    <a:pt x="63" y="95"/>
                    <a:pt x="63" y="95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3" y="96"/>
                    <a:pt x="64" y="96"/>
                  </a:cubicBez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9" y="101"/>
                  </a:moveTo>
                  <a:cubicBezTo>
                    <a:pt x="69" y="101"/>
                    <a:pt x="68" y="101"/>
                    <a:pt x="68" y="101"/>
                  </a:cubicBezTo>
                  <a:cubicBezTo>
                    <a:pt x="68" y="101"/>
                    <a:pt x="68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0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2"/>
                  </a:cubicBezTo>
                  <a:cubicBezTo>
                    <a:pt x="69" y="102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C15DBDF-125B-4496-891F-621D4D60D502}"/>
                </a:ext>
              </a:extLst>
            </p:cNvPr>
            <p:cNvSpPr/>
            <p:nvPr/>
          </p:nvSpPr>
          <p:spPr bwMode="auto">
            <a:xfrm>
              <a:off x="6356351" y="1425575"/>
              <a:ext cx="57150" cy="533400"/>
            </a:xfrm>
            <a:custGeom>
              <a:avLst/>
              <a:gdLst>
                <a:gd name="T0" fmla="*/ 5 w 23"/>
                <a:gd name="T1" fmla="*/ 51 h 216"/>
                <a:gd name="T2" fmla="*/ 9 w 23"/>
                <a:gd name="T3" fmla="*/ 56 h 216"/>
                <a:gd name="T4" fmla="*/ 8 w 23"/>
                <a:gd name="T5" fmla="*/ 63 h 216"/>
                <a:gd name="T6" fmla="*/ 7 w 23"/>
                <a:gd name="T7" fmla="*/ 67 h 216"/>
                <a:gd name="T8" fmla="*/ 7 w 23"/>
                <a:gd name="T9" fmla="*/ 76 h 216"/>
                <a:gd name="T10" fmla="*/ 16 w 23"/>
                <a:gd name="T11" fmla="*/ 81 h 216"/>
                <a:gd name="T12" fmla="*/ 16 w 23"/>
                <a:gd name="T13" fmla="*/ 92 h 216"/>
                <a:gd name="T14" fmla="*/ 8 w 23"/>
                <a:gd name="T15" fmla="*/ 96 h 216"/>
                <a:gd name="T16" fmla="*/ 13 w 23"/>
                <a:gd name="T17" fmla="*/ 100 h 216"/>
                <a:gd name="T18" fmla="*/ 9 w 23"/>
                <a:gd name="T19" fmla="*/ 109 h 216"/>
                <a:gd name="T20" fmla="*/ 10 w 23"/>
                <a:gd name="T21" fmla="*/ 120 h 216"/>
                <a:gd name="T22" fmla="*/ 11 w 23"/>
                <a:gd name="T23" fmla="*/ 127 h 216"/>
                <a:gd name="T24" fmla="*/ 18 w 23"/>
                <a:gd name="T25" fmla="*/ 136 h 216"/>
                <a:gd name="T26" fmla="*/ 13 w 23"/>
                <a:gd name="T27" fmla="*/ 141 h 216"/>
                <a:gd name="T28" fmla="*/ 17 w 23"/>
                <a:gd name="T29" fmla="*/ 153 h 216"/>
                <a:gd name="T30" fmla="*/ 21 w 23"/>
                <a:gd name="T31" fmla="*/ 194 h 216"/>
                <a:gd name="T32" fmla="*/ 23 w 23"/>
                <a:gd name="T33" fmla="*/ 210 h 216"/>
                <a:gd name="T34" fmla="*/ 15 w 23"/>
                <a:gd name="T35" fmla="*/ 52 h 216"/>
                <a:gd name="T36" fmla="*/ 14 w 23"/>
                <a:gd name="T37" fmla="*/ 62 h 216"/>
                <a:gd name="T38" fmla="*/ 12 w 23"/>
                <a:gd name="T39" fmla="*/ 55 h 216"/>
                <a:gd name="T40" fmla="*/ 12 w 23"/>
                <a:gd name="T41" fmla="*/ 61 h 216"/>
                <a:gd name="T42" fmla="*/ 9 w 23"/>
                <a:gd name="T43" fmla="*/ 45 h 216"/>
                <a:gd name="T44" fmla="*/ 5 w 23"/>
                <a:gd name="T45" fmla="*/ 45 h 216"/>
                <a:gd name="T46" fmla="*/ 1 w 23"/>
                <a:gd name="T47" fmla="*/ 30 h 216"/>
                <a:gd name="T48" fmla="*/ 3 w 23"/>
                <a:gd name="T49" fmla="*/ 36 h 216"/>
                <a:gd name="T50" fmla="*/ 8 w 23"/>
                <a:gd name="T51" fmla="*/ 50 h 216"/>
                <a:gd name="T52" fmla="*/ 12 w 23"/>
                <a:gd name="T53" fmla="*/ 63 h 216"/>
                <a:gd name="T54" fmla="*/ 13 w 23"/>
                <a:gd name="T55" fmla="*/ 44 h 216"/>
                <a:gd name="T56" fmla="*/ 14 w 23"/>
                <a:gd name="T57" fmla="*/ 44 h 216"/>
                <a:gd name="T58" fmla="*/ 5 w 23"/>
                <a:gd name="T59" fmla="*/ 52 h 216"/>
                <a:gd name="T60" fmla="*/ 6 w 23"/>
                <a:gd name="T61" fmla="*/ 57 h 216"/>
                <a:gd name="T62" fmla="*/ 16 w 23"/>
                <a:gd name="T63" fmla="*/ 75 h 216"/>
                <a:gd name="T64" fmla="*/ 16 w 23"/>
                <a:gd name="T65" fmla="*/ 84 h 216"/>
                <a:gd name="T66" fmla="*/ 15 w 23"/>
                <a:gd name="T67" fmla="*/ 88 h 216"/>
                <a:gd name="T68" fmla="*/ 13 w 23"/>
                <a:gd name="T69" fmla="*/ 81 h 216"/>
                <a:gd name="T70" fmla="*/ 14 w 23"/>
                <a:gd name="T71" fmla="*/ 84 h 216"/>
                <a:gd name="T72" fmla="*/ 8 w 23"/>
                <a:gd name="T73" fmla="*/ 88 h 216"/>
                <a:gd name="T74" fmla="*/ 14 w 23"/>
                <a:gd name="T75" fmla="*/ 133 h 216"/>
                <a:gd name="T76" fmla="*/ 14 w 23"/>
                <a:gd name="T77" fmla="*/ 125 h 216"/>
                <a:gd name="T78" fmla="*/ 12 w 23"/>
                <a:gd name="T79" fmla="*/ 122 h 216"/>
                <a:gd name="T80" fmla="*/ 13 w 23"/>
                <a:gd name="T81" fmla="*/ 113 h 216"/>
                <a:gd name="T82" fmla="*/ 14 w 23"/>
                <a:gd name="T83" fmla="*/ 98 h 216"/>
                <a:gd name="T84" fmla="*/ 17 w 23"/>
                <a:gd name="T85" fmla="*/ 91 h 216"/>
                <a:gd name="T86" fmla="*/ 17 w 23"/>
                <a:gd name="T87" fmla="*/ 113 h 216"/>
                <a:gd name="T88" fmla="*/ 18 w 23"/>
                <a:gd name="T89" fmla="*/ 131 h 216"/>
                <a:gd name="T90" fmla="*/ 15 w 23"/>
                <a:gd name="T91" fmla="*/ 130 h 216"/>
                <a:gd name="T92" fmla="*/ 15 w 23"/>
                <a:gd name="T93" fmla="*/ 96 h 216"/>
                <a:gd name="T94" fmla="*/ 13 w 23"/>
                <a:gd name="T95" fmla="*/ 113 h 216"/>
                <a:gd name="T96" fmla="*/ 15 w 23"/>
                <a:gd name="T97" fmla="*/ 117 h 216"/>
                <a:gd name="T98" fmla="*/ 18 w 23"/>
                <a:gd name="T99" fmla="*/ 131 h 216"/>
                <a:gd name="T100" fmla="*/ 15 w 23"/>
                <a:gd name="T101" fmla="*/ 116 h 216"/>
                <a:gd name="T102" fmla="*/ 15 w 23"/>
                <a:gd name="T103" fmla="*/ 101 h 216"/>
                <a:gd name="T104" fmla="*/ 14 w 23"/>
                <a:gd name="T105" fmla="*/ 127 h 216"/>
                <a:gd name="T106" fmla="*/ 13 w 23"/>
                <a:gd name="T107" fmla="*/ 93 h 216"/>
                <a:gd name="T108" fmla="*/ 15 w 23"/>
                <a:gd name="T109" fmla="*/ 96 h 216"/>
                <a:gd name="T110" fmla="*/ 8 w 23"/>
                <a:gd name="T111" fmla="*/ 97 h 216"/>
                <a:gd name="T112" fmla="*/ 16 w 23"/>
                <a:gd name="T113" fmla="*/ 105 h 216"/>
                <a:gd name="T114" fmla="*/ 8 w 23"/>
                <a:gd name="T115" fmla="*/ 111 h 216"/>
                <a:gd name="T116" fmla="*/ 18 w 23"/>
                <a:gd name="T117" fmla="*/ 132 h 216"/>
                <a:gd name="T118" fmla="*/ 18 w 23"/>
                <a:gd name="T119" fmla="*/ 136 h 216"/>
                <a:gd name="T120" fmla="*/ 19 w 23"/>
                <a:gd name="T121" fmla="*/ 154 h 216"/>
                <a:gd name="T122" fmla="*/ 22 w 23"/>
                <a:gd name="T123" fmla="*/ 195 h 216"/>
                <a:gd name="T124" fmla="*/ 7 w 23"/>
                <a:gd name="T125" fmla="*/ 9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" h="216">
                  <a:moveTo>
                    <a:pt x="11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3"/>
                    <a:pt x="11" y="2"/>
                    <a:pt x="11" y="1"/>
                  </a:cubicBezTo>
                  <a:close/>
                  <a:moveTo>
                    <a:pt x="0" y="19"/>
                  </a:moveTo>
                  <a:cubicBezTo>
                    <a:pt x="0" y="18"/>
                    <a:pt x="1" y="19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1" y="19"/>
                    <a:pt x="0" y="19"/>
                  </a:cubicBezTo>
                  <a:close/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lose/>
                  <a:moveTo>
                    <a:pt x="1" y="24"/>
                  </a:moveTo>
                  <a:cubicBezTo>
                    <a:pt x="0" y="23"/>
                    <a:pt x="1" y="24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1" y="28"/>
                    <a:pt x="1" y="27"/>
                  </a:cubicBezTo>
                  <a:close/>
                  <a:moveTo>
                    <a:pt x="1" y="33"/>
                  </a:moveTo>
                  <a:cubicBezTo>
                    <a:pt x="1" y="33"/>
                    <a:pt x="1" y="33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0" y="33"/>
                    <a:pt x="1" y="33"/>
                  </a:cubicBezTo>
                  <a:close/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0" y="34"/>
                  </a:cubicBezTo>
                  <a:close/>
                  <a:moveTo>
                    <a:pt x="2" y="36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lose/>
                  <a:moveTo>
                    <a:pt x="4" y="40"/>
                  </a:move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3" y="38"/>
                    <a:pt x="4" y="39"/>
                    <a:pt x="4" y="39"/>
                  </a:cubicBezTo>
                  <a:cubicBezTo>
                    <a:pt x="4" y="39"/>
                    <a:pt x="4" y="39"/>
                    <a:pt x="4" y="40"/>
                  </a:cubicBezTo>
                  <a:close/>
                  <a:moveTo>
                    <a:pt x="3" y="40"/>
                  </a:moveTo>
                  <a:cubicBezTo>
                    <a:pt x="3" y="40"/>
                    <a:pt x="3" y="40"/>
                    <a:pt x="2" y="41"/>
                  </a:cubicBezTo>
                  <a:cubicBezTo>
                    <a:pt x="2" y="40"/>
                    <a:pt x="3" y="40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lose/>
                  <a:moveTo>
                    <a:pt x="3" y="42"/>
                  </a:moveTo>
                  <a:cubicBezTo>
                    <a:pt x="3" y="42"/>
                    <a:pt x="3" y="43"/>
                    <a:pt x="3" y="43"/>
                  </a:cubicBezTo>
                  <a:cubicBezTo>
                    <a:pt x="3" y="43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lose/>
                  <a:moveTo>
                    <a:pt x="3" y="44"/>
                  </a:moveTo>
                  <a:cubicBezTo>
                    <a:pt x="3" y="45"/>
                    <a:pt x="3" y="44"/>
                    <a:pt x="3" y="44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lose/>
                  <a:moveTo>
                    <a:pt x="2" y="45"/>
                  </a:moveTo>
                  <a:cubicBezTo>
                    <a:pt x="2" y="45"/>
                    <a:pt x="2" y="44"/>
                    <a:pt x="2" y="44"/>
                  </a:cubicBezTo>
                  <a:cubicBezTo>
                    <a:pt x="2" y="44"/>
                    <a:pt x="2" y="45"/>
                    <a:pt x="2" y="45"/>
                  </a:cubicBezTo>
                  <a:close/>
                  <a:moveTo>
                    <a:pt x="2" y="46"/>
                  </a:move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6"/>
                    <a:pt x="2" y="46"/>
                  </a:cubicBezTo>
                  <a:close/>
                  <a:moveTo>
                    <a:pt x="9" y="46"/>
                  </a:moveTo>
                  <a:cubicBezTo>
                    <a:pt x="9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lose/>
                  <a:moveTo>
                    <a:pt x="5" y="47"/>
                  </a:moveTo>
                  <a:cubicBezTo>
                    <a:pt x="5" y="47"/>
                    <a:pt x="5" y="47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lose/>
                  <a:moveTo>
                    <a:pt x="8" y="47"/>
                  </a:moveTo>
                  <a:cubicBezTo>
                    <a:pt x="8" y="46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4" y="47"/>
                    <a:pt x="13" y="47"/>
                  </a:cubicBezTo>
                  <a:close/>
                  <a:moveTo>
                    <a:pt x="9" y="4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6" y="50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50"/>
                    <a:pt x="6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6" y="50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9" y="49"/>
                  </a:moveTo>
                  <a:cubicBezTo>
                    <a:pt x="10" y="49"/>
                    <a:pt x="9" y="49"/>
                    <a:pt x="9" y="50"/>
                  </a:cubicBezTo>
                  <a:cubicBezTo>
                    <a:pt x="9" y="50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lose/>
                  <a:moveTo>
                    <a:pt x="9" y="50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lose/>
                  <a:moveTo>
                    <a:pt x="5" y="51"/>
                  </a:moveTo>
                  <a:cubicBezTo>
                    <a:pt x="5" y="51"/>
                    <a:pt x="5" y="50"/>
                    <a:pt x="5" y="50"/>
                  </a:cubicBezTo>
                  <a:cubicBezTo>
                    <a:pt x="6" y="50"/>
                    <a:pt x="6" y="51"/>
                    <a:pt x="5" y="51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0"/>
                    <a:pt x="15" y="50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2"/>
                    <a:pt x="9" y="51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lnTo>
                    <a:pt x="5" y="52"/>
                  </a:lnTo>
                  <a:close/>
                  <a:moveTo>
                    <a:pt x="3" y="51"/>
                  </a:move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1"/>
                    <a:pt x="3" y="51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2"/>
                    <a:pt x="15" y="52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9" y="53"/>
                  </a:moveTo>
                  <a:cubicBezTo>
                    <a:pt x="9" y="53"/>
                    <a:pt x="9" y="53"/>
                    <a:pt x="9" y="52"/>
                  </a:cubicBezTo>
                  <a:cubicBezTo>
                    <a:pt x="9" y="52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lose/>
                  <a:moveTo>
                    <a:pt x="5" y="53"/>
                  </a:moveTo>
                  <a:cubicBezTo>
                    <a:pt x="5" y="53"/>
                    <a:pt x="5" y="53"/>
                    <a:pt x="5" y="54"/>
                  </a:cubicBezTo>
                  <a:cubicBezTo>
                    <a:pt x="5" y="54"/>
                    <a:pt x="5" y="53"/>
                    <a:pt x="5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3"/>
                  </a:cubicBezTo>
                  <a:close/>
                  <a:moveTo>
                    <a:pt x="10" y="55"/>
                  </a:moveTo>
                  <a:cubicBezTo>
                    <a:pt x="10" y="54"/>
                    <a:pt x="10" y="55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5"/>
                  </a:cubicBezTo>
                  <a:close/>
                  <a:moveTo>
                    <a:pt x="3" y="55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2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3" y="55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lose/>
                  <a:moveTo>
                    <a:pt x="10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lose/>
                  <a:moveTo>
                    <a:pt x="13" y="55"/>
                  </a:move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5"/>
                  </a:cubicBezTo>
                  <a:close/>
                  <a:moveTo>
                    <a:pt x="10" y="56"/>
                  </a:moveTo>
                  <a:cubicBezTo>
                    <a:pt x="10" y="56"/>
                    <a:pt x="10" y="57"/>
                    <a:pt x="10" y="57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lose/>
                  <a:moveTo>
                    <a:pt x="7" y="57"/>
                  </a:moveTo>
                  <a:cubicBezTo>
                    <a:pt x="7" y="57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lose/>
                  <a:moveTo>
                    <a:pt x="5" y="56"/>
                  </a:moveTo>
                  <a:cubicBezTo>
                    <a:pt x="5" y="56"/>
                    <a:pt x="5" y="57"/>
                    <a:pt x="5" y="57"/>
                  </a:cubicBezTo>
                  <a:cubicBezTo>
                    <a:pt x="5" y="57"/>
                    <a:pt x="5" y="57"/>
                    <a:pt x="5" y="56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6"/>
                  </a:cubicBezTo>
                  <a:cubicBezTo>
                    <a:pt x="9" y="56"/>
                    <a:pt x="9" y="57"/>
                    <a:pt x="9" y="57"/>
                  </a:cubicBezTo>
                  <a:close/>
                  <a:moveTo>
                    <a:pt x="10" y="57"/>
                  </a:move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1" y="57"/>
                  </a:cubicBezTo>
                  <a:cubicBezTo>
                    <a:pt x="10" y="57"/>
                    <a:pt x="10" y="57"/>
                    <a:pt x="10" y="57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6"/>
                    <a:pt x="9" y="5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lose/>
                  <a:moveTo>
                    <a:pt x="12" y="57"/>
                  </a:moveTo>
                  <a:cubicBezTo>
                    <a:pt x="12" y="57"/>
                    <a:pt x="12" y="57"/>
                    <a:pt x="12" y="57"/>
                  </a:cubicBezTo>
                  <a:cubicBezTo>
                    <a:pt x="12" y="57"/>
                    <a:pt x="12" y="57"/>
                    <a:pt x="12" y="57"/>
                  </a:cubicBezTo>
                  <a:close/>
                  <a:moveTo>
                    <a:pt x="7" y="57"/>
                  </a:moveTo>
                  <a:cubicBezTo>
                    <a:pt x="7" y="57"/>
                    <a:pt x="8" y="58"/>
                    <a:pt x="8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7"/>
                    <a:pt x="7" y="57"/>
                  </a:cubicBezTo>
                  <a:close/>
                  <a:moveTo>
                    <a:pt x="10" y="59"/>
                  </a:moveTo>
                  <a:cubicBezTo>
                    <a:pt x="10" y="59"/>
                    <a:pt x="10" y="58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9"/>
                    <a:pt x="10" y="59"/>
                  </a:cubicBezTo>
                  <a:close/>
                  <a:moveTo>
                    <a:pt x="5" y="58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58"/>
                    <a:pt x="5" y="59"/>
                  </a:cubicBezTo>
                  <a:cubicBezTo>
                    <a:pt x="5" y="59"/>
                    <a:pt x="5" y="58"/>
                    <a:pt x="5" y="58"/>
                  </a:cubicBezTo>
                  <a:close/>
                  <a:moveTo>
                    <a:pt x="9" y="58"/>
                  </a:move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8"/>
                    <a:pt x="9" y="58"/>
                    <a:pt x="9" y="58"/>
                  </a:cubicBezTo>
                  <a:close/>
                  <a:moveTo>
                    <a:pt x="9" y="59"/>
                  </a:moveTo>
                  <a:cubicBezTo>
                    <a:pt x="9" y="59"/>
                    <a:pt x="9" y="59"/>
                    <a:pt x="9" y="60"/>
                  </a:cubicBezTo>
                  <a:cubicBezTo>
                    <a:pt x="9" y="60"/>
                    <a:pt x="9" y="59"/>
                    <a:pt x="9" y="59"/>
                  </a:cubicBezTo>
                  <a:close/>
                  <a:moveTo>
                    <a:pt x="4" y="59"/>
                  </a:moveTo>
                  <a:cubicBezTo>
                    <a:pt x="4" y="59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3" y="60"/>
                    <a:pt x="4" y="59"/>
                    <a:pt x="4" y="59"/>
                  </a:cubicBezTo>
                  <a:close/>
                  <a:moveTo>
                    <a:pt x="7" y="60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7" y="59"/>
                    <a:pt x="7" y="59"/>
                    <a:pt x="8" y="59"/>
                  </a:cubicBezTo>
                  <a:cubicBezTo>
                    <a:pt x="8" y="59"/>
                    <a:pt x="8" y="60"/>
                    <a:pt x="7" y="60"/>
                  </a:cubicBezTo>
                  <a:close/>
                  <a:moveTo>
                    <a:pt x="10" y="60"/>
                  </a:moveTo>
                  <a:cubicBezTo>
                    <a:pt x="10" y="60"/>
                    <a:pt x="10" y="60"/>
                    <a:pt x="10" y="59"/>
                  </a:cubicBezTo>
                  <a:cubicBezTo>
                    <a:pt x="10" y="59"/>
                    <a:pt x="10" y="60"/>
                    <a:pt x="10" y="60"/>
                  </a:cubicBezTo>
                  <a:close/>
                  <a:moveTo>
                    <a:pt x="5" y="60"/>
                  </a:moveTo>
                  <a:cubicBezTo>
                    <a:pt x="5" y="59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7" y="61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1"/>
                    <a:pt x="7" y="61"/>
                  </a:cubicBezTo>
                  <a:close/>
                  <a:moveTo>
                    <a:pt x="9" y="60"/>
                  </a:moveTo>
                  <a:cubicBezTo>
                    <a:pt x="9" y="60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0"/>
                    <a:pt x="9" y="60"/>
                  </a:cubicBezTo>
                  <a:close/>
                  <a:moveTo>
                    <a:pt x="12" y="61"/>
                  </a:moveTo>
                  <a:cubicBezTo>
                    <a:pt x="12" y="60"/>
                    <a:pt x="12" y="61"/>
                    <a:pt x="12" y="60"/>
                  </a:cubicBezTo>
                  <a:cubicBezTo>
                    <a:pt x="12" y="60"/>
                    <a:pt x="12" y="60"/>
                    <a:pt x="13" y="61"/>
                  </a:cubicBezTo>
                  <a:cubicBezTo>
                    <a:pt x="13" y="61"/>
                    <a:pt x="12" y="61"/>
                    <a:pt x="12" y="61"/>
                  </a:cubicBezTo>
                  <a:close/>
                  <a:moveTo>
                    <a:pt x="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lose/>
                  <a:moveTo>
                    <a:pt x="15" y="60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2"/>
                    <a:pt x="15" y="62"/>
                  </a:cubicBezTo>
                  <a:cubicBezTo>
                    <a:pt x="15" y="62"/>
                    <a:pt x="15" y="61"/>
                    <a:pt x="15" y="62"/>
                  </a:cubicBezTo>
                  <a:cubicBezTo>
                    <a:pt x="15" y="61"/>
                    <a:pt x="15" y="61"/>
                    <a:pt x="15" y="60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1"/>
                  </a:cubicBezTo>
                  <a:cubicBezTo>
                    <a:pt x="8" y="61"/>
                    <a:pt x="7" y="62"/>
                    <a:pt x="8" y="62"/>
                  </a:cubicBezTo>
                  <a:close/>
                  <a:moveTo>
                    <a:pt x="7" y="61"/>
                  </a:moveTo>
                  <a:cubicBezTo>
                    <a:pt x="7" y="61"/>
                    <a:pt x="7" y="61"/>
                    <a:pt x="7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1"/>
                  </a:cubicBezTo>
                  <a:close/>
                  <a:moveTo>
                    <a:pt x="7" y="62"/>
                  </a:move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3"/>
                  </a:cubicBezTo>
                  <a:cubicBezTo>
                    <a:pt x="7" y="63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lose/>
                  <a:moveTo>
                    <a:pt x="9" y="62"/>
                  </a:moveTo>
                  <a:cubicBezTo>
                    <a:pt x="9" y="62"/>
                    <a:pt x="9" y="63"/>
                    <a:pt x="9" y="63"/>
                  </a:cubicBezTo>
                  <a:cubicBezTo>
                    <a:pt x="9" y="63"/>
                    <a:pt x="9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3"/>
                    <a:pt x="9" y="63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2"/>
                    <a:pt x="15" y="62"/>
                  </a:cubicBezTo>
                  <a:cubicBezTo>
                    <a:pt x="15" y="62"/>
                    <a:pt x="15" y="63"/>
                    <a:pt x="15" y="63"/>
                  </a:cubicBezTo>
                  <a:close/>
                  <a:moveTo>
                    <a:pt x="8" y="63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4"/>
                    <a:pt x="7" y="63"/>
                    <a:pt x="8" y="63"/>
                  </a:cubicBezTo>
                  <a:cubicBezTo>
                    <a:pt x="8" y="63"/>
                    <a:pt x="8" y="63"/>
                    <a:pt x="8" y="63"/>
                  </a:cubicBezTo>
                  <a:close/>
                  <a:moveTo>
                    <a:pt x="8" y="64"/>
                  </a:move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4"/>
                    <a:pt x="8" y="64"/>
                  </a:cubicBezTo>
                  <a:close/>
                  <a:moveTo>
                    <a:pt x="11" y="64"/>
                  </a:moveTo>
                  <a:cubicBezTo>
                    <a:pt x="11" y="63"/>
                    <a:pt x="11" y="64"/>
                    <a:pt x="11" y="63"/>
                  </a:cubicBezTo>
                  <a:cubicBezTo>
                    <a:pt x="11" y="63"/>
                    <a:pt x="11" y="64"/>
                    <a:pt x="11" y="64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11" y="65"/>
                    <a:pt x="11" y="64"/>
                    <a:pt x="11" y="64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3"/>
                  </a:cubicBezTo>
                  <a:close/>
                  <a:moveTo>
                    <a:pt x="7" y="64"/>
                  </a:moveTo>
                  <a:cubicBezTo>
                    <a:pt x="7" y="64"/>
                    <a:pt x="7" y="65"/>
                    <a:pt x="7" y="66"/>
                  </a:cubicBezTo>
                  <a:cubicBezTo>
                    <a:pt x="7" y="65"/>
                    <a:pt x="7" y="65"/>
                    <a:pt x="7" y="64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4"/>
                  </a:cubicBezTo>
                  <a:cubicBezTo>
                    <a:pt x="3" y="64"/>
                    <a:pt x="3" y="65"/>
                    <a:pt x="3" y="65"/>
                  </a:cubicBezTo>
                  <a:close/>
                  <a:moveTo>
                    <a:pt x="10" y="65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1" y="64"/>
                    <a:pt x="11" y="65"/>
                    <a:pt x="10" y="65"/>
                  </a:cubicBezTo>
                  <a:close/>
                  <a:moveTo>
                    <a:pt x="15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4"/>
                    <a:pt x="15" y="64"/>
                    <a:pt x="15" y="64"/>
                  </a:cubicBez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5"/>
                    <a:pt x="15" y="65"/>
                  </a:cubicBezTo>
                  <a:close/>
                  <a:moveTo>
                    <a:pt x="7" y="66"/>
                  </a:moveTo>
                  <a:cubicBezTo>
                    <a:pt x="7" y="66"/>
                    <a:pt x="7" y="66"/>
                    <a:pt x="7" y="65"/>
                  </a:cubicBezTo>
                  <a:cubicBezTo>
                    <a:pt x="8" y="65"/>
                    <a:pt x="7" y="66"/>
                    <a:pt x="8" y="66"/>
                  </a:cubicBezTo>
                  <a:lnTo>
                    <a:pt x="7" y="66"/>
                  </a:ln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lose/>
                  <a:moveTo>
                    <a:pt x="8" y="67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lose/>
                  <a:moveTo>
                    <a:pt x="9" y="67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10" y="67"/>
                    <a:pt x="10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6" y="66"/>
                  </a:cubicBezTo>
                  <a:cubicBezTo>
                    <a:pt x="16" y="67"/>
                    <a:pt x="15" y="66"/>
                    <a:pt x="15" y="66"/>
                  </a:cubicBezTo>
                  <a:close/>
                  <a:moveTo>
                    <a:pt x="13" y="67"/>
                  </a:moveTo>
                  <a:cubicBezTo>
                    <a:pt x="13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7"/>
                    <a:pt x="13" y="67"/>
                    <a:pt x="13" y="66"/>
                  </a:cubicBezTo>
                  <a:cubicBezTo>
                    <a:pt x="14" y="66"/>
                    <a:pt x="13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3" y="67"/>
                    <a:pt x="14" y="67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lose/>
                  <a:moveTo>
                    <a:pt x="15" y="67"/>
                  </a:move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6"/>
                  </a:cubicBezTo>
                  <a:cubicBezTo>
                    <a:pt x="15" y="67"/>
                    <a:pt x="15" y="66"/>
                    <a:pt x="15" y="66"/>
                  </a:cubicBezTo>
                  <a:cubicBezTo>
                    <a:pt x="15" y="66"/>
                    <a:pt x="15" y="66"/>
                    <a:pt x="15" y="67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lose/>
                  <a:moveTo>
                    <a:pt x="16" y="67"/>
                  </a:moveTo>
                  <a:cubicBezTo>
                    <a:pt x="16" y="67"/>
                    <a:pt x="16" y="67"/>
                    <a:pt x="16" y="68"/>
                  </a:cubicBezTo>
                  <a:cubicBezTo>
                    <a:pt x="15" y="67"/>
                    <a:pt x="16" y="67"/>
                    <a:pt x="15" y="67"/>
                  </a:cubicBezTo>
                  <a:cubicBezTo>
                    <a:pt x="15" y="67"/>
                    <a:pt x="16" y="67"/>
                    <a:pt x="16" y="67"/>
                  </a:cubicBezTo>
                  <a:close/>
                  <a:moveTo>
                    <a:pt x="7" y="68"/>
                  </a:move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lose/>
                  <a:moveTo>
                    <a:pt x="3" y="68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8" y="69"/>
                  </a:moveTo>
                  <a:cubicBezTo>
                    <a:pt x="8" y="69"/>
                    <a:pt x="8" y="69"/>
                    <a:pt x="7" y="69"/>
                  </a:cubicBezTo>
                  <a:cubicBezTo>
                    <a:pt x="7" y="69"/>
                    <a:pt x="8" y="68"/>
                    <a:pt x="8" y="68"/>
                  </a:cubicBezTo>
                  <a:cubicBezTo>
                    <a:pt x="8" y="68"/>
                    <a:pt x="8" y="69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lose/>
                  <a:moveTo>
                    <a:pt x="13" y="68"/>
                  </a:moveTo>
                  <a:cubicBezTo>
                    <a:pt x="13" y="68"/>
                    <a:pt x="14" y="68"/>
                    <a:pt x="14" y="68"/>
                  </a:cubicBezTo>
                  <a:cubicBezTo>
                    <a:pt x="14" y="68"/>
                    <a:pt x="14" y="70"/>
                    <a:pt x="14" y="70"/>
                  </a:cubicBezTo>
                  <a:cubicBezTo>
                    <a:pt x="14" y="70"/>
                    <a:pt x="14" y="69"/>
                    <a:pt x="14" y="68"/>
                  </a:cubicBezTo>
                  <a:cubicBezTo>
                    <a:pt x="14" y="68"/>
                    <a:pt x="14" y="69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9"/>
                    <a:pt x="14" y="69"/>
                  </a:cubicBezTo>
                  <a:close/>
                  <a:moveTo>
                    <a:pt x="9" y="68"/>
                  </a:moveTo>
                  <a:cubicBezTo>
                    <a:pt x="9" y="68"/>
                    <a:pt x="9" y="69"/>
                    <a:pt x="9" y="69"/>
                  </a:cubicBezTo>
                  <a:cubicBezTo>
                    <a:pt x="9" y="69"/>
                    <a:pt x="9" y="69"/>
                    <a:pt x="9" y="68"/>
                  </a:cubicBezTo>
                  <a:close/>
                  <a:moveTo>
                    <a:pt x="7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9"/>
                    <a:pt x="14" y="70"/>
                  </a:cubicBezTo>
                  <a:cubicBezTo>
                    <a:pt x="14" y="69"/>
                    <a:pt x="14" y="69"/>
                    <a:pt x="14" y="69"/>
                  </a:cubicBezTo>
                  <a:close/>
                  <a:moveTo>
                    <a:pt x="8" y="71"/>
                  </a:moveTo>
                  <a:cubicBezTo>
                    <a:pt x="8" y="70"/>
                    <a:pt x="8" y="69"/>
                    <a:pt x="8" y="70"/>
                  </a:cubicBezTo>
                  <a:cubicBezTo>
                    <a:pt x="8" y="69"/>
                    <a:pt x="8" y="70"/>
                    <a:pt x="8" y="70"/>
                  </a:cubicBezTo>
                  <a:cubicBezTo>
                    <a:pt x="8" y="70"/>
                    <a:pt x="8" y="71"/>
                    <a:pt x="8" y="71"/>
                  </a:cubicBezTo>
                  <a:close/>
                  <a:moveTo>
                    <a:pt x="7" y="71"/>
                  </a:moveTo>
                  <a:cubicBezTo>
                    <a:pt x="7" y="71"/>
                    <a:pt x="7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0"/>
                    <a:pt x="7" y="70"/>
                    <a:pt x="7" y="71"/>
                  </a:cubicBezTo>
                  <a:close/>
                  <a:moveTo>
                    <a:pt x="12" y="70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lose/>
                  <a:moveTo>
                    <a:pt x="8" y="70"/>
                  </a:move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7" y="72"/>
                  </a:moveTo>
                  <a:cubicBezTo>
                    <a:pt x="7" y="71"/>
                    <a:pt x="7" y="72"/>
                    <a:pt x="7" y="72"/>
                  </a:cubicBezTo>
                  <a:cubicBezTo>
                    <a:pt x="7" y="72"/>
                    <a:pt x="7" y="73"/>
                    <a:pt x="7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73"/>
                    <a:pt x="7" y="74"/>
                    <a:pt x="7" y="75"/>
                  </a:cubicBezTo>
                  <a:cubicBezTo>
                    <a:pt x="7" y="75"/>
                    <a:pt x="7" y="74"/>
                    <a:pt x="7" y="74"/>
                  </a:cubicBezTo>
                  <a:cubicBezTo>
                    <a:pt x="7" y="74"/>
                    <a:pt x="7" y="73"/>
                    <a:pt x="7" y="73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7" y="71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1"/>
                    <a:pt x="7" y="71"/>
                    <a:pt x="7" y="72"/>
                  </a:cubicBezTo>
                  <a:close/>
                  <a:moveTo>
                    <a:pt x="15" y="71"/>
                  </a:move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lose/>
                  <a:moveTo>
                    <a:pt x="10" y="71"/>
                  </a:moveTo>
                  <a:cubicBezTo>
                    <a:pt x="10" y="71"/>
                    <a:pt x="10" y="72"/>
                    <a:pt x="10" y="72"/>
                  </a:cubicBezTo>
                  <a:cubicBezTo>
                    <a:pt x="10" y="72"/>
                    <a:pt x="10" y="72"/>
                    <a:pt x="10" y="71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1"/>
                    <a:pt x="16" y="72"/>
                  </a:cubicBezTo>
                  <a:cubicBezTo>
                    <a:pt x="16" y="72"/>
                    <a:pt x="16" y="71"/>
                    <a:pt x="16" y="71"/>
                  </a:cubicBezTo>
                  <a:cubicBezTo>
                    <a:pt x="16" y="72"/>
                    <a:pt x="16" y="71"/>
                    <a:pt x="16" y="72"/>
                  </a:cubicBezTo>
                  <a:close/>
                  <a:moveTo>
                    <a:pt x="12" y="72"/>
                  </a:move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3"/>
                    <a:pt x="12" y="73"/>
                  </a:cubicBezTo>
                  <a:cubicBezTo>
                    <a:pt x="12" y="73"/>
                    <a:pt x="12" y="72"/>
                    <a:pt x="12" y="72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lose/>
                  <a:moveTo>
                    <a:pt x="11" y="73"/>
                  </a:move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lose/>
                  <a:moveTo>
                    <a:pt x="16" y="74"/>
                  </a:moveTo>
                  <a:cubicBezTo>
                    <a:pt x="16" y="74"/>
                    <a:pt x="16" y="74"/>
                    <a:pt x="16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4"/>
                  </a:cubicBezTo>
                  <a:close/>
                  <a:moveTo>
                    <a:pt x="4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lose/>
                  <a:moveTo>
                    <a:pt x="8" y="75"/>
                  </a:move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lose/>
                  <a:moveTo>
                    <a:pt x="7" y="75"/>
                  </a:move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6"/>
                    <a:pt x="7" y="76"/>
                  </a:cubicBezTo>
                  <a:cubicBezTo>
                    <a:pt x="7" y="76"/>
                    <a:pt x="7" y="77"/>
                    <a:pt x="7" y="76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7"/>
                    <a:pt x="7" y="76"/>
                    <a:pt x="7" y="75"/>
                  </a:cubicBezTo>
                  <a:close/>
                  <a:moveTo>
                    <a:pt x="13" y="75"/>
                  </a:moveTo>
                  <a:cubicBezTo>
                    <a:pt x="13" y="75"/>
                    <a:pt x="13" y="75"/>
                    <a:pt x="13" y="75"/>
                  </a:cubicBezTo>
                  <a:cubicBezTo>
                    <a:pt x="13" y="75"/>
                    <a:pt x="13" y="76"/>
                    <a:pt x="13" y="76"/>
                  </a:cubicBezTo>
                  <a:cubicBezTo>
                    <a:pt x="12" y="76"/>
                    <a:pt x="12" y="75"/>
                    <a:pt x="13" y="75"/>
                  </a:cubicBezTo>
                  <a:close/>
                  <a:moveTo>
                    <a:pt x="11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lose/>
                  <a:moveTo>
                    <a:pt x="8" y="77"/>
                  </a:moveTo>
                  <a:cubicBezTo>
                    <a:pt x="7" y="77"/>
                    <a:pt x="7" y="76"/>
                    <a:pt x="7" y="76"/>
                  </a:cubicBezTo>
                  <a:cubicBezTo>
                    <a:pt x="8" y="76"/>
                    <a:pt x="8" y="77"/>
                    <a:pt x="8" y="77"/>
                  </a:cubicBezTo>
                  <a:close/>
                  <a:moveTo>
                    <a:pt x="13" y="77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7"/>
                    <a:pt x="13" y="77"/>
                  </a:cubicBezTo>
                  <a:close/>
                  <a:moveTo>
                    <a:pt x="7" y="77"/>
                  </a:moveTo>
                  <a:cubicBezTo>
                    <a:pt x="7" y="77"/>
                    <a:pt x="7" y="77"/>
                    <a:pt x="7" y="78"/>
                  </a:cubicBezTo>
                  <a:cubicBezTo>
                    <a:pt x="7" y="77"/>
                    <a:pt x="7" y="77"/>
                    <a:pt x="7" y="77"/>
                  </a:cubicBezTo>
                  <a:close/>
                  <a:moveTo>
                    <a:pt x="11" y="77"/>
                  </a:moveTo>
                  <a:cubicBezTo>
                    <a:pt x="12" y="77"/>
                    <a:pt x="11" y="77"/>
                    <a:pt x="12" y="77"/>
                  </a:cubicBezTo>
                  <a:cubicBezTo>
                    <a:pt x="12" y="77"/>
                    <a:pt x="11" y="77"/>
                    <a:pt x="11" y="77"/>
                  </a:cubicBezTo>
                  <a:cubicBezTo>
                    <a:pt x="11" y="77"/>
                    <a:pt x="11" y="77"/>
                    <a:pt x="11" y="77"/>
                  </a:cubicBezTo>
                  <a:close/>
                  <a:moveTo>
                    <a:pt x="9" y="77"/>
                  </a:moveTo>
                  <a:cubicBezTo>
                    <a:pt x="9" y="77"/>
                    <a:pt x="9" y="78"/>
                    <a:pt x="9" y="78"/>
                  </a:cubicBezTo>
                  <a:cubicBezTo>
                    <a:pt x="9" y="78"/>
                    <a:pt x="9" y="78"/>
                    <a:pt x="9" y="77"/>
                  </a:cubicBezTo>
                  <a:close/>
                  <a:moveTo>
                    <a:pt x="8" y="78"/>
                  </a:move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lose/>
                  <a:moveTo>
                    <a:pt x="5" y="79"/>
                  </a:moveTo>
                  <a:cubicBezTo>
                    <a:pt x="5" y="79"/>
                    <a:pt x="5" y="78"/>
                    <a:pt x="5" y="78"/>
                  </a:cubicBezTo>
                  <a:cubicBezTo>
                    <a:pt x="5" y="78"/>
                    <a:pt x="5" y="78"/>
                    <a:pt x="5" y="79"/>
                  </a:cubicBezTo>
                  <a:close/>
                  <a:moveTo>
                    <a:pt x="13" y="78"/>
                  </a:move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lose/>
                  <a:moveTo>
                    <a:pt x="16" y="78"/>
                  </a:move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lose/>
                  <a:moveTo>
                    <a:pt x="11" y="79"/>
                  </a:moveTo>
                  <a:cubicBezTo>
                    <a:pt x="11" y="79"/>
                    <a:pt x="11" y="79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0"/>
                    <a:pt x="11" y="80"/>
                    <a:pt x="11" y="81"/>
                  </a:cubicBezTo>
                  <a:cubicBezTo>
                    <a:pt x="11" y="81"/>
                    <a:pt x="11" y="80"/>
                    <a:pt x="11" y="80"/>
                  </a:cubicBezTo>
                  <a:cubicBezTo>
                    <a:pt x="11" y="80"/>
                    <a:pt x="11" y="79"/>
                    <a:pt x="11" y="80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lose/>
                  <a:moveTo>
                    <a:pt x="13" y="79"/>
                  </a:move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lose/>
                  <a:moveTo>
                    <a:pt x="12" y="80"/>
                  </a:moveTo>
                  <a:cubicBezTo>
                    <a:pt x="12" y="80"/>
                    <a:pt x="12" y="79"/>
                    <a:pt x="12" y="79"/>
                  </a:cubicBezTo>
                  <a:cubicBezTo>
                    <a:pt x="12" y="79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lose/>
                  <a:moveTo>
                    <a:pt x="14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5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1"/>
                    <a:pt x="14" y="81"/>
                  </a:cubicBezTo>
                  <a:cubicBezTo>
                    <a:pt x="14" y="81"/>
                    <a:pt x="14" y="80"/>
                    <a:pt x="14" y="80"/>
                  </a:cubicBezTo>
                  <a:close/>
                  <a:moveTo>
                    <a:pt x="8" y="80"/>
                  </a:moveTo>
                  <a:cubicBezTo>
                    <a:pt x="8" y="80"/>
                    <a:pt x="8" y="80"/>
                    <a:pt x="8" y="81"/>
                  </a:cubicBezTo>
                  <a:cubicBezTo>
                    <a:pt x="8" y="81"/>
                    <a:pt x="8" y="80"/>
                    <a:pt x="8" y="80"/>
                  </a:cubicBezTo>
                  <a:close/>
                  <a:moveTo>
                    <a:pt x="10" y="80"/>
                  </a:moveTo>
                  <a:cubicBezTo>
                    <a:pt x="10" y="80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1"/>
                    <a:pt x="12" y="81"/>
                  </a:cubicBezTo>
                  <a:cubicBezTo>
                    <a:pt x="12" y="81"/>
                    <a:pt x="12" y="81"/>
                    <a:pt x="12" y="80"/>
                  </a:cubicBezTo>
                  <a:close/>
                  <a:moveTo>
                    <a:pt x="10" y="81"/>
                  </a:moveTo>
                  <a:cubicBezTo>
                    <a:pt x="10" y="81"/>
                    <a:pt x="10" y="81"/>
                    <a:pt x="11" y="81"/>
                  </a:cubicBezTo>
                  <a:cubicBezTo>
                    <a:pt x="10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3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10" y="82"/>
                    <a:pt x="10" y="82"/>
                    <a:pt x="10" y="81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5" y="81"/>
                  </a:cubicBezTo>
                  <a:cubicBezTo>
                    <a:pt x="15" y="81"/>
                    <a:pt x="15" y="81"/>
                    <a:pt x="14" y="81"/>
                  </a:cubicBezTo>
                  <a:close/>
                  <a:moveTo>
                    <a:pt x="17" y="83"/>
                  </a:moveTo>
                  <a:cubicBezTo>
                    <a:pt x="17" y="83"/>
                    <a:pt x="17" y="84"/>
                    <a:pt x="17" y="85"/>
                  </a:cubicBezTo>
                  <a:cubicBezTo>
                    <a:pt x="17" y="84"/>
                    <a:pt x="16" y="82"/>
                    <a:pt x="17" y="81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8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8" y="83"/>
                    <a:pt x="8" y="83"/>
                    <a:pt x="8" y="83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4" y="83"/>
                    <a:pt x="13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9" y="84"/>
                  </a:moveTo>
                  <a:cubicBezTo>
                    <a:pt x="9" y="83"/>
                    <a:pt x="9" y="83"/>
                    <a:pt x="9" y="83"/>
                  </a:cubicBezTo>
                  <a:cubicBezTo>
                    <a:pt x="10" y="83"/>
                    <a:pt x="10" y="84"/>
                    <a:pt x="10" y="85"/>
                  </a:cubicBezTo>
                  <a:cubicBezTo>
                    <a:pt x="10" y="85"/>
                    <a:pt x="10" y="84"/>
                    <a:pt x="9" y="84"/>
                  </a:cubicBezTo>
                  <a:close/>
                  <a:moveTo>
                    <a:pt x="9" y="84"/>
                  </a:moveTo>
                  <a:cubicBezTo>
                    <a:pt x="10" y="84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4"/>
                  </a:cubicBezTo>
                  <a:close/>
                  <a:moveTo>
                    <a:pt x="17" y="87"/>
                  </a:moveTo>
                  <a:cubicBezTo>
                    <a:pt x="17" y="87"/>
                    <a:pt x="17" y="86"/>
                    <a:pt x="17" y="87"/>
                  </a:cubicBezTo>
                  <a:close/>
                  <a:moveTo>
                    <a:pt x="13" y="87"/>
                  </a:moveTo>
                  <a:cubicBezTo>
                    <a:pt x="13" y="87"/>
                    <a:pt x="13" y="87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lose/>
                  <a:moveTo>
                    <a:pt x="10" y="88"/>
                  </a:moveTo>
                  <a:cubicBezTo>
                    <a:pt x="10" y="88"/>
                    <a:pt x="10" y="88"/>
                    <a:pt x="10" y="87"/>
                  </a:cubicBezTo>
                  <a:cubicBezTo>
                    <a:pt x="11" y="87"/>
                    <a:pt x="10" y="88"/>
                    <a:pt x="10" y="88"/>
                  </a:cubicBezTo>
                  <a:close/>
                  <a:moveTo>
                    <a:pt x="14" y="87"/>
                  </a:moveTo>
                  <a:cubicBezTo>
                    <a:pt x="14" y="87"/>
                    <a:pt x="14" y="88"/>
                    <a:pt x="14" y="88"/>
                  </a:cubicBezTo>
                  <a:cubicBezTo>
                    <a:pt x="14" y="88"/>
                    <a:pt x="14" y="87"/>
                    <a:pt x="14" y="87"/>
                  </a:cubicBezTo>
                  <a:close/>
                  <a:moveTo>
                    <a:pt x="9" y="88"/>
                  </a:move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lose/>
                  <a:moveTo>
                    <a:pt x="11" y="89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89"/>
                    <a:pt x="11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lose/>
                  <a:moveTo>
                    <a:pt x="10" y="89"/>
                  </a:move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9"/>
                    <a:pt x="13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lose/>
                  <a:moveTo>
                    <a:pt x="11" y="89"/>
                  </a:move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1" y="89"/>
                  </a:cubicBezTo>
                  <a:close/>
                  <a:moveTo>
                    <a:pt x="17" y="90"/>
                  </a:move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1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ubicBezTo>
                    <a:pt x="12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lose/>
                  <a:moveTo>
                    <a:pt x="8" y="90"/>
                  </a:moveTo>
                  <a:cubicBezTo>
                    <a:pt x="8" y="90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10" y="90"/>
                  </a:move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lose/>
                  <a:moveTo>
                    <a:pt x="16" y="90"/>
                  </a:move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0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1" y="91"/>
                    <a:pt x="11" y="91"/>
                    <a:pt x="12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2"/>
                    <a:pt x="12" y="91"/>
                  </a:cubicBezTo>
                  <a:close/>
                  <a:moveTo>
                    <a:pt x="8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lose/>
                  <a:moveTo>
                    <a:pt x="16" y="92"/>
                  </a:move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8" y="92"/>
                  </a:cubicBezTo>
                  <a:cubicBezTo>
                    <a:pt x="8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lose/>
                  <a:moveTo>
                    <a:pt x="5" y="92"/>
                  </a:moveTo>
                  <a:cubicBezTo>
                    <a:pt x="5" y="92"/>
                    <a:pt x="5" y="92"/>
                    <a:pt x="5" y="93"/>
                  </a:cubicBezTo>
                  <a:cubicBezTo>
                    <a:pt x="5" y="93"/>
                    <a:pt x="5" y="93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lose/>
                  <a:moveTo>
                    <a:pt x="6" y="94"/>
                  </a:moveTo>
                  <a:cubicBezTo>
                    <a:pt x="6" y="95"/>
                    <a:pt x="6" y="96"/>
                    <a:pt x="6" y="97"/>
                  </a:cubicBezTo>
                  <a:cubicBezTo>
                    <a:pt x="6" y="95"/>
                    <a:pt x="6" y="94"/>
                    <a:pt x="6" y="93"/>
                  </a:cubicBezTo>
                  <a:cubicBezTo>
                    <a:pt x="6" y="93"/>
                    <a:pt x="6" y="93"/>
                    <a:pt x="6" y="92"/>
                  </a:cubicBezTo>
                  <a:cubicBezTo>
                    <a:pt x="6" y="93"/>
                    <a:pt x="6" y="93"/>
                    <a:pt x="6" y="94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9" y="93"/>
                    <a:pt x="10" y="92"/>
                    <a:pt x="10" y="92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2"/>
                  </a:cubicBezTo>
                  <a:close/>
                  <a:moveTo>
                    <a:pt x="6" y="93"/>
                  </a:moveTo>
                  <a:cubicBezTo>
                    <a:pt x="6" y="93"/>
                    <a:pt x="6" y="93"/>
                    <a:pt x="6" y="93"/>
                  </a:cubicBezTo>
                  <a:cubicBezTo>
                    <a:pt x="5" y="93"/>
                    <a:pt x="5" y="92"/>
                    <a:pt x="6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9" y="93"/>
                    <a:pt x="8" y="93"/>
                  </a:cubicBezTo>
                  <a:cubicBezTo>
                    <a:pt x="9" y="93"/>
                    <a:pt x="8" y="93"/>
                    <a:pt x="8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6" y="94"/>
                  </a:moveTo>
                  <a:cubicBezTo>
                    <a:pt x="6" y="94"/>
                    <a:pt x="6" y="94"/>
                    <a:pt x="6" y="93"/>
                  </a:cubicBezTo>
                  <a:cubicBezTo>
                    <a:pt x="6" y="93"/>
                    <a:pt x="6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6" y="94"/>
                  </a:cubicBezTo>
                  <a:cubicBezTo>
                    <a:pt x="7" y="93"/>
                    <a:pt x="6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3"/>
                    <a:pt x="11" y="94"/>
                  </a:cubicBezTo>
                  <a:cubicBezTo>
                    <a:pt x="11" y="94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4"/>
                    <a:pt x="11" y="94"/>
                  </a:cubicBezTo>
                  <a:close/>
                  <a:moveTo>
                    <a:pt x="13" y="93"/>
                  </a:moveTo>
                  <a:cubicBezTo>
                    <a:pt x="13" y="93"/>
                    <a:pt x="13" y="93"/>
                    <a:pt x="13" y="94"/>
                  </a:cubicBezTo>
                  <a:cubicBezTo>
                    <a:pt x="13" y="94"/>
                    <a:pt x="13" y="93"/>
                    <a:pt x="13" y="93"/>
                  </a:cubicBezTo>
                  <a:close/>
                  <a:moveTo>
                    <a:pt x="12" y="94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4"/>
                    <a:pt x="12" y="94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lose/>
                  <a:moveTo>
                    <a:pt x="12" y="94"/>
                  </a:moveTo>
                  <a:cubicBezTo>
                    <a:pt x="12" y="94"/>
                    <a:pt x="12" y="95"/>
                    <a:pt x="12" y="95"/>
                  </a:cubicBezTo>
                  <a:cubicBezTo>
                    <a:pt x="12" y="94"/>
                    <a:pt x="12" y="94"/>
                    <a:pt x="12" y="94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lose/>
                  <a:moveTo>
                    <a:pt x="7" y="95"/>
                  </a:moveTo>
                  <a:cubicBezTo>
                    <a:pt x="7" y="95"/>
                    <a:pt x="6" y="95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lose/>
                  <a:moveTo>
                    <a:pt x="7" y="95"/>
                  </a:moveTo>
                  <a:cubicBezTo>
                    <a:pt x="7" y="95"/>
                    <a:pt x="7" y="95"/>
                    <a:pt x="7" y="96"/>
                  </a:cubicBezTo>
                  <a:cubicBezTo>
                    <a:pt x="7" y="95"/>
                    <a:pt x="7" y="95"/>
                    <a:pt x="7" y="95"/>
                  </a:cubicBezTo>
                  <a:close/>
                  <a:moveTo>
                    <a:pt x="11" y="95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5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8" y="96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5"/>
                    <a:pt x="8" y="95"/>
                  </a:cubicBezTo>
                  <a:cubicBezTo>
                    <a:pt x="8" y="96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lose/>
                  <a:moveTo>
                    <a:pt x="8" y="96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6"/>
                    <a:pt x="8" y="96"/>
                  </a:cubicBezTo>
                  <a:close/>
                  <a:moveTo>
                    <a:pt x="11" y="96"/>
                  </a:moveTo>
                  <a:cubicBezTo>
                    <a:pt x="11" y="96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lose/>
                  <a:moveTo>
                    <a:pt x="7" y="96"/>
                  </a:moveTo>
                  <a:cubicBezTo>
                    <a:pt x="7" y="96"/>
                    <a:pt x="7" y="97"/>
                    <a:pt x="7" y="96"/>
                  </a:cubicBezTo>
                  <a:cubicBezTo>
                    <a:pt x="7" y="96"/>
                    <a:pt x="7" y="96"/>
                    <a:pt x="7" y="96"/>
                  </a:cubicBezTo>
                  <a:close/>
                  <a:moveTo>
                    <a:pt x="13" y="97"/>
                  </a:move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5" y="98"/>
                    <a:pt x="14" y="98"/>
                  </a:cubicBezTo>
                  <a:cubicBezTo>
                    <a:pt x="14" y="98"/>
                    <a:pt x="14" y="97"/>
                    <a:pt x="14" y="97"/>
                  </a:cubicBezTo>
                  <a:cubicBezTo>
                    <a:pt x="14" y="97"/>
                    <a:pt x="14" y="97"/>
                    <a:pt x="14" y="98"/>
                  </a:cubicBezTo>
                  <a:cubicBezTo>
                    <a:pt x="14" y="97"/>
                    <a:pt x="14" y="97"/>
                    <a:pt x="14" y="96"/>
                  </a:cubicBezTo>
                  <a:cubicBezTo>
                    <a:pt x="14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4"/>
                  </a:cubicBezTo>
                  <a:cubicBezTo>
                    <a:pt x="15" y="95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5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7" y="98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6"/>
                    <a:pt x="12" y="96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6" y="98"/>
                  </a:move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6" y="98"/>
                    <a:pt x="6" y="98"/>
                  </a:cubicBezTo>
                  <a:close/>
                  <a:moveTo>
                    <a:pt x="7" y="97"/>
                  </a:moveTo>
                  <a:cubicBezTo>
                    <a:pt x="6" y="97"/>
                    <a:pt x="7" y="98"/>
                    <a:pt x="6" y="98"/>
                  </a:cubicBezTo>
                  <a:cubicBezTo>
                    <a:pt x="6" y="98"/>
                    <a:pt x="6" y="98"/>
                    <a:pt x="6" y="97"/>
                  </a:cubicBezTo>
                  <a:cubicBezTo>
                    <a:pt x="6" y="97"/>
                    <a:pt x="7" y="97"/>
                    <a:pt x="7" y="97"/>
                  </a:cubicBezTo>
                  <a:close/>
                  <a:moveTo>
                    <a:pt x="11" y="97"/>
                  </a:moveTo>
                  <a:cubicBezTo>
                    <a:pt x="11" y="97"/>
                    <a:pt x="12" y="97"/>
                    <a:pt x="12" y="97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8"/>
                    <a:pt x="10" y="98"/>
                    <a:pt x="10" y="97"/>
                  </a:cubicBezTo>
                  <a:cubicBezTo>
                    <a:pt x="10" y="97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14" y="98"/>
                  </a:moveTo>
                  <a:cubicBezTo>
                    <a:pt x="14" y="99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9"/>
                    <a:pt x="14" y="99"/>
                  </a:cubicBezTo>
                  <a:cubicBezTo>
                    <a:pt x="14" y="99"/>
                    <a:pt x="14" y="99"/>
                    <a:pt x="14" y="98"/>
                  </a:cubicBezTo>
                  <a:close/>
                  <a:moveTo>
                    <a:pt x="11" y="98"/>
                  </a:moveTo>
                  <a:cubicBezTo>
                    <a:pt x="11" y="98"/>
                    <a:pt x="12" y="98"/>
                    <a:pt x="11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1" y="98"/>
                  </a:cubicBezTo>
                  <a:close/>
                  <a:moveTo>
                    <a:pt x="8" y="99"/>
                  </a:moveTo>
                  <a:cubicBezTo>
                    <a:pt x="8" y="99"/>
                    <a:pt x="8" y="99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lose/>
                  <a:moveTo>
                    <a:pt x="6" y="99"/>
                  </a:moveTo>
                  <a:cubicBezTo>
                    <a:pt x="6" y="99"/>
                    <a:pt x="6" y="99"/>
                    <a:pt x="6" y="99"/>
                  </a:cubicBezTo>
                  <a:cubicBezTo>
                    <a:pt x="7" y="99"/>
                    <a:pt x="7" y="99"/>
                    <a:pt x="6" y="99"/>
                  </a:cubicBezTo>
                  <a:close/>
                  <a:moveTo>
                    <a:pt x="8" y="99"/>
                  </a:move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8" y="100"/>
                    <a:pt x="8" y="99"/>
                  </a:cubicBezTo>
                  <a:close/>
                  <a:moveTo>
                    <a:pt x="12" y="101"/>
                  </a:moveTo>
                  <a:cubicBezTo>
                    <a:pt x="12" y="100"/>
                    <a:pt x="11" y="100"/>
                    <a:pt x="12" y="99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1"/>
                    <a:pt x="12" y="101"/>
                  </a:cubicBezTo>
                  <a:close/>
                  <a:moveTo>
                    <a:pt x="12" y="100"/>
                  </a:moveTo>
                  <a:cubicBezTo>
                    <a:pt x="12" y="100"/>
                    <a:pt x="12" y="100"/>
                    <a:pt x="12" y="99"/>
                  </a:cubicBezTo>
                  <a:cubicBezTo>
                    <a:pt x="13" y="100"/>
                    <a:pt x="12" y="100"/>
                    <a:pt x="12" y="100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1"/>
                    <a:pt x="13" y="101"/>
                  </a:cubicBezTo>
                  <a:cubicBezTo>
                    <a:pt x="13" y="102"/>
                    <a:pt x="13" y="100"/>
                    <a:pt x="13" y="100"/>
                  </a:cubicBezTo>
                  <a:close/>
                  <a:moveTo>
                    <a:pt x="12" y="101"/>
                  </a:moveTo>
                  <a:cubicBezTo>
                    <a:pt x="12" y="101"/>
                    <a:pt x="12" y="101"/>
                    <a:pt x="12" y="101"/>
                  </a:cubicBezTo>
                  <a:cubicBezTo>
                    <a:pt x="12" y="101"/>
                    <a:pt x="12" y="102"/>
                    <a:pt x="12" y="102"/>
                  </a:cubicBezTo>
                  <a:cubicBezTo>
                    <a:pt x="12" y="102"/>
                    <a:pt x="12" y="101"/>
                    <a:pt x="12" y="101"/>
                  </a:cubicBezTo>
                  <a:close/>
                  <a:moveTo>
                    <a:pt x="9" y="102"/>
                  </a:moveTo>
                  <a:cubicBezTo>
                    <a:pt x="9" y="102"/>
                    <a:pt x="9" y="101"/>
                    <a:pt x="9" y="101"/>
                  </a:cubicBezTo>
                  <a:cubicBezTo>
                    <a:pt x="9" y="101"/>
                    <a:pt x="9" y="101"/>
                    <a:pt x="9" y="102"/>
                  </a:cubicBezTo>
                  <a:close/>
                  <a:moveTo>
                    <a:pt x="14" y="102"/>
                  </a:moveTo>
                  <a:cubicBezTo>
                    <a:pt x="13" y="102"/>
                    <a:pt x="13" y="101"/>
                    <a:pt x="13" y="101"/>
                  </a:cubicBezTo>
                  <a:cubicBezTo>
                    <a:pt x="14" y="101"/>
                    <a:pt x="14" y="102"/>
                    <a:pt x="14" y="102"/>
                  </a:cubicBezTo>
                  <a:close/>
                  <a:moveTo>
                    <a:pt x="14" y="102"/>
                  </a:moveTo>
                  <a:cubicBezTo>
                    <a:pt x="14" y="102"/>
                    <a:pt x="14" y="102"/>
                    <a:pt x="14" y="102"/>
                  </a:cubicBezTo>
                  <a:cubicBezTo>
                    <a:pt x="14" y="102"/>
                    <a:pt x="14" y="101"/>
                    <a:pt x="14" y="101"/>
                  </a:cubicBezTo>
                  <a:cubicBezTo>
                    <a:pt x="14" y="101"/>
                    <a:pt x="14" y="102"/>
                    <a:pt x="14" y="102"/>
                  </a:cubicBezTo>
                  <a:cubicBezTo>
                    <a:pt x="14" y="102"/>
                    <a:pt x="14" y="102"/>
                    <a:pt x="14" y="102"/>
                  </a:cubicBezTo>
                  <a:close/>
                  <a:moveTo>
                    <a:pt x="7" y="102"/>
                  </a:move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lose/>
                  <a:moveTo>
                    <a:pt x="7" y="103"/>
                  </a:moveTo>
                  <a:cubicBezTo>
                    <a:pt x="7" y="103"/>
                    <a:pt x="7" y="104"/>
                    <a:pt x="7" y="104"/>
                  </a:cubicBezTo>
                  <a:cubicBezTo>
                    <a:pt x="7" y="104"/>
                    <a:pt x="7" y="104"/>
                    <a:pt x="7" y="103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2" y="105"/>
                    <a:pt x="12" y="105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5"/>
                  </a:cubicBezTo>
                  <a:cubicBezTo>
                    <a:pt x="9" y="105"/>
                    <a:pt x="9" y="104"/>
                    <a:pt x="9" y="104"/>
                  </a:cubicBezTo>
                  <a:close/>
                  <a:moveTo>
                    <a:pt x="11" y="104"/>
                  </a:moveTo>
                  <a:cubicBezTo>
                    <a:pt x="11" y="104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4"/>
                  </a:cubicBezTo>
                  <a:close/>
                  <a:moveTo>
                    <a:pt x="9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lose/>
                  <a:moveTo>
                    <a:pt x="8" y="107"/>
                  </a:moveTo>
                  <a:cubicBezTo>
                    <a:pt x="8" y="107"/>
                    <a:pt x="7" y="106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lose/>
                  <a:moveTo>
                    <a:pt x="9" y="107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lose/>
                  <a:moveTo>
                    <a:pt x="10" y="107"/>
                  </a:move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8"/>
                    <a:pt x="10" y="107"/>
                  </a:cubicBezTo>
                  <a:close/>
                  <a:moveTo>
                    <a:pt x="7" y="107"/>
                  </a:moveTo>
                  <a:cubicBezTo>
                    <a:pt x="7" y="107"/>
                    <a:pt x="7" y="108"/>
                    <a:pt x="7" y="108"/>
                  </a:cubicBezTo>
                  <a:cubicBezTo>
                    <a:pt x="7" y="108"/>
                    <a:pt x="7" y="107"/>
                    <a:pt x="7" y="107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7"/>
                  </a:cubicBezTo>
                  <a:cubicBezTo>
                    <a:pt x="8" y="107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3" y="108"/>
                  </a:moveTo>
                  <a:cubicBezTo>
                    <a:pt x="12" y="108"/>
                    <a:pt x="12" y="107"/>
                    <a:pt x="12" y="107"/>
                  </a:cubicBezTo>
                  <a:cubicBezTo>
                    <a:pt x="13" y="107"/>
                    <a:pt x="13" y="108"/>
                    <a:pt x="13" y="108"/>
                  </a:cubicBezTo>
                  <a:close/>
                  <a:moveTo>
                    <a:pt x="9" y="108"/>
                  </a:moveTo>
                  <a:cubicBezTo>
                    <a:pt x="9" y="108"/>
                    <a:pt x="9" y="109"/>
                    <a:pt x="9" y="109"/>
                  </a:cubicBezTo>
                  <a:cubicBezTo>
                    <a:pt x="9" y="109"/>
                    <a:pt x="9" y="108"/>
                    <a:pt x="9" y="108"/>
                  </a:cubicBezTo>
                  <a:cubicBezTo>
                    <a:pt x="9" y="108"/>
                    <a:pt x="9" y="108"/>
                    <a:pt x="9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0" y="109"/>
                    <a:pt x="10" y="108"/>
                  </a:cubicBezTo>
                  <a:cubicBezTo>
                    <a:pt x="10" y="108"/>
                    <a:pt x="10" y="110"/>
                    <a:pt x="10" y="110"/>
                  </a:cubicBezTo>
                  <a:close/>
                  <a:moveTo>
                    <a:pt x="13" y="108"/>
                  </a:moveTo>
                  <a:cubicBezTo>
                    <a:pt x="14" y="108"/>
                    <a:pt x="14" y="109"/>
                    <a:pt x="13" y="109"/>
                  </a:cubicBezTo>
                  <a:cubicBezTo>
                    <a:pt x="13" y="109"/>
                    <a:pt x="13" y="108"/>
                    <a:pt x="13" y="108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8"/>
                    <a:pt x="7" y="109"/>
                  </a:cubicBezTo>
                  <a:close/>
                  <a:moveTo>
                    <a:pt x="9" y="109"/>
                  </a:moveTo>
                  <a:cubicBezTo>
                    <a:pt x="9" y="109"/>
                    <a:pt x="9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lose/>
                  <a:moveTo>
                    <a:pt x="12" y="109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2" y="109"/>
                  </a:cubicBezTo>
                  <a:close/>
                  <a:moveTo>
                    <a:pt x="8" y="111"/>
                  </a:moveTo>
                  <a:cubicBezTo>
                    <a:pt x="8" y="111"/>
                    <a:pt x="8" y="110"/>
                    <a:pt x="8" y="110"/>
                  </a:cubicBezTo>
                  <a:cubicBezTo>
                    <a:pt x="8" y="110"/>
                    <a:pt x="8" y="110"/>
                    <a:pt x="8" y="111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09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4" y="110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1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2" y="111"/>
                  </a:cubicBezTo>
                  <a:cubicBezTo>
                    <a:pt x="12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1"/>
                    <a:pt x="17" y="111"/>
                  </a:cubicBezTo>
                  <a:cubicBezTo>
                    <a:pt x="17" y="111"/>
                    <a:pt x="17" y="111"/>
                    <a:pt x="17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1"/>
                    <a:pt x="11" y="111"/>
                  </a:cubicBezTo>
                  <a:cubicBezTo>
                    <a:pt x="11" y="111"/>
                    <a:pt x="11" y="112"/>
                    <a:pt x="11" y="112"/>
                  </a:cubicBezTo>
                  <a:close/>
                  <a:moveTo>
                    <a:pt x="8" y="112"/>
                  </a:moveTo>
                  <a:cubicBezTo>
                    <a:pt x="8" y="112"/>
                    <a:pt x="8" y="112"/>
                    <a:pt x="8" y="111"/>
                  </a:cubicBezTo>
                  <a:cubicBezTo>
                    <a:pt x="8" y="112"/>
                    <a:pt x="8" y="112"/>
                    <a:pt x="9" y="112"/>
                  </a:cubicBezTo>
                  <a:cubicBezTo>
                    <a:pt x="9" y="112"/>
                    <a:pt x="8" y="112"/>
                    <a:pt x="8" y="112"/>
                  </a:cubicBezTo>
                  <a:close/>
                  <a:moveTo>
                    <a:pt x="17" y="112"/>
                  </a:move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3"/>
                    <a:pt x="8" y="113"/>
                  </a:cubicBezTo>
                  <a:cubicBezTo>
                    <a:pt x="8" y="113"/>
                    <a:pt x="8" y="114"/>
                    <a:pt x="8" y="114"/>
                  </a:cubicBezTo>
                  <a:close/>
                  <a:moveTo>
                    <a:pt x="9" y="115"/>
                  </a:moveTo>
                  <a:cubicBezTo>
                    <a:pt x="8" y="114"/>
                    <a:pt x="9" y="115"/>
                    <a:pt x="9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8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9" y="115"/>
                    <a:pt x="9" y="114"/>
                    <a:pt x="9" y="114"/>
                  </a:cubicBezTo>
                  <a:close/>
                  <a:moveTo>
                    <a:pt x="8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6"/>
                    <a:pt x="9" y="116"/>
                  </a:cubicBezTo>
                  <a:cubicBezTo>
                    <a:pt x="8" y="116"/>
                    <a:pt x="9" y="116"/>
                    <a:pt x="8" y="115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lose/>
                  <a:moveTo>
                    <a:pt x="9" y="116"/>
                  </a:move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lose/>
                  <a:moveTo>
                    <a:pt x="13" y="116"/>
                  </a:move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lose/>
                  <a:moveTo>
                    <a:pt x="19" y="121"/>
                  </a:moveTo>
                  <a:cubicBezTo>
                    <a:pt x="19" y="121"/>
                    <a:pt x="19" y="121"/>
                    <a:pt x="19" y="122"/>
                  </a:cubicBezTo>
                  <a:cubicBezTo>
                    <a:pt x="19" y="120"/>
                    <a:pt x="18" y="118"/>
                    <a:pt x="18" y="117"/>
                  </a:cubicBezTo>
                  <a:cubicBezTo>
                    <a:pt x="18" y="117"/>
                    <a:pt x="18" y="117"/>
                    <a:pt x="19" y="117"/>
                  </a:cubicBezTo>
                  <a:cubicBezTo>
                    <a:pt x="18" y="118"/>
                    <a:pt x="19" y="120"/>
                    <a:pt x="19" y="121"/>
                  </a:cubicBezTo>
                  <a:cubicBezTo>
                    <a:pt x="19" y="121"/>
                    <a:pt x="19" y="120"/>
                    <a:pt x="19" y="121"/>
                  </a:cubicBezTo>
                  <a:close/>
                  <a:moveTo>
                    <a:pt x="10" y="119"/>
                  </a:moveTo>
                  <a:cubicBezTo>
                    <a:pt x="10" y="119"/>
                    <a:pt x="10" y="118"/>
                    <a:pt x="10" y="118"/>
                  </a:cubicBezTo>
                  <a:cubicBezTo>
                    <a:pt x="10" y="118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7"/>
                  </a:cubicBezTo>
                  <a:cubicBezTo>
                    <a:pt x="10" y="118"/>
                    <a:pt x="10" y="119"/>
                    <a:pt x="10" y="119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2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3" y="120"/>
                  </a:move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3" y="121"/>
                  </a:cubicBezTo>
                  <a:cubicBezTo>
                    <a:pt x="13" y="121"/>
                    <a:pt x="13" y="120"/>
                    <a:pt x="13" y="120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0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10" y="121"/>
                    <a:pt x="10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3" y="122"/>
                  </a:move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2"/>
                    <a:pt x="9" y="122"/>
                  </a:cubicBezTo>
                  <a:cubicBezTo>
                    <a:pt x="9" y="122"/>
                    <a:pt x="9" y="123"/>
                    <a:pt x="9" y="123"/>
                  </a:cubicBezTo>
                  <a:close/>
                  <a:moveTo>
                    <a:pt x="11" y="122"/>
                  </a:move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13" y="123"/>
                  </a:moveTo>
                  <a:cubicBezTo>
                    <a:pt x="13" y="124"/>
                    <a:pt x="13" y="125"/>
                    <a:pt x="13" y="125"/>
                  </a:cubicBezTo>
                  <a:cubicBezTo>
                    <a:pt x="13" y="125"/>
                    <a:pt x="13" y="124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lose/>
                  <a:moveTo>
                    <a:pt x="12" y="124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lose/>
                  <a:moveTo>
                    <a:pt x="11" y="125"/>
                  </a:move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4"/>
                    <a:pt x="11" y="125"/>
                  </a:cubicBezTo>
                  <a:close/>
                  <a:moveTo>
                    <a:pt x="11" y="124"/>
                  </a:moveTo>
                  <a:cubicBezTo>
                    <a:pt x="11" y="124"/>
                    <a:pt x="11" y="125"/>
                    <a:pt x="11" y="125"/>
                  </a:cubicBezTo>
                  <a:cubicBezTo>
                    <a:pt x="11" y="125"/>
                    <a:pt x="11" y="124"/>
                    <a:pt x="11" y="124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5"/>
                  </a:cubicBezTo>
                  <a:cubicBezTo>
                    <a:pt x="11" y="125"/>
                    <a:pt x="11" y="126"/>
                    <a:pt x="11" y="126"/>
                  </a:cubicBezTo>
                  <a:close/>
                  <a:moveTo>
                    <a:pt x="12" y="126"/>
                  </a:moveTo>
                  <a:cubicBezTo>
                    <a:pt x="12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2" y="126"/>
                    <a:pt x="12" y="126"/>
                  </a:cubicBezTo>
                  <a:cubicBezTo>
                    <a:pt x="12" y="127"/>
                    <a:pt x="12" y="128"/>
                    <a:pt x="13" y="128"/>
                  </a:cubicBezTo>
                  <a:cubicBezTo>
                    <a:pt x="12" y="128"/>
                    <a:pt x="13" y="129"/>
                    <a:pt x="13" y="130"/>
                  </a:cubicBezTo>
                  <a:cubicBezTo>
                    <a:pt x="12" y="128"/>
                    <a:pt x="12" y="127"/>
                    <a:pt x="12" y="125"/>
                  </a:cubicBezTo>
                  <a:cubicBezTo>
                    <a:pt x="13" y="125"/>
                    <a:pt x="12" y="125"/>
                    <a:pt x="12" y="126"/>
                  </a:cubicBezTo>
                  <a:close/>
                  <a:moveTo>
                    <a:pt x="9" y="125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5"/>
                  </a:cubicBezTo>
                  <a:close/>
                  <a:moveTo>
                    <a:pt x="12" y="126"/>
                  </a:moveTo>
                  <a:cubicBezTo>
                    <a:pt x="12" y="126"/>
                    <a:pt x="11" y="126"/>
                    <a:pt x="12" y="125"/>
                  </a:cubicBezTo>
                  <a:cubicBezTo>
                    <a:pt x="12" y="125"/>
                    <a:pt x="12" y="126"/>
                    <a:pt x="12" y="126"/>
                  </a:cubicBezTo>
                  <a:close/>
                  <a:moveTo>
                    <a:pt x="10" y="126"/>
                  </a:move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lose/>
                  <a:moveTo>
                    <a:pt x="9" y="127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5" y="126"/>
                  </a:moveTo>
                  <a:cubicBezTo>
                    <a:pt x="15" y="126"/>
                    <a:pt x="15" y="126"/>
                    <a:pt x="15" y="127"/>
                  </a:cubicBezTo>
                  <a:cubicBezTo>
                    <a:pt x="15" y="127"/>
                    <a:pt x="15" y="126"/>
                    <a:pt x="15" y="126"/>
                  </a:cubicBezTo>
                  <a:cubicBezTo>
                    <a:pt x="15" y="126"/>
                    <a:pt x="15" y="126"/>
                    <a:pt x="15" y="126"/>
                  </a:cubicBezTo>
                  <a:close/>
                  <a:moveTo>
                    <a:pt x="14" y="126"/>
                  </a:moveTo>
                  <a:cubicBezTo>
                    <a:pt x="14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4" y="126"/>
                  </a:cubicBezTo>
                  <a:close/>
                  <a:moveTo>
                    <a:pt x="9" y="127"/>
                  </a:moveTo>
                  <a:cubicBezTo>
                    <a:pt x="9" y="127"/>
                    <a:pt x="9" y="127"/>
                    <a:pt x="9" y="127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1" y="127"/>
                  </a:moveTo>
                  <a:cubicBezTo>
                    <a:pt x="12" y="127"/>
                    <a:pt x="11" y="127"/>
                    <a:pt x="12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0" y="128"/>
                  </a:moveTo>
                  <a:cubicBezTo>
                    <a:pt x="10" y="128"/>
                    <a:pt x="10" y="128"/>
                    <a:pt x="10" y="127"/>
                  </a:cubicBezTo>
                  <a:cubicBezTo>
                    <a:pt x="10" y="128"/>
                    <a:pt x="10" y="128"/>
                    <a:pt x="10" y="128"/>
                  </a:cubicBezTo>
                  <a:close/>
                  <a:moveTo>
                    <a:pt x="13" y="127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3" y="128"/>
                    <a:pt x="13" y="127"/>
                    <a:pt x="13" y="127"/>
                  </a:cubicBezTo>
                  <a:close/>
                  <a:moveTo>
                    <a:pt x="15" y="128"/>
                  </a:move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1" y="130"/>
                  </a:moveTo>
                  <a:cubicBezTo>
                    <a:pt x="11" y="130"/>
                    <a:pt x="11" y="130"/>
                    <a:pt x="11" y="130"/>
                  </a:cubicBezTo>
                  <a:cubicBezTo>
                    <a:pt x="11" y="130"/>
                    <a:pt x="11" y="130"/>
                    <a:pt x="11" y="130"/>
                  </a:cubicBezTo>
                  <a:close/>
                  <a:moveTo>
                    <a:pt x="16" y="130"/>
                  </a:move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lose/>
                  <a:moveTo>
                    <a:pt x="15" y="131"/>
                  </a:move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lose/>
                  <a:moveTo>
                    <a:pt x="15" y="133"/>
                  </a:moveTo>
                  <a:cubicBezTo>
                    <a:pt x="14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lose/>
                  <a:moveTo>
                    <a:pt x="12" y="133"/>
                  </a:moveTo>
                  <a:cubicBezTo>
                    <a:pt x="12" y="133"/>
                    <a:pt x="12" y="133"/>
                    <a:pt x="12" y="133"/>
                  </a:cubicBezTo>
                  <a:cubicBezTo>
                    <a:pt x="11" y="133"/>
                    <a:pt x="12" y="133"/>
                    <a:pt x="12" y="133"/>
                  </a:cubicBezTo>
                  <a:close/>
                  <a:moveTo>
                    <a:pt x="17" y="135"/>
                  </a:moveTo>
                  <a:cubicBezTo>
                    <a:pt x="17" y="135"/>
                    <a:pt x="17" y="134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ubicBezTo>
                    <a:pt x="17" y="132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4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lose/>
                  <a:moveTo>
                    <a:pt x="15" y="133"/>
                  </a:move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6" y="134"/>
                  </a:moveTo>
                  <a:cubicBezTo>
                    <a:pt x="15" y="134"/>
                    <a:pt x="15" y="134"/>
                    <a:pt x="15" y="134"/>
                  </a:cubicBezTo>
                  <a:cubicBezTo>
                    <a:pt x="16" y="134"/>
                    <a:pt x="15" y="133"/>
                    <a:pt x="15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4"/>
                    <a:pt x="15" y="134"/>
                    <a:pt x="16" y="134"/>
                  </a:cubicBezTo>
                  <a:close/>
                  <a:moveTo>
                    <a:pt x="16" y="133"/>
                  </a:move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6" y="133"/>
                  </a:moveTo>
                  <a:cubicBezTo>
                    <a:pt x="17" y="133"/>
                    <a:pt x="16" y="133"/>
                    <a:pt x="17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8" y="134"/>
                  </a:move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lose/>
                  <a:moveTo>
                    <a:pt x="19" y="133"/>
                  </a:move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19" y="134"/>
                    <a:pt x="19" y="134"/>
                  </a:cubicBezTo>
                  <a:cubicBezTo>
                    <a:pt x="19" y="134"/>
                    <a:pt x="18" y="133"/>
                    <a:pt x="19" y="133"/>
                  </a:cubicBezTo>
                  <a:cubicBezTo>
                    <a:pt x="19" y="133"/>
                    <a:pt x="19" y="133"/>
                    <a:pt x="19" y="133"/>
                  </a:cubicBezTo>
                  <a:close/>
                  <a:moveTo>
                    <a:pt x="12" y="135"/>
                  </a:moveTo>
                  <a:cubicBezTo>
                    <a:pt x="12" y="135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5"/>
                  </a:cubicBezTo>
                  <a:close/>
                  <a:moveTo>
                    <a:pt x="17" y="134"/>
                  </a:moveTo>
                  <a:cubicBezTo>
                    <a:pt x="17" y="134"/>
                    <a:pt x="17" y="134"/>
                    <a:pt x="17" y="134"/>
                  </a:cubicBezTo>
                  <a:cubicBezTo>
                    <a:pt x="16" y="134"/>
                    <a:pt x="16" y="134"/>
                    <a:pt x="16" y="134"/>
                  </a:cubicBezTo>
                  <a:lnTo>
                    <a:pt x="17" y="134"/>
                  </a:ln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4"/>
                    <a:pt x="15" y="134"/>
                  </a:cubicBezTo>
                  <a:close/>
                  <a:moveTo>
                    <a:pt x="9" y="135"/>
                  </a:moveTo>
                  <a:cubicBezTo>
                    <a:pt x="9" y="136"/>
                    <a:pt x="9" y="136"/>
                    <a:pt x="9" y="135"/>
                  </a:cubicBezTo>
                  <a:cubicBezTo>
                    <a:pt x="9" y="135"/>
                    <a:pt x="9" y="135"/>
                    <a:pt x="9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9" y="137"/>
                  </a:moveTo>
                  <a:cubicBezTo>
                    <a:pt x="9" y="136"/>
                    <a:pt x="9" y="136"/>
                    <a:pt x="9" y="136"/>
                  </a:cubicBezTo>
                  <a:cubicBezTo>
                    <a:pt x="9" y="136"/>
                    <a:pt x="9" y="136"/>
                    <a:pt x="9" y="137"/>
                  </a:cubicBezTo>
                  <a:close/>
                  <a:moveTo>
                    <a:pt x="15" y="137"/>
                  </a:move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7"/>
                  </a:cubicBezTo>
                  <a:cubicBezTo>
                    <a:pt x="18" y="137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4" y="137"/>
                  </a:move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6"/>
                  </a:cubicBezTo>
                  <a:cubicBezTo>
                    <a:pt x="14" y="136"/>
                    <a:pt x="14" y="137"/>
                    <a:pt x="14" y="137"/>
                  </a:cubicBezTo>
                  <a:close/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6"/>
                  </a:cubicBezTo>
                  <a:cubicBezTo>
                    <a:pt x="18" y="136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lose/>
                  <a:moveTo>
                    <a:pt x="19" y="137"/>
                  </a:moveTo>
                  <a:cubicBezTo>
                    <a:pt x="19" y="137"/>
                    <a:pt x="19" y="137"/>
                    <a:pt x="19" y="136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7"/>
                    <a:pt x="19" y="137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7"/>
                    <a:pt x="17" y="137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3" y="138"/>
                  </a:moveTo>
                  <a:cubicBezTo>
                    <a:pt x="13" y="138"/>
                    <a:pt x="13" y="138"/>
                    <a:pt x="13" y="138"/>
                  </a:cubicBezTo>
                  <a:cubicBezTo>
                    <a:pt x="13" y="138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8"/>
                    <a:pt x="13" y="138"/>
                  </a:cubicBezTo>
                  <a:close/>
                  <a:moveTo>
                    <a:pt x="16" y="137"/>
                  </a:moveTo>
                  <a:cubicBezTo>
                    <a:pt x="17" y="137"/>
                    <a:pt x="16" y="137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lose/>
                  <a:moveTo>
                    <a:pt x="17" y="137"/>
                  </a:moveTo>
                  <a:cubicBezTo>
                    <a:pt x="17" y="138"/>
                    <a:pt x="17" y="138"/>
                    <a:pt x="17" y="138"/>
                  </a:cubicBezTo>
                  <a:cubicBezTo>
                    <a:pt x="17" y="138"/>
                    <a:pt x="17" y="138"/>
                    <a:pt x="17" y="137"/>
                  </a:cubicBezTo>
                  <a:close/>
                  <a:moveTo>
                    <a:pt x="15" y="138"/>
                  </a:moveTo>
                  <a:cubicBezTo>
                    <a:pt x="15" y="139"/>
                    <a:pt x="14" y="139"/>
                    <a:pt x="14" y="139"/>
                  </a:cubicBezTo>
                  <a:cubicBezTo>
                    <a:pt x="14" y="139"/>
                    <a:pt x="15" y="139"/>
                    <a:pt x="15" y="139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8"/>
                    <a:pt x="14" y="139"/>
                    <a:pt x="14" y="139"/>
                  </a:cubicBezTo>
                  <a:cubicBezTo>
                    <a:pt x="14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5" y="138"/>
                  </a:cubicBezTo>
                  <a:close/>
                  <a:moveTo>
                    <a:pt x="17" y="140"/>
                  </a:moveTo>
                  <a:cubicBezTo>
                    <a:pt x="17" y="139"/>
                    <a:pt x="17" y="139"/>
                    <a:pt x="17" y="138"/>
                  </a:cubicBezTo>
                  <a:cubicBezTo>
                    <a:pt x="17" y="139"/>
                    <a:pt x="17" y="139"/>
                    <a:pt x="17" y="140"/>
                  </a:cubicBezTo>
                  <a:close/>
                  <a:moveTo>
                    <a:pt x="15" y="139"/>
                  </a:moveTo>
                  <a:cubicBezTo>
                    <a:pt x="15" y="139"/>
                    <a:pt x="15" y="138"/>
                    <a:pt x="15" y="138"/>
                  </a:cubicBezTo>
                  <a:cubicBezTo>
                    <a:pt x="15" y="138"/>
                    <a:pt x="15" y="138"/>
                    <a:pt x="15" y="139"/>
                  </a:cubicBezTo>
                  <a:close/>
                  <a:moveTo>
                    <a:pt x="19" y="139"/>
                  </a:moveTo>
                  <a:cubicBezTo>
                    <a:pt x="19" y="139"/>
                    <a:pt x="19" y="139"/>
                    <a:pt x="19" y="138"/>
                  </a:cubicBezTo>
                  <a:cubicBezTo>
                    <a:pt x="19" y="139"/>
                    <a:pt x="19" y="139"/>
                    <a:pt x="19" y="139"/>
                  </a:cubicBezTo>
                  <a:close/>
                  <a:moveTo>
                    <a:pt x="14" y="140"/>
                  </a:moveTo>
                  <a:cubicBezTo>
                    <a:pt x="14" y="140"/>
                    <a:pt x="14" y="140"/>
                    <a:pt x="14" y="139"/>
                  </a:cubicBezTo>
                  <a:cubicBezTo>
                    <a:pt x="15" y="140"/>
                    <a:pt x="14" y="140"/>
                    <a:pt x="14" y="140"/>
                  </a:cubicBezTo>
                  <a:close/>
                  <a:moveTo>
                    <a:pt x="16" y="140"/>
                  </a:moveTo>
                  <a:cubicBezTo>
                    <a:pt x="16" y="140"/>
                    <a:pt x="16" y="140"/>
                    <a:pt x="16" y="140"/>
                  </a:cubicBezTo>
                  <a:cubicBezTo>
                    <a:pt x="16" y="140"/>
                    <a:pt x="16" y="140"/>
                    <a:pt x="15" y="140"/>
                  </a:cubicBezTo>
                  <a:cubicBezTo>
                    <a:pt x="15" y="140"/>
                    <a:pt x="16" y="140"/>
                    <a:pt x="16" y="139"/>
                  </a:cubicBezTo>
                  <a:cubicBezTo>
                    <a:pt x="16" y="139"/>
                    <a:pt x="16" y="140"/>
                    <a:pt x="16" y="140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7" y="140"/>
                    <a:pt x="17" y="140"/>
                    <a:pt x="17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1"/>
                    <a:pt x="19" y="141"/>
                  </a:cubicBezTo>
                  <a:cubicBezTo>
                    <a:pt x="19" y="140"/>
                    <a:pt x="19" y="141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1"/>
                    <a:pt x="19" y="141"/>
                    <a:pt x="19" y="141"/>
                  </a:cubicBezTo>
                  <a:cubicBezTo>
                    <a:pt x="19" y="141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3" y="142"/>
                  </a:move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2"/>
                  </a:cubicBezTo>
                  <a:close/>
                  <a:moveTo>
                    <a:pt x="14" y="142"/>
                  </a:moveTo>
                  <a:cubicBezTo>
                    <a:pt x="13" y="142"/>
                    <a:pt x="13" y="142"/>
                    <a:pt x="13" y="14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2"/>
                  </a:cubicBezTo>
                  <a:close/>
                  <a:moveTo>
                    <a:pt x="13" y="142"/>
                  </a:moveTo>
                  <a:cubicBezTo>
                    <a:pt x="13" y="142"/>
                    <a:pt x="13" y="141"/>
                    <a:pt x="13" y="142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14" y="142"/>
                    <a:pt x="13" y="142"/>
                    <a:pt x="13" y="142"/>
                  </a:cubicBezTo>
                  <a:close/>
                  <a:moveTo>
                    <a:pt x="14" y="142"/>
                  </a:move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1"/>
                    <a:pt x="14" y="142"/>
                    <a:pt x="14" y="141"/>
                  </a:cubicBezTo>
                  <a:cubicBezTo>
                    <a:pt x="14" y="141"/>
                    <a:pt x="14" y="142"/>
                    <a:pt x="14" y="142"/>
                  </a:cubicBezTo>
                  <a:close/>
                  <a:moveTo>
                    <a:pt x="11" y="142"/>
                  </a:move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2"/>
                    <a:pt x="11" y="142"/>
                  </a:cubicBezTo>
                  <a:close/>
                  <a:moveTo>
                    <a:pt x="17" y="141"/>
                  </a:moveTo>
                  <a:cubicBezTo>
                    <a:pt x="18" y="141"/>
                    <a:pt x="18" y="142"/>
                    <a:pt x="18" y="141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7" y="142"/>
                    <a:pt x="17" y="141"/>
                  </a:cubicBezTo>
                  <a:close/>
                  <a:moveTo>
                    <a:pt x="19" y="141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1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2"/>
                  </a:cubicBezTo>
                  <a:close/>
                  <a:moveTo>
                    <a:pt x="18" y="142"/>
                  </a:moveTo>
                  <a:cubicBezTo>
                    <a:pt x="18" y="142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8" y="142"/>
                  </a:cubicBezTo>
                  <a:cubicBezTo>
                    <a:pt x="19" y="143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ubicBezTo>
                    <a:pt x="18" y="142"/>
                    <a:pt x="19" y="142"/>
                    <a:pt x="19" y="142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4"/>
                    <a:pt x="13" y="144"/>
                    <a:pt x="14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4" y="144"/>
                    <a:pt x="14" y="144"/>
                    <a:pt x="14" y="145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lose/>
                  <a:moveTo>
                    <a:pt x="16" y="146"/>
                  </a:moveTo>
                  <a:cubicBezTo>
                    <a:pt x="16" y="146"/>
                    <a:pt x="16" y="146"/>
                    <a:pt x="16" y="145"/>
                  </a:cubicBezTo>
                  <a:cubicBezTo>
                    <a:pt x="16" y="145"/>
                    <a:pt x="16" y="146"/>
                    <a:pt x="16" y="146"/>
                  </a:cubicBezTo>
                  <a:close/>
                  <a:moveTo>
                    <a:pt x="10" y="147"/>
                  </a:moveTo>
                  <a:cubicBezTo>
                    <a:pt x="10" y="146"/>
                    <a:pt x="10" y="146"/>
                    <a:pt x="10" y="146"/>
                  </a:cubicBezTo>
                  <a:cubicBezTo>
                    <a:pt x="10" y="146"/>
                    <a:pt x="11" y="147"/>
                    <a:pt x="10" y="147"/>
                  </a:cubicBezTo>
                  <a:close/>
                  <a:moveTo>
                    <a:pt x="14" y="146"/>
                  </a:moveTo>
                  <a:cubicBezTo>
                    <a:pt x="14" y="146"/>
                    <a:pt x="14" y="146"/>
                    <a:pt x="14" y="146"/>
                  </a:cubicBezTo>
                  <a:cubicBezTo>
                    <a:pt x="14" y="147"/>
                    <a:pt x="14" y="147"/>
                    <a:pt x="14" y="147"/>
                  </a:cubicBezTo>
                  <a:lnTo>
                    <a:pt x="14" y="146"/>
                  </a:lnTo>
                  <a:close/>
                  <a:moveTo>
                    <a:pt x="14" y="148"/>
                  </a:moveTo>
                  <a:cubicBezTo>
                    <a:pt x="14" y="148"/>
                    <a:pt x="14" y="147"/>
                    <a:pt x="14" y="147"/>
                  </a:cubicBezTo>
                  <a:cubicBezTo>
                    <a:pt x="14" y="147"/>
                    <a:pt x="14" y="148"/>
                    <a:pt x="14" y="147"/>
                  </a:cubicBezTo>
                  <a:cubicBezTo>
                    <a:pt x="14" y="148"/>
                    <a:pt x="14" y="148"/>
                    <a:pt x="14" y="148"/>
                  </a:cubicBezTo>
                  <a:close/>
                  <a:moveTo>
                    <a:pt x="11" y="149"/>
                  </a:move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11" y="149"/>
                    <a:pt x="11" y="148"/>
                  </a:cubicBezTo>
                  <a:cubicBezTo>
                    <a:pt x="11" y="148"/>
                    <a:pt x="11" y="149"/>
                    <a:pt x="11" y="149"/>
                  </a:cubicBezTo>
                  <a:close/>
                  <a:moveTo>
                    <a:pt x="14" y="148"/>
                  </a:moveTo>
                  <a:cubicBezTo>
                    <a:pt x="15" y="148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lose/>
                  <a:moveTo>
                    <a:pt x="13" y="148"/>
                  </a:moveTo>
                  <a:cubicBezTo>
                    <a:pt x="14" y="148"/>
                    <a:pt x="14" y="148"/>
                    <a:pt x="14" y="149"/>
                  </a:cubicBezTo>
                  <a:cubicBezTo>
                    <a:pt x="13" y="149"/>
                    <a:pt x="14" y="148"/>
                    <a:pt x="13" y="148"/>
                  </a:cubicBezTo>
                  <a:close/>
                  <a:moveTo>
                    <a:pt x="14" y="148"/>
                  </a:moveTo>
                  <a:cubicBezTo>
                    <a:pt x="14" y="149"/>
                    <a:pt x="14" y="149"/>
                    <a:pt x="14" y="148"/>
                  </a:cubicBezTo>
                  <a:close/>
                  <a:moveTo>
                    <a:pt x="10" y="150"/>
                  </a:moveTo>
                  <a:cubicBezTo>
                    <a:pt x="10" y="150"/>
                    <a:pt x="10" y="149"/>
                    <a:pt x="10" y="149"/>
                  </a:cubicBezTo>
                  <a:cubicBezTo>
                    <a:pt x="10" y="149"/>
                    <a:pt x="10" y="151"/>
                    <a:pt x="10" y="150"/>
                  </a:cubicBezTo>
                  <a:close/>
                  <a:moveTo>
                    <a:pt x="16" y="150"/>
                  </a:moveTo>
                  <a:cubicBezTo>
                    <a:pt x="16" y="150"/>
                    <a:pt x="16" y="150"/>
                    <a:pt x="16" y="149"/>
                  </a:cubicBezTo>
                  <a:cubicBezTo>
                    <a:pt x="16" y="149"/>
                    <a:pt x="16" y="150"/>
                    <a:pt x="16" y="150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1"/>
                    <a:pt x="17" y="152"/>
                    <a:pt x="17" y="152"/>
                  </a:cubicBezTo>
                  <a:close/>
                  <a:moveTo>
                    <a:pt x="12" y="153"/>
                  </a:moveTo>
                  <a:cubicBezTo>
                    <a:pt x="12" y="152"/>
                    <a:pt x="12" y="152"/>
                    <a:pt x="12" y="152"/>
                  </a:cubicBezTo>
                  <a:cubicBezTo>
                    <a:pt x="13" y="152"/>
                    <a:pt x="13" y="153"/>
                    <a:pt x="12" y="153"/>
                  </a:cubicBezTo>
                  <a:close/>
                  <a:moveTo>
                    <a:pt x="14" y="154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53"/>
                    <a:pt x="14" y="153"/>
                    <a:pt x="14" y="154"/>
                  </a:cubicBezTo>
                  <a:close/>
                  <a:moveTo>
                    <a:pt x="18" y="153"/>
                  </a:move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lose/>
                  <a:moveTo>
                    <a:pt x="17" y="153"/>
                  </a:moveTo>
                  <a:cubicBezTo>
                    <a:pt x="17" y="153"/>
                    <a:pt x="17" y="154"/>
                    <a:pt x="17" y="154"/>
                  </a:cubicBezTo>
                  <a:cubicBezTo>
                    <a:pt x="17" y="154"/>
                    <a:pt x="17" y="154"/>
                    <a:pt x="17" y="153"/>
                  </a:cubicBezTo>
                  <a:close/>
                  <a:moveTo>
                    <a:pt x="19" y="154"/>
                  </a:moveTo>
                  <a:cubicBezTo>
                    <a:pt x="19" y="153"/>
                    <a:pt x="19" y="153"/>
                    <a:pt x="19" y="153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lose/>
                  <a:moveTo>
                    <a:pt x="13" y="155"/>
                  </a:moveTo>
                  <a:cubicBezTo>
                    <a:pt x="13" y="155"/>
                    <a:pt x="13" y="155"/>
                    <a:pt x="13" y="155"/>
                  </a:cubicBezTo>
                  <a:cubicBezTo>
                    <a:pt x="13" y="154"/>
                    <a:pt x="13" y="155"/>
                    <a:pt x="13" y="155"/>
                  </a:cubicBezTo>
                  <a:close/>
                  <a:moveTo>
                    <a:pt x="20" y="155"/>
                  </a:move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lose/>
                  <a:moveTo>
                    <a:pt x="18" y="155"/>
                  </a:move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lose/>
                  <a:moveTo>
                    <a:pt x="14" y="161"/>
                  </a:moveTo>
                  <a:cubicBezTo>
                    <a:pt x="14" y="161"/>
                    <a:pt x="14" y="161"/>
                    <a:pt x="14" y="161"/>
                  </a:cubicBezTo>
                  <a:cubicBezTo>
                    <a:pt x="14" y="161"/>
                    <a:pt x="14" y="161"/>
                    <a:pt x="14" y="161"/>
                  </a:cubicBezTo>
                  <a:close/>
                  <a:moveTo>
                    <a:pt x="18" y="167"/>
                  </a:moveTo>
                  <a:cubicBezTo>
                    <a:pt x="19" y="167"/>
                    <a:pt x="18" y="168"/>
                    <a:pt x="19" y="168"/>
                  </a:cubicBezTo>
                  <a:cubicBezTo>
                    <a:pt x="18" y="168"/>
                    <a:pt x="19" y="168"/>
                    <a:pt x="18" y="167"/>
                  </a:cubicBezTo>
                  <a:close/>
                  <a:moveTo>
                    <a:pt x="15" y="169"/>
                  </a:moveTo>
                  <a:cubicBezTo>
                    <a:pt x="15" y="169"/>
                    <a:pt x="15" y="169"/>
                    <a:pt x="15" y="170"/>
                  </a:cubicBezTo>
                  <a:cubicBezTo>
                    <a:pt x="15" y="169"/>
                    <a:pt x="15" y="169"/>
                    <a:pt x="15" y="169"/>
                  </a:cubicBezTo>
                  <a:close/>
                  <a:moveTo>
                    <a:pt x="19" y="170"/>
                  </a:move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6"/>
                    <a:pt x="19" y="176"/>
                  </a:cubicBezTo>
                  <a:cubicBezTo>
                    <a:pt x="19" y="176"/>
                    <a:pt x="19" y="175"/>
                    <a:pt x="19" y="175"/>
                  </a:cubicBezTo>
                  <a:close/>
                  <a:moveTo>
                    <a:pt x="20" y="177"/>
                  </a:moveTo>
                  <a:cubicBezTo>
                    <a:pt x="21" y="177"/>
                    <a:pt x="21" y="178"/>
                    <a:pt x="20" y="178"/>
                  </a:cubicBezTo>
                  <a:cubicBezTo>
                    <a:pt x="20" y="178"/>
                    <a:pt x="20" y="177"/>
                    <a:pt x="20" y="177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0"/>
                    <a:pt x="20" y="180"/>
                    <a:pt x="20" y="180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0" y="181"/>
                    <a:pt x="20" y="180"/>
                    <a:pt x="20" y="180"/>
                  </a:cubicBezTo>
                  <a:close/>
                  <a:moveTo>
                    <a:pt x="20" y="181"/>
                  </a:moveTo>
                  <a:cubicBezTo>
                    <a:pt x="20" y="181"/>
                    <a:pt x="20" y="181"/>
                    <a:pt x="19" y="181"/>
                  </a:cubicBezTo>
                  <a:cubicBezTo>
                    <a:pt x="19" y="181"/>
                    <a:pt x="20" y="181"/>
                    <a:pt x="20" y="180"/>
                  </a:cubicBezTo>
                  <a:cubicBezTo>
                    <a:pt x="20" y="180"/>
                    <a:pt x="20" y="181"/>
                    <a:pt x="20" y="181"/>
                  </a:cubicBezTo>
                  <a:close/>
                  <a:moveTo>
                    <a:pt x="18" y="183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18" y="182"/>
                    <a:pt x="18" y="182"/>
                    <a:pt x="18" y="183"/>
                  </a:cubicBezTo>
                  <a:close/>
                  <a:moveTo>
                    <a:pt x="21" y="186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21" y="184"/>
                    <a:pt x="21" y="184"/>
                    <a:pt x="20" y="183"/>
                  </a:cubicBezTo>
                  <a:cubicBezTo>
                    <a:pt x="21" y="184"/>
                    <a:pt x="21" y="185"/>
                    <a:pt x="21" y="186"/>
                  </a:cubicBezTo>
                  <a:close/>
                  <a:moveTo>
                    <a:pt x="18" y="185"/>
                  </a:moveTo>
                  <a:cubicBezTo>
                    <a:pt x="17" y="185"/>
                    <a:pt x="17" y="184"/>
                    <a:pt x="17" y="184"/>
                  </a:cubicBezTo>
                  <a:cubicBezTo>
                    <a:pt x="18" y="184"/>
                    <a:pt x="18" y="185"/>
                    <a:pt x="18" y="185"/>
                  </a:cubicBezTo>
                  <a:close/>
                  <a:moveTo>
                    <a:pt x="21" y="186"/>
                  </a:move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7"/>
                    <a:pt x="21" y="186"/>
                  </a:cubicBezTo>
                  <a:close/>
                  <a:moveTo>
                    <a:pt x="22" y="191"/>
                  </a:moveTo>
                  <a:cubicBezTo>
                    <a:pt x="21" y="191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2" y="190"/>
                    <a:pt x="22" y="191"/>
                    <a:pt x="22" y="191"/>
                  </a:cubicBezTo>
                  <a:close/>
                  <a:moveTo>
                    <a:pt x="21" y="191"/>
                  </a:moveTo>
                  <a:cubicBezTo>
                    <a:pt x="22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lose/>
                  <a:moveTo>
                    <a:pt x="20" y="192"/>
                  </a:moveTo>
                  <a:cubicBezTo>
                    <a:pt x="20" y="192"/>
                    <a:pt x="20" y="192"/>
                    <a:pt x="20" y="192"/>
                  </a:cubicBezTo>
                  <a:cubicBezTo>
                    <a:pt x="20" y="191"/>
                    <a:pt x="20" y="192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lnTo>
                    <a:pt x="20" y="192"/>
                  </a:lnTo>
                  <a:close/>
                  <a:moveTo>
                    <a:pt x="16" y="192"/>
                  </a:moveTo>
                  <a:cubicBezTo>
                    <a:pt x="16" y="192"/>
                    <a:pt x="16" y="191"/>
                    <a:pt x="16" y="191"/>
                  </a:cubicBezTo>
                  <a:cubicBezTo>
                    <a:pt x="16" y="191"/>
                    <a:pt x="16" y="192"/>
                    <a:pt x="16" y="192"/>
                  </a:cubicBezTo>
                  <a:close/>
                  <a:moveTo>
                    <a:pt x="20" y="193"/>
                  </a:moveTo>
                  <a:cubicBezTo>
                    <a:pt x="19" y="193"/>
                    <a:pt x="20" y="192"/>
                    <a:pt x="19" y="192"/>
                  </a:cubicBezTo>
                  <a:cubicBezTo>
                    <a:pt x="20" y="192"/>
                    <a:pt x="20" y="193"/>
                    <a:pt x="20" y="193"/>
                  </a:cubicBezTo>
                  <a:close/>
                  <a:moveTo>
                    <a:pt x="21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lose/>
                  <a:moveTo>
                    <a:pt x="20" y="193"/>
                  </a:moveTo>
                  <a:cubicBezTo>
                    <a:pt x="20" y="192"/>
                    <a:pt x="20" y="192"/>
                    <a:pt x="21" y="192"/>
                  </a:cubicBezTo>
                  <a:cubicBezTo>
                    <a:pt x="21" y="192"/>
                    <a:pt x="21" y="193"/>
                    <a:pt x="21" y="193"/>
                  </a:cubicBezTo>
                  <a:cubicBezTo>
                    <a:pt x="20" y="193"/>
                    <a:pt x="21" y="192"/>
                    <a:pt x="20" y="193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3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4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lose/>
                  <a:moveTo>
                    <a:pt x="22" y="195"/>
                  </a:moveTo>
                  <a:cubicBezTo>
                    <a:pt x="22" y="195"/>
                    <a:pt x="21" y="195"/>
                    <a:pt x="21" y="195"/>
                  </a:cubicBezTo>
                  <a:cubicBezTo>
                    <a:pt x="22" y="195"/>
                    <a:pt x="22" y="195"/>
                    <a:pt x="22" y="195"/>
                  </a:cubicBezTo>
                  <a:close/>
                  <a:moveTo>
                    <a:pt x="16" y="196"/>
                  </a:move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lose/>
                  <a:moveTo>
                    <a:pt x="16" y="198"/>
                  </a:moveTo>
                  <a:cubicBezTo>
                    <a:pt x="16" y="198"/>
                    <a:pt x="16" y="198"/>
                    <a:pt x="16" y="198"/>
                  </a:cubicBezTo>
                  <a:cubicBezTo>
                    <a:pt x="16" y="198"/>
                    <a:pt x="16" y="198"/>
                    <a:pt x="16" y="198"/>
                  </a:cubicBezTo>
                  <a:close/>
                  <a:moveTo>
                    <a:pt x="21" y="199"/>
                  </a:moveTo>
                  <a:cubicBezTo>
                    <a:pt x="21" y="199"/>
                    <a:pt x="21" y="201"/>
                    <a:pt x="21" y="202"/>
                  </a:cubicBezTo>
                  <a:cubicBezTo>
                    <a:pt x="21" y="203"/>
                    <a:pt x="21" y="204"/>
                    <a:pt x="21" y="205"/>
                  </a:cubicBezTo>
                  <a:cubicBezTo>
                    <a:pt x="21" y="203"/>
                    <a:pt x="21" y="201"/>
                    <a:pt x="21" y="199"/>
                  </a:cubicBezTo>
                  <a:close/>
                  <a:moveTo>
                    <a:pt x="22" y="199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199"/>
                    <a:pt x="22" y="199"/>
                  </a:cubicBezTo>
                  <a:close/>
                  <a:moveTo>
                    <a:pt x="20" y="200"/>
                  </a:moveTo>
                  <a:cubicBezTo>
                    <a:pt x="20" y="200"/>
                    <a:pt x="20" y="201"/>
                    <a:pt x="20" y="200"/>
                  </a:cubicBezTo>
                  <a:cubicBezTo>
                    <a:pt x="20" y="201"/>
                    <a:pt x="20" y="200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lose/>
                  <a:moveTo>
                    <a:pt x="22" y="201"/>
                  </a:moveTo>
                  <a:cubicBezTo>
                    <a:pt x="22" y="201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1"/>
                  </a:cubicBezTo>
                  <a:close/>
                  <a:moveTo>
                    <a:pt x="22" y="202"/>
                  </a:moveTo>
                  <a:cubicBezTo>
                    <a:pt x="22" y="201"/>
                    <a:pt x="22" y="201"/>
                    <a:pt x="22" y="200"/>
                  </a:cubicBezTo>
                  <a:cubicBezTo>
                    <a:pt x="22" y="201"/>
                    <a:pt x="22" y="201"/>
                    <a:pt x="22" y="202"/>
                  </a:cubicBezTo>
                  <a:close/>
                  <a:moveTo>
                    <a:pt x="22" y="201"/>
                  </a:moveTo>
                  <a:cubicBezTo>
                    <a:pt x="22" y="201"/>
                    <a:pt x="23" y="202"/>
                    <a:pt x="22" y="202"/>
                  </a:cubicBezTo>
                  <a:cubicBezTo>
                    <a:pt x="22" y="202"/>
                    <a:pt x="22" y="202"/>
                    <a:pt x="22" y="202"/>
                  </a:cubicBezTo>
                  <a:cubicBezTo>
                    <a:pt x="22" y="202"/>
                    <a:pt x="22" y="201"/>
                    <a:pt x="22" y="201"/>
                  </a:cubicBezTo>
                  <a:close/>
                  <a:moveTo>
                    <a:pt x="20" y="202"/>
                  </a:moveTo>
                  <a:cubicBezTo>
                    <a:pt x="20" y="202"/>
                    <a:pt x="20" y="202"/>
                    <a:pt x="20" y="201"/>
                  </a:cubicBezTo>
                  <a:cubicBezTo>
                    <a:pt x="20" y="201"/>
                    <a:pt x="20" y="202"/>
                    <a:pt x="20" y="202"/>
                  </a:cubicBezTo>
                  <a:close/>
                  <a:moveTo>
                    <a:pt x="15" y="203"/>
                  </a:moveTo>
                  <a:cubicBezTo>
                    <a:pt x="15" y="203"/>
                    <a:pt x="15" y="204"/>
                    <a:pt x="15" y="204"/>
                  </a:cubicBezTo>
                  <a:cubicBezTo>
                    <a:pt x="15" y="204"/>
                    <a:pt x="15" y="204"/>
                    <a:pt x="15" y="203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4"/>
                    <a:pt x="20" y="204"/>
                  </a:cubicBezTo>
                  <a:cubicBezTo>
                    <a:pt x="20" y="204"/>
                    <a:pt x="20" y="204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6"/>
                  </a:cubicBezTo>
                  <a:cubicBezTo>
                    <a:pt x="20" y="205"/>
                    <a:pt x="20" y="205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20" y="206"/>
                    <a:pt x="20" y="205"/>
                  </a:cubicBezTo>
                  <a:close/>
                  <a:moveTo>
                    <a:pt x="23" y="206"/>
                  </a:moveTo>
                  <a:cubicBezTo>
                    <a:pt x="23" y="206"/>
                    <a:pt x="22" y="206"/>
                    <a:pt x="23" y="206"/>
                  </a:cubicBezTo>
                  <a:cubicBezTo>
                    <a:pt x="23" y="206"/>
                    <a:pt x="23" y="206"/>
                    <a:pt x="23" y="206"/>
                  </a:cubicBezTo>
                  <a:close/>
                  <a:moveTo>
                    <a:pt x="15" y="208"/>
                  </a:moveTo>
                  <a:cubicBezTo>
                    <a:pt x="15" y="207"/>
                    <a:pt x="15" y="207"/>
                    <a:pt x="15" y="207"/>
                  </a:cubicBezTo>
                  <a:cubicBezTo>
                    <a:pt x="15" y="207"/>
                    <a:pt x="15" y="207"/>
                    <a:pt x="15" y="208"/>
                  </a:cubicBezTo>
                  <a:close/>
                  <a:moveTo>
                    <a:pt x="20" y="206"/>
                  </a:move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6"/>
                  </a:cubicBezTo>
                  <a:cubicBezTo>
                    <a:pt x="20" y="207"/>
                    <a:pt x="20" y="207"/>
                    <a:pt x="20" y="206"/>
                  </a:cubicBezTo>
                  <a:close/>
                  <a:moveTo>
                    <a:pt x="23" y="207"/>
                  </a:moveTo>
                  <a:cubicBezTo>
                    <a:pt x="23" y="207"/>
                    <a:pt x="23" y="208"/>
                    <a:pt x="23" y="208"/>
                  </a:cubicBezTo>
                  <a:cubicBezTo>
                    <a:pt x="23" y="208"/>
                    <a:pt x="23" y="207"/>
                    <a:pt x="23" y="207"/>
                  </a:cubicBezTo>
                  <a:close/>
                  <a:moveTo>
                    <a:pt x="21" y="207"/>
                  </a:moveTo>
                  <a:cubicBezTo>
                    <a:pt x="21" y="207"/>
                    <a:pt x="21" y="207"/>
                    <a:pt x="21" y="207"/>
                  </a:cubicBezTo>
                  <a:cubicBezTo>
                    <a:pt x="21" y="207"/>
                    <a:pt x="21" y="207"/>
                    <a:pt x="21" y="207"/>
                  </a:cubicBezTo>
                  <a:close/>
                  <a:moveTo>
                    <a:pt x="16" y="207"/>
                  </a:moveTo>
                  <a:cubicBezTo>
                    <a:pt x="16" y="208"/>
                    <a:pt x="16" y="208"/>
                    <a:pt x="16" y="209"/>
                  </a:cubicBezTo>
                  <a:cubicBezTo>
                    <a:pt x="16" y="208"/>
                    <a:pt x="16" y="208"/>
                    <a:pt x="16" y="207"/>
                  </a:cubicBezTo>
                  <a:close/>
                  <a:moveTo>
                    <a:pt x="18" y="208"/>
                  </a:moveTo>
                  <a:cubicBezTo>
                    <a:pt x="18" y="208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lose/>
                  <a:moveTo>
                    <a:pt x="20" y="208"/>
                  </a:moveTo>
                  <a:cubicBezTo>
                    <a:pt x="20" y="208"/>
                    <a:pt x="20" y="208"/>
                    <a:pt x="20" y="209"/>
                  </a:cubicBezTo>
                  <a:cubicBezTo>
                    <a:pt x="20" y="209"/>
                    <a:pt x="20" y="208"/>
                    <a:pt x="20" y="208"/>
                  </a:cubicBezTo>
                  <a:close/>
                  <a:moveTo>
                    <a:pt x="23" y="209"/>
                  </a:moveTo>
                  <a:cubicBezTo>
                    <a:pt x="23" y="209"/>
                    <a:pt x="23" y="209"/>
                    <a:pt x="23" y="208"/>
                  </a:cubicBezTo>
                  <a:cubicBezTo>
                    <a:pt x="23" y="208"/>
                    <a:pt x="23" y="209"/>
                    <a:pt x="23" y="209"/>
                  </a:cubicBezTo>
                  <a:close/>
                  <a:moveTo>
                    <a:pt x="18" y="210"/>
                  </a:moveTo>
                  <a:cubicBezTo>
                    <a:pt x="18" y="210"/>
                    <a:pt x="18" y="209"/>
                    <a:pt x="18" y="209"/>
                  </a:cubicBezTo>
                  <a:cubicBezTo>
                    <a:pt x="18" y="209"/>
                    <a:pt x="18" y="210"/>
                    <a:pt x="18" y="210"/>
                  </a:cubicBezTo>
                  <a:close/>
                  <a:moveTo>
                    <a:pt x="15" y="210"/>
                  </a:moveTo>
                  <a:cubicBezTo>
                    <a:pt x="15" y="210"/>
                    <a:pt x="15" y="209"/>
                    <a:pt x="15" y="209"/>
                  </a:cubicBezTo>
                  <a:cubicBezTo>
                    <a:pt x="15" y="209"/>
                    <a:pt x="15" y="209"/>
                    <a:pt x="15" y="210"/>
                  </a:cubicBezTo>
                  <a:close/>
                  <a:moveTo>
                    <a:pt x="23" y="211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2" y="210"/>
                    <a:pt x="22" y="211"/>
                    <a:pt x="22" y="211"/>
                  </a:cubicBezTo>
                  <a:cubicBezTo>
                    <a:pt x="22" y="210"/>
                    <a:pt x="22" y="210"/>
                    <a:pt x="23" y="210"/>
                  </a:cubicBezTo>
                  <a:cubicBezTo>
                    <a:pt x="22" y="210"/>
                    <a:pt x="23" y="210"/>
                    <a:pt x="23" y="209"/>
                  </a:cubicBezTo>
                  <a:cubicBezTo>
                    <a:pt x="23" y="210"/>
                    <a:pt x="23" y="210"/>
                    <a:pt x="23" y="211"/>
                  </a:cubicBezTo>
                  <a:close/>
                  <a:moveTo>
                    <a:pt x="15" y="211"/>
                  </a:moveTo>
                  <a:cubicBezTo>
                    <a:pt x="15" y="211"/>
                    <a:pt x="15" y="211"/>
                    <a:pt x="15" y="211"/>
                  </a:cubicBezTo>
                  <a:cubicBezTo>
                    <a:pt x="15" y="211"/>
                    <a:pt x="15" y="210"/>
                    <a:pt x="15" y="210"/>
                  </a:cubicBezTo>
                  <a:cubicBezTo>
                    <a:pt x="15" y="210"/>
                    <a:pt x="15" y="211"/>
                    <a:pt x="15" y="211"/>
                  </a:cubicBezTo>
                  <a:cubicBezTo>
                    <a:pt x="15" y="211"/>
                    <a:pt x="15" y="211"/>
                    <a:pt x="15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0"/>
                    <a:pt x="20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1"/>
                    <a:pt x="20" y="211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1"/>
                    <a:pt x="15" y="211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8" y="213"/>
                  </a:moveTo>
                  <a:cubicBezTo>
                    <a:pt x="18" y="213"/>
                    <a:pt x="18" y="213"/>
                    <a:pt x="18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9" y="213"/>
                    <a:pt x="18" y="213"/>
                    <a:pt x="18" y="213"/>
                  </a:cubicBezTo>
                  <a:close/>
                  <a:moveTo>
                    <a:pt x="15" y="213"/>
                  </a:moveTo>
                  <a:cubicBezTo>
                    <a:pt x="15" y="213"/>
                    <a:pt x="15" y="214"/>
                    <a:pt x="15" y="214"/>
                  </a:cubicBezTo>
                  <a:cubicBezTo>
                    <a:pt x="15" y="214"/>
                    <a:pt x="15" y="214"/>
                    <a:pt x="15" y="213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3"/>
                    <a:pt x="22" y="213"/>
                  </a:cubicBezTo>
                  <a:cubicBezTo>
                    <a:pt x="23" y="213"/>
                    <a:pt x="22" y="214"/>
                    <a:pt x="22" y="213"/>
                  </a:cubicBezTo>
                  <a:cubicBezTo>
                    <a:pt x="23" y="213"/>
                    <a:pt x="23" y="214"/>
                    <a:pt x="22" y="213"/>
                  </a:cubicBezTo>
                  <a:close/>
                  <a:moveTo>
                    <a:pt x="22" y="216"/>
                  </a:moveTo>
                  <a:cubicBezTo>
                    <a:pt x="21" y="215"/>
                    <a:pt x="22" y="215"/>
                    <a:pt x="22" y="214"/>
                  </a:cubicBezTo>
                  <a:cubicBezTo>
                    <a:pt x="22" y="214"/>
                    <a:pt x="22" y="215"/>
                    <a:pt x="22" y="216"/>
                  </a:cubicBezTo>
                  <a:close/>
                  <a:moveTo>
                    <a:pt x="12" y="61"/>
                  </a:move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lose/>
                  <a:moveTo>
                    <a:pt x="16" y="22"/>
                  </a:moveTo>
                  <a:cubicBezTo>
                    <a:pt x="16" y="23"/>
                    <a:pt x="16" y="23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40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6"/>
                    <a:pt x="16" y="47"/>
                    <a:pt x="15" y="47"/>
                  </a:cubicBezTo>
                  <a:cubicBezTo>
                    <a:pt x="15" y="47"/>
                    <a:pt x="15" y="47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5" y="48"/>
                    <a:pt x="15" y="49"/>
                    <a:pt x="14" y="48"/>
                  </a:cubicBezTo>
                  <a:cubicBezTo>
                    <a:pt x="14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49"/>
                    <a:pt x="15" y="49"/>
                  </a:cubicBezTo>
                  <a:cubicBezTo>
                    <a:pt x="14" y="49"/>
                    <a:pt x="15" y="50"/>
                    <a:pt x="15" y="50"/>
                  </a:cubicBezTo>
                  <a:cubicBezTo>
                    <a:pt x="15" y="50"/>
                    <a:pt x="15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1"/>
                    <a:pt x="15" y="52"/>
                    <a:pt x="15" y="52"/>
                  </a:cubicBezTo>
                  <a:cubicBezTo>
                    <a:pt x="15" y="51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4"/>
                    <a:pt x="15" y="54"/>
                  </a:cubicBezTo>
                  <a:cubicBezTo>
                    <a:pt x="15" y="53"/>
                    <a:pt x="14" y="51"/>
                    <a:pt x="14" y="50"/>
                  </a:cubicBezTo>
                  <a:cubicBezTo>
                    <a:pt x="14" y="49"/>
                    <a:pt x="14" y="50"/>
                    <a:pt x="14" y="49"/>
                  </a:cubicBezTo>
                  <a:cubicBezTo>
                    <a:pt x="14" y="49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4" y="54"/>
                    <a:pt x="15" y="54"/>
                  </a:cubicBezTo>
                  <a:cubicBezTo>
                    <a:pt x="15" y="55"/>
                    <a:pt x="15" y="56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5" y="60"/>
                    <a:pt x="15" y="59"/>
                    <a:pt x="15" y="59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0"/>
                    <a:pt x="14" y="60"/>
                    <a:pt x="15" y="60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1"/>
                    <a:pt x="14" y="60"/>
                    <a:pt x="14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4" y="64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5" y="65"/>
                    <a:pt x="14" y="65"/>
                    <a:pt x="15" y="65"/>
                  </a:cubicBezTo>
                  <a:cubicBezTo>
                    <a:pt x="14" y="65"/>
                    <a:pt x="15" y="66"/>
                    <a:pt x="14" y="66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1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3"/>
                    <a:pt x="15" y="72"/>
                    <a:pt x="15" y="73"/>
                  </a:cubicBezTo>
                  <a:cubicBezTo>
                    <a:pt x="14" y="73"/>
                    <a:pt x="15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69"/>
                    <a:pt x="14" y="68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3"/>
                    <a:pt x="14" y="64"/>
                    <a:pt x="14" y="64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4"/>
                  </a:cubicBezTo>
                  <a:cubicBezTo>
                    <a:pt x="14" y="64"/>
                    <a:pt x="14" y="63"/>
                    <a:pt x="14" y="6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5"/>
                  </a:cubicBezTo>
                  <a:cubicBezTo>
                    <a:pt x="14" y="65"/>
                    <a:pt x="14" y="65"/>
                    <a:pt x="13" y="65"/>
                  </a:cubicBezTo>
                  <a:cubicBezTo>
                    <a:pt x="13" y="65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5"/>
                    <a:pt x="13" y="65"/>
                  </a:cubicBezTo>
                  <a:cubicBezTo>
                    <a:pt x="13" y="64"/>
                    <a:pt x="13" y="64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2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0"/>
                    <a:pt x="13" y="60"/>
                  </a:cubicBezTo>
                  <a:cubicBezTo>
                    <a:pt x="13" y="60"/>
                    <a:pt x="13" y="59"/>
                    <a:pt x="13" y="58"/>
                  </a:cubicBezTo>
                  <a:cubicBezTo>
                    <a:pt x="13" y="59"/>
                    <a:pt x="13" y="60"/>
                    <a:pt x="13" y="61"/>
                  </a:cubicBezTo>
                  <a:cubicBezTo>
                    <a:pt x="14" y="60"/>
                    <a:pt x="13" y="62"/>
                    <a:pt x="13" y="62"/>
                  </a:cubicBezTo>
                  <a:cubicBezTo>
                    <a:pt x="13" y="61"/>
                    <a:pt x="14" y="61"/>
                    <a:pt x="13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8"/>
                    <a:pt x="14" y="58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7"/>
                    <a:pt x="13" y="57"/>
                    <a:pt x="14" y="57"/>
                  </a:cubicBezTo>
                  <a:cubicBezTo>
                    <a:pt x="14" y="56"/>
                    <a:pt x="13" y="55"/>
                    <a:pt x="13" y="53"/>
                  </a:cubicBezTo>
                  <a:cubicBezTo>
                    <a:pt x="14" y="54"/>
                    <a:pt x="13" y="54"/>
                    <a:pt x="14" y="54"/>
                  </a:cubicBezTo>
                  <a:cubicBezTo>
                    <a:pt x="14" y="54"/>
                    <a:pt x="13" y="53"/>
                    <a:pt x="14" y="53"/>
                  </a:cubicBezTo>
                  <a:cubicBezTo>
                    <a:pt x="14" y="53"/>
                    <a:pt x="14" y="53"/>
                    <a:pt x="13" y="53"/>
                  </a:cubicBezTo>
                  <a:cubicBezTo>
                    <a:pt x="13" y="53"/>
                    <a:pt x="14" y="53"/>
                    <a:pt x="13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2"/>
                    <a:pt x="14" y="52"/>
                  </a:cubicBezTo>
                  <a:cubicBezTo>
                    <a:pt x="14" y="52"/>
                    <a:pt x="14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49"/>
                  </a:cubicBezTo>
                  <a:cubicBezTo>
                    <a:pt x="13" y="49"/>
                    <a:pt x="13" y="48"/>
                    <a:pt x="13" y="49"/>
                  </a:cubicBezTo>
                  <a:cubicBezTo>
                    <a:pt x="13" y="49"/>
                    <a:pt x="14" y="49"/>
                    <a:pt x="14" y="49"/>
                  </a:cubicBezTo>
                  <a:cubicBezTo>
                    <a:pt x="14" y="49"/>
                    <a:pt x="14" y="49"/>
                    <a:pt x="13" y="49"/>
                  </a:cubicBezTo>
                  <a:cubicBezTo>
                    <a:pt x="14" y="49"/>
                    <a:pt x="14" y="48"/>
                    <a:pt x="14" y="49"/>
                  </a:cubicBezTo>
                  <a:cubicBezTo>
                    <a:pt x="14" y="48"/>
                    <a:pt x="14" y="48"/>
                    <a:pt x="13" y="47"/>
                  </a:cubicBezTo>
                  <a:cubicBezTo>
                    <a:pt x="14" y="47"/>
                    <a:pt x="13" y="46"/>
                    <a:pt x="13" y="46"/>
                  </a:cubicBezTo>
                  <a:cubicBezTo>
                    <a:pt x="13" y="45"/>
                    <a:pt x="14" y="45"/>
                    <a:pt x="13" y="44"/>
                  </a:cubicBezTo>
                  <a:cubicBezTo>
                    <a:pt x="13" y="44"/>
                    <a:pt x="14" y="43"/>
                    <a:pt x="13" y="43"/>
                  </a:cubicBezTo>
                  <a:cubicBezTo>
                    <a:pt x="13" y="43"/>
                    <a:pt x="13" y="44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3"/>
                    <a:pt x="13" y="52"/>
                  </a:cubicBezTo>
                  <a:cubicBezTo>
                    <a:pt x="13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3" y="54"/>
                  </a:cubicBezTo>
                  <a:cubicBezTo>
                    <a:pt x="13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2" y="54"/>
                    <a:pt x="13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4"/>
                  </a:cubicBezTo>
                  <a:cubicBezTo>
                    <a:pt x="12" y="54"/>
                    <a:pt x="12" y="53"/>
                    <a:pt x="12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2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1" y="56"/>
                    <a:pt x="11" y="57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7"/>
                  </a:cubicBezTo>
                  <a:cubicBezTo>
                    <a:pt x="11" y="57"/>
                    <a:pt x="11" y="57"/>
                    <a:pt x="12" y="57"/>
                  </a:cubicBezTo>
                  <a:cubicBezTo>
                    <a:pt x="11" y="57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1" y="59"/>
                    <a:pt x="12" y="58"/>
                    <a:pt x="11" y="58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60"/>
                    <a:pt x="11" y="60"/>
                  </a:cubicBezTo>
                  <a:cubicBezTo>
                    <a:pt x="11" y="60"/>
                    <a:pt x="11" y="60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1"/>
                    <a:pt x="11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1"/>
                    <a:pt x="11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1"/>
                    <a:pt x="12" y="6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4"/>
                    <a:pt x="12" y="63"/>
                  </a:cubicBezTo>
                  <a:cubicBezTo>
                    <a:pt x="12" y="64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8"/>
                    <a:pt x="12" y="68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6"/>
                    <a:pt x="12" y="67"/>
                    <a:pt x="12" y="66"/>
                  </a:cubicBezTo>
                  <a:cubicBezTo>
                    <a:pt x="12" y="66"/>
                    <a:pt x="11" y="66"/>
                    <a:pt x="11" y="66"/>
                  </a:cubicBezTo>
                  <a:cubicBezTo>
                    <a:pt x="12" y="66"/>
                    <a:pt x="11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1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4"/>
                  </a:cubicBezTo>
                  <a:cubicBezTo>
                    <a:pt x="12" y="65"/>
                    <a:pt x="12" y="65"/>
                    <a:pt x="11" y="64"/>
                  </a:cubicBezTo>
                  <a:cubicBezTo>
                    <a:pt x="11" y="64"/>
                    <a:pt x="12" y="65"/>
                    <a:pt x="11" y="65"/>
                  </a:cubicBezTo>
                  <a:cubicBezTo>
                    <a:pt x="11" y="64"/>
                    <a:pt x="12" y="64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2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3"/>
                    <a:pt x="11" y="63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1"/>
                    <a:pt x="11" y="62"/>
                    <a:pt x="11" y="62"/>
                  </a:cubicBezTo>
                  <a:cubicBezTo>
                    <a:pt x="11" y="62"/>
                    <a:pt x="11" y="61"/>
                    <a:pt x="11" y="61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0" y="62"/>
                    <a:pt x="10" y="62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10" y="60"/>
                    <a:pt x="11" y="60"/>
                    <a:pt x="11" y="60"/>
                  </a:cubicBezTo>
                  <a:cubicBezTo>
                    <a:pt x="10" y="60"/>
                    <a:pt x="10" y="59"/>
                    <a:pt x="10" y="59"/>
                  </a:cubicBezTo>
                  <a:cubicBezTo>
                    <a:pt x="10" y="59"/>
                    <a:pt x="10" y="59"/>
                    <a:pt x="10" y="58"/>
                  </a:cubicBezTo>
                  <a:cubicBezTo>
                    <a:pt x="10" y="58"/>
                    <a:pt x="10" y="58"/>
                    <a:pt x="11" y="58"/>
                  </a:cubicBezTo>
                  <a:cubicBezTo>
                    <a:pt x="11" y="58"/>
                    <a:pt x="10" y="58"/>
                    <a:pt x="11" y="58"/>
                  </a:cubicBezTo>
                  <a:cubicBezTo>
                    <a:pt x="11" y="58"/>
                    <a:pt x="10" y="58"/>
                    <a:pt x="10" y="58"/>
                  </a:cubicBezTo>
                  <a:cubicBezTo>
                    <a:pt x="10" y="58"/>
                    <a:pt x="10" y="57"/>
                    <a:pt x="10" y="57"/>
                  </a:cubicBezTo>
                  <a:cubicBezTo>
                    <a:pt x="10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7"/>
                    <a:pt x="11" y="58"/>
                    <a:pt x="11" y="57"/>
                  </a:cubicBezTo>
                  <a:cubicBezTo>
                    <a:pt x="11" y="58"/>
                    <a:pt x="11" y="57"/>
                    <a:pt x="11" y="57"/>
                  </a:cubicBezTo>
                  <a:cubicBezTo>
                    <a:pt x="11" y="57"/>
                    <a:pt x="11" y="57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1" y="57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0" y="56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6"/>
                    <a:pt x="10" y="56"/>
                  </a:cubicBezTo>
                  <a:cubicBezTo>
                    <a:pt x="10" y="55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9"/>
                  </a:cubicBezTo>
                  <a:cubicBezTo>
                    <a:pt x="9" y="49"/>
                    <a:pt x="9" y="48"/>
                    <a:pt x="9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8"/>
                  </a:cubicBezTo>
                  <a:cubicBezTo>
                    <a:pt x="9" y="47"/>
                    <a:pt x="8" y="47"/>
                    <a:pt x="8" y="47"/>
                  </a:cubicBezTo>
                  <a:cubicBezTo>
                    <a:pt x="8" y="47"/>
                    <a:pt x="8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0" y="48"/>
                    <a:pt x="9" y="47"/>
                    <a:pt x="9" y="47"/>
                  </a:cubicBezTo>
                  <a:cubicBezTo>
                    <a:pt x="9" y="47"/>
                    <a:pt x="9" y="47"/>
                    <a:pt x="10" y="47"/>
                  </a:cubicBezTo>
                  <a:cubicBezTo>
                    <a:pt x="10" y="47"/>
                    <a:pt x="9" y="47"/>
                    <a:pt x="10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9" y="45"/>
                    <a:pt x="9" y="45"/>
                  </a:cubicBezTo>
                  <a:cubicBezTo>
                    <a:pt x="9" y="44"/>
                    <a:pt x="9" y="45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5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7" y="47"/>
                    <a:pt x="8" y="47"/>
                    <a:pt x="8" y="46"/>
                  </a:cubicBezTo>
                  <a:cubicBezTo>
                    <a:pt x="8" y="47"/>
                    <a:pt x="7" y="47"/>
                    <a:pt x="7" y="47"/>
                  </a:cubicBezTo>
                  <a:cubicBezTo>
                    <a:pt x="7" y="47"/>
                    <a:pt x="7" y="46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1"/>
                    <a:pt x="8" y="51"/>
                  </a:cubicBezTo>
                  <a:cubicBezTo>
                    <a:pt x="8" y="51"/>
                    <a:pt x="8" y="51"/>
                    <a:pt x="8" y="50"/>
                  </a:cubicBezTo>
                  <a:cubicBezTo>
                    <a:pt x="8" y="50"/>
                    <a:pt x="8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8" y="51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3"/>
                    <a:pt x="8" y="53"/>
                    <a:pt x="8" y="54"/>
                  </a:cubicBezTo>
                  <a:cubicBezTo>
                    <a:pt x="9" y="54"/>
                    <a:pt x="8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8" y="54"/>
                    <a:pt x="8" y="54"/>
                  </a:cubicBezTo>
                  <a:cubicBezTo>
                    <a:pt x="8" y="54"/>
                    <a:pt x="9" y="54"/>
                    <a:pt x="8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9" y="55"/>
                    <a:pt x="9" y="56"/>
                  </a:cubicBezTo>
                  <a:cubicBezTo>
                    <a:pt x="9" y="55"/>
                    <a:pt x="9" y="55"/>
                    <a:pt x="8" y="55"/>
                  </a:cubicBezTo>
                  <a:cubicBezTo>
                    <a:pt x="8" y="55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7"/>
                    <a:pt x="8" y="55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3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1"/>
                    <a:pt x="7" y="51"/>
                    <a:pt x="8" y="51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0"/>
                    <a:pt x="7" y="50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9"/>
                    <a:pt x="7" y="48"/>
                    <a:pt x="7" y="4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7"/>
                    <a:pt x="6" y="48"/>
                    <a:pt x="6" y="48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9"/>
                    <a:pt x="6" y="49"/>
                    <a:pt x="6" y="48"/>
                  </a:cubicBezTo>
                  <a:cubicBezTo>
                    <a:pt x="6" y="49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6" y="46"/>
                    <a:pt x="6" y="46"/>
                    <a:pt x="5" y="46"/>
                  </a:cubicBezTo>
                  <a:cubicBezTo>
                    <a:pt x="5" y="46"/>
                    <a:pt x="6" y="46"/>
                    <a:pt x="6" y="45"/>
                  </a:cubicBezTo>
                  <a:cubicBezTo>
                    <a:pt x="6" y="45"/>
                    <a:pt x="6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5" y="45"/>
                    <a:pt x="4" y="46"/>
                  </a:cubicBezTo>
                  <a:cubicBezTo>
                    <a:pt x="4" y="46"/>
                    <a:pt x="4" y="45"/>
                    <a:pt x="4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" y="45"/>
                    <a:pt x="4" y="45"/>
                    <a:pt x="4" y="45"/>
                  </a:cubicBezTo>
                  <a:cubicBezTo>
                    <a:pt x="4" y="44"/>
                    <a:pt x="4" y="44"/>
                    <a:pt x="5" y="44"/>
                  </a:cubicBezTo>
                  <a:cubicBezTo>
                    <a:pt x="5" y="44"/>
                    <a:pt x="4" y="44"/>
                    <a:pt x="5" y="44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4" y="4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3"/>
                    <a:pt x="4" y="42"/>
                    <a:pt x="4" y="43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0"/>
                    <a:pt x="4" y="40"/>
                  </a:cubicBezTo>
                  <a:cubicBezTo>
                    <a:pt x="4" y="40"/>
                    <a:pt x="4" y="40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8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6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4"/>
                  </a:cubicBezTo>
                  <a:cubicBezTo>
                    <a:pt x="2" y="34"/>
                    <a:pt x="2" y="34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2" y="33"/>
                    <a:pt x="1" y="33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2"/>
                    <a:pt x="1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1" y="31"/>
                    <a:pt x="1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0" y="29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2" y="25"/>
                    <a:pt x="2" y="25"/>
                  </a:cubicBezTo>
                  <a:cubicBezTo>
                    <a:pt x="2" y="24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1" y="23"/>
                    <a:pt x="2" y="24"/>
                  </a:cubicBezTo>
                  <a:cubicBezTo>
                    <a:pt x="1" y="23"/>
                    <a:pt x="2" y="24"/>
                    <a:pt x="1" y="24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1" y="22"/>
                    <a:pt x="1" y="22"/>
                    <a:pt x="1" y="21"/>
                  </a:cubicBezTo>
                  <a:cubicBezTo>
                    <a:pt x="2" y="22"/>
                    <a:pt x="2" y="22"/>
                    <a:pt x="2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2" y="18"/>
                  </a:cubicBezTo>
                  <a:cubicBezTo>
                    <a:pt x="2" y="17"/>
                    <a:pt x="1" y="18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1" y="17"/>
                    <a:pt x="1" y="16"/>
                    <a:pt x="2" y="16"/>
                  </a:cubicBezTo>
                  <a:cubicBezTo>
                    <a:pt x="1" y="16"/>
                    <a:pt x="2" y="16"/>
                    <a:pt x="2" y="15"/>
                  </a:cubicBezTo>
                  <a:cubicBezTo>
                    <a:pt x="2" y="15"/>
                    <a:pt x="1" y="15"/>
                    <a:pt x="1" y="16"/>
                  </a:cubicBezTo>
                  <a:cubicBezTo>
                    <a:pt x="1" y="16"/>
                    <a:pt x="1" y="16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0" y="15"/>
                    <a:pt x="1" y="15"/>
                    <a:pt x="1" y="15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3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2" y="8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2" y="2"/>
                    <a:pt x="12" y="4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4" y="7"/>
                    <a:pt x="15" y="8"/>
                    <a:pt x="15" y="10"/>
                  </a:cubicBezTo>
                  <a:cubicBezTo>
                    <a:pt x="15" y="10"/>
                    <a:pt x="15" y="11"/>
                    <a:pt x="15" y="11"/>
                  </a:cubicBezTo>
                  <a:cubicBezTo>
                    <a:pt x="15" y="12"/>
                    <a:pt x="15" y="12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6" y="20"/>
                    <a:pt x="16" y="21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3"/>
                    <a:pt x="2" y="33"/>
                  </a:cubicBezTo>
                  <a:close/>
                  <a:moveTo>
                    <a:pt x="2" y="33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3" y="38"/>
                  </a:move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lose/>
                  <a:moveTo>
                    <a:pt x="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lose/>
                  <a:moveTo>
                    <a:pt x="3" y="36"/>
                  </a:move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5"/>
                    <a:pt x="3" y="36"/>
                    <a:pt x="3" y="36"/>
                  </a:cubicBezTo>
                  <a:close/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6"/>
                  </a:cubicBezTo>
                  <a:close/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  <a:moveTo>
                    <a:pt x="3" y="35"/>
                  </a:moveTo>
                  <a:cubicBezTo>
                    <a:pt x="3" y="35"/>
                    <a:pt x="3" y="35"/>
                    <a:pt x="4" y="35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lose/>
                  <a:moveTo>
                    <a:pt x="4" y="38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lose/>
                  <a:moveTo>
                    <a:pt x="4" y="35"/>
                  </a:moveTo>
                  <a:cubicBezTo>
                    <a:pt x="4" y="35"/>
                    <a:pt x="3" y="35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lose/>
                  <a:moveTo>
                    <a:pt x="4" y="39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lose/>
                  <a:moveTo>
                    <a:pt x="4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1"/>
                  </a:moveTo>
                  <a:cubicBezTo>
                    <a:pt x="5" y="41"/>
                    <a:pt x="5" y="42"/>
                    <a:pt x="5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3"/>
                    <a:pt x="5" y="42"/>
                    <a:pt x="5" y="43"/>
                  </a:cubicBezTo>
                  <a:close/>
                  <a:moveTo>
                    <a:pt x="6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7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6"/>
                  </a:cubicBezTo>
                  <a:cubicBezTo>
                    <a:pt x="7" y="47"/>
                    <a:pt x="6" y="47"/>
                    <a:pt x="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lose/>
                  <a:moveTo>
                    <a:pt x="8" y="50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8" y="50"/>
                    <a:pt x="8" y="50"/>
                  </a:cubicBezTo>
                  <a:close/>
                  <a:moveTo>
                    <a:pt x="8" y="51"/>
                  </a:moveTo>
                  <a:cubicBezTo>
                    <a:pt x="8" y="51"/>
                    <a:pt x="8" y="50"/>
                    <a:pt x="8" y="50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8" y="53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lose/>
                  <a:moveTo>
                    <a:pt x="8" y="5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50"/>
                  </a:cubicBezTo>
                  <a:close/>
                  <a:moveTo>
                    <a:pt x="8" y="50"/>
                  </a:moveTo>
                  <a:cubicBezTo>
                    <a:pt x="8" y="50"/>
                    <a:pt x="8" y="49"/>
                    <a:pt x="8" y="49"/>
                  </a:cubicBezTo>
                  <a:cubicBezTo>
                    <a:pt x="8" y="49"/>
                    <a:pt x="8" y="50"/>
                    <a:pt x="8" y="50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7" y="50"/>
                  </a:cubicBezTo>
                  <a:close/>
                  <a:moveTo>
                    <a:pt x="7" y="43"/>
                  </a:moveTo>
                  <a:cubicBezTo>
                    <a:pt x="7" y="44"/>
                    <a:pt x="8" y="44"/>
                    <a:pt x="8" y="44"/>
                  </a:cubicBezTo>
                  <a:cubicBezTo>
                    <a:pt x="8" y="44"/>
                    <a:pt x="7" y="44"/>
                    <a:pt x="7" y="43"/>
                  </a:cubicBezTo>
                  <a:close/>
                  <a:moveTo>
                    <a:pt x="7" y="30"/>
                  </a:moveTo>
                  <a:cubicBezTo>
                    <a:pt x="7" y="30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lose/>
                  <a:moveTo>
                    <a:pt x="9" y="43"/>
                  </a:moveTo>
                  <a:cubicBezTo>
                    <a:pt x="9" y="43"/>
                    <a:pt x="9" y="42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lose/>
                  <a:moveTo>
                    <a:pt x="9" y="42"/>
                  </a:moveTo>
                  <a:cubicBezTo>
                    <a:pt x="9" y="41"/>
                    <a:pt x="9" y="42"/>
                    <a:pt x="9" y="42"/>
                  </a:cubicBezTo>
                  <a:cubicBezTo>
                    <a:pt x="9" y="42"/>
                    <a:pt x="9" y="42"/>
                    <a:pt x="9" y="41"/>
                  </a:cubicBezTo>
                  <a:cubicBezTo>
                    <a:pt x="9" y="42"/>
                    <a:pt x="9" y="41"/>
                    <a:pt x="9" y="41"/>
                  </a:cubicBezTo>
                  <a:cubicBezTo>
                    <a:pt x="9" y="42"/>
                    <a:pt x="9" y="42"/>
                    <a:pt x="8" y="42"/>
                  </a:cubicBezTo>
                  <a:cubicBezTo>
                    <a:pt x="9" y="42"/>
                    <a:pt x="8" y="41"/>
                    <a:pt x="8" y="41"/>
                  </a:cubicBezTo>
                  <a:cubicBezTo>
                    <a:pt x="8" y="41"/>
                    <a:pt x="8" y="42"/>
                    <a:pt x="9" y="42"/>
                  </a:cubicBezTo>
                  <a:close/>
                  <a:moveTo>
                    <a:pt x="8" y="42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2"/>
                    <a:pt x="8" y="42"/>
                  </a:cubicBezTo>
                  <a:cubicBezTo>
                    <a:pt x="8" y="42"/>
                    <a:pt x="8" y="43"/>
                    <a:pt x="8" y="42"/>
                  </a:cubicBezTo>
                  <a:close/>
                  <a:moveTo>
                    <a:pt x="8" y="4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lose/>
                  <a:moveTo>
                    <a:pt x="8" y="40"/>
                  </a:moveTo>
                  <a:cubicBezTo>
                    <a:pt x="8" y="39"/>
                    <a:pt x="8" y="40"/>
                    <a:pt x="8" y="40"/>
                  </a:cubicBezTo>
                  <a:cubicBezTo>
                    <a:pt x="8" y="40"/>
                    <a:pt x="8" y="39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lose/>
                  <a:moveTo>
                    <a:pt x="9" y="44"/>
                  </a:moveTo>
                  <a:cubicBezTo>
                    <a:pt x="8" y="45"/>
                    <a:pt x="9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4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4"/>
                  </a:cubicBezTo>
                  <a:close/>
                  <a:moveTo>
                    <a:pt x="9" y="44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10" y="43"/>
                  </a:cubicBezTo>
                  <a:cubicBezTo>
                    <a:pt x="10" y="43"/>
                    <a:pt x="9" y="43"/>
                    <a:pt x="9" y="43"/>
                  </a:cubicBezTo>
                  <a:close/>
                  <a:moveTo>
                    <a:pt x="9" y="40"/>
                  </a:moveTo>
                  <a:cubicBezTo>
                    <a:pt x="9" y="40"/>
                    <a:pt x="9" y="40"/>
                    <a:pt x="9" y="3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lose/>
                  <a:moveTo>
                    <a:pt x="10" y="45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10" y="45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7"/>
                  </a:cubicBezTo>
                  <a:close/>
                  <a:moveTo>
                    <a:pt x="10" y="49"/>
                  </a:move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10" y="47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7"/>
                  </a:cubicBezTo>
                  <a:close/>
                  <a:moveTo>
                    <a:pt x="12" y="66"/>
                  </a:move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lose/>
                  <a:moveTo>
                    <a:pt x="12" y="63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3"/>
                    <a:pt x="12" y="63"/>
                  </a:cubicBezTo>
                  <a:close/>
                  <a:moveTo>
                    <a:pt x="11" y="60"/>
                  </a:moveTo>
                  <a:cubicBezTo>
                    <a:pt x="11" y="60"/>
                    <a:pt x="11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8"/>
                    <a:pt x="10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3"/>
                    <a:pt x="10" y="53"/>
                  </a:cubicBezTo>
                  <a:cubicBezTo>
                    <a:pt x="11" y="53"/>
                    <a:pt x="10" y="52"/>
                    <a:pt x="10" y="52"/>
                  </a:cubicBezTo>
                  <a:close/>
                  <a:moveTo>
                    <a:pt x="11" y="54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5"/>
                    <a:pt x="11" y="54"/>
                  </a:cubicBezTo>
                  <a:close/>
                  <a:moveTo>
                    <a:pt x="11" y="56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5"/>
                    <a:pt x="11" y="56"/>
                  </a:cubicBezTo>
                  <a:close/>
                  <a:moveTo>
                    <a:pt x="11" y="54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3"/>
                    <a:pt x="11" y="53"/>
                  </a:cubicBezTo>
                  <a:cubicBezTo>
                    <a:pt x="11" y="53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4"/>
                  </a:cubicBezTo>
                  <a:cubicBezTo>
                    <a:pt x="11" y="54"/>
                    <a:pt x="11" y="54"/>
                    <a:pt x="11" y="55"/>
                  </a:cubicBezTo>
                  <a:cubicBezTo>
                    <a:pt x="11" y="55"/>
                    <a:pt x="11" y="54"/>
                    <a:pt x="11" y="54"/>
                  </a:cubicBezTo>
                  <a:close/>
                  <a:moveTo>
                    <a:pt x="11" y="50"/>
                  </a:move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1" y="50"/>
                  </a:cubicBezTo>
                  <a:close/>
                  <a:moveTo>
                    <a:pt x="12" y="49"/>
                  </a:move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lose/>
                  <a:moveTo>
                    <a:pt x="12" y="51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lose/>
                  <a:moveTo>
                    <a:pt x="13" y="4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3"/>
                    <a:pt x="13" y="43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2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1"/>
                    <a:pt x="13" y="42"/>
                    <a:pt x="13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2"/>
                    <a:pt x="12" y="41"/>
                  </a:cubicBezTo>
                  <a:lnTo>
                    <a:pt x="12" y="42"/>
                  </a:lnTo>
                  <a:close/>
                  <a:moveTo>
                    <a:pt x="13" y="43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3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2" y="43"/>
                    <a:pt x="13" y="43"/>
                  </a:cubicBezTo>
                  <a:close/>
                  <a:moveTo>
                    <a:pt x="12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3"/>
                  </a:cubicBezTo>
                  <a:cubicBezTo>
                    <a:pt x="13" y="44"/>
                    <a:pt x="12" y="43"/>
                    <a:pt x="12" y="44"/>
                  </a:cubicBezTo>
                  <a:close/>
                  <a:moveTo>
                    <a:pt x="13" y="49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9"/>
                    <a:pt x="13" y="49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51"/>
                  </a:cubicBezTo>
                  <a:close/>
                  <a:moveTo>
                    <a:pt x="13" y="51"/>
                  </a:moveTo>
                  <a:cubicBezTo>
                    <a:pt x="12" y="51"/>
                    <a:pt x="13" y="50"/>
                    <a:pt x="12" y="50"/>
                  </a:cubicBezTo>
                  <a:cubicBezTo>
                    <a:pt x="12" y="51"/>
                    <a:pt x="12" y="51"/>
                    <a:pt x="12" y="50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3" y="51"/>
                    <a:pt x="13" y="51"/>
                  </a:cubicBezTo>
                  <a:close/>
                  <a:moveTo>
                    <a:pt x="13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3" y="44"/>
                  </a:moveTo>
                  <a:cubicBezTo>
                    <a:pt x="13" y="44"/>
                    <a:pt x="13" y="45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4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3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8"/>
                    <a:pt x="13" y="48"/>
                    <a:pt x="13" y="48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lose/>
                  <a:moveTo>
                    <a:pt x="13" y="39"/>
                  </a:move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40"/>
                  </a:cubicBezTo>
                  <a:lnTo>
                    <a:pt x="13" y="39"/>
                  </a:lnTo>
                  <a:close/>
                  <a:moveTo>
                    <a:pt x="13" y="41"/>
                  </a:moveTo>
                  <a:cubicBezTo>
                    <a:pt x="13" y="41"/>
                    <a:pt x="13" y="41"/>
                    <a:pt x="13" y="41"/>
                  </a:cubicBezTo>
                  <a:cubicBezTo>
                    <a:pt x="13" y="40"/>
                    <a:pt x="13" y="40"/>
                    <a:pt x="13" y="40"/>
                  </a:cubicBezTo>
                  <a:lnTo>
                    <a:pt x="13" y="41"/>
                  </a:lnTo>
                  <a:close/>
                  <a:moveTo>
                    <a:pt x="13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14" y="63"/>
                  </a:moveTo>
                  <a:cubicBezTo>
                    <a:pt x="13" y="63"/>
                    <a:pt x="14" y="62"/>
                    <a:pt x="13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3" y="63"/>
                    <a:pt x="13" y="63"/>
                    <a:pt x="14" y="64"/>
                  </a:cubicBezTo>
                  <a:cubicBezTo>
                    <a:pt x="14" y="63"/>
                    <a:pt x="13" y="63"/>
                    <a:pt x="14" y="63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8"/>
                  </a:cubicBezTo>
                  <a:cubicBezTo>
                    <a:pt x="14" y="57"/>
                    <a:pt x="14" y="57"/>
                    <a:pt x="14" y="57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5" y="57"/>
                    <a:pt x="15" y="57"/>
                    <a:pt x="15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7"/>
                    <a:pt x="14" y="58"/>
                    <a:pt x="14" y="57"/>
                  </a:cubicBezTo>
                  <a:cubicBezTo>
                    <a:pt x="14" y="57"/>
                    <a:pt x="14" y="57"/>
                    <a:pt x="14" y="58"/>
                  </a:cubicBezTo>
                  <a:close/>
                  <a:moveTo>
                    <a:pt x="14" y="56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5"/>
                    <a:pt x="14" y="45"/>
                  </a:cubicBezTo>
                  <a:cubicBezTo>
                    <a:pt x="14" y="45"/>
                    <a:pt x="14" y="46"/>
                    <a:pt x="14" y="4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4" y="49"/>
                  </a:moveTo>
                  <a:cubicBezTo>
                    <a:pt x="14" y="49"/>
                    <a:pt x="14" y="49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8"/>
                    <a:pt x="14" y="48"/>
                  </a:cubicBezTo>
                  <a:cubicBezTo>
                    <a:pt x="14" y="48"/>
                    <a:pt x="14" y="46"/>
                    <a:pt x="14" y="46"/>
                  </a:cubicBezTo>
                  <a:close/>
                  <a:moveTo>
                    <a:pt x="14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8"/>
                    <a:pt x="14" y="48"/>
                  </a:cubicBezTo>
                  <a:close/>
                  <a:moveTo>
                    <a:pt x="14" y="44"/>
                  </a:moveTo>
                  <a:cubicBezTo>
                    <a:pt x="14" y="44"/>
                    <a:pt x="14" y="45"/>
                    <a:pt x="14" y="45"/>
                  </a:cubicBezTo>
                  <a:cubicBezTo>
                    <a:pt x="14" y="45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4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5" y="48"/>
                    <a:pt x="15" y="47"/>
                    <a:pt x="14" y="47"/>
                  </a:cubicBezTo>
                  <a:close/>
                  <a:moveTo>
                    <a:pt x="15" y="46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6" y="34"/>
                  </a:moveTo>
                  <a:cubicBezTo>
                    <a:pt x="16" y="34"/>
                    <a:pt x="16" y="33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5"/>
                    <a:pt x="16" y="34"/>
                  </a:cubicBezTo>
                  <a:close/>
                  <a:moveTo>
                    <a:pt x="16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lose/>
                  <a:moveTo>
                    <a:pt x="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5" y="49"/>
                    <a:pt x="6" y="48"/>
                    <a:pt x="6" y="48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0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11" y="2"/>
                  </a:moveTo>
                  <a:cubicBezTo>
                    <a:pt x="11" y="2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1"/>
                    <a:pt x="11" y="2"/>
                    <a:pt x="11" y="2"/>
                  </a:cubicBezTo>
                  <a:close/>
                  <a:moveTo>
                    <a:pt x="3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6"/>
                    <a:pt x="3" y="46"/>
                  </a:cubicBezTo>
                  <a:close/>
                  <a:moveTo>
                    <a:pt x="6" y="49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49"/>
                    <a:pt x="5" y="49"/>
                  </a:cubicBezTo>
                  <a:cubicBezTo>
                    <a:pt x="6" y="49"/>
                    <a:pt x="5" y="49"/>
                    <a:pt x="6" y="49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lose/>
                  <a:moveTo>
                    <a:pt x="7" y="51"/>
                  </a:moveTo>
                  <a:cubicBezTo>
                    <a:pt x="7" y="51"/>
                    <a:pt x="6" y="51"/>
                    <a:pt x="6" y="51"/>
                  </a:cubicBezTo>
                  <a:cubicBezTo>
                    <a:pt x="6" y="52"/>
                    <a:pt x="6" y="53"/>
                    <a:pt x="6" y="54"/>
                  </a:cubicBezTo>
                  <a:cubicBezTo>
                    <a:pt x="6" y="54"/>
                    <a:pt x="6" y="53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1"/>
                  </a:cubicBezTo>
                  <a:cubicBezTo>
                    <a:pt x="6" y="51"/>
                    <a:pt x="6" y="52"/>
                    <a:pt x="6" y="52"/>
                  </a:cubicBezTo>
                  <a:cubicBezTo>
                    <a:pt x="6" y="52"/>
                    <a:pt x="6" y="51"/>
                    <a:pt x="6" y="51"/>
                  </a:cubicBezTo>
                  <a:cubicBezTo>
                    <a:pt x="6" y="51"/>
                    <a:pt x="6" y="51"/>
                    <a:pt x="7" y="51"/>
                  </a:cubicBezTo>
                  <a:close/>
                  <a:moveTo>
                    <a:pt x="7" y="51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1"/>
                    <a:pt x="7" y="51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lose/>
                  <a:moveTo>
                    <a:pt x="6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3"/>
                    <a:pt x="6" y="53"/>
                  </a:cubicBezTo>
                  <a:cubicBezTo>
                    <a:pt x="6" y="53"/>
                    <a:pt x="6" y="54"/>
                    <a:pt x="6" y="54"/>
                  </a:cubicBezTo>
                  <a:close/>
                  <a:moveTo>
                    <a:pt x="7" y="53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3"/>
                    <a:pt x="7" y="53"/>
                  </a:cubicBezTo>
                  <a:close/>
                  <a:moveTo>
                    <a:pt x="9" y="56"/>
                  </a:moveTo>
                  <a:cubicBezTo>
                    <a:pt x="9" y="55"/>
                    <a:pt x="9" y="55"/>
                    <a:pt x="9" y="54"/>
                  </a:cubicBezTo>
                  <a:cubicBezTo>
                    <a:pt x="9" y="54"/>
                    <a:pt x="9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5"/>
                    <a:pt x="9" y="54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lose/>
                  <a:moveTo>
                    <a:pt x="10" y="53"/>
                  </a:moveTo>
                  <a:cubicBezTo>
                    <a:pt x="10" y="53"/>
                    <a:pt x="10" y="54"/>
                    <a:pt x="10" y="54"/>
                  </a:cubicBezTo>
                  <a:cubicBezTo>
                    <a:pt x="9" y="54"/>
                    <a:pt x="9" y="53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10" y="54"/>
                    <a:pt x="10" y="53"/>
                  </a:cubicBezTo>
                  <a:close/>
                  <a:moveTo>
                    <a:pt x="8" y="54"/>
                  </a:moveTo>
                  <a:cubicBezTo>
                    <a:pt x="8" y="55"/>
                    <a:pt x="8" y="55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8" y="55"/>
                    <a:pt x="7" y="54"/>
                    <a:pt x="8" y="54"/>
                  </a:cubicBezTo>
                  <a:close/>
                  <a:moveTo>
                    <a:pt x="9" y="55"/>
                  </a:moveTo>
                  <a:cubicBezTo>
                    <a:pt x="9" y="54"/>
                    <a:pt x="10" y="54"/>
                    <a:pt x="10" y="54"/>
                  </a:cubicBezTo>
                  <a:cubicBezTo>
                    <a:pt x="10" y="54"/>
                    <a:pt x="10" y="55"/>
                    <a:pt x="9" y="55"/>
                  </a:cubicBezTo>
                  <a:close/>
                  <a:moveTo>
                    <a:pt x="13" y="54"/>
                  </a:moveTo>
                  <a:cubicBezTo>
                    <a:pt x="13" y="54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6"/>
                    <a:pt x="13" y="57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8"/>
                    <a:pt x="13" y="58"/>
                  </a:cubicBezTo>
                  <a:cubicBezTo>
                    <a:pt x="13" y="58"/>
                    <a:pt x="13" y="58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5"/>
                    <a:pt x="13" y="55"/>
                  </a:cubicBezTo>
                  <a:cubicBezTo>
                    <a:pt x="13" y="55"/>
                    <a:pt x="13" y="55"/>
                    <a:pt x="12" y="55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2" y="56"/>
                    <a:pt x="12" y="55"/>
                    <a:pt x="12" y="55"/>
                  </a:cubicBezTo>
                  <a:cubicBezTo>
                    <a:pt x="13" y="55"/>
                    <a:pt x="13" y="55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lose/>
                  <a:moveTo>
                    <a:pt x="9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5"/>
                    <a:pt x="10" y="55"/>
                    <a:pt x="9" y="55"/>
                  </a:cubicBezTo>
                  <a:close/>
                  <a:moveTo>
                    <a:pt x="7" y="56"/>
                  </a:move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7" y="59"/>
                    <a:pt x="7" y="58"/>
                  </a:cubicBezTo>
                  <a:cubicBezTo>
                    <a:pt x="7" y="58"/>
                    <a:pt x="7" y="59"/>
                    <a:pt x="7" y="59"/>
                  </a:cubicBezTo>
                  <a:cubicBezTo>
                    <a:pt x="7" y="57"/>
                    <a:pt x="7" y="56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7"/>
                  </a:cubicBezTo>
                  <a:cubicBezTo>
                    <a:pt x="7" y="57"/>
                    <a:pt x="7" y="57"/>
                    <a:pt x="7" y="56"/>
                  </a:cubicBezTo>
                  <a:close/>
                  <a:moveTo>
                    <a:pt x="7" y="56"/>
                  </a:moveTo>
                  <a:cubicBezTo>
                    <a:pt x="7" y="56"/>
                    <a:pt x="7" y="56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6" y="55"/>
                  </a:cubicBezTo>
                  <a:cubicBezTo>
                    <a:pt x="7" y="55"/>
                    <a:pt x="7" y="56"/>
                    <a:pt x="7" y="56"/>
                  </a:cubicBezTo>
                  <a:close/>
                  <a:moveTo>
                    <a:pt x="12" y="58"/>
                  </a:move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7"/>
                    <a:pt x="12" y="58"/>
                  </a:cubicBezTo>
                  <a:cubicBezTo>
                    <a:pt x="12" y="57"/>
                    <a:pt x="12" y="56"/>
                    <a:pt x="12" y="55"/>
                  </a:cubicBezTo>
                  <a:cubicBezTo>
                    <a:pt x="12" y="55"/>
                    <a:pt x="12" y="56"/>
                    <a:pt x="12" y="56"/>
                  </a:cubicBezTo>
                  <a:cubicBezTo>
                    <a:pt x="12" y="56"/>
                    <a:pt x="13" y="56"/>
                    <a:pt x="12" y="56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3" y="58"/>
                    <a:pt x="12" y="58"/>
                    <a:pt x="12" y="59"/>
                  </a:cubicBezTo>
                  <a:cubicBezTo>
                    <a:pt x="12" y="59"/>
                    <a:pt x="12" y="58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lose/>
                  <a:moveTo>
                    <a:pt x="4" y="58"/>
                  </a:moveTo>
                  <a:cubicBezTo>
                    <a:pt x="4" y="58"/>
                    <a:pt x="4" y="57"/>
                    <a:pt x="4" y="57"/>
                  </a:cubicBezTo>
                  <a:cubicBezTo>
                    <a:pt x="4" y="57"/>
                    <a:pt x="4" y="57"/>
                    <a:pt x="4" y="58"/>
                  </a:cubicBezTo>
                  <a:close/>
                  <a:moveTo>
                    <a:pt x="6" y="57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5" y="57"/>
                    <a:pt x="5" y="57"/>
                  </a:cubicBezTo>
                  <a:cubicBezTo>
                    <a:pt x="5" y="57"/>
                    <a:pt x="6" y="57"/>
                    <a:pt x="6" y="57"/>
                  </a:cubicBezTo>
                  <a:close/>
                  <a:moveTo>
                    <a:pt x="8" y="59"/>
                  </a:moveTo>
                  <a:cubicBezTo>
                    <a:pt x="8" y="59"/>
                    <a:pt x="8" y="60"/>
                    <a:pt x="8" y="60"/>
                  </a:cubicBezTo>
                  <a:cubicBezTo>
                    <a:pt x="8" y="60"/>
                    <a:pt x="8" y="60"/>
                    <a:pt x="8" y="61"/>
                  </a:cubicBezTo>
                  <a:cubicBezTo>
                    <a:pt x="8" y="61"/>
                    <a:pt x="8" y="60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2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1"/>
                    <a:pt x="8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lose/>
                  <a:moveTo>
                    <a:pt x="9" y="64"/>
                  </a:moveTo>
                  <a:cubicBezTo>
                    <a:pt x="9" y="64"/>
                    <a:pt x="9" y="64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9" y="66"/>
                  </a:cubicBezTo>
                  <a:cubicBezTo>
                    <a:pt x="9" y="65"/>
                    <a:pt x="9" y="64"/>
                    <a:pt x="9" y="64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5"/>
                    <a:pt x="8" y="66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4"/>
                    <a:pt x="8" y="65"/>
                    <a:pt x="8" y="65"/>
                  </a:cubicBezTo>
                  <a:cubicBezTo>
                    <a:pt x="8" y="65"/>
                    <a:pt x="8" y="65"/>
                    <a:pt x="8" y="66"/>
                  </a:cubicBezTo>
                  <a:close/>
                  <a:moveTo>
                    <a:pt x="7" y="67"/>
                  </a:moveTo>
                  <a:cubicBezTo>
                    <a:pt x="7" y="68"/>
                    <a:pt x="7" y="69"/>
                    <a:pt x="7" y="69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7"/>
                    <a:pt x="6" y="66"/>
                    <a:pt x="7" y="65"/>
                  </a:cubicBezTo>
                  <a:cubicBezTo>
                    <a:pt x="7" y="66"/>
                    <a:pt x="7" y="67"/>
                    <a:pt x="7" y="67"/>
                  </a:cubicBezTo>
                  <a:close/>
                  <a:moveTo>
                    <a:pt x="8" y="67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9"/>
                    <a:pt x="8" y="68"/>
                  </a:cubicBezTo>
                  <a:cubicBezTo>
                    <a:pt x="8" y="68"/>
                    <a:pt x="8" y="68"/>
                    <a:pt x="8" y="67"/>
                  </a:cubicBezTo>
                  <a:cubicBezTo>
                    <a:pt x="8" y="68"/>
                    <a:pt x="8" y="67"/>
                    <a:pt x="8" y="67"/>
                  </a:cubicBezTo>
                  <a:close/>
                  <a:moveTo>
                    <a:pt x="7" y="68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7" y="68"/>
                    <a:pt x="7" y="68"/>
                  </a:cubicBezTo>
                  <a:close/>
                  <a:moveTo>
                    <a:pt x="9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lose/>
                  <a:moveTo>
                    <a:pt x="16" y="70"/>
                  </a:moveTo>
                  <a:cubicBezTo>
                    <a:pt x="16" y="70"/>
                    <a:pt x="16" y="69"/>
                    <a:pt x="16" y="69"/>
                  </a:cubicBezTo>
                  <a:cubicBezTo>
                    <a:pt x="16" y="69"/>
                    <a:pt x="16" y="70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14" y="71"/>
                  </a:moveTo>
                  <a:cubicBezTo>
                    <a:pt x="14" y="71"/>
                    <a:pt x="14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3"/>
                  </a:cubicBezTo>
                  <a:cubicBezTo>
                    <a:pt x="13" y="73"/>
                    <a:pt x="14" y="72"/>
                    <a:pt x="14" y="71"/>
                  </a:cubicBezTo>
                  <a:close/>
                  <a:moveTo>
                    <a:pt x="8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1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lose/>
                  <a:moveTo>
                    <a:pt x="15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79"/>
                    <a:pt x="14" y="79"/>
                  </a:cubicBezTo>
                  <a:cubicBezTo>
                    <a:pt x="14" y="78"/>
                    <a:pt x="14" y="77"/>
                    <a:pt x="14" y="75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4" y="73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5" y="77"/>
                    <a:pt x="15" y="78"/>
                  </a:cubicBezTo>
                  <a:close/>
                  <a:moveTo>
                    <a:pt x="14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lose/>
                  <a:moveTo>
                    <a:pt x="14" y="75"/>
                  </a:move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5" y="75"/>
                    <a:pt x="16" y="75"/>
                  </a:cubicBezTo>
                  <a:cubicBezTo>
                    <a:pt x="16" y="75"/>
                    <a:pt x="16" y="75"/>
                    <a:pt x="1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6" y="75"/>
                    <a:pt x="15" y="75"/>
                    <a:pt x="15" y="74"/>
                  </a:cubicBezTo>
                  <a:cubicBezTo>
                    <a:pt x="16" y="75"/>
                    <a:pt x="16" y="75"/>
                    <a:pt x="16" y="74"/>
                  </a:cubicBezTo>
                  <a:cubicBezTo>
                    <a:pt x="16" y="74"/>
                    <a:pt x="16" y="75"/>
                    <a:pt x="16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6" y="75"/>
                    <a:pt x="16" y="76"/>
                  </a:cubicBezTo>
                  <a:cubicBezTo>
                    <a:pt x="16" y="76"/>
                    <a:pt x="16" y="76"/>
                    <a:pt x="16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7"/>
                  </a:cubicBezTo>
                  <a:cubicBezTo>
                    <a:pt x="15" y="76"/>
                    <a:pt x="15" y="76"/>
                    <a:pt x="15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lose/>
                  <a:moveTo>
                    <a:pt x="16" y="77"/>
                  </a:moveTo>
                  <a:cubicBezTo>
                    <a:pt x="16" y="77"/>
                    <a:pt x="16" y="77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6"/>
                    <a:pt x="16" y="76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lose/>
                  <a:moveTo>
                    <a:pt x="12" y="78"/>
                  </a:moveTo>
                  <a:cubicBezTo>
                    <a:pt x="12" y="78"/>
                    <a:pt x="12" y="78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2" y="78"/>
                    <a:pt x="12" y="77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7"/>
                    <a:pt x="12" y="77"/>
                    <a:pt x="13" y="77"/>
                  </a:cubicBezTo>
                  <a:cubicBezTo>
                    <a:pt x="13" y="77"/>
                    <a:pt x="13" y="77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7"/>
                  </a:cubicBezTo>
                  <a:cubicBezTo>
                    <a:pt x="13" y="77"/>
                    <a:pt x="13" y="78"/>
                    <a:pt x="13" y="77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2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8"/>
                    <a:pt x="12" y="79"/>
                    <a:pt x="12" y="79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2" y="78"/>
                  </a:moveTo>
                  <a:cubicBezTo>
                    <a:pt x="12" y="79"/>
                    <a:pt x="12" y="79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3" y="77"/>
                  </a:move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lose/>
                  <a:moveTo>
                    <a:pt x="12" y="80"/>
                  </a:moveTo>
                  <a:cubicBezTo>
                    <a:pt x="13" y="79"/>
                    <a:pt x="13" y="79"/>
                    <a:pt x="13" y="80"/>
                  </a:cubicBezTo>
                  <a:cubicBezTo>
                    <a:pt x="13" y="80"/>
                    <a:pt x="13" y="80"/>
                    <a:pt x="12" y="80"/>
                  </a:cubicBezTo>
                  <a:close/>
                  <a:moveTo>
                    <a:pt x="13" y="80"/>
                  </a:moveTo>
                  <a:cubicBezTo>
                    <a:pt x="13" y="80"/>
                    <a:pt x="13" y="80"/>
                    <a:pt x="13" y="81"/>
                  </a:cubicBezTo>
                  <a:cubicBezTo>
                    <a:pt x="13" y="81"/>
                    <a:pt x="13" y="80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4" y="79"/>
                    <a:pt x="13" y="80"/>
                    <a:pt x="14" y="80"/>
                  </a:cubicBezTo>
                  <a:cubicBezTo>
                    <a:pt x="13" y="80"/>
                    <a:pt x="14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0"/>
                    <a:pt x="13" y="81"/>
                    <a:pt x="13" y="80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1"/>
                    <a:pt x="14" y="82"/>
                    <a:pt x="14" y="81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1"/>
                  </a:cubicBezTo>
                  <a:cubicBezTo>
                    <a:pt x="15" y="81"/>
                    <a:pt x="14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3"/>
                    <a:pt x="15" y="84"/>
                    <a:pt x="15" y="84"/>
                  </a:cubicBezTo>
                  <a:cubicBezTo>
                    <a:pt x="15" y="84"/>
                    <a:pt x="15" y="85"/>
                    <a:pt x="16" y="85"/>
                  </a:cubicBezTo>
                  <a:cubicBezTo>
                    <a:pt x="16" y="85"/>
                    <a:pt x="15" y="84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4"/>
                    <a:pt x="16" y="84"/>
                  </a:cubicBezTo>
                  <a:cubicBezTo>
                    <a:pt x="16" y="84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7"/>
                    <a:pt x="16" y="87"/>
                  </a:cubicBezTo>
                  <a:cubicBezTo>
                    <a:pt x="16" y="87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6" y="87"/>
                    <a:pt x="17" y="87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7"/>
                    <a:pt x="17" y="87"/>
                  </a:cubicBezTo>
                  <a:cubicBezTo>
                    <a:pt x="17" y="87"/>
                    <a:pt x="17" y="88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6" y="89"/>
                    <a:pt x="17" y="89"/>
                    <a:pt x="16" y="90"/>
                  </a:cubicBez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6" y="90"/>
                    <a:pt x="17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5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6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1"/>
                    <a:pt x="15" y="91"/>
                  </a:cubicBezTo>
                  <a:cubicBezTo>
                    <a:pt x="15" y="91"/>
                    <a:pt x="15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5" y="90"/>
                    <a:pt x="16" y="90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3"/>
                  </a:cubicBezTo>
                  <a:cubicBezTo>
                    <a:pt x="15" y="93"/>
                    <a:pt x="15" y="92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1"/>
                    <a:pt x="15" y="92"/>
                  </a:cubicBez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8"/>
                    <a:pt x="15" y="89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4" y="88"/>
                    <a:pt x="14" y="88"/>
                    <a:pt x="15" y="87"/>
                  </a:cubicBezTo>
                  <a:cubicBezTo>
                    <a:pt x="15" y="87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6"/>
                    <a:pt x="15" y="87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5"/>
                  </a:cubicBezTo>
                  <a:cubicBezTo>
                    <a:pt x="14" y="86"/>
                    <a:pt x="15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5" y="87"/>
                    <a:pt x="15" y="87"/>
                  </a:cubicBezTo>
                  <a:cubicBezTo>
                    <a:pt x="15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8"/>
                    <a:pt x="14" y="88"/>
                  </a:cubicBezTo>
                  <a:cubicBezTo>
                    <a:pt x="14" y="89"/>
                    <a:pt x="14" y="89"/>
                    <a:pt x="14" y="90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3"/>
                  </a:cubicBezTo>
                  <a:cubicBezTo>
                    <a:pt x="14" y="93"/>
                    <a:pt x="14" y="92"/>
                    <a:pt x="14" y="92"/>
                  </a:cubicBezTo>
                  <a:cubicBezTo>
                    <a:pt x="14" y="92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0"/>
                  </a:cubicBezTo>
                  <a:cubicBezTo>
                    <a:pt x="14" y="89"/>
                    <a:pt x="14" y="87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5"/>
                    <a:pt x="13" y="84"/>
                    <a:pt x="13" y="85"/>
                  </a:cubicBezTo>
                  <a:cubicBezTo>
                    <a:pt x="13" y="85"/>
                    <a:pt x="13" y="85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3" y="88"/>
                    <a:pt x="13" y="87"/>
                  </a:cubicBezTo>
                  <a:cubicBezTo>
                    <a:pt x="12" y="87"/>
                    <a:pt x="12" y="88"/>
                    <a:pt x="13" y="88"/>
                  </a:cubicBezTo>
                  <a:cubicBezTo>
                    <a:pt x="12" y="88"/>
                    <a:pt x="12" y="87"/>
                    <a:pt x="13" y="87"/>
                  </a:cubicBezTo>
                  <a:cubicBezTo>
                    <a:pt x="13" y="87"/>
                    <a:pt x="13" y="87"/>
                    <a:pt x="12" y="87"/>
                  </a:cubicBezTo>
                  <a:cubicBezTo>
                    <a:pt x="12" y="86"/>
                    <a:pt x="12" y="86"/>
                    <a:pt x="13" y="86"/>
                  </a:cubicBezTo>
                  <a:cubicBezTo>
                    <a:pt x="13" y="86"/>
                    <a:pt x="12" y="86"/>
                    <a:pt x="12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2" y="86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6"/>
                    <a:pt x="11" y="85"/>
                    <a:pt x="11" y="85"/>
                  </a:cubicBezTo>
                  <a:cubicBezTo>
                    <a:pt x="10" y="84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3"/>
                    <a:pt x="10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4"/>
                  </a:cubicBezTo>
                  <a:cubicBezTo>
                    <a:pt x="11" y="83"/>
                    <a:pt x="11" y="84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2"/>
                  </a:cubicBezTo>
                  <a:cubicBezTo>
                    <a:pt x="11" y="82"/>
                    <a:pt x="11" y="83"/>
                    <a:pt x="11" y="83"/>
                  </a:cubicBezTo>
                  <a:cubicBezTo>
                    <a:pt x="12" y="83"/>
                    <a:pt x="12" y="82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1"/>
                    <a:pt x="12" y="81"/>
                  </a:cubicBezTo>
                  <a:cubicBezTo>
                    <a:pt x="12" y="81"/>
                    <a:pt x="12" y="81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3"/>
                    <a:pt x="12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4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2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2"/>
                    <a:pt x="13" y="82"/>
                  </a:cubicBezTo>
                  <a:cubicBezTo>
                    <a:pt x="13" y="82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lose/>
                  <a:moveTo>
                    <a:pt x="10" y="84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lose/>
                  <a:moveTo>
                    <a:pt x="11" y="84"/>
                  </a:move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lose/>
                  <a:moveTo>
                    <a:pt x="12" y="84"/>
                  </a:moveTo>
                  <a:cubicBezTo>
                    <a:pt x="11" y="84"/>
                    <a:pt x="11" y="85"/>
                    <a:pt x="11" y="85"/>
                  </a:cubicBezTo>
                  <a:cubicBezTo>
                    <a:pt x="12" y="85"/>
                    <a:pt x="12" y="85"/>
                    <a:pt x="12" y="84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5" y="91"/>
                  </a:move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2"/>
                    <a:pt x="16" y="92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1"/>
                    <a:pt x="15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15" y="88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lose/>
                  <a:moveTo>
                    <a:pt x="15" y="89"/>
                  </a:move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lose/>
                  <a:moveTo>
                    <a:pt x="15" y="90"/>
                  </a:moveTo>
                  <a:cubicBezTo>
                    <a:pt x="15" y="89"/>
                    <a:pt x="15" y="89"/>
                    <a:pt x="15" y="88"/>
                  </a:cubicBezTo>
                  <a:cubicBezTo>
                    <a:pt x="15" y="88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90"/>
                  </a:cubicBezTo>
                  <a:close/>
                  <a:moveTo>
                    <a:pt x="16" y="84"/>
                  </a:moveTo>
                  <a:cubicBezTo>
                    <a:pt x="16" y="84"/>
                    <a:pt x="16" y="83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lose/>
                  <a:moveTo>
                    <a:pt x="16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8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9"/>
                    <a:pt x="16" y="88"/>
                  </a:cubicBezTo>
                  <a:close/>
                  <a:moveTo>
                    <a:pt x="15" y="87"/>
                  </a:move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6" y="88"/>
                    <a:pt x="16" y="89"/>
                  </a:cubicBezTo>
                  <a:cubicBezTo>
                    <a:pt x="16" y="89"/>
                    <a:pt x="16" y="87"/>
                    <a:pt x="16" y="88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5" y="87"/>
                    <a:pt x="15" y="87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6"/>
                    <a:pt x="14" y="87"/>
                    <a:pt x="14" y="86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lose/>
                  <a:moveTo>
                    <a:pt x="14" y="84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4" y="84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5" y="85"/>
                    <a:pt x="14" y="84"/>
                    <a:pt x="14" y="84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4"/>
                  </a:moveTo>
                  <a:cubicBezTo>
                    <a:pt x="15" y="84"/>
                    <a:pt x="14" y="83"/>
                    <a:pt x="14" y="83"/>
                  </a:cubicBezTo>
                  <a:cubicBezTo>
                    <a:pt x="14" y="83"/>
                    <a:pt x="15" y="83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4" y="83"/>
                    <a:pt x="15" y="82"/>
                    <a:pt x="14" y="82"/>
                  </a:cubicBezTo>
                  <a:cubicBezTo>
                    <a:pt x="14" y="82"/>
                    <a:pt x="15" y="83"/>
                    <a:pt x="14" y="83"/>
                  </a:cubicBez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4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14" y="85"/>
                  </a:move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lose/>
                  <a:moveTo>
                    <a:pt x="14" y="90"/>
                  </a:move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4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0"/>
                    <a:pt x="12" y="79"/>
                  </a:cubicBezTo>
                  <a:cubicBezTo>
                    <a:pt x="12" y="80"/>
                    <a:pt x="12" y="81"/>
                    <a:pt x="12" y="80"/>
                  </a:cubicBezTo>
                  <a:close/>
                  <a:moveTo>
                    <a:pt x="10" y="80"/>
                  </a:moveTo>
                  <a:cubicBezTo>
                    <a:pt x="11" y="80"/>
                    <a:pt x="11" y="80"/>
                    <a:pt x="10" y="81"/>
                  </a:cubicBezTo>
                  <a:cubicBezTo>
                    <a:pt x="10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0" y="81"/>
                    <a:pt x="10" y="81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6" y="82"/>
                  </a:moveTo>
                  <a:cubicBezTo>
                    <a:pt x="6" y="82"/>
                    <a:pt x="6" y="82"/>
                    <a:pt x="6" y="82"/>
                  </a:cubicBezTo>
                  <a:cubicBezTo>
                    <a:pt x="6" y="82"/>
                    <a:pt x="6" y="82"/>
                    <a:pt x="6" y="81"/>
                  </a:cubicBezTo>
                  <a:cubicBezTo>
                    <a:pt x="6" y="82"/>
                    <a:pt x="6" y="82"/>
                    <a:pt x="6" y="83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2"/>
                    <a:pt x="6" y="83"/>
                    <a:pt x="6" y="82"/>
                  </a:cubicBezTo>
                  <a:cubicBezTo>
                    <a:pt x="6" y="82"/>
                    <a:pt x="6" y="82"/>
                    <a:pt x="6" y="82"/>
                  </a:cubicBezTo>
                  <a:close/>
                  <a:moveTo>
                    <a:pt x="9" y="82"/>
                  </a:moveTo>
                  <a:cubicBezTo>
                    <a:pt x="9" y="82"/>
                    <a:pt x="9" y="83"/>
                    <a:pt x="9" y="83"/>
                  </a:cubicBezTo>
                  <a:cubicBezTo>
                    <a:pt x="9" y="83"/>
                    <a:pt x="9" y="82"/>
                    <a:pt x="9" y="82"/>
                  </a:cubicBezTo>
                  <a:cubicBezTo>
                    <a:pt x="9" y="82"/>
                    <a:pt x="9" y="83"/>
                    <a:pt x="9" y="83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5"/>
                    <a:pt x="9" y="85"/>
                  </a:cubicBezTo>
                  <a:cubicBezTo>
                    <a:pt x="9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5"/>
                    <a:pt x="8" y="86"/>
                    <a:pt x="9" y="86"/>
                  </a:cubicBezTo>
                  <a:cubicBezTo>
                    <a:pt x="9" y="86"/>
                    <a:pt x="9" y="87"/>
                    <a:pt x="9" y="87"/>
                  </a:cubicBezTo>
                  <a:cubicBezTo>
                    <a:pt x="9" y="87"/>
                    <a:pt x="9" y="88"/>
                    <a:pt x="9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8" y="87"/>
                    <a:pt x="8" y="87"/>
                  </a:cubicBezTo>
                  <a:cubicBezTo>
                    <a:pt x="8" y="86"/>
                    <a:pt x="8" y="86"/>
                    <a:pt x="9" y="86"/>
                  </a:cubicBezTo>
                  <a:cubicBezTo>
                    <a:pt x="9" y="86"/>
                    <a:pt x="8" y="86"/>
                    <a:pt x="8" y="86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7" y="87"/>
                    <a:pt x="8" y="87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9"/>
                  </a:cubicBezTo>
                  <a:cubicBezTo>
                    <a:pt x="7" y="89"/>
                    <a:pt x="7" y="88"/>
                    <a:pt x="7" y="88"/>
                  </a:cubicBezTo>
                  <a:cubicBezTo>
                    <a:pt x="7" y="88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7" y="90"/>
                    <a:pt x="7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7" y="89"/>
                    <a:pt x="6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6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6"/>
                    <a:pt x="7" y="86"/>
                  </a:cubicBezTo>
                  <a:cubicBezTo>
                    <a:pt x="7" y="86"/>
                    <a:pt x="7" y="87"/>
                    <a:pt x="7" y="87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8" y="86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3"/>
                    <a:pt x="8" y="83"/>
                  </a:cubicBezTo>
                  <a:cubicBezTo>
                    <a:pt x="8" y="83"/>
                    <a:pt x="8" y="83"/>
                    <a:pt x="9" y="83"/>
                  </a:cubicBezTo>
                  <a:cubicBezTo>
                    <a:pt x="8" y="83"/>
                    <a:pt x="8" y="84"/>
                    <a:pt x="8" y="84"/>
                  </a:cubicBezTo>
                  <a:cubicBezTo>
                    <a:pt x="9" y="84"/>
                    <a:pt x="9" y="83"/>
                    <a:pt x="9" y="83"/>
                  </a:cubicBezTo>
                  <a:cubicBezTo>
                    <a:pt x="9" y="82"/>
                    <a:pt x="9" y="82"/>
                    <a:pt x="9" y="82"/>
                  </a:cubicBezTo>
                  <a:close/>
                  <a:moveTo>
                    <a:pt x="7" y="86"/>
                  </a:moveTo>
                  <a:cubicBezTo>
                    <a:pt x="8" y="87"/>
                    <a:pt x="7" y="87"/>
                    <a:pt x="7" y="87"/>
                  </a:cubicBezTo>
                  <a:cubicBezTo>
                    <a:pt x="7" y="87"/>
                    <a:pt x="8" y="87"/>
                    <a:pt x="8" y="87"/>
                  </a:cubicBezTo>
                  <a:cubicBezTo>
                    <a:pt x="8" y="87"/>
                    <a:pt x="8" y="86"/>
                    <a:pt x="7" y="86"/>
                  </a:cubicBezTo>
                  <a:close/>
                  <a:moveTo>
                    <a:pt x="8" y="86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6"/>
                    <a:pt x="8" y="87"/>
                    <a:pt x="8" y="87"/>
                  </a:cubicBezTo>
                  <a:cubicBezTo>
                    <a:pt x="8" y="87"/>
                    <a:pt x="8" y="86"/>
                    <a:pt x="8" y="86"/>
                  </a:cubicBezTo>
                  <a:close/>
                  <a:moveTo>
                    <a:pt x="9" y="84"/>
                  </a:moveTo>
                  <a:cubicBezTo>
                    <a:pt x="9" y="84"/>
                    <a:pt x="9" y="85"/>
                    <a:pt x="9" y="85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9" y="84"/>
                  </a:move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13" y="82"/>
                  </a:moveTo>
                  <a:cubicBezTo>
                    <a:pt x="13" y="82"/>
                    <a:pt x="13" y="82"/>
                    <a:pt x="13" y="83"/>
                  </a:cubicBezTo>
                  <a:cubicBezTo>
                    <a:pt x="12" y="82"/>
                    <a:pt x="13" y="82"/>
                    <a:pt x="13" y="82"/>
                  </a:cubicBezTo>
                  <a:close/>
                  <a:moveTo>
                    <a:pt x="5" y="83"/>
                  </a:move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4" y="83"/>
                    <a:pt x="4" y="83"/>
                  </a:cubicBezTo>
                  <a:cubicBezTo>
                    <a:pt x="4" y="83"/>
                    <a:pt x="5" y="83"/>
                    <a:pt x="5" y="83"/>
                  </a:cubicBezTo>
                  <a:close/>
                  <a:moveTo>
                    <a:pt x="12" y="88"/>
                  </a:moveTo>
                  <a:cubicBezTo>
                    <a:pt x="12" y="87"/>
                    <a:pt x="12" y="87"/>
                    <a:pt x="12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8"/>
                  </a:cubicBezTo>
                  <a:cubicBezTo>
                    <a:pt x="12" y="88"/>
                    <a:pt x="12" y="87"/>
                    <a:pt x="12" y="87"/>
                  </a:cubicBezTo>
                  <a:cubicBezTo>
                    <a:pt x="12" y="87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9"/>
                    <a:pt x="12" y="89"/>
                  </a:cubicBezTo>
                  <a:cubicBezTo>
                    <a:pt x="12" y="89"/>
                    <a:pt x="12" y="88"/>
                    <a:pt x="12" y="88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ubicBezTo>
                    <a:pt x="13" y="87"/>
                    <a:pt x="13" y="88"/>
                    <a:pt x="13" y="88"/>
                  </a:cubicBezTo>
                  <a:close/>
                  <a:moveTo>
                    <a:pt x="14" y="130"/>
                  </a:moveTo>
                  <a:cubicBezTo>
                    <a:pt x="14" y="130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2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5"/>
                    <a:pt x="14" y="136"/>
                  </a:cubicBezTo>
                  <a:cubicBezTo>
                    <a:pt x="14" y="136"/>
                    <a:pt x="14" y="134"/>
                    <a:pt x="14" y="134"/>
                  </a:cubicBezTo>
                  <a:cubicBezTo>
                    <a:pt x="14" y="134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6"/>
                    <a:pt x="14" y="135"/>
                  </a:cubicBezTo>
                  <a:cubicBezTo>
                    <a:pt x="14" y="135"/>
                    <a:pt x="14" y="135"/>
                    <a:pt x="14" y="134"/>
                  </a:cubicBezTo>
                  <a:cubicBezTo>
                    <a:pt x="14" y="134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5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5"/>
                    <a:pt x="14" y="135"/>
                  </a:cubicBezTo>
                  <a:cubicBezTo>
                    <a:pt x="14" y="135"/>
                    <a:pt x="14" y="136"/>
                    <a:pt x="14" y="135"/>
                  </a:cubicBezTo>
                  <a:cubicBezTo>
                    <a:pt x="13" y="135"/>
                    <a:pt x="14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7"/>
                  </a:cubicBezTo>
                  <a:cubicBezTo>
                    <a:pt x="13" y="137"/>
                    <a:pt x="13" y="136"/>
                    <a:pt x="13" y="136"/>
                  </a:cubicBezTo>
                  <a:cubicBezTo>
                    <a:pt x="13" y="134"/>
                    <a:pt x="13" y="134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2"/>
                  </a:cubicBezTo>
                  <a:cubicBezTo>
                    <a:pt x="14" y="132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4" y="132"/>
                  </a:cubicBezTo>
                  <a:cubicBezTo>
                    <a:pt x="13" y="133"/>
                    <a:pt x="13" y="132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2"/>
                  </a:cubicBezTo>
                  <a:cubicBezTo>
                    <a:pt x="13" y="132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3"/>
                    <a:pt x="13" y="132"/>
                    <a:pt x="13" y="131"/>
                  </a:cubicBezTo>
                  <a:cubicBezTo>
                    <a:pt x="13" y="131"/>
                    <a:pt x="12" y="130"/>
                    <a:pt x="13" y="130"/>
                  </a:cubicBezTo>
                  <a:cubicBezTo>
                    <a:pt x="13" y="130"/>
                    <a:pt x="13" y="130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0"/>
                    <a:pt x="13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4" y="132"/>
                    <a:pt x="14" y="131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2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ubicBezTo>
                    <a:pt x="14" y="130"/>
                    <a:pt x="14" y="131"/>
                    <a:pt x="14" y="130"/>
                  </a:cubicBezTo>
                  <a:cubicBezTo>
                    <a:pt x="14" y="130"/>
                    <a:pt x="14" y="130"/>
                    <a:pt x="14" y="131"/>
                  </a:cubicBezTo>
                  <a:cubicBezTo>
                    <a:pt x="14" y="131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3" y="128"/>
                  </a:cubicBezTo>
                  <a:cubicBezTo>
                    <a:pt x="14" y="128"/>
                    <a:pt x="14" y="128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6"/>
                    <a:pt x="14" y="126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5"/>
                  </a:cubicBezTo>
                  <a:cubicBezTo>
                    <a:pt x="14" y="124"/>
                    <a:pt x="14" y="123"/>
                    <a:pt x="14" y="122"/>
                  </a:cubicBezTo>
                  <a:cubicBezTo>
                    <a:pt x="14" y="122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2"/>
                    <a:pt x="14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4" y="121"/>
                    <a:pt x="13" y="121"/>
                    <a:pt x="14" y="121"/>
                  </a:cubicBezTo>
                  <a:cubicBezTo>
                    <a:pt x="14" y="121"/>
                    <a:pt x="14" y="121"/>
                    <a:pt x="13" y="121"/>
                  </a:cubicBezTo>
                  <a:cubicBezTo>
                    <a:pt x="13" y="120"/>
                    <a:pt x="14" y="120"/>
                    <a:pt x="13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8"/>
                    <a:pt x="14" y="117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4" y="118"/>
                    <a:pt x="14" y="119"/>
                    <a:pt x="14" y="120"/>
                  </a:cubicBezTo>
                  <a:cubicBezTo>
                    <a:pt x="14" y="120"/>
                    <a:pt x="14" y="120"/>
                    <a:pt x="14" y="120"/>
                  </a:cubicBezTo>
                  <a:cubicBezTo>
                    <a:pt x="14" y="120"/>
                    <a:pt x="14" y="120"/>
                    <a:pt x="14" y="121"/>
                  </a:cubicBezTo>
                  <a:cubicBezTo>
                    <a:pt x="14" y="121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8"/>
                    <a:pt x="14" y="118"/>
                  </a:cubicBezTo>
                  <a:cubicBezTo>
                    <a:pt x="14" y="118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5" y="116"/>
                    <a:pt x="14" y="116"/>
                    <a:pt x="14" y="114"/>
                  </a:cubicBezTo>
                  <a:cubicBezTo>
                    <a:pt x="14" y="114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6"/>
                    <a:pt x="14" y="116"/>
                  </a:cubicBezTo>
                  <a:cubicBezTo>
                    <a:pt x="14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7"/>
                    <a:pt x="13" y="116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3" y="120"/>
                    <a:pt x="13" y="120"/>
                  </a:cubicBezTo>
                  <a:cubicBezTo>
                    <a:pt x="12" y="120"/>
                    <a:pt x="12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1"/>
                    <a:pt x="12" y="121"/>
                  </a:cubicBezTo>
                  <a:cubicBezTo>
                    <a:pt x="12" y="121"/>
                    <a:pt x="13" y="121"/>
                    <a:pt x="12" y="121"/>
                  </a:cubicBezTo>
                  <a:cubicBezTo>
                    <a:pt x="12" y="120"/>
                    <a:pt x="13" y="121"/>
                    <a:pt x="13" y="120"/>
                  </a:cubicBezTo>
                  <a:cubicBezTo>
                    <a:pt x="13" y="121"/>
                    <a:pt x="12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4"/>
                  </a:cubicBezTo>
                  <a:cubicBezTo>
                    <a:pt x="13" y="124"/>
                    <a:pt x="12" y="124"/>
                    <a:pt x="13" y="125"/>
                  </a:cubicBezTo>
                  <a:cubicBezTo>
                    <a:pt x="12" y="125"/>
                    <a:pt x="12" y="125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2" y="123"/>
                    <a:pt x="12" y="124"/>
                    <a:pt x="12" y="124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3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3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1" y="123"/>
                    <a:pt x="11" y="124"/>
                    <a:pt x="11" y="123"/>
                  </a:cubicBezTo>
                  <a:cubicBezTo>
                    <a:pt x="11" y="123"/>
                    <a:pt x="11" y="123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3"/>
                    <a:pt x="11" y="124"/>
                    <a:pt x="11" y="124"/>
                  </a:cubicBezTo>
                  <a:cubicBezTo>
                    <a:pt x="11" y="124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19"/>
                  </a:cubicBezTo>
                  <a:cubicBezTo>
                    <a:pt x="11" y="119"/>
                    <a:pt x="11" y="119"/>
                    <a:pt x="11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7"/>
                    <a:pt x="11" y="118"/>
                    <a:pt x="11" y="117"/>
                  </a:cubicBezTo>
                  <a:cubicBezTo>
                    <a:pt x="11" y="117"/>
                    <a:pt x="11" y="118"/>
                    <a:pt x="11" y="118"/>
                  </a:cubicBezTo>
                  <a:cubicBezTo>
                    <a:pt x="11" y="118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6"/>
                    <a:pt x="11" y="117"/>
                    <a:pt x="12" y="117"/>
                  </a:cubicBezTo>
                  <a:cubicBezTo>
                    <a:pt x="11" y="117"/>
                    <a:pt x="12" y="118"/>
                    <a:pt x="12" y="118"/>
                  </a:cubicBezTo>
                  <a:cubicBezTo>
                    <a:pt x="12" y="118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7"/>
                  </a:cubicBezTo>
                  <a:cubicBezTo>
                    <a:pt x="12" y="117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1" y="116"/>
                    <a:pt x="12" y="115"/>
                    <a:pt x="12" y="115"/>
                  </a:cubicBezTo>
                  <a:cubicBezTo>
                    <a:pt x="11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5"/>
                  </a:cubicBezTo>
                  <a:cubicBezTo>
                    <a:pt x="12" y="115"/>
                    <a:pt x="12" y="114"/>
                    <a:pt x="12" y="114"/>
                  </a:cubicBezTo>
                  <a:cubicBezTo>
                    <a:pt x="11" y="114"/>
                    <a:pt x="12" y="115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6"/>
                    <a:pt x="12" y="116"/>
                  </a:cubicBezTo>
                  <a:cubicBezTo>
                    <a:pt x="12" y="116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4"/>
                    <a:pt x="12" y="115"/>
                    <a:pt x="12" y="115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2"/>
                  </a:cubicBezTo>
                  <a:cubicBezTo>
                    <a:pt x="13" y="113"/>
                    <a:pt x="12" y="114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4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4" y="110"/>
                    <a:pt x="13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4" y="111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2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09"/>
                  </a:cubicBezTo>
                  <a:cubicBezTo>
                    <a:pt x="15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5" y="110"/>
                    <a:pt x="15" y="109"/>
                  </a:cubicBezTo>
                  <a:cubicBezTo>
                    <a:pt x="15" y="110"/>
                    <a:pt x="14" y="109"/>
                    <a:pt x="14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9"/>
                    <a:pt x="14" y="109"/>
                    <a:pt x="15" y="109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5" y="108"/>
                    <a:pt x="15" y="109"/>
                    <a:pt x="15" y="109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8"/>
                    <a:pt x="14" y="108"/>
                  </a:cubicBezTo>
                  <a:cubicBezTo>
                    <a:pt x="14" y="108"/>
                    <a:pt x="15" y="108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5" y="107"/>
                  </a:cubicBezTo>
                  <a:cubicBezTo>
                    <a:pt x="15" y="107"/>
                    <a:pt x="14" y="106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7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4"/>
                  </a:cubicBezTo>
                  <a:cubicBezTo>
                    <a:pt x="14" y="104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5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4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4" y="103"/>
                  </a:cubicBezTo>
                  <a:cubicBezTo>
                    <a:pt x="14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4" y="101"/>
                    <a:pt x="14" y="101"/>
                  </a:cubicBezTo>
                  <a:cubicBezTo>
                    <a:pt x="14" y="101"/>
                    <a:pt x="15" y="101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1"/>
                  </a:cubicBezTo>
                  <a:cubicBezTo>
                    <a:pt x="14" y="101"/>
                    <a:pt x="14" y="101"/>
                    <a:pt x="14" y="100"/>
                  </a:cubicBezTo>
                  <a:cubicBezTo>
                    <a:pt x="14" y="101"/>
                    <a:pt x="14" y="100"/>
                    <a:pt x="14" y="101"/>
                  </a:cubicBezTo>
                  <a:cubicBezTo>
                    <a:pt x="13" y="101"/>
                    <a:pt x="14" y="100"/>
                    <a:pt x="14" y="100"/>
                  </a:cubicBezTo>
                  <a:cubicBezTo>
                    <a:pt x="13" y="100"/>
                    <a:pt x="13" y="100"/>
                    <a:pt x="14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4" y="99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5" y="99"/>
                    <a:pt x="14" y="100"/>
                    <a:pt x="14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8"/>
                  </a:cubicBezTo>
                  <a:cubicBezTo>
                    <a:pt x="14" y="98"/>
                    <a:pt x="14" y="98"/>
                    <a:pt x="15" y="98"/>
                  </a:cubicBezTo>
                  <a:cubicBezTo>
                    <a:pt x="15" y="98"/>
                    <a:pt x="14" y="98"/>
                    <a:pt x="15" y="98"/>
                  </a:cubicBezTo>
                  <a:cubicBezTo>
                    <a:pt x="15" y="98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9"/>
                    <a:pt x="15" y="100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6" y="102"/>
                    <a:pt x="16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5" y="100"/>
                  </a:cubicBez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99"/>
                    <a:pt x="16" y="99"/>
                  </a:cubicBezTo>
                  <a:cubicBezTo>
                    <a:pt x="16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5"/>
                    <a:pt x="15" y="95"/>
                  </a:cubicBezTo>
                  <a:cubicBezTo>
                    <a:pt x="15" y="95"/>
                    <a:pt x="15" y="94"/>
                    <a:pt x="15" y="95"/>
                  </a:cubicBezTo>
                  <a:cubicBezTo>
                    <a:pt x="15" y="95"/>
                    <a:pt x="15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3"/>
                    <a:pt x="16" y="94"/>
                    <a:pt x="15" y="94"/>
                  </a:cubicBezTo>
                  <a:cubicBezTo>
                    <a:pt x="15" y="94"/>
                    <a:pt x="15" y="93"/>
                    <a:pt x="15" y="93"/>
                  </a:cubicBezTo>
                  <a:cubicBezTo>
                    <a:pt x="15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3"/>
                    <a:pt x="16" y="94"/>
                  </a:cubicBezTo>
                  <a:cubicBezTo>
                    <a:pt x="16" y="93"/>
                    <a:pt x="17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1"/>
                    <a:pt x="16" y="91"/>
                  </a:cubicBezTo>
                  <a:cubicBezTo>
                    <a:pt x="16" y="91"/>
                    <a:pt x="17" y="91"/>
                    <a:pt x="17" y="92"/>
                  </a:cubicBezTo>
                  <a:cubicBezTo>
                    <a:pt x="17" y="92"/>
                    <a:pt x="17" y="91"/>
                    <a:pt x="17" y="91"/>
                  </a:cubicBezTo>
                  <a:cubicBezTo>
                    <a:pt x="17" y="91"/>
                    <a:pt x="17" y="91"/>
                    <a:pt x="17" y="90"/>
                  </a:cubicBezTo>
                  <a:cubicBezTo>
                    <a:pt x="17" y="90"/>
                    <a:pt x="17" y="91"/>
                    <a:pt x="17" y="91"/>
                  </a:cubicBezTo>
                  <a:cubicBezTo>
                    <a:pt x="17" y="91"/>
                    <a:pt x="17" y="90"/>
                    <a:pt x="17" y="9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8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2"/>
                    <a:pt x="18" y="93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9"/>
                    <a:pt x="18" y="99"/>
                  </a:cubicBezTo>
                  <a:cubicBezTo>
                    <a:pt x="18" y="99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9"/>
                  </a:cubicBezTo>
                  <a:cubicBezTo>
                    <a:pt x="18" y="98"/>
                    <a:pt x="18" y="100"/>
                    <a:pt x="18" y="101"/>
                  </a:cubicBezTo>
                  <a:cubicBezTo>
                    <a:pt x="18" y="101"/>
                    <a:pt x="18" y="100"/>
                    <a:pt x="18" y="101"/>
                  </a:cubicBezTo>
                  <a:cubicBezTo>
                    <a:pt x="18" y="101"/>
                    <a:pt x="18" y="101"/>
                    <a:pt x="18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3"/>
                    <a:pt x="18" y="105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8"/>
                    <a:pt x="18" y="107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1"/>
                    <a:pt x="18" y="110"/>
                    <a:pt x="18" y="111"/>
                  </a:cubicBezTo>
                  <a:cubicBezTo>
                    <a:pt x="18" y="111"/>
                    <a:pt x="18" y="110"/>
                    <a:pt x="18" y="110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3"/>
                    <a:pt x="18" y="113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6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3"/>
                    <a:pt x="18" y="112"/>
                    <a:pt x="18" y="111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0"/>
                    <a:pt x="17" y="107"/>
                    <a:pt x="17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6"/>
                    <a:pt x="17" y="106"/>
                    <a:pt x="17" y="106"/>
                  </a:cubicBezTo>
                  <a:cubicBezTo>
                    <a:pt x="18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2"/>
                  </a:cubicBezTo>
                  <a:cubicBezTo>
                    <a:pt x="17" y="103"/>
                    <a:pt x="17" y="104"/>
                    <a:pt x="17" y="104"/>
                  </a:cubicBezTo>
                  <a:cubicBezTo>
                    <a:pt x="17" y="105"/>
                    <a:pt x="17" y="104"/>
                    <a:pt x="17" y="105"/>
                  </a:cubicBezTo>
                  <a:cubicBezTo>
                    <a:pt x="17" y="104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7" y="105"/>
                    <a:pt x="17" y="106"/>
                    <a:pt x="17" y="106"/>
                  </a:cubicBezTo>
                  <a:cubicBezTo>
                    <a:pt x="17" y="106"/>
                    <a:pt x="17" y="107"/>
                    <a:pt x="17" y="106"/>
                  </a:cubicBezTo>
                  <a:cubicBezTo>
                    <a:pt x="17" y="106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5"/>
                    <a:pt x="17" y="105"/>
                    <a:pt x="17" y="105"/>
                  </a:cubicBezTo>
                  <a:cubicBezTo>
                    <a:pt x="17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6" y="106"/>
                    <a:pt x="16" y="105"/>
                    <a:pt x="16" y="105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8"/>
                    <a:pt x="16" y="108"/>
                  </a:cubicBezTo>
                  <a:cubicBezTo>
                    <a:pt x="16" y="108"/>
                    <a:pt x="16" y="108"/>
                    <a:pt x="16" y="107"/>
                  </a:cubicBezTo>
                  <a:cubicBezTo>
                    <a:pt x="16" y="108"/>
                    <a:pt x="16" y="108"/>
                    <a:pt x="16" y="109"/>
                  </a:cubicBezTo>
                  <a:cubicBezTo>
                    <a:pt x="16" y="108"/>
                    <a:pt x="16" y="109"/>
                    <a:pt x="16" y="109"/>
                  </a:cubicBezTo>
                  <a:cubicBezTo>
                    <a:pt x="16" y="109"/>
                    <a:pt x="16" y="110"/>
                    <a:pt x="16" y="110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2"/>
                    <a:pt x="16" y="111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09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7" y="112"/>
                    <a:pt x="17" y="112"/>
                    <a:pt x="16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3"/>
                  </a:cubicBezTo>
                  <a:cubicBezTo>
                    <a:pt x="17" y="113"/>
                    <a:pt x="17" y="112"/>
                    <a:pt x="17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8"/>
                    <a:pt x="18" y="118"/>
                  </a:cubicBezTo>
                  <a:cubicBezTo>
                    <a:pt x="18" y="119"/>
                    <a:pt x="18" y="120"/>
                    <a:pt x="18" y="121"/>
                  </a:cubicBezTo>
                  <a:cubicBezTo>
                    <a:pt x="17" y="121"/>
                    <a:pt x="18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0"/>
                    <a:pt x="18" y="119"/>
                    <a:pt x="17" y="119"/>
                  </a:cubicBezTo>
                  <a:cubicBezTo>
                    <a:pt x="17" y="119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19"/>
                  </a:cubicBezTo>
                  <a:cubicBezTo>
                    <a:pt x="17" y="120"/>
                    <a:pt x="17" y="120"/>
                    <a:pt x="18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ubicBezTo>
                    <a:pt x="17" y="123"/>
                    <a:pt x="18" y="124"/>
                    <a:pt x="18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8" y="125"/>
                  </a:cubicBezTo>
                  <a:cubicBezTo>
                    <a:pt x="18" y="125"/>
                    <a:pt x="17" y="125"/>
                    <a:pt x="17" y="125"/>
                  </a:cubicBezTo>
                  <a:cubicBezTo>
                    <a:pt x="18" y="125"/>
                    <a:pt x="18" y="125"/>
                    <a:pt x="18" y="126"/>
                  </a:cubicBezTo>
                  <a:cubicBezTo>
                    <a:pt x="18" y="126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4"/>
                    <a:pt x="18" y="126"/>
                    <a:pt x="18" y="126"/>
                  </a:cubicBezTo>
                  <a:cubicBezTo>
                    <a:pt x="18" y="126"/>
                    <a:pt x="18" y="127"/>
                    <a:pt x="18" y="127"/>
                  </a:cubicBezTo>
                  <a:cubicBezTo>
                    <a:pt x="18" y="127"/>
                    <a:pt x="18" y="128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1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9" y="129"/>
                    <a:pt x="18" y="128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6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2"/>
                    <a:pt x="18" y="120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8" y="118"/>
                  </a:cubicBezTo>
                  <a:cubicBezTo>
                    <a:pt x="18" y="119"/>
                    <a:pt x="19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5"/>
                    <a:pt x="19" y="128"/>
                    <a:pt x="18" y="130"/>
                  </a:cubicBezTo>
                  <a:cubicBezTo>
                    <a:pt x="19" y="130"/>
                    <a:pt x="19" y="130"/>
                    <a:pt x="19" y="130"/>
                  </a:cubicBezTo>
                  <a:cubicBezTo>
                    <a:pt x="18" y="130"/>
                    <a:pt x="19" y="131"/>
                    <a:pt x="18" y="132"/>
                  </a:cubicBezTo>
                  <a:cubicBezTo>
                    <a:pt x="18" y="132"/>
                    <a:pt x="19" y="132"/>
                    <a:pt x="19" y="132"/>
                  </a:cubicBezTo>
                  <a:cubicBezTo>
                    <a:pt x="19" y="132"/>
                    <a:pt x="19" y="133"/>
                    <a:pt x="19" y="133"/>
                  </a:cubicBezTo>
                  <a:cubicBezTo>
                    <a:pt x="19" y="133"/>
                    <a:pt x="18" y="133"/>
                    <a:pt x="18" y="133"/>
                  </a:cubicBezTo>
                  <a:cubicBezTo>
                    <a:pt x="18" y="132"/>
                    <a:pt x="19" y="131"/>
                    <a:pt x="18" y="131"/>
                  </a:cubicBezTo>
                  <a:cubicBezTo>
                    <a:pt x="18" y="131"/>
                    <a:pt x="18" y="131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3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2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4"/>
                  </a:cubicBezTo>
                  <a:cubicBezTo>
                    <a:pt x="18" y="134"/>
                    <a:pt x="18" y="135"/>
                    <a:pt x="17" y="134"/>
                  </a:cubicBezTo>
                  <a:cubicBezTo>
                    <a:pt x="18" y="135"/>
                    <a:pt x="18" y="135"/>
                    <a:pt x="17" y="135"/>
                  </a:cubicBezTo>
                  <a:cubicBezTo>
                    <a:pt x="17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7" y="135"/>
                    <a:pt x="18" y="135"/>
                  </a:cubicBezTo>
                  <a:cubicBezTo>
                    <a:pt x="17" y="135"/>
                    <a:pt x="17" y="135"/>
                    <a:pt x="17" y="134"/>
                  </a:cubicBezTo>
                  <a:cubicBezTo>
                    <a:pt x="17" y="134"/>
                    <a:pt x="18" y="134"/>
                    <a:pt x="18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3"/>
                    <a:pt x="18" y="132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0"/>
                    <a:pt x="17" y="130"/>
                    <a:pt x="17" y="129"/>
                  </a:cubicBezTo>
                  <a:cubicBezTo>
                    <a:pt x="17" y="129"/>
                    <a:pt x="17" y="130"/>
                    <a:pt x="17" y="130"/>
                  </a:cubicBezTo>
                  <a:cubicBezTo>
                    <a:pt x="17" y="129"/>
                    <a:pt x="17" y="129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7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6" y="131"/>
                    <a:pt x="16" y="132"/>
                  </a:cubicBezTo>
                  <a:cubicBezTo>
                    <a:pt x="16" y="131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2"/>
                    <a:pt x="16" y="132"/>
                  </a:cubicBezTo>
                  <a:cubicBezTo>
                    <a:pt x="16" y="132"/>
                    <a:pt x="16" y="132"/>
                    <a:pt x="16" y="131"/>
                  </a:cubicBezTo>
                  <a:cubicBezTo>
                    <a:pt x="15" y="132"/>
                    <a:pt x="16" y="132"/>
                    <a:pt x="15" y="133"/>
                  </a:cubicBezTo>
                  <a:cubicBezTo>
                    <a:pt x="15" y="132"/>
                    <a:pt x="16" y="132"/>
                    <a:pt x="15" y="131"/>
                  </a:cubicBezTo>
                  <a:cubicBezTo>
                    <a:pt x="15" y="131"/>
                    <a:pt x="16" y="131"/>
                    <a:pt x="16" y="131"/>
                  </a:cubicBezTo>
                  <a:cubicBezTo>
                    <a:pt x="16" y="131"/>
                    <a:pt x="15" y="131"/>
                    <a:pt x="16" y="131"/>
                  </a:cubicBezTo>
                  <a:cubicBezTo>
                    <a:pt x="16" y="130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8"/>
                    <a:pt x="15" y="128"/>
                  </a:cubicBezTo>
                  <a:cubicBezTo>
                    <a:pt x="15" y="128"/>
                    <a:pt x="15" y="127"/>
                    <a:pt x="16" y="128"/>
                  </a:cubicBezTo>
                  <a:cubicBezTo>
                    <a:pt x="15" y="127"/>
                    <a:pt x="16" y="127"/>
                    <a:pt x="16" y="127"/>
                  </a:cubicBezTo>
                  <a:cubicBezTo>
                    <a:pt x="16" y="127"/>
                    <a:pt x="15" y="127"/>
                    <a:pt x="15" y="127"/>
                  </a:cubicBezTo>
                  <a:cubicBezTo>
                    <a:pt x="15" y="127"/>
                    <a:pt x="16" y="126"/>
                    <a:pt x="16" y="127"/>
                  </a:cubicBezTo>
                  <a:cubicBezTo>
                    <a:pt x="16" y="127"/>
                    <a:pt x="16" y="126"/>
                    <a:pt x="16" y="126"/>
                  </a:cubicBezTo>
                  <a:cubicBezTo>
                    <a:pt x="15" y="126"/>
                    <a:pt x="15" y="125"/>
                    <a:pt x="15" y="124"/>
                  </a:cubicBezTo>
                  <a:cubicBezTo>
                    <a:pt x="15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4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6"/>
                    <a:pt x="15" y="127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9"/>
                    <a:pt x="15" y="128"/>
                    <a:pt x="15" y="128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30"/>
                    <a:pt x="15" y="130"/>
                  </a:cubicBezTo>
                  <a:cubicBezTo>
                    <a:pt x="15" y="130"/>
                    <a:pt x="15" y="129"/>
                    <a:pt x="15" y="130"/>
                  </a:cubicBezTo>
                  <a:cubicBezTo>
                    <a:pt x="14" y="129"/>
                    <a:pt x="15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9"/>
                    <a:pt x="14" y="130"/>
                    <a:pt x="14" y="131"/>
                  </a:cubicBezTo>
                  <a:cubicBezTo>
                    <a:pt x="14" y="130"/>
                    <a:pt x="14" y="128"/>
                    <a:pt x="14" y="128"/>
                  </a:cubicBezTo>
                  <a:cubicBezTo>
                    <a:pt x="15" y="128"/>
                    <a:pt x="14" y="130"/>
                    <a:pt x="15" y="131"/>
                  </a:cubicBezTo>
                  <a:cubicBezTo>
                    <a:pt x="15" y="131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lose/>
                  <a:moveTo>
                    <a:pt x="18" y="98"/>
                  </a:moveTo>
                  <a:cubicBezTo>
                    <a:pt x="18" y="98"/>
                    <a:pt x="18" y="98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7"/>
                    <a:pt x="18" y="98"/>
                  </a:cubicBezTo>
                  <a:close/>
                  <a:moveTo>
                    <a:pt x="18" y="109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lose/>
                  <a:moveTo>
                    <a:pt x="16" y="106"/>
                  </a:moveTo>
                  <a:cubicBezTo>
                    <a:pt x="16" y="105"/>
                    <a:pt x="16" y="105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6" y="103"/>
                    <a:pt x="17" y="103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lose/>
                  <a:moveTo>
                    <a:pt x="17" y="95"/>
                  </a:moveTo>
                  <a:cubicBezTo>
                    <a:pt x="17" y="95"/>
                    <a:pt x="17" y="96"/>
                    <a:pt x="17" y="96"/>
                  </a:cubicBezTo>
                  <a:cubicBezTo>
                    <a:pt x="17" y="96"/>
                    <a:pt x="17" y="96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6"/>
                    <a:pt x="17" y="96"/>
                  </a:cubicBezTo>
                  <a:cubicBezTo>
                    <a:pt x="17" y="96"/>
                    <a:pt x="17" y="97"/>
                    <a:pt x="17" y="97"/>
                  </a:cubicBezTo>
                  <a:close/>
                  <a:moveTo>
                    <a:pt x="17" y="100"/>
                  </a:moveTo>
                  <a:cubicBezTo>
                    <a:pt x="17" y="101"/>
                    <a:pt x="17" y="101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0"/>
                    <a:pt x="17" y="98"/>
                    <a:pt x="17" y="97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7" y="100"/>
                    <a:pt x="17" y="101"/>
                    <a:pt x="17" y="100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4"/>
                    <a:pt x="17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6" y="94"/>
                    <a:pt x="16" y="95"/>
                    <a:pt x="16" y="95"/>
                  </a:cubicBezTo>
                  <a:cubicBezTo>
                    <a:pt x="16" y="95"/>
                    <a:pt x="17" y="94"/>
                    <a:pt x="16" y="94"/>
                  </a:cubicBezTo>
                  <a:close/>
                  <a:moveTo>
                    <a:pt x="16" y="99"/>
                  </a:move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9"/>
                  </a:cubicBezTo>
                  <a:close/>
                  <a:moveTo>
                    <a:pt x="16" y="95"/>
                  </a:move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5" y="95"/>
                  </a:moveTo>
                  <a:cubicBezTo>
                    <a:pt x="15" y="96"/>
                    <a:pt x="15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5"/>
                    <a:pt x="16" y="95"/>
                  </a:cubicBezTo>
                  <a:cubicBezTo>
                    <a:pt x="15" y="95"/>
                    <a:pt x="16" y="95"/>
                    <a:pt x="15" y="95"/>
                  </a:cubicBezTo>
                  <a:cubicBezTo>
                    <a:pt x="15" y="95"/>
                    <a:pt x="16" y="95"/>
                    <a:pt x="16" y="95"/>
                  </a:cubicBezTo>
                  <a:cubicBezTo>
                    <a:pt x="15" y="96"/>
                    <a:pt x="15" y="95"/>
                    <a:pt x="15" y="95"/>
                  </a:cubicBezTo>
                  <a:close/>
                  <a:moveTo>
                    <a:pt x="16" y="97"/>
                  </a:moveTo>
                  <a:cubicBezTo>
                    <a:pt x="16" y="97"/>
                    <a:pt x="15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6"/>
                    <a:pt x="15" y="97"/>
                  </a:cubicBezTo>
                  <a:cubicBezTo>
                    <a:pt x="15" y="97"/>
                    <a:pt x="15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lose/>
                  <a:moveTo>
                    <a:pt x="16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7" y="104"/>
                  </a:cubicBezTo>
                  <a:cubicBezTo>
                    <a:pt x="16" y="104"/>
                    <a:pt x="16" y="104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1"/>
                  </a:cubicBezTo>
                  <a:cubicBezTo>
                    <a:pt x="16" y="101"/>
                    <a:pt x="16" y="101"/>
                    <a:pt x="17" y="101"/>
                  </a:cubicBezTo>
                  <a:cubicBezTo>
                    <a:pt x="16" y="101"/>
                    <a:pt x="17" y="102"/>
                    <a:pt x="16" y="102"/>
                  </a:cubicBezTo>
                  <a:cubicBezTo>
                    <a:pt x="16" y="102"/>
                    <a:pt x="16" y="102"/>
                    <a:pt x="17" y="102"/>
                  </a:cubicBezTo>
                  <a:cubicBezTo>
                    <a:pt x="17" y="102"/>
                    <a:pt x="17" y="102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0"/>
                    <a:pt x="17" y="100"/>
                  </a:cubicBezTo>
                  <a:cubicBezTo>
                    <a:pt x="16" y="100"/>
                    <a:pt x="17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6" y="103"/>
                  </a:move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1" y="120"/>
                  </a:move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lose/>
                  <a:moveTo>
                    <a:pt x="11" y="122"/>
                  </a:moveTo>
                  <a:cubicBezTo>
                    <a:pt x="11" y="122"/>
                    <a:pt x="12" y="122"/>
                    <a:pt x="12" y="123"/>
                  </a:cubicBezTo>
                  <a:cubicBezTo>
                    <a:pt x="12" y="123"/>
                    <a:pt x="12" y="122"/>
                    <a:pt x="11" y="122"/>
                  </a:cubicBezTo>
                  <a:close/>
                  <a:moveTo>
                    <a:pt x="12" y="120"/>
                  </a:move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1" y="119"/>
                    <a:pt x="12" y="120"/>
                    <a:pt x="11" y="120"/>
                  </a:cubicBezTo>
                  <a:cubicBezTo>
                    <a:pt x="12" y="120"/>
                    <a:pt x="11" y="120"/>
                    <a:pt x="12" y="120"/>
                  </a:cubicBezTo>
                  <a:cubicBezTo>
                    <a:pt x="11" y="120"/>
                    <a:pt x="12" y="119"/>
                    <a:pt x="12" y="120"/>
                  </a:cubicBezTo>
                  <a:close/>
                  <a:moveTo>
                    <a:pt x="12" y="120"/>
                  </a:moveTo>
                  <a:cubicBezTo>
                    <a:pt x="12" y="120"/>
                    <a:pt x="12" y="121"/>
                    <a:pt x="12" y="121"/>
                  </a:cubicBezTo>
                  <a:cubicBezTo>
                    <a:pt x="12" y="120"/>
                    <a:pt x="12" y="120"/>
                    <a:pt x="12" y="120"/>
                  </a:cubicBezTo>
                  <a:close/>
                  <a:moveTo>
                    <a:pt x="13" y="118"/>
                  </a:moveTo>
                  <a:cubicBezTo>
                    <a:pt x="13" y="117"/>
                    <a:pt x="13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ubicBezTo>
                    <a:pt x="13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8"/>
                  </a:cubicBezTo>
                  <a:cubicBezTo>
                    <a:pt x="13" y="118"/>
                    <a:pt x="13" y="117"/>
                    <a:pt x="13" y="118"/>
                  </a:cubicBezTo>
                  <a:cubicBezTo>
                    <a:pt x="13" y="118"/>
                    <a:pt x="13" y="118"/>
                    <a:pt x="12" y="118"/>
                  </a:cubicBezTo>
                  <a:cubicBezTo>
                    <a:pt x="12" y="118"/>
                    <a:pt x="13" y="118"/>
                    <a:pt x="12" y="118"/>
                  </a:cubicBezTo>
                  <a:cubicBezTo>
                    <a:pt x="12" y="119"/>
                    <a:pt x="12" y="119"/>
                    <a:pt x="13" y="119"/>
                  </a:cubicBezTo>
                  <a:cubicBezTo>
                    <a:pt x="13" y="118"/>
                    <a:pt x="12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8"/>
                    <a:pt x="13" y="118"/>
                  </a:cubicBezTo>
                  <a:close/>
                  <a:moveTo>
                    <a:pt x="13" y="111"/>
                  </a:moveTo>
                  <a:cubicBezTo>
                    <a:pt x="13" y="112"/>
                    <a:pt x="13" y="112"/>
                    <a:pt x="14" y="112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3" y="114"/>
                  </a:moveTo>
                  <a:cubicBezTo>
                    <a:pt x="13" y="114"/>
                    <a:pt x="13" y="114"/>
                    <a:pt x="13" y="113"/>
                  </a:cubicBezTo>
                  <a:cubicBezTo>
                    <a:pt x="13" y="113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3" y="113"/>
                    <a:pt x="13" y="112"/>
                  </a:cubicBezTo>
                  <a:cubicBezTo>
                    <a:pt x="13" y="113"/>
                    <a:pt x="13" y="112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4" y="113"/>
                    <a:pt x="13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4"/>
                    <a:pt x="14" y="114"/>
                    <a:pt x="14" y="115"/>
                  </a:cubicBezTo>
                  <a:cubicBezTo>
                    <a:pt x="14" y="115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5" y="128"/>
                  </a:moveTo>
                  <a:cubicBezTo>
                    <a:pt x="15" y="128"/>
                    <a:pt x="14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5" y="125"/>
                  </a:moveTo>
                  <a:cubicBezTo>
                    <a:pt x="15" y="125"/>
                    <a:pt x="15" y="124"/>
                    <a:pt x="15" y="124"/>
                  </a:cubicBezTo>
                  <a:cubicBezTo>
                    <a:pt x="15" y="125"/>
                    <a:pt x="15" y="125"/>
                    <a:pt x="15" y="125"/>
                  </a:cubicBezTo>
                  <a:close/>
                  <a:moveTo>
                    <a:pt x="15" y="123"/>
                  </a:moveTo>
                  <a:cubicBezTo>
                    <a:pt x="15" y="124"/>
                    <a:pt x="15" y="123"/>
                    <a:pt x="15" y="124"/>
                  </a:cubicBezTo>
                  <a:cubicBezTo>
                    <a:pt x="15" y="124"/>
                    <a:pt x="15" y="124"/>
                    <a:pt x="14" y="124"/>
                  </a:cubicBezTo>
                  <a:cubicBezTo>
                    <a:pt x="14" y="124"/>
                    <a:pt x="15" y="124"/>
                    <a:pt x="14" y="124"/>
                  </a:cubicBezTo>
                  <a:cubicBezTo>
                    <a:pt x="14" y="124"/>
                    <a:pt x="14" y="124"/>
                    <a:pt x="14" y="123"/>
                  </a:cubicBezTo>
                  <a:cubicBezTo>
                    <a:pt x="14" y="124"/>
                    <a:pt x="14" y="124"/>
                    <a:pt x="15" y="124"/>
                  </a:cubicBezTo>
                  <a:cubicBezTo>
                    <a:pt x="15" y="124"/>
                    <a:pt x="14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5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2"/>
                    <a:pt x="15" y="122"/>
                    <a:pt x="14" y="122"/>
                  </a:cubicBezTo>
                  <a:cubicBezTo>
                    <a:pt x="14" y="122"/>
                    <a:pt x="14" y="123"/>
                    <a:pt x="15" y="123"/>
                  </a:cubicBezTo>
                  <a:cubicBezTo>
                    <a:pt x="14" y="122"/>
                    <a:pt x="14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1"/>
                    <a:pt x="15" y="121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6"/>
                    <a:pt x="15" y="117"/>
                    <a:pt x="15" y="117"/>
                  </a:cubicBezTo>
                  <a:cubicBezTo>
                    <a:pt x="15" y="117"/>
                    <a:pt x="14" y="118"/>
                    <a:pt x="15" y="118"/>
                  </a:cubicBezTo>
                  <a:close/>
                  <a:moveTo>
                    <a:pt x="15" y="119"/>
                  </a:moveTo>
                  <a:cubicBezTo>
                    <a:pt x="15" y="119"/>
                    <a:pt x="15" y="118"/>
                    <a:pt x="15" y="118"/>
                  </a:cubicBezTo>
                  <a:cubicBezTo>
                    <a:pt x="15" y="118"/>
                    <a:pt x="15" y="119"/>
                    <a:pt x="15" y="119"/>
                  </a:cubicBezTo>
                  <a:close/>
                  <a:moveTo>
                    <a:pt x="15" y="119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19"/>
                    <a:pt x="15" y="119"/>
                  </a:cubicBezTo>
                  <a:close/>
                  <a:moveTo>
                    <a:pt x="15" y="123"/>
                  </a:move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3"/>
                    <a:pt x="15" y="123"/>
                  </a:cubicBezTo>
                  <a:cubicBezTo>
                    <a:pt x="15" y="123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5" y="121"/>
                    <a:pt x="15" y="121"/>
                    <a:pt x="15" y="121"/>
                  </a:cubicBezTo>
                  <a:close/>
                  <a:moveTo>
                    <a:pt x="15" y="122"/>
                  </a:move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lose/>
                  <a:moveTo>
                    <a:pt x="15" y="120"/>
                  </a:moveTo>
                  <a:cubicBezTo>
                    <a:pt x="15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5" y="119"/>
                    <a:pt x="16" y="120"/>
                    <a:pt x="15" y="120"/>
                  </a:cubicBezTo>
                  <a:cubicBezTo>
                    <a:pt x="15" y="119"/>
                    <a:pt x="16" y="118"/>
                    <a:pt x="15" y="118"/>
                  </a:cubicBezTo>
                  <a:cubicBezTo>
                    <a:pt x="15" y="119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0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6" y="118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8"/>
                    <a:pt x="15" y="118"/>
                    <a:pt x="15" y="118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6"/>
                    <a:pt x="15" y="116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5" y="114"/>
                  </a:moveTo>
                  <a:cubicBezTo>
                    <a:pt x="15" y="113"/>
                    <a:pt x="15" y="114"/>
                    <a:pt x="15" y="114"/>
                  </a:cubicBezTo>
                  <a:cubicBezTo>
                    <a:pt x="15" y="114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4"/>
                  </a:cubicBezTo>
                  <a:close/>
                  <a:moveTo>
                    <a:pt x="15" y="112"/>
                  </a:move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lose/>
                  <a:moveTo>
                    <a:pt x="16" y="121"/>
                  </a:moveTo>
                  <a:cubicBezTo>
                    <a:pt x="16" y="121"/>
                    <a:pt x="16" y="120"/>
                    <a:pt x="16" y="120"/>
                  </a:cubicBezTo>
                  <a:cubicBezTo>
                    <a:pt x="16" y="120"/>
                    <a:pt x="16" y="121"/>
                    <a:pt x="15" y="121"/>
                  </a:cubicBezTo>
                  <a:cubicBezTo>
                    <a:pt x="16" y="121"/>
                    <a:pt x="15" y="122"/>
                    <a:pt x="16" y="122"/>
                  </a:cubicBezTo>
                  <a:cubicBezTo>
                    <a:pt x="16" y="122"/>
                    <a:pt x="16" y="121"/>
                    <a:pt x="16" y="121"/>
                  </a:cubicBezTo>
                  <a:close/>
                  <a:moveTo>
                    <a:pt x="16" y="118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lose/>
                  <a:moveTo>
                    <a:pt x="16" y="125"/>
                  </a:moveTo>
                  <a:cubicBezTo>
                    <a:pt x="16" y="125"/>
                    <a:pt x="16" y="125"/>
                    <a:pt x="16" y="126"/>
                  </a:cubicBezTo>
                  <a:cubicBezTo>
                    <a:pt x="16" y="126"/>
                    <a:pt x="16" y="125"/>
                    <a:pt x="17" y="125"/>
                  </a:cubicBezTo>
                  <a:cubicBezTo>
                    <a:pt x="16" y="125"/>
                    <a:pt x="16" y="125"/>
                    <a:pt x="16" y="125"/>
                  </a:cubicBezTo>
                  <a:close/>
                  <a:moveTo>
                    <a:pt x="17" y="125"/>
                  </a:moveTo>
                  <a:cubicBezTo>
                    <a:pt x="17" y="124"/>
                    <a:pt x="17" y="125"/>
                    <a:pt x="16" y="125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4"/>
                    <a:pt x="16" y="124"/>
                  </a:cubicBezTo>
                  <a:cubicBezTo>
                    <a:pt x="16" y="124"/>
                    <a:pt x="16" y="123"/>
                    <a:pt x="16" y="123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5"/>
                    <a:pt x="16" y="125"/>
                  </a:cubicBezTo>
                  <a:cubicBezTo>
                    <a:pt x="16" y="125"/>
                    <a:pt x="16" y="125"/>
                    <a:pt x="16" y="126"/>
                  </a:cubicBezTo>
                  <a:close/>
                  <a:moveTo>
                    <a:pt x="16" y="127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7"/>
                    <a:pt x="16" y="127"/>
                  </a:cubicBezTo>
                  <a:close/>
                  <a:moveTo>
                    <a:pt x="16" y="124"/>
                  </a:move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7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lose/>
                  <a:moveTo>
                    <a:pt x="16" y="130"/>
                  </a:moveTo>
                  <a:cubicBezTo>
                    <a:pt x="16" y="129"/>
                    <a:pt x="16" y="129"/>
                    <a:pt x="16" y="128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30"/>
                    <a:pt x="16" y="130"/>
                  </a:cubicBezTo>
                  <a:close/>
                  <a:moveTo>
                    <a:pt x="17" y="131"/>
                  </a:moveTo>
                  <a:cubicBezTo>
                    <a:pt x="16" y="131"/>
                    <a:pt x="16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6"/>
                    <a:pt x="16" y="126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ubicBezTo>
                    <a:pt x="16" y="127"/>
                    <a:pt x="16" y="126"/>
                    <a:pt x="16" y="126"/>
                  </a:cubicBezTo>
                  <a:close/>
                  <a:moveTo>
                    <a:pt x="17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7"/>
                  </a:moveTo>
                  <a:cubicBezTo>
                    <a:pt x="17" y="128"/>
                    <a:pt x="17" y="128"/>
                    <a:pt x="17" y="129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8"/>
                  </a:moveTo>
                  <a:cubicBezTo>
                    <a:pt x="17" y="128"/>
                    <a:pt x="17" y="129"/>
                    <a:pt x="18" y="129"/>
                  </a:cubicBezTo>
                  <a:cubicBezTo>
                    <a:pt x="17" y="129"/>
                    <a:pt x="18" y="128"/>
                    <a:pt x="17" y="128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1"/>
                    <a:pt x="18" y="131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2"/>
                    <a:pt x="18" y="131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1"/>
                    <a:pt x="18" y="131"/>
                  </a:cubicBezTo>
                  <a:close/>
                  <a:moveTo>
                    <a:pt x="18" y="129"/>
                  </a:moveTo>
                  <a:cubicBezTo>
                    <a:pt x="17" y="130"/>
                    <a:pt x="17" y="130"/>
                    <a:pt x="17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29"/>
                  </a:cubicBezTo>
                  <a:close/>
                  <a:moveTo>
                    <a:pt x="17" y="126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8" y="127"/>
                    <a:pt x="17" y="127"/>
                    <a:pt x="18" y="127"/>
                  </a:cubicBezTo>
                  <a:cubicBezTo>
                    <a:pt x="17" y="127"/>
                    <a:pt x="17" y="127"/>
                    <a:pt x="17" y="126"/>
                  </a:cubicBezTo>
                  <a:close/>
                  <a:moveTo>
                    <a:pt x="17" y="125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6"/>
                  </a:cubicBezTo>
                  <a:cubicBezTo>
                    <a:pt x="17" y="126"/>
                    <a:pt x="16" y="125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8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5"/>
                    <a:pt x="17" y="125"/>
                    <a:pt x="17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5"/>
                    <a:pt x="17" y="124"/>
                    <a:pt x="17" y="124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7" y="123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5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7" y="125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7" y="122"/>
                    <a:pt x="16" y="122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7" y="122"/>
                  </a:moveTo>
                  <a:cubicBezTo>
                    <a:pt x="17" y="123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4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2"/>
                  </a:cubicBezTo>
                  <a:close/>
                  <a:moveTo>
                    <a:pt x="17" y="119"/>
                  </a:move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lose/>
                  <a:moveTo>
                    <a:pt x="17" y="118"/>
                  </a:move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8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8"/>
                    <a:pt x="18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6"/>
                    <a:pt x="17" y="116"/>
                  </a:cubicBezTo>
                  <a:cubicBezTo>
                    <a:pt x="17" y="117"/>
                    <a:pt x="16" y="117"/>
                    <a:pt x="17" y="117"/>
                  </a:cubicBezTo>
                  <a:close/>
                  <a:moveTo>
                    <a:pt x="16" y="117"/>
                  </a:move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5" y="116"/>
                  </a:cubicBezTo>
                  <a:cubicBezTo>
                    <a:pt x="16" y="116"/>
                    <a:pt x="15" y="116"/>
                    <a:pt x="15" y="116"/>
                  </a:cubicBezTo>
                  <a:cubicBezTo>
                    <a:pt x="16" y="116"/>
                    <a:pt x="15" y="117"/>
                    <a:pt x="15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7" y="120"/>
                    <a:pt x="16" y="119"/>
                    <a:pt x="17" y="118"/>
                  </a:cubicBezTo>
                  <a:cubicBezTo>
                    <a:pt x="17" y="118"/>
                    <a:pt x="16" y="117"/>
                    <a:pt x="16" y="117"/>
                  </a:cubicBezTo>
                  <a:cubicBezTo>
                    <a:pt x="16" y="117"/>
                    <a:pt x="16" y="116"/>
                    <a:pt x="16" y="116"/>
                  </a:cubicBezTo>
                  <a:cubicBezTo>
                    <a:pt x="16" y="116"/>
                    <a:pt x="17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7" y="115"/>
                  </a:cubicBezTo>
                  <a:cubicBezTo>
                    <a:pt x="16" y="115"/>
                    <a:pt x="17" y="114"/>
                    <a:pt x="16" y="114"/>
                  </a:cubicBezTo>
                  <a:cubicBezTo>
                    <a:pt x="16" y="115"/>
                    <a:pt x="16" y="116"/>
                    <a:pt x="16" y="117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lose/>
                  <a:moveTo>
                    <a:pt x="15" y="113"/>
                  </a:moveTo>
                  <a:cubicBezTo>
                    <a:pt x="15" y="113"/>
                    <a:pt x="15" y="114"/>
                    <a:pt x="16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5" y="114"/>
                    <a:pt x="15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5" y="113"/>
                  </a:cubicBezTo>
                  <a:cubicBezTo>
                    <a:pt x="15" y="113"/>
                    <a:pt x="16" y="113"/>
                    <a:pt x="15" y="113"/>
                  </a:cubicBezTo>
                  <a:close/>
                  <a:moveTo>
                    <a:pt x="16" y="114"/>
                  </a:moveTo>
                  <a:cubicBezTo>
                    <a:pt x="16" y="114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4"/>
                    <a:pt x="16" y="114"/>
                  </a:cubicBezTo>
                  <a:close/>
                  <a:moveTo>
                    <a:pt x="16" y="112"/>
                  </a:moveTo>
                  <a:cubicBezTo>
                    <a:pt x="16" y="111"/>
                    <a:pt x="16" y="110"/>
                    <a:pt x="16" y="110"/>
                  </a:cubicBezTo>
                  <a:cubicBezTo>
                    <a:pt x="16" y="110"/>
                    <a:pt x="16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5" y="110"/>
                    <a:pt x="16" y="110"/>
                    <a:pt x="16" y="111"/>
                  </a:cubicBezTo>
                  <a:cubicBezTo>
                    <a:pt x="16" y="111"/>
                    <a:pt x="15" y="111"/>
                    <a:pt x="15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5" y="111"/>
                    <a:pt x="16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6" y="112"/>
                    <a:pt x="16" y="112"/>
                    <a:pt x="16" y="113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2"/>
                    <a:pt x="16" y="112"/>
                    <a:pt x="16" y="112"/>
                  </a:cubicBezTo>
                  <a:close/>
                  <a:moveTo>
                    <a:pt x="16" y="110"/>
                  </a:moveTo>
                  <a:cubicBezTo>
                    <a:pt x="16" y="110"/>
                    <a:pt x="16" y="109"/>
                    <a:pt x="16" y="109"/>
                  </a:cubicBezTo>
                  <a:cubicBezTo>
                    <a:pt x="16" y="109"/>
                    <a:pt x="16" y="109"/>
                    <a:pt x="16" y="110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4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0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99"/>
                    <a:pt x="15" y="99"/>
                  </a:cubicBezTo>
                  <a:cubicBezTo>
                    <a:pt x="15" y="99"/>
                    <a:pt x="15" y="100"/>
                    <a:pt x="15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lose/>
                  <a:moveTo>
                    <a:pt x="15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09"/>
                    <a:pt x="16" y="109"/>
                    <a:pt x="15" y="108"/>
                  </a:cubicBezTo>
                  <a:cubicBezTo>
                    <a:pt x="15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7"/>
                  </a:cubicBezTo>
                  <a:cubicBezTo>
                    <a:pt x="15" y="108"/>
                    <a:pt x="15" y="107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7"/>
                    <a:pt x="15" y="107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8"/>
                    <a:pt x="15" y="108"/>
                    <a:pt x="15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5" y="107"/>
                    <a:pt x="16" y="107"/>
                    <a:pt x="16" y="107"/>
                  </a:cubicBezTo>
                  <a:cubicBezTo>
                    <a:pt x="15" y="107"/>
                    <a:pt x="16" y="106"/>
                    <a:pt x="15" y="106"/>
                  </a:cubicBezTo>
                  <a:cubicBezTo>
                    <a:pt x="15" y="106"/>
                    <a:pt x="16" y="106"/>
                    <a:pt x="16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9"/>
                    <a:pt x="15" y="110"/>
                  </a:cubicBezTo>
                  <a:close/>
                  <a:moveTo>
                    <a:pt x="15" y="111"/>
                  </a:moveTo>
                  <a:cubicBezTo>
                    <a:pt x="15" y="111"/>
                    <a:pt x="15" y="112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3"/>
                  </a:moveTo>
                  <a:cubicBezTo>
                    <a:pt x="15" y="112"/>
                    <a:pt x="15" y="113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3"/>
                    <a:pt x="15" y="113"/>
                  </a:cubicBezTo>
                  <a:close/>
                  <a:moveTo>
                    <a:pt x="15" y="116"/>
                  </a:move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4" y="115"/>
                  </a:cubicBezTo>
                  <a:cubicBezTo>
                    <a:pt x="14" y="115"/>
                    <a:pt x="14" y="115"/>
                    <a:pt x="14" y="116"/>
                  </a:cubicBezTo>
                  <a:cubicBezTo>
                    <a:pt x="14" y="116"/>
                    <a:pt x="15" y="117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4" y="111"/>
                  </a:moveTo>
                  <a:cubicBezTo>
                    <a:pt x="15" y="110"/>
                    <a:pt x="14" y="111"/>
                    <a:pt x="15" y="111"/>
                  </a:cubicBezTo>
                  <a:cubicBezTo>
                    <a:pt x="14" y="111"/>
                    <a:pt x="15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1"/>
                  </a:cubicBezTo>
                  <a:close/>
                  <a:moveTo>
                    <a:pt x="14" y="11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9"/>
                  </a:moveTo>
                  <a:cubicBezTo>
                    <a:pt x="14" y="119"/>
                    <a:pt x="15" y="119"/>
                    <a:pt x="14" y="119"/>
                  </a:cubicBezTo>
                  <a:cubicBezTo>
                    <a:pt x="15" y="119"/>
                    <a:pt x="14" y="118"/>
                    <a:pt x="14" y="119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5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2"/>
                    <a:pt x="14" y="121"/>
                    <a:pt x="14" y="121"/>
                  </a:cubicBezTo>
                  <a:close/>
                  <a:moveTo>
                    <a:pt x="14" y="122"/>
                  </a:move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lose/>
                  <a:moveTo>
                    <a:pt x="14" y="123"/>
                  </a:move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0"/>
                    <a:pt x="14" y="120"/>
                  </a:cubicBezTo>
                  <a:cubicBezTo>
                    <a:pt x="14" y="121"/>
                    <a:pt x="14" y="121"/>
                    <a:pt x="14" y="121"/>
                  </a:cubicBezTo>
                  <a:close/>
                  <a:moveTo>
                    <a:pt x="14" y="127"/>
                  </a:move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5" y="127"/>
                    <a:pt x="15" y="127"/>
                    <a:pt x="15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4" y="126"/>
                    <a:pt x="15" y="126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6"/>
                    <a:pt x="14" y="126"/>
                    <a:pt x="15" y="125"/>
                  </a:cubicBezTo>
                  <a:cubicBezTo>
                    <a:pt x="14" y="125"/>
                    <a:pt x="15" y="126"/>
                    <a:pt x="14" y="125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lose/>
                  <a:moveTo>
                    <a:pt x="14" y="132"/>
                  </a:move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0" y="90"/>
                  </a:moveTo>
                  <a:cubicBezTo>
                    <a:pt x="10" y="90"/>
                    <a:pt x="11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89"/>
                    <a:pt x="10" y="90"/>
                    <a:pt x="10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0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1"/>
                  </a:cubicBezTo>
                  <a:close/>
                  <a:moveTo>
                    <a:pt x="11" y="91"/>
                  </a:moveTo>
                  <a:cubicBezTo>
                    <a:pt x="11" y="91"/>
                    <a:pt x="11" y="91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2" y="90"/>
                  </a:cubicBezTo>
                  <a:cubicBezTo>
                    <a:pt x="12" y="90"/>
                    <a:pt x="12" y="91"/>
                    <a:pt x="11" y="91"/>
                  </a:cubicBezTo>
                  <a:cubicBezTo>
                    <a:pt x="11" y="91"/>
                    <a:pt x="12" y="91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1" y="92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2"/>
                    <a:pt x="11" y="92"/>
                    <a:pt x="11" y="91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lose/>
                  <a:moveTo>
                    <a:pt x="13" y="96"/>
                  </a:moveTo>
                  <a:cubicBezTo>
                    <a:pt x="13" y="96"/>
                    <a:pt x="13" y="96"/>
                    <a:pt x="14" y="96"/>
                  </a:cubicBezTo>
                  <a:cubicBezTo>
                    <a:pt x="13" y="96"/>
                    <a:pt x="14" y="96"/>
                    <a:pt x="13" y="96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3" y="96"/>
                    <a:pt x="13" y="97"/>
                    <a:pt x="13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7"/>
                    <a:pt x="13" y="97"/>
                  </a:cubicBezTo>
                  <a:cubicBezTo>
                    <a:pt x="13" y="97"/>
                    <a:pt x="13" y="97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4"/>
                    <a:pt x="13" y="94"/>
                  </a:cubicBezTo>
                  <a:cubicBezTo>
                    <a:pt x="13" y="94"/>
                    <a:pt x="13" y="94"/>
                    <a:pt x="13" y="93"/>
                  </a:cubicBezTo>
                  <a:cubicBezTo>
                    <a:pt x="13" y="93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1"/>
                    <a:pt x="13" y="91"/>
                  </a:cubicBezTo>
                  <a:cubicBezTo>
                    <a:pt x="14" y="91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3" y="94"/>
                    <a:pt x="14" y="94"/>
                  </a:cubicBezTo>
                  <a:cubicBezTo>
                    <a:pt x="13" y="94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6"/>
                    <a:pt x="14" y="95"/>
                    <a:pt x="14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7"/>
                    <a:pt x="14" y="97"/>
                  </a:cubicBezTo>
                  <a:cubicBezTo>
                    <a:pt x="14" y="97"/>
                    <a:pt x="14" y="96"/>
                    <a:pt x="13" y="97"/>
                  </a:cubicBezTo>
                  <a:cubicBezTo>
                    <a:pt x="13" y="97"/>
                    <a:pt x="13" y="96"/>
                    <a:pt x="13" y="96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5"/>
                    <a:pt x="13" y="94"/>
                  </a:cubicBezTo>
                  <a:cubicBezTo>
                    <a:pt x="13" y="94"/>
                    <a:pt x="13" y="93"/>
                    <a:pt x="13" y="94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3"/>
                  </a:cubicBezTo>
                  <a:cubicBezTo>
                    <a:pt x="9" y="93"/>
                    <a:pt x="9" y="92"/>
                    <a:pt x="9" y="92"/>
                  </a:cubicBezTo>
                  <a:cubicBezTo>
                    <a:pt x="9" y="92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2"/>
                    <a:pt x="9" y="93"/>
                    <a:pt x="9" y="92"/>
                  </a:cubicBezTo>
                  <a:close/>
                  <a:moveTo>
                    <a:pt x="7" y="92"/>
                  </a:moveTo>
                  <a:cubicBezTo>
                    <a:pt x="7" y="93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2"/>
                  </a:cubicBezTo>
                  <a:close/>
                  <a:moveTo>
                    <a:pt x="7" y="92"/>
                  </a:moveTo>
                  <a:cubicBezTo>
                    <a:pt x="7" y="92"/>
                    <a:pt x="7" y="92"/>
                    <a:pt x="8" y="92"/>
                  </a:cubicBezTo>
                  <a:cubicBezTo>
                    <a:pt x="8" y="93"/>
                    <a:pt x="8" y="93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9" y="94"/>
                  </a:cubicBezTo>
                  <a:cubicBezTo>
                    <a:pt x="8" y="94"/>
                    <a:pt x="9" y="93"/>
                    <a:pt x="8" y="93"/>
                  </a:cubicBezTo>
                  <a:cubicBezTo>
                    <a:pt x="8" y="94"/>
                    <a:pt x="9" y="94"/>
                    <a:pt x="9" y="94"/>
                  </a:cubicBezTo>
                  <a:cubicBezTo>
                    <a:pt x="8" y="94"/>
                    <a:pt x="8" y="94"/>
                    <a:pt x="8" y="93"/>
                  </a:cubicBezTo>
                  <a:cubicBezTo>
                    <a:pt x="8" y="94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5"/>
                    <a:pt x="8" y="94"/>
                  </a:cubicBezTo>
                  <a:cubicBezTo>
                    <a:pt x="7" y="94"/>
                    <a:pt x="8" y="93"/>
                    <a:pt x="8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2"/>
                  </a:cubicBezTo>
                  <a:cubicBezTo>
                    <a:pt x="7" y="92"/>
                    <a:pt x="7" y="93"/>
                    <a:pt x="7" y="92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4"/>
                    <a:pt x="9" y="93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3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lose/>
                  <a:moveTo>
                    <a:pt x="9" y="95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10" y="95"/>
                    <a:pt x="9" y="95"/>
                    <a:pt x="9" y="95"/>
                  </a:cubicBezTo>
                  <a:cubicBezTo>
                    <a:pt x="9" y="96"/>
                    <a:pt x="9" y="95"/>
                    <a:pt x="9" y="95"/>
                  </a:cubicBezTo>
                  <a:close/>
                  <a:moveTo>
                    <a:pt x="15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8"/>
                    <a:pt x="10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0" y="98"/>
                    <a:pt x="10" y="98"/>
                  </a:cubicBezTo>
                  <a:cubicBezTo>
                    <a:pt x="10" y="98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6"/>
                    <a:pt x="10" y="97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5"/>
                    <a:pt x="10" y="96"/>
                  </a:cubicBezTo>
                  <a:cubicBezTo>
                    <a:pt x="10" y="96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6"/>
                    <a:pt x="10" y="97"/>
                    <a:pt x="11" y="97"/>
                  </a:cubicBezTo>
                  <a:close/>
                  <a:moveTo>
                    <a:pt x="9" y="97"/>
                  </a:move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10" y="96"/>
                    <a:pt x="9" y="96"/>
                  </a:cubicBezTo>
                  <a:cubicBezTo>
                    <a:pt x="9" y="96"/>
                    <a:pt x="10" y="96"/>
                    <a:pt x="10" y="96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9" y="97"/>
                    <a:pt x="9" y="97"/>
                    <a:pt x="9" y="97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9"/>
                    <a:pt x="7" y="98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0"/>
                    <a:pt x="7" y="100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0"/>
                  </a:moveTo>
                  <a:cubicBezTo>
                    <a:pt x="7" y="100"/>
                    <a:pt x="7" y="99"/>
                    <a:pt x="7" y="99"/>
                  </a:cubicBezTo>
                  <a:cubicBezTo>
                    <a:pt x="7" y="99"/>
                    <a:pt x="7" y="100"/>
                    <a:pt x="7" y="100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9" y="100"/>
                  </a:moveTo>
                  <a:cubicBezTo>
                    <a:pt x="9" y="100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9" y="99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100"/>
                    <a:pt x="10" y="99"/>
                    <a:pt x="10" y="99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1"/>
                    <a:pt x="10" y="100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1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4"/>
                  </a:cubicBezTo>
                  <a:cubicBezTo>
                    <a:pt x="10" y="104"/>
                    <a:pt x="10" y="103"/>
                    <a:pt x="10" y="102"/>
                  </a:cubicBezTo>
                  <a:cubicBezTo>
                    <a:pt x="10" y="102"/>
                    <a:pt x="10" y="102"/>
                    <a:pt x="10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1"/>
                    <a:pt x="10" y="102"/>
                    <a:pt x="10" y="102"/>
                  </a:cubicBezTo>
                  <a:cubicBezTo>
                    <a:pt x="10" y="101"/>
                    <a:pt x="10" y="100"/>
                    <a:pt x="10" y="100"/>
                  </a:cubicBezTo>
                  <a:cubicBezTo>
                    <a:pt x="10" y="100"/>
                    <a:pt x="9" y="99"/>
                    <a:pt x="9" y="100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0"/>
                    <a:pt x="8" y="100"/>
                  </a:cubicBezTo>
                  <a:cubicBezTo>
                    <a:pt x="8" y="100"/>
                    <a:pt x="8" y="99"/>
                    <a:pt x="8" y="98"/>
                  </a:cubicBezTo>
                  <a:cubicBezTo>
                    <a:pt x="8" y="98"/>
                    <a:pt x="8" y="98"/>
                    <a:pt x="8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7"/>
                    <a:pt x="8" y="97"/>
                  </a:cubicBezTo>
                  <a:cubicBezTo>
                    <a:pt x="8" y="97"/>
                    <a:pt x="8" y="98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1"/>
                    <a:pt x="8" y="100"/>
                    <a:pt x="8" y="101"/>
                  </a:cubicBezTo>
                  <a:close/>
                  <a:moveTo>
                    <a:pt x="8" y="100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lose/>
                  <a:moveTo>
                    <a:pt x="11" y="101"/>
                  </a:moveTo>
                  <a:cubicBezTo>
                    <a:pt x="11" y="101"/>
                    <a:pt x="11" y="101"/>
                    <a:pt x="11" y="101"/>
                  </a:cubicBezTo>
                  <a:cubicBezTo>
                    <a:pt x="11" y="100"/>
                    <a:pt x="11" y="100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1" y="101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99"/>
                    <a:pt x="13" y="99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1"/>
                    <a:pt x="13" y="101"/>
                  </a:cubicBezTo>
                  <a:cubicBezTo>
                    <a:pt x="12" y="100"/>
                    <a:pt x="13" y="100"/>
                    <a:pt x="13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4" y="99"/>
                    <a:pt x="15" y="99"/>
                  </a:cubicBezTo>
                  <a:close/>
                  <a:moveTo>
                    <a:pt x="9" y="101"/>
                  </a:moveTo>
                  <a:cubicBezTo>
                    <a:pt x="8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1"/>
                  </a:cubicBezTo>
                  <a:close/>
                  <a:moveTo>
                    <a:pt x="13" y="103"/>
                  </a:moveTo>
                  <a:cubicBezTo>
                    <a:pt x="13" y="103"/>
                    <a:pt x="13" y="104"/>
                    <a:pt x="13" y="104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03"/>
                    <a:pt x="13" y="102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2"/>
                    <a:pt x="13" y="101"/>
                    <a:pt x="13" y="101"/>
                  </a:cubicBezTo>
                  <a:cubicBezTo>
                    <a:pt x="13" y="101"/>
                    <a:pt x="13" y="101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1"/>
                    <a:pt x="13" y="101"/>
                    <a:pt x="13" y="100"/>
                  </a:cubicBezTo>
                  <a:cubicBezTo>
                    <a:pt x="13" y="101"/>
                    <a:pt x="13" y="103"/>
                    <a:pt x="13" y="103"/>
                  </a:cubicBezTo>
                  <a:cubicBezTo>
                    <a:pt x="13" y="103"/>
                    <a:pt x="13" y="104"/>
                    <a:pt x="13" y="104"/>
                  </a:cubicBezTo>
                  <a:cubicBezTo>
                    <a:pt x="13" y="104"/>
                    <a:pt x="13" y="104"/>
                    <a:pt x="13" y="103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9" y="102"/>
                    <a:pt x="8" y="102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8" y="102"/>
                    <a:pt x="8" y="103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6"/>
                    <a:pt x="8" y="105"/>
                    <a:pt x="8" y="105"/>
                  </a:cubicBezTo>
                  <a:cubicBezTo>
                    <a:pt x="8" y="104"/>
                    <a:pt x="8" y="103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ubicBezTo>
                    <a:pt x="12" y="103"/>
                    <a:pt x="12" y="102"/>
                    <a:pt x="12" y="101"/>
                  </a:cubicBezTo>
                  <a:cubicBezTo>
                    <a:pt x="12" y="102"/>
                    <a:pt x="13" y="102"/>
                    <a:pt x="12" y="103"/>
                  </a:cubicBezTo>
                  <a:close/>
                  <a:moveTo>
                    <a:pt x="8" y="103"/>
                  </a:moveTo>
                  <a:cubicBezTo>
                    <a:pt x="8" y="103"/>
                    <a:pt x="8" y="102"/>
                    <a:pt x="8" y="102"/>
                  </a:cubicBezTo>
                  <a:cubicBezTo>
                    <a:pt x="8" y="102"/>
                    <a:pt x="8" y="102"/>
                    <a:pt x="8" y="103"/>
                  </a:cubicBezTo>
                  <a:close/>
                  <a:moveTo>
                    <a:pt x="14" y="103"/>
                  </a:moveTo>
                  <a:cubicBezTo>
                    <a:pt x="14" y="103"/>
                    <a:pt x="14" y="103"/>
                    <a:pt x="15" y="103"/>
                  </a:cubicBezTo>
                  <a:cubicBezTo>
                    <a:pt x="15" y="104"/>
                    <a:pt x="14" y="103"/>
                    <a:pt x="14" y="103"/>
                  </a:cubicBezTo>
                  <a:close/>
                  <a:moveTo>
                    <a:pt x="10" y="104"/>
                  </a:moveTo>
                  <a:cubicBezTo>
                    <a:pt x="10" y="104"/>
                    <a:pt x="10" y="105"/>
                    <a:pt x="10" y="105"/>
                  </a:cubicBezTo>
                  <a:cubicBezTo>
                    <a:pt x="10" y="105"/>
                    <a:pt x="11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ubicBezTo>
                    <a:pt x="10" y="104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1" y="104"/>
                  </a:cubicBezTo>
                  <a:cubicBezTo>
                    <a:pt x="11" y="104"/>
                    <a:pt x="10" y="104"/>
                    <a:pt x="10" y="104"/>
                  </a:cubicBezTo>
                  <a:close/>
                  <a:moveTo>
                    <a:pt x="16" y="105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5"/>
                    <a:pt x="16" y="105"/>
                  </a:cubicBezTo>
                  <a:close/>
                  <a:moveTo>
                    <a:pt x="7" y="106"/>
                  </a:moveTo>
                  <a:cubicBezTo>
                    <a:pt x="7" y="106"/>
                    <a:pt x="7" y="106"/>
                    <a:pt x="7" y="105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7"/>
                    <a:pt x="7" y="106"/>
                    <a:pt x="7" y="106"/>
                  </a:cubicBezTo>
                  <a:close/>
                  <a:moveTo>
                    <a:pt x="10" y="105"/>
                  </a:move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6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9" y="110"/>
                  </a:moveTo>
                  <a:cubicBezTo>
                    <a:pt x="9" y="110"/>
                    <a:pt x="8" y="110"/>
                    <a:pt x="8" y="110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09"/>
                    <a:pt x="9" y="109"/>
                    <a:pt x="8" y="109"/>
                  </a:cubicBezTo>
                  <a:cubicBezTo>
                    <a:pt x="8" y="109"/>
                    <a:pt x="9" y="109"/>
                    <a:pt x="9" y="109"/>
                  </a:cubicBezTo>
                  <a:cubicBezTo>
                    <a:pt x="9" y="109"/>
                    <a:pt x="9" y="110"/>
                    <a:pt x="9" y="110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lose/>
                  <a:moveTo>
                    <a:pt x="7" y="113"/>
                  </a:moveTo>
                  <a:cubicBezTo>
                    <a:pt x="7" y="113"/>
                    <a:pt x="7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7" y="112"/>
                    <a:pt x="7" y="111"/>
                    <a:pt x="7" y="110"/>
                  </a:cubicBezTo>
                  <a:cubicBezTo>
                    <a:pt x="7" y="110"/>
                    <a:pt x="7" y="110"/>
                    <a:pt x="7" y="111"/>
                  </a:cubicBezTo>
                  <a:cubicBezTo>
                    <a:pt x="7" y="111"/>
                    <a:pt x="7" y="111"/>
                    <a:pt x="7" y="110"/>
                  </a:cubicBezTo>
                  <a:cubicBezTo>
                    <a:pt x="7" y="110"/>
                    <a:pt x="7" y="111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7" y="111"/>
                    <a:pt x="7" y="112"/>
                    <a:pt x="7" y="113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8" y="112"/>
                    <a:pt x="7" y="112"/>
                    <a:pt x="7" y="113"/>
                  </a:cubicBezTo>
                  <a:close/>
                  <a:moveTo>
                    <a:pt x="9" y="110"/>
                  </a:moveTo>
                  <a:cubicBezTo>
                    <a:pt x="9" y="110"/>
                    <a:pt x="9" y="111"/>
                    <a:pt x="9" y="111"/>
                  </a:cubicBezTo>
                  <a:cubicBezTo>
                    <a:pt x="8" y="111"/>
                    <a:pt x="9" y="110"/>
                    <a:pt x="8" y="110"/>
                  </a:cubicBezTo>
                  <a:cubicBezTo>
                    <a:pt x="8" y="110"/>
                    <a:pt x="9" y="110"/>
                    <a:pt x="9" y="110"/>
                  </a:cubicBezTo>
                  <a:close/>
                  <a:moveTo>
                    <a:pt x="9" y="115"/>
                  </a:moveTo>
                  <a:cubicBezTo>
                    <a:pt x="9" y="113"/>
                    <a:pt x="9" y="112"/>
                    <a:pt x="9" y="111"/>
                  </a:cubicBezTo>
                  <a:cubicBezTo>
                    <a:pt x="9" y="111"/>
                    <a:pt x="9" y="111"/>
                    <a:pt x="9" y="112"/>
                  </a:cubicBezTo>
                  <a:cubicBezTo>
                    <a:pt x="9" y="112"/>
                    <a:pt x="9" y="112"/>
                    <a:pt x="10" y="112"/>
                  </a:cubicBezTo>
                  <a:cubicBezTo>
                    <a:pt x="9" y="111"/>
                    <a:pt x="10" y="111"/>
                    <a:pt x="9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2"/>
                  </a:cubicBezTo>
                  <a:cubicBezTo>
                    <a:pt x="10" y="112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0" y="112"/>
                    <a:pt x="11" y="112"/>
                    <a:pt x="10" y="113"/>
                  </a:cubicBezTo>
                  <a:cubicBezTo>
                    <a:pt x="10" y="113"/>
                    <a:pt x="10" y="112"/>
                    <a:pt x="10" y="112"/>
                  </a:cubicBezTo>
                  <a:cubicBezTo>
                    <a:pt x="10" y="112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2"/>
                  </a:cubicBezTo>
                  <a:cubicBezTo>
                    <a:pt x="10" y="113"/>
                    <a:pt x="10" y="113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0" y="114"/>
                    <a:pt x="10" y="115"/>
                  </a:cubicBezTo>
                  <a:cubicBezTo>
                    <a:pt x="10" y="115"/>
                    <a:pt x="10" y="114"/>
                    <a:pt x="10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10" y="116"/>
                    <a:pt x="10" y="116"/>
                  </a:cubicBez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10" y="114"/>
                    <a:pt x="10" y="114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9" y="114"/>
                    <a:pt x="9" y="114"/>
                  </a:cubicBezTo>
                  <a:cubicBezTo>
                    <a:pt x="9" y="114"/>
                    <a:pt x="10" y="114"/>
                    <a:pt x="10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1"/>
                  </a:moveTo>
                  <a:cubicBezTo>
                    <a:pt x="9" y="112"/>
                    <a:pt x="9" y="111"/>
                    <a:pt x="9" y="111"/>
                  </a:cubicBezTo>
                  <a:cubicBezTo>
                    <a:pt x="9" y="111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2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1"/>
                    <a:pt x="9" y="111"/>
                    <a:pt x="8" y="111"/>
                  </a:cubicBezTo>
                  <a:cubicBezTo>
                    <a:pt x="8" y="111"/>
                    <a:pt x="9" y="111"/>
                    <a:pt x="9" y="111"/>
                  </a:cubicBezTo>
                  <a:cubicBezTo>
                    <a:pt x="9" y="111"/>
                    <a:pt x="9" y="111"/>
                    <a:pt x="9" y="111"/>
                  </a:cubicBezTo>
                  <a:close/>
                  <a:moveTo>
                    <a:pt x="11" y="113"/>
                  </a:moveTo>
                  <a:cubicBezTo>
                    <a:pt x="11" y="113"/>
                    <a:pt x="11" y="113"/>
                    <a:pt x="11" y="113"/>
                  </a:cubicBezTo>
                  <a:cubicBezTo>
                    <a:pt x="11" y="113"/>
                    <a:pt x="11" y="114"/>
                    <a:pt x="11" y="113"/>
                  </a:cubicBezTo>
                  <a:cubicBezTo>
                    <a:pt x="11" y="114"/>
                    <a:pt x="11" y="114"/>
                    <a:pt x="11" y="115"/>
                  </a:cubicBezTo>
                  <a:cubicBezTo>
                    <a:pt x="10" y="114"/>
                    <a:pt x="11" y="114"/>
                    <a:pt x="11" y="113"/>
                  </a:cubicBezTo>
                  <a:close/>
                  <a:moveTo>
                    <a:pt x="14" y="118"/>
                  </a:move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9"/>
                  </a:cubicBezTo>
                  <a:cubicBezTo>
                    <a:pt x="14" y="118"/>
                    <a:pt x="14" y="118"/>
                    <a:pt x="14" y="118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9" y="121"/>
                    <a:pt x="9" y="121"/>
                  </a:cubicBezTo>
                  <a:cubicBezTo>
                    <a:pt x="9" y="121"/>
                    <a:pt x="9" y="122"/>
                    <a:pt x="9" y="122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8" y="122"/>
                    <a:pt x="9" y="121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19"/>
                  </a:cubicBezTo>
                  <a:cubicBezTo>
                    <a:pt x="9" y="119"/>
                    <a:pt x="9" y="120"/>
                    <a:pt x="9" y="119"/>
                  </a:cubicBezTo>
                  <a:cubicBezTo>
                    <a:pt x="9" y="120"/>
                    <a:pt x="9" y="120"/>
                    <a:pt x="9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0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8" y="121"/>
                  </a:moveTo>
                  <a:cubicBezTo>
                    <a:pt x="18" y="121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lose/>
                  <a:moveTo>
                    <a:pt x="13" y="124"/>
                  </a:move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2"/>
                    <a:pt x="13" y="123"/>
                    <a:pt x="13" y="123"/>
                  </a:cubicBezTo>
                  <a:cubicBezTo>
                    <a:pt x="13" y="123"/>
                    <a:pt x="13" y="124"/>
                    <a:pt x="13" y="123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5"/>
                  </a:cubicBezTo>
                  <a:cubicBezTo>
                    <a:pt x="12" y="125"/>
                    <a:pt x="13" y="124"/>
                    <a:pt x="13" y="124"/>
                  </a:cubicBezTo>
                  <a:close/>
                  <a:moveTo>
                    <a:pt x="13" y="121"/>
                  </a:move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3"/>
                  </a:cubicBezTo>
                  <a:cubicBezTo>
                    <a:pt x="13" y="122"/>
                    <a:pt x="13" y="122"/>
                    <a:pt x="13" y="121"/>
                  </a:cubicBezTo>
                  <a:close/>
                  <a:moveTo>
                    <a:pt x="18" y="123"/>
                  </a:moveTo>
                  <a:cubicBezTo>
                    <a:pt x="18" y="123"/>
                    <a:pt x="18" y="123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8" y="123"/>
                    <a:pt x="18" y="122"/>
                    <a:pt x="18" y="122"/>
                  </a:cubicBezTo>
                  <a:cubicBezTo>
                    <a:pt x="18" y="122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4"/>
                    <a:pt x="18" y="124"/>
                  </a:cubicBezTo>
                  <a:cubicBezTo>
                    <a:pt x="18" y="124"/>
                    <a:pt x="18" y="123"/>
                    <a:pt x="18" y="123"/>
                  </a:cubicBezTo>
                  <a:close/>
                  <a:moveTo>
                    <a:pt x="9" y="124"/>
                  </a:moveTo>
                  <a:cubicBezTo>
                    <a:pt x="9" y="124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4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8" y="125"/>
                    <a:pt x="8" y="125"/>
                  </a:cubicBezTo>
                  <a:cubicBezTo>
                    <a:pt x="8" y="125"/>
                    <a:pt x="8" y="125"/>
                    <a:pt x="9" y="125"/>
                  </a:cubicBezTo>
                  <a:cubicBezTo>
                    <a:pt x="8" y="125"/>
                    <a:pt x="9" y="124"/>
                    <a:pt x="8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8" y="124"/>
                    <a:pt x="9" y="123"/>
                    <a:pt x="8" y="123"/>
                  </a:cubicBez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lose/>
                  <a:moveTo>
                    <a:pt x="19" y="124"/>
                  </a:moveTo>
                  <a:cubicBezTo>
                    <a:pt x="19" y="124"/>
                    <a:pt x="19" y="124"/>
                    <a:pt x="19" y="124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lose/>
                  <a:moveTo>
                    <a:pt x="17" y="132"/>
                  </a:move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2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6"/>
                    <a:pt x="17" y="136"/>
                  </a:cubicBezTo>
                  <a:cubicBezTo>
                    <a:pt x="16" y="136"/>
                    <a:pt x="17" y="136"/>
                    <a:pt x="17" y="135"/>
                  </a:cubicBezTo>
                  <a:cubicBezTo>
                    <a:pt x="17" y="135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8" y="132"/>
                  </a:moveTo>
                  <a:cubicBezTo>
                    <a:pt x="18" y="133"/>
                    <a:pt x="17" y="133"/>
                    <a:pt x="18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3"/>
                    <a:pt x="18" y="132"/>
                  </a:cubicBezTo>
                  <a:close/>
                  <a:moveTo>
                    <a:pt x="15" y="136"/>
                  </a:moveTo>
                  <a:cubicBezTo>
                    <a:pt x="15" y="136"/>
                    <a:pt x="15" y="136"/>
                    <a:pt x="15" y="135"/>
                  </a:cubicBezTo>
                  <a:cubicBezTo>
                    <a:pt x="15" y="135"/>
                    <a:pt x="15" y="136"/>
                    <a:pt x="15" y="136"/>
                  </a:cubicBezTo>
                  <a:cubicBezTo>
                    <a:pt x="16" y="136"/>
                    <a:pt x="15" y="136"/>
                    <a:pt x="15" y="135"/>
                  </a:cubicBezTo>
                  <a:cubicBezTo>
                    <a:pt x="16" y="136"/>
                    <a:pt x="15" y="136"/>
                    <a:pt x="15" y="136"/>
                  </a:cubicBezTo>
                  <a:close/>
                  <a:moveTo>
                    <a:pt x="16" y="138"/>
                  </a:move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40"/>
                  </a:cubicBezTo>
                  <a:cubicBezTo>
                    <a:pt x="16" y="140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5" y="139"/>
                    <a:pt x="16" y="138"/>
                    <a:pt x="15" y="138"/>
                  </a:cubicBezTo>
                  <a:cubicBezTo>
                    <a:pt x="16" y="138"/>
                    <a:pt x="15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5" y="137"/>
                    <a:pt x="16" y="137"/>
                  </a:cubicBezTo>
                  <a:cubicBezTo>
                    <a:pt x="16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5"/>
                    <a:pt x="16" y="136"/>
                    <a:pt x="16" y="136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6" y="135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ubicBezTo>
                    <a:pt x="16" y="133"/>
                    <a:pt x="15" y="132"/>
                    <a:pt x="16" y="132"/>
                  </a:cubicBezTo>
                  <a:cubicBezTo>
                    <a:pt x="16" y="133"/>
                    <a:pt x="16" y="133"/>
                    <a:pt x="16" y="134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6"/>
                  </a:cubicBezTo>
                  <a:cubicBezTo>
                    <a:pt x="16" y="136"/>
                    <a:pt x="16" y="136"/>
                    <a:pt x="16" y="135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6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7"/>
                    <a:pt x="16" y="138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6" y="136"/>
                  </a:move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6"/>
                    <a:pt x="16" y="136"/>
                  </a:cubicBezTo>
                  <a:close/>
                  <a:moveTo>
                    <a:pt x="17" y="132"/>
                  </a:move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3"/>
                  </a:cubicBezTo>
                  <a:cubicBezTo>
                    <a:pt x="15" y="133"/>
                    <a:pt x="15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lose/>
                  <a:moveTo>
                    <a:pt x="18" y="134"/>
                  </a:move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lose/>
                  <a:moveTo>
                    <a:pt x="12" y="136"/>
                  </a:moveTo>
                  <a:cubicBezTo>
                    <a:pt x="12" y="136"/>
                    <a:pt x="12" y="136"/>
                    <a:pt x="12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3" y="135"/>
                    <a:pt x="13" y="136"/>
                    <a:pt x="12" y="136"/>
                  </a:cubicBezTo>
                  <a:close/>
                  <a:moveTo>
                    <a:pt x="18" y="134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18" y="135"/>
                    <a:pt x="19" y="135"/>
                    <a:pt x="19" y="135"/>
                  </a:cubicBezTo>
                  <a:cubicBezTo>
                    <a:pt x="19" y="135"/>
                    <a:pt x="18" y="135"/>
                    <a:pt x="19" y="135"/>
                  </a:cubicBezTo>
                  <a:cubicBezTo>
                    <a:pt x="19" y="135"/>
                    <a:pt x="18" y="135"/>
                    <a:pt x="18" y="135"/>
                  </a:cubicBezTo>
                  <a:cubicBezTo>
                    <a:pt x="18" y="135"/>
                    <a:pt x="19" y="134"/>
                    <a:pt x="18" y="134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8" y="139"/>
                  </a:moveTo>
                  <a:cubicBezTo>
                    <a:pt x="18" y="139"/>
                    <a:pt x="18" y="139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6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8"/>
                    <a:pt x="18" y="138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40"/>
                    <a:pt x="18" y="140"/>
                  </a:cubicBezTo>
                  <a:cubicBezTo>
                    <a:pt x="18" y="140"/>
                    <a:pt x="18" y="139"/>
                    <a:pt x="18" y="139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1"/>
                    <a:pt x="18" y="142"/>
                    <a:pt x="19" y="141"/>
                  </a:cubicBezTo>
                  <a:cubicBezTo>
                    <a:pt x="19" y="142"/>
                    <a:pt x="18" y="142"/>
                    <a:pt x="18" y="142"/>
                  </a:cubicBezTo>
                  <a:cubicBezTo>
                    <a:pt x="18" y="141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0"/>
                    <a:pt x="18" y="139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1"/>
                  </a:cubicBezTo>
                  <a:cubicBezTo>
                    <a:pt x="17" y="141"/>
                    <a:pt x="17" y="141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1"/>
                    <a:pt x="17" y="140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0"/>
                    <a:pt x="17" y="140"/>
                  </a:cubicBezTo>
                  <a:close/>
                  <a:moveTo>
                    <a:pt x="17" y="138"/>
                  </a:moveTo>
                  <a:cubicBezTo>
                    <a:pt x="17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8"/>
                    <a:pt x="17" y="138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40"/>
                    <a:pt x="17" y="140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7" y="139"/>
                  </a:cubicBezTo>
                  <a:close/>
                  <a:moveTo>
                    <a:pt x="16" y="141"/>
                  </a:moveTo>
                  <a:cubicBezTo>
                    <a:pt x="16" y="142"/>
                    <a:pt x="17" y="142"/>
                    <a:pt x="17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0"/>
                    <a:pt x="17" y="141"/>
                    <a:pt x="16" y="141"/>
                  </a:cubicBezTo>
                  <a:close/>
                  <a:moveTo>
                    <a:pt x="18" y="144"/>
                  </a:moveTo>
                  <a:cubicBezTo>
                    <a:pt x="18" y="143"/>
                    <a:pt x="18" y="143"/>
                    <a:pt x="18" y="143"/>
                  </a:cubicBezTo>
                  <a:cubicBezTo>
                    <a:pt x="19" y="143"/>
                    <a:pt x="19" y="144"/>
                    <a:pt x="19" y="143"/>
                  </a:cubicBezTo>
                  <a:cubicBezTo>
                    <a:pt x="19" y="143"/>
                    <a:pt x="19" y="144"/>
                    <a:pt x="19" y="144"/>
                  </a:cubicBezTo>
                  <a:cubicBezTo>
                    <a:pt x="19" y="144"/>
                    <a:pt x="19" y="143"/>
                    <a:pt x="18" y="144"/>
                  </a:cubicBezTo>
                  <a:close/>
                  <a:moveTo>
                    <a:pt x="19" y="144"/>
                  </a:moveTo>
                  <a:cubicBezTo>
                    <a:pt x="19" y="144"/>
                    <a:pt x="19" y="143"/>
                    <a:pt x="19" y="143"/>
                  </a:cubicBezTo>
                  <a:cubicBezTo>
                    <a:pt x="19" y="144"/>
                    <a:pt x="19" y="144"/>
                    <a:pt x="19" y="144"/>
                  </a:cubicBezTo>
                  <a:close/>
                  <a:moveTo>
                    <a:pt x="16" y="148"/>
                  </a:move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7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6" y="148"/>
                  </a:moveTo>
                  <a:cubicBezTo>
                    <a:pt x="17" y="148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8"/>
                  </a:cubicBezTo>
                  <a:cubicBezTo>
                    <a:pt x="16" y="148"/>
                    <a:pt x="16" y="149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4"/>
                    <a:pt x="18" y="155"/>
                  </a:cubicBezTo>
                  <a:cubicBezTo>
                    <a:pt x="18" y="155"/>
                    <a:pt x="19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ubicBezTo>
                    <a:pt x="18" y="154"/>
                    <a:pt x="18" y="154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4"/>
                    <a:pt x="18" y="154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lose/>
                  <a:moveTo>
                    <a:pt x="19" y="155"/>
                  </a:move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lose/>
                  <a:moveTo>
                    <a:pt x="19" y="156"/>
                  </a:moveTo>
                  <a:cubicBezTo>
                    <a:pt x="19" y="156"/>
                    <a:pt x="19" y="156"/>
                    <a:pt x="19" y="155"/>
                  </a:cubicBezTo>
                  <a:cubicBezTo>
                    <a:pt x="19" y="155"/>
                    <a:pt x="19" y="156"/>
                    <a:pt x="19" y="156"/>
                  </a:cubicBezTo>
                  <a:cubicBezTo>
                    <a:pt x="19" y="157"/>
                    <a:pt x="19" y="156"/>
                    <a:pt x="19" y="157"/>
                  </a:cubicBezTo>
                  <a:cubicBezTo>
                    <a:pt x="19" y="157"/>
                    <a:pt x="19" y="156"/>
                    <a:pt x="19" y="156"/>
                  </a:cubicBezTo>
                  <a:close/>
                  <a:moveTo>
                    <a:pt x="19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3"/>
                    <a:pt x="19" y="162"/>
                    <a:pt x="19" y="162"/>
                  </a:cubicBezTo>
                  <a:cubicBezTo>
                    <a:pt x="19" y="163"/>
                    <a:pt x="19" y="164"/>
                    <a:pt x="19" y="165"/>
                  </a:cubicBezTo>
                  <a:cubicBezTo>
                    <a:pt x="19" y="165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8"/>
                    <a:pt x="19" y="168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6"/>
                    <a:pt x="19" y="165"/>
                    <a:pt x="19" y="165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2"/>
                    <a:pt x="18" y="161"/>
                    <a:pt x="18" y="160"/>
                  </a:cubicBezTo>
                  <a:cubicBezTo>
                    <a:pt x="19" y="160"/>
                    <a:pt x="18" y="160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8"/>
                    <a:pt x="19" y="157"/>
                    <a:pt x="19" y="156"/>
                  </a:cubicBezTo>
                  <a:cubicBezTo>
                    <a:pt x="19" y="157"/>
                    <a:pt x="19" y="160"/>
                    <a:pt x="19" y="161"/>
                  </a:cubicBezTo>
                  <a:cubicBezTo>
                    <a:pt x="19" y="161"/>
                    <a:pt x="19" y="161"/>
                    <a:pt x="19" y="162"/>
                  </a:cubicBezTo>
                  <a:close/>
                  <a:moveTo>
                    <a:pt x="18" y="156"/>
                  </a:move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lose/>
                  <a:moveTo>
                    <a:pt x="20" y="170"/>
                  </a:moveTo>
                  <a:cubicBezTo>
                    <a:pt x="20" y="168"/>
                    <a:pt x="20" y="166"/>
                    <a:pt x="20" y="165"/>
                  </a:cubicBezTo>
                  <a:cubicBezTo>
                    <a:pt x="20" y="166"/>
                    <a:pt x="20" y="168"/>
                    <a:pt x="20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5"/>
                    <a:pt x="19" y="175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5"/>
                  </a:cubicBezTo>
                  <a:cubicBezTo>
                    <a:pt x="19" y="175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5"/>
                    <a:pt x="19" y="174"/>
                  </a:cubicBezTo>
                  <a:cubicBezTo>
                    <a:pt x="19" y="175"/>
                    <a:pt x="19" y="175"/>
                    <a:pt x="19" y="175"/>
                  </a:cubicBezTo>
                  <a:close/>
                  <a:moveTo>
                    <a:pt x="21" y="182"/>
                  </a:moveTo>
                  <a:cubicBezTo>
                    <a:pt x="21" y="182"/>
                    <a:pt x="21" y="183"/>
                    <a:pt x="21" y="183"/>
                  </a:cubicBezTo>
                  <a:cubicBezTo>
                    <a:pt x="21" y="183"/>
                    <a:pt x="21" y="183"/>
                    <a:pt x="20" y="183"/>
                  </a:cubicBezTo>
                  <a:cubicBezTo>
                    <a:pt x="21" y="183"/>
                    <a:pt x="20" y="182"/>
                    <a:pt x="21" y="182"/>
                  </a:cubicBezTo>
                  <a:cubicBezTo>
                    <a:pt x="20" y="182"/>
                    <a:pt x="20" y="182"/>
                    <a:pt x="20" y="182"/>
                  </a:cubicBezTo>
                  <a:cubicBezTo>
                    <a:pt x="20" y="181"/>
                    <a:pt x="21" y="182"/>
                    <a:pt x="21" y="181"/>
                  </a:cubicBezTo>
                  <a:cubicBezTo>
                    <a:pt x="21" y="181"/>
                    <a:pt x="21" y="182"/>
                    <a:pt x="20" y="182"/>
                  </a:cubicBezTo>
                  <a:cubicBezTo>
                    <a:pt x="20" y="181"/>
                    <a:pt x="21" y="181"/>
                    <a:pt x="21" y="181"/>
                  </a:cubicBezTo>
                  <a:cubicBezTo>
                    <a:pt x="21" y="182"/>
                    <a:pt x="21" y="182"/>
                    <a:pt x="21" y="181"/>
                  </a:cubicBezTo>
                  <a:cubicBezTo>
                    <a:pt x="21" y="182"/>
                    <a:pt x="21" y="182"/>
                    <a:pt x="21" y="182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3"/>
                    <a:pt x="21" y="192"/>
                  </a:cubicBezTo>
                  <a:cubicBezTo>
                    <a:pt x="21" y="192"/>
                    <a:pt x="21" y="192"/>
                    <a:pt x="21" y="193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1"/>
                    <a:pt x="21" y="190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90"/>
                  </a:cubicBezTo>
                  <a:cubicBezTo>
                    <a:pt x="21" y="189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1" y="188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90"/>
                    <a:pt x="21" y="189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1"/>
                  </a:cubicBezTo>
                  <a:cubicBezTo>
                    <a:pt x="21" y="190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2"/>
                  </a:cubicBezTo>
                  <a:cubicBezTo>
                    <a:pt x="21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1" y="192"/>
                  </a:cubicBezTo>
                  <a:cubicBezTo>
                    <a:pt x="22" y="192"/>
                    <a:pt x="22" y="193"/>
                    <a:pt x="22" y="193"/>
                  </a:cubicBezTo>
                  <a:cubicBezTo>
                    <a:pt x="22" y="193"/>
                    <a:pt x="21" y="193"/>
                    <a:pt x="22" y="194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93"/>
                    <a:pt x="22" y="194"/>
                    <a:pt x="22" y="194"/>
                  </a:cubicBezTo>
                  <a:cubicBezTo>
                    <a:pt x="22" y="194"/>
                    <a:pt x="22" y="193"/>
                    <a:pt x="22" y="193"/>
                  </a:cubicBezTo>
                  <a:cubicBezTo>
                    <a:pt x="22" y="194"/>
                    <a:pt x="22" y="195"/>
                    <a:pt x="22" y="196"/>
                  </a:cubicBezTo>
                  <a:cubicBezTo>
                    <a:pt x="22" y="196"/>
                    <a:pt x="22" y="195"/>
                    <a:pt x="22" y="195"/>
                  </a:cubicBezTo>
                  <a:cubicBezTo>
                    <a:pt x="22" y="195"/>
                    <a:pt x="22" y="195"/>
                    <a:pt x="22" y="194"/>
                  </a:cubicBezTo>
                  <a:cubicBezTo>
                    <a:pt x="22" y="195"/>
                    <a:pt x="22" y="195"/>
                    <a:pt x="22" y="195"/>
                  </a:cubicBezTo>
                  <a:cubicBezTo>
                    <a:pt x="22" y="195"/>
                    <a:pt x="22" y="195"/>
                    <a:pt x="21" y="195"/>
                  </a:cubicBezTo>
                  <a:cubicBezTo>
                    <a:pt x="21" y="194"/>
                    <a:pt x="22" y="194"/>
                    <a:pt x="22" y="194"/>
                  </a:cubicBezTo>
                  <a:cubicBezTo>
                    <a:pt x="21" y="194"/>
                    <a:pt x="22" y="194"/>
                    <a:pt x="21" y="194"/>
                  </a:cubicBezTo>
                  <a:close/>
                  <a:moveTo>
                    <a:pt x="20" y="188"/>
                  </a:moveTo>
                  <a:cubicBezTo>
                    <a:pt x="20" y="188"/>
                    <a:pt x="20" y="188"/>
                    <a:pt x="20" y="189"/>
                  </a:cubicBezTo>
                  <a:cubicBezTo>
                    <a:pt x="20" y="189"/>
                    <a:pt x="20" y="188"/>
                    <a:pt x="20" y="188"/>
                  </a:cubicBezTo>
                  <a:close/>
                  <a:moveTo>
                    <a:pt x="20" y="189"/>
                  </a:move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0" y="189"/>
                    <a:pt x="20" y="189"/>
                  </a:cubicBezTo>
                  <a:close/>
                  <a:moveTo>
                    <a:pt x="20" y="190"/>
                  </a:moveTo>
                  <a:cubicBezTo>
                    <a:pt x="20" y="190"/>
                    <a:pt x="20" y="190"/>
                    <a:pt x="20" y="191"/>
                  </a:cubicBezTo>
                  <a:cubicBezTo>
                    <a:pt x="20" y="191"/>
                    <a:pt x="20" y="190"/>
                    <a:pt x="20" y="190"/>
                  </a:cubicBezTo>
                  <a:close/>
                  <a:moveTo>
                    <a:pt x="22" y="199"/>
                  </a:moveTo>
                  <a:cubicBezTo>
                    <a:pt x="22" y="199"/>
                    <a:pt x="22" y="199"/>
                    <a:pt x="22" y="198"/>
                  </a:cubicBezTo>
                  <a:cubicBezTo>
                    <a:pt x="22" y="198"/>
                    <a:pt x="22" y="199"/>
                    <a:pt x="22" y="199"/>
                  </a:cubicBezTo>
                  <a:close/>
                  <a:moveTo>
                    <a:pt x="20" y="201"/>
                  </a:moveTo>
                  <a:cubicBezTo>
                    <a:pt x="20" y="201"/>
                    <a:pt x="20" y="201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ubicBezTo>
                    <a:pt x="20" y="200"/>
                    <a:pt x="20" y="200"/>
                    <a:pt x="20" y="200"/>
                  </a:cubicBezTo>
                  <a:cubicBezTo>
                    <a:pt x="20" y="200"/>
                    <a:pt x="20" y="201"/>
                    <a:pt x="20" y="201"/>
                  </a:cubicBezTo>
                  <a:close/>
                  <a:moveTo>
                    <a:pt x="21" y="202"/>
                  </a:moveTo>
                  <a:cubicBezTo>
                    <a:pt x="21" y="202"/>
                    <a:pt x="20" y="202"/>
                    <a:pt x="20" y="202"/>
                  </a:cubicBezTo>
                  <a:cubicBezTo>
                    <a:pt x="20" y="202"/>
                    <a:pt x="20" y="202"/>
                    <a:pt x="20" y="202"/>
                  </a:cubicBezTo>
                  <a:cubicBezTo>
                    <a:pt x="20" y="202"/>
                    <a:pt x="20" y="201"/>
                    <a:pt x="20" y="201"/>
                  </a:cubicBezTo>
                  <a:cubicBezTo>
                    <a:pt x="20" y="201"/>
                    <a:pt x="20" y="202"/>
                    <a:pt x="21" y="202"/>
                  </a:cubicBezTo>
                  <a:close/>
                  <a:moveTo>
                    <a:pt x="18" y="211"/>
                  </a:moveTo>
                  <a:cubicBezTo>
                    <a:pt x="18" y="211"/>
                    <a:pt x="18" y="211"/>
                    <a:pt x="18" y="211"/>
                  </a:cubicBezTo>
                  <a:cubicBezTo>
                    <a:pt x="18" y="211"/>
                    <a:pt x="18" y="211"/>
                    <a:pt x="18" y="212"/>
                  </a:cubicBezTo>
                  <a:cubicBezTo>
                    <a:pt x="18" y="212"/>
                    <a:pt x="18" y="211"/>
                    <a:pt x="18" y="211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4"/>
                    <a:pt x="22" y="214"/>
                  </a:cubicBezTo>
                  <a:cubicBezTo>
                    <a:pt x="21" y="214"/>
                    <a:pt x="22" y="213"/>
                    <a:pt x="22" y="213"/>
                  </a:cubicBezTo>
                  <a:close/>
                  <a:moveTo>
                    <a:pt x="0" y="21"/>
                  </a:moveTo>
                  <a:cubicBezTo>
                    <a:pt x="0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1"/>
                    <a:pt x="0" y="21"/>
                  </a:cubicBezTo>
                  <a:close/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9"/>
                  </a:cubicBezTo>
                  <a:cubicBezTo>
                    <a:pt x="5" y="49"/>
                    <a:pt x="5" y="48"/>
                    <a:pt x="5" y="48"/>
                  </a:cubicBezTo>
                  <a:close/>
                  <a:moveTo>
                    <a:pt x="6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8"/>
                    <a:pt x="6" y="48"/>
                    <a:pt x="6" y="48"/>
                  </a:cubicBezTo>
                  <a:close/>
                  <a:moveTo>
                    <a:pt x="6" y="50"/>
                  </a:moveTo>
                  <a:cubicBezTo>
                    <a:pt x="6" y="50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2"/>
                    <a:pt x="10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lose/>
                  <a:moveTo>
                    <a:pt x="14" y="60"/>
                  </a:moveTo>
                  <a:cubicBezTo>
                    <a:pt x="14" y="60"/>
                    <a:pt x="13" y="60"/>
                    <a:pt x="14" y="60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13" y="60"/>
                    <a:pt x="13" y="59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3" y="59"/>
                    <a:pt x="14" y="60"/>
                  </a:cubicBezTo>
                  <a:close/>
                  <a:moveTo>
                    <a:pt x="7" y="63"/>
                  </a:moveTo>
                  <a:cubicBezTo>
                    <a:pt x="7" y="63"/>
                    <a:pt x="7" y="64"/>
                    <a:pt x="7" y="64"/>
                  </a:cubicBezTo>
                  <a:cubicBezTo>
                    <a:pt x="7" y="64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lose/>
                  <a:moveTo>
                    <a:pt x="15" y="74"/>
                  </a:moveTo>
                  <a:cubicBezTo>
                    <a:pt x="15" y="75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74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2"/>
                    <a:pt x="16" y="82"/>
                  </a:cubicBezTo>
                  <a:cubicBezTo>
                    <a:pt x="16" y="82"/>
                    <a:pt x="16" y="82"/>
                    <a:pt x="16" y="83"/>
                  </a:cubicBezTo>
                  <a:cubicBezTo>
                    <a:pt x="16" y="82"/>
                    <a:pt x="16" y="81"/>
                    <a:pt x="16" y="81"/>
                  </a:cubicBezTo>
                  <a:close/>
                  <a:moveTo>
                    <a:pt x="10" y="82"/>
                  </a:moveTo>
                  <a:cubicBezTo>
                    <a:pt x="10" y="82"/>
                    <a:pt x="10" y="83"/>
                    <a:pt x="10" y="82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lnTo>
                    <a:pt x="10" y="82"/>
                  </a:lnTo>
                  <a:close/>
                  <a:moveTo>
                    <a:pt x="12" y="89"/>
                  </a:move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8" y="93"/>
                    <a:pt x="7" y="94"/>
                    <a:pt x="7" y="94"/>
                  </a:cubicBezTo>
                  <a:close/>
                  <a:moveTo>
                    <a:pt x="12" y="98"/>
                  </a:moveTo>
                  <a:cubicBezTo>
                    <a:pt x="12" y="98"/>
                    <a:pt x="12" y="97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3" y="97"/>
                  </a:cubicBezTo>
                  <a:cubicBezTo>
                    <a:pt x="13" y="97"/>
                    <a:pt x="12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8"/>
                    <a:pt x="12" y="98"/>
                  </a:cubicBezTo>
                  <a:close/>
                  <a:moveTo>
                    <a:pt x="12" y="99"/>
                  </a:move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8"/>
                  </a:cubicBezTo>
                  <a:cubicBezTo>
                    <a:pt x="12" y="98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lose/>
                  <a:moveTo>
                    <a:pt x="11" y="103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2"/>
                  </a:cubicBezTo>
                  <a:cubicBezTo>
                    <a:pt x="11" y="102"/>
                    <a:pt x="11" y="103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2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1" y="101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lose/>
                  <a:moveTo>
                    <a:pt x="7" y="105"/>
                  </a:moveTo>
                  <a:cubicBezTo>
                    <a:pt x="7" y="105"/>
                    <a:pt x="8" y="104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8" y="106"/>
                    <a:pt x="7" y="105"/>
                    <a:pt x="7" y="105"/>
                  </a:cubicBezTo>
                  <a:close/>
                  <a:moveTo>
                    <a:pt x="13" y="106"/>
                  </a:moveTo>
                  <a:cubicBezTo>
                    <a:pt x="13" y="106"/>
                    <a:pt x="13" y="106"/>
                    <a:pt x="13" y="106"/>
                  </a:cubicBezTo>
                  <a:cubicBezTo>
                    <a:pt x="13" y="107"/>
                    <a:pt x="13" y="106"/>
                    <a:pt x="13" y="106"/>
                  </a:cubicBezTo>
                  <a:cubicBezTo>
                    <a:pt x="13" y="106"/>
                    <a:pt x="13" y="106"/>
                    <a:pt x="13" y="105"/>
                  </a:cubicBezTo>
                  <a:cubicBezTo>
                    <a:pt x="13" y="105"/>
                    <a:pt x="13" y="105"/>
                    <a:pt x="13" y="106"/>
                  </a:cubicBezTo>
                  <a:close/>
                  <a:moveTo>
                    <a:pt x="15" y="133"/>
                  </a:move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1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7" y="142"/>
                  </a:moveTo>
                  <a:cubicBezTo>
                    <a:pt x="17" y="142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8" y="141"/>
                    <a:pt x="17" y="142"/>
                    <a:pt x="17" y="143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1D9704B-2AB1-4B9E-B7EA-229C832C1F52}"/>
                </a:ext>
              </a:extLst>
            </p:cNvPr>
            <p:cNvSpPr/>
            <p:nvPr/>
          </p:nvSpPr>
          <p:spPr bwMode="auto">
            <a:xfrm>
              <a:off x="7589838" y="1660525"/>
              <a:ext cx="161925" cy="303213"/>
            </a:xfrm>
            <a:custGeom>
              <a:avLst/>
              <a:gdLst>
                <a:gd name="T0" fmla="*/ 44 w 66"/>
                <a:gd name="T1" fmla="*/ 27 h 123"/>
                <a:gd name="T2" fmla="*/ 45 w 66"/>
                <a:gd name="T3" fmla="*/ 32 h 123"/>
                <a:gd name="T4" fmla="*/ 42 w 66"/>
                <a:gd name="T5" fmla="*/ 35 h 123"/>
                <a:gd name="T6" fmla="*/ 40 w 66"/>
                <a:gd name="T7" fmla="*/ 37 h 123"/>
                <a:gd name="T8" fmla="*/ 37 w 66"/>
                <a:gd name="T9" fmla="*/ 42 h 123"/>
                <a:gd name="T10" fmla="*/ 44 w 66"/>
                <a:gd name="T11" fmla="*/ 49 h 123"/>
                <a:gd name="T12" fmla="*/ 40 w 66"/>
                <a:gd name="T13" fmla="*/ 55 h 123"/>
                <a:gd name="T14" fmla="*/ 32 w 66"/>
                <a:gd name="T15" fmla="*/ 53 h 123"/>
                <a:gd name="T16" fmla="*/ 35 w 66"/>
                <a:gd name="T17" fmla="*/ 57 h 123"/>
                <a:gd name="T18" fmla="*/ 29 w 66"/>
                <a:gd name="T19" fmla="*/ 60 h 123"/>
                <a:gd name="T20" fmla="*/ 26 w 66"/>
                <a:gd name="T21" fmla="*/ 66 h 123"/>
                <a:gd name="T22" fmla="*/ 25 w 66"/>
                <a:gd name="T23" fmla="*/ 71 h 123"/>
                <a:gd name="T24" fmla="*/ 28 w 66"/>
                <a:gd name="T25" fmla="*/ 79 h 123"/>
                <a:gd name="T26" fmla="*/ 22 w 66"/>
                <a:gd name="T27" fmla="*/ 80 h 123"/>
                <a:gd name="T28" fmla="*/ 23 w 66"/>
                <a:gd name="T29" fmla="*/ 89 h 123"/>
                <a:gd name="T30" fmla="*/ 12 w 66"/>
                <a:gd name="T31" fmla="*/ 111 h 123"/>
                <a:gd name="T32" fmla="*/ 8 w 66"/>
                <a:gd name="T33" fmla="*/ 122 h 123"/>
                <a:gd name="T34" fmla="*/ 51 w 66"/>
                <a:gd name="T35" fmla="*/ 33 h 123"/>
                <a:gd name="T36" fmla="*/ 48 w 66"/>
                <a:gd name="T37" fmla="*/ 38 h 123"/>
                <a:gd name="T38" fmla="*/ 49 w 66"/>
                <a:gd name="T39" fmla="*/ 32 h 123"/>
                <a:gd name="T40" fmla="*/ 45 w 66"/>
                <a:gd name="T41" fmla="*/ 35 h 123"/>
                <a:gd name="T42" fmla="*/ 49 w 66"/>
                <a:gd name="T43" fmla="*/ 26 h 123"/>
                <a:gd name="T44" fmla="*/ 46 w 66"/>
                <a:gd name="T45" fmla="*/ 24 h 123"/>
                <a:gd name="T46" fmla="*/ 47 w 66"/>
                <a:gd name="T47" fmla="*/ 14 h 123"/>
                <a:gd name="T48" fmla="*/ 47 w 66"/>
                <a:gd name="T49" fmla="*/ 18 h 123"/>
                <a:gd name="T50" fmla="*/ 48 w 66"/>
                <a:gd name="T51" fmla="*/ 24 h 123"/>
                <a:gd name="T52" fmla="*/ 46 w 66"/>
                <a:gd name="T53" fmla="*/ 34 h 123"/>
                <a:gd name="T54" fmla="*/ 52 w 66"/>
                <a:gd name="T55" fmla="*/ 27 h 123"/>
                <a:gd name="T56" fmla="*/ 54 w 66"/>
                <a:gd name="T57" fmla="*/ 27 h 123"/>
                <a:gd name="T58" fmla="*/ 44 w 66"/>
                <a:gd name="T59" fmla="*/ 29 h 123"/>
                <a:gd name="T60" fmla="*/ 43 w 66"/>
                <a:gd name="T61" fmla="*/ 34 h 123"/>
                <a:gd name="T62" fmla="*/ 45 w 66"/>
                <a:gd name="T63" fmla="*/ 45 h 123"/>
                <a:gd name="T64" fmla="*/ 43 w 66"/>
                <a:gd name="T65" fmla="*/ 49 h 123"/>
                <a:gd name="T66" fmla="*/ 41 w 66"/>
                <a:gd name="T67" fmla="*/ 51 h 123"/>
                <a:gd name="T68" fmla="*/ 40 w 66"/>
                <a:gd name="T69" fmla="*/ 48 h 123"/>
                <a:gd name="T70" fmla="*/ 41 w 66"/>
                <a:gd name="T71" fmla="*/ 49 h 123"/>
                <a:gd name="T72" fmla="*/ 34 w 66"/>
                <a:gd name="T73" fmla="*/ 48 h 123"/>
                <a:gd name="T74" fmla="*/ 25 w 66"/>
                <a:gd name="T75" fmla="*/ 76 h 123"/>
                <a:gd name="T76" fmla="*/ 28 w 66"/>
                <a:gd name="T77" fmla="*/ 70 h 123"/>
                <a:gd name="T78" fmla="*/ 27 w 66"/>
                <a:gd name="T79" fmla="*/ 68 h 123"/>
                <a:gd name="T80" fmla="*/ 31 w 66"/>
                <a:gd name="T81" fmla="*/ 63 h 123"/>
                <a:gd name="T82" fmla="*/ 38 w 66"/>
                <a:gd name="T83" fmla="*/ 57 h 123"/>
                <a:gd name="T84" fmla="*/ 41 w 66"/>
                <a:gd name="T85" fmla="*/ 57 h 123"/>
                <a:gd name="T86" fmla="*/ 34 w 66"/>
                <a:gd name="T87" fmla="*/ 67 h 123"/>
                <a:gd name="T88" fmla="*/ 29 w 66"/>
                <a:gd name="T89" fmla="*/ 76 h 123"/>
                <a:gd name="T90" fmla="*/ 27 w 66"/>
                <a:gd name="T91" fmla="*/ 72 h 123"/>
                <a:gd name="T92" fmla="*/ 38 w 66"/>
                <a:gd name="T93" fmla="*/ 57 h 123"/>
                <a:gd name="T94" fmla="*/ 31 w 66"/>
                <a:gd name="T95" fmla="*/ 65 h 123"/>
                <a:gd name="T96" fmla="*/ 32 w 66"/>
                <a:gd name="T97" fmla="*/ 67 h 123"/>
                <a:gd name="T98" fmla="*/ 29 w 66"/>
                <a:gd name="T99" fmla="*/ 76 h 123"/>
                <a:gd name="T100" fmla="*/ 32 w 66"/>
                <a:gd name="T101" fmla="*/ 67 h 123"/>
                <a:gd name="T102" fmla="*/ 35 w 66"/>
                <a:gd name="T103" fmla="*/ 61 h 123"/>
                <a:gd name="T104" fmla="*/ 27 w 66"/>
                <a:gd name="T105" fmla="*/ 73 h 123"/>
                <a:gd name="T106" fmla="*/ 37 w 66"/>
                <a:gd name="T107" fmla="*/ 55 h 123"/>
                <a:gd name="T108" fmla="*/ 34 w 66"/>
                <a:gd name="T109" fmla="*/ 55 h 123"/>
                <a:gd name="T110" fmla="*/ 31 w 66"/>
                <a:gd name="T111" fmla="*/ 54 h 123"/>
                <a:gd name="T112" fmla="*/ 28 w 66"/>
                <a:gd name="T113" fmla="*/ 58 h 123"/>
                <a:gd name="T114" fmla="*/ 28 w 66"/>
                <a:gd name="T115" fmla="*/ 63 h 123"/>
                <a:gd name="T116" fmla="*/ 28 w 66"/>
                <a:gd name="T117" fmla="*/ 77 h 123"/>
                <a:gd name="T118" fmla="*/ 28 w 66"/>
                <a:gd name="T119" fmla="*/ 79 h 123"/>
                <a:gd name="T120" fmla="*/ 22 w 66"/>
                <a:gd name="T121" fmla="*/ 90 h 123"/>
                <a:gd name="T122" fmla="*/ 12 w 66"/>
                <a:gd name="T123" fmla="*/ 112 h 123"/>
                <a:gd name="T124" fmla="*/ 32 w 66"/>
                <a:gd name="T125" fmla="*/ 5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23"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50" y="8"/>
                  </a:moveTo>
                  <a:cubicBezTo>
                    <a:pt x="50" y="7"/>
                    <a:pt x="50" y="8"/>
                    <a:pt x="50" y="7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10"/>
                  </a:move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9" y="9"/>
                    <a:pt x="49" y="10"/>
                  </a:cubicBezTo>
                  <a:close/>
                  <a:moveTo>
                    <a:pt x="48" y="10"/>
                  </a:moveTo>
                  <a:cubicBezTo>
                    <a:pt x="49" y="10"/>
                    <a:pt x="49" y="11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lose/>
                  <a:moveTo>
                    <a:pt x="46" y="15"/>
                  </a:moveTo>
                  <a:cubicBezTo>
                    <a:pt x="46" y="16"/>
                    <a:pt x="46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6" y="15"/>
                  </a:cubicBezTo>
                  <a:close/>
                  <a:moveTo>
                    <a:pt x="45" y="16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lose/>
                  <a:moveTo>
                    <a:pt x="46" y="17"/>
                  </a:move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lose/>
                  <a:moveTo>
                    <a:pt x="46" y="21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1"/>
                  </a:cubicBezTo>
                  <a:close/>
                  <a:moveTo>
                    <a:pt x="45" y="20"/>
                  </a:move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4" y="22"/>
                    <a:pt x="45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2"/>
                    <a:pt x="44" y="22"/>
                  </a:cubicBezTo>
                  <a:cubicBezTo>
                    <a:pt x="43" y="22"/>
                    <a:pt x="43" y="23"/>
                    <a:pt x="43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6"/>
                  </a:cubicBezTo>
                  <a:cubicBezTo>
                    <a:pt x="45" y="27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6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2"/>
                    <a:pt x="53" y="32"/>
                  </a:cubicBezTo>
                  <a:cubicBezTo>
                    <a:pt x="53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3" y="32"/>
                    <a:pt x="53" y="31"/>
                  </a:cubicBezTo>
                  <a:close/>
                  <a:moveTo>
                    <a:pt x="47" y="29"/>
                  </a:moveTo>
                  <a:cubicBezTo>
                    <a:pt x="47" y="29"/>
                    <a:pt x="47" y="30"/>
                    <a:pt x="46" y="30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3" y="28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3" y="28"/>
                  </a:ln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4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9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6" y="30"/>
                  </a:cubicBezTo>
                  <a:cubicBezTo>
                    <a:pt x="47" y="30"/>
                    <a:pt x="46" y="30"/>
                    <a:pt x="47" y="30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5" y="29"/>
                  </a:moveTo>
                  <a:cubicBezTo>
                    <a:pt x="45" y="29"/>
                    <a:pt x="45" y="30"/>
                    <a:pt x="45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0"/>
                    <a:pt x="45" y="29"/>
                  </a:cubicBezTo>
                  <a:close/>
                  <a:moveTo>
                    <a:pt x="47" y="32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lose/>
                  <a:moveTo>
                    <a:pt x="40" y="28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6" y="32"/>
                  </a:cubicBezTo>
                  <a:close/>
                  <a:moveTo>
                    <a:pt x="49" y="33"/>
                  </a:move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3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3"/>
                    <a:pt x="46" y="33"/>
                  </a:cubicBezTo>
                  <a:cubicBezTo>
                    <a:pt x="46" y="32"/>
                    <a:pt x="46" y="32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2"/>
                    <a:pt x="44" y="31"/>
                    <a:pt x="44" y="32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33"/>
                  </a:moveTo>
                  <a:cubicBezTo>
                    <a:pt x="45" y="32"/>
                    <a:pt x="45" y="32"/>
                    <a:pt x="46" y="32"/>
                  </a:cubicBezTo>
                  <a:cubicBezTo>
                    <a:pt x="46" y="32"/>
                    <a:pt x="45" y="33"/>
                    <a:pt x="45" y="33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3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8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4" y="32"/>
                    <a:pt x="44" y="32"/>
                  </a:cubicBezTo>
                  <a:close/>
                  <a:moveTo>
                    <a:pt x="46" y="34"/>
                  </a:moveTo>
                  <a:cubicBezTo>
                    <a:pt x="45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4"/>
                    <a:pt x="46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2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5" y="33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5" y="34"/>
                    <a:pt x="45" y="33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4" y="34"/>
                    <a:pt x="44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lose/>
                  <a:moveTo>
                    <a:pt x="43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4"/>
                    <a:pt x="42" y="34"/>
                    <a:pt x="43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4" y="35"/>
                  </a:moveTo>
                  <a:cubicBezTo>
                    <a:pt x="44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lose/>
                  <a:moveTo>
                    <a:pt x="49" y="39"/>
                  </a:move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9" y="39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3" y="35"/>
                    <a:pt x="42" y="36"/>
                    <a:pt x="42" y="36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4" y="37"/>
                    <a:pt x="45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7" y="33"/>
                  </a:cubicBezTo>
                  <a:cubicBezTo>
                    <a:pt x="38" y="33"/>
                    <a:pt x="37" y="34"/>
                    <a:pt x="37" y="34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9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40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lnTo>
                    <a:pt x="41" y="36"/>
                  </a:lnTo>
                  <a:close/>
                  <a:moveTo>
                    <a:pt x="48" y="39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8"/>
                    <a:pt x="42" y="37"/>
                    <a:pt x="43" y="37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8" y="40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1"/>
                    <a:pt x="48" y="40"/>
                    <a:pt x="48" y="40"/>
                  </a:cubicBezTo>
                  <a:close/>
                  <a:moveTo>
                    <a:pt x="46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1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39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lose/>
                  <a:moveTo>
                    <a:pt x="47" y="41"/>
                  </a:move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8" y="40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lose/>
                  <a:moveTo>
                    <a:pt x="48" y="41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7" y="35"/>
                  </a:cubicBezTo>
                  <a:cubicBezTo>
                    <a:pt x="37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5" y="41"/>
                    <a:pt x="45" y="42"/>
                  </a:cubicBezTo>
                  <a:cubicBezTo>
                    <a:pt x="45" y="41"/>
                    <a:pt x="45" y="41"/>
                    <a:pt x="46" y="41"/>
                  </a:cubicBezTo>
                  <a:cubicBezTo>
                    <a:pt x="46" y="40"/>
                    <a:pt x="45" y="41"/>
                    <a:pt x="45" y="41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6" y="41"/>
                    <a:pt x="46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8"/>
                    <a:pt x="40" y="39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8" y="40"/>
                    <a:pt x="39" y="40"/>
                    <a:pt x="38" y="40"/>
                  </a:cubicBezTo>
                  <a:cubicBezTo>
                    <a:pt x="38" y="40"/>
                    <a:pt x="38" y="41"/>
                    <a:pt x="38" y="41"/>
                  </a:cubicBezTo>
                  <a:cubicBezTo>
                    <a:pt x="38" y="41"/>
                    <a:pt x="38" y="40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1" y="41"/>
                  </a:cubicBezTo>
                  <a:cubicBezTo>
                    <a:pt x="41" y="41"/>
                    <a:pt x="41" y="40"/>
                    <a:pt x="41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6" y="43"/>
                    <a:pt x="46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46" y="44"/>
                  </a:moveTo>
                  <a:cubicBezTo>
                    <a:pt x="47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42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35" y="39"/>
                  </a:moveTo>
                  <a:cubicBezTo>
                    <a:pt x="36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8" y="41"/>
                    <a:pt x="37" y="41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1"/>
                    <a:pt x="37" y="41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3" y="44"/>
                  </a:cubicBezTo>
                  <a:close/>
                  <a:moveTo>
                    <a:pt x="40" y="43"/>
                  </a:moveTo>
                  <a:cubicBezTo>
                    <a:pt x="40" y="43"/>
                    <a:pt x="41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0" y="43"/>
                    <a:pt x="41" y="44"/>
                  </a:cubicBezTo>
                  <a:cubicBezTo>
                    <a:pt x="40" y="44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7" y="42"/>
                  </a:cubicBezTo>
                  <a:close/>
                  <a:moveTo>
                    <a:pt x="42" y="45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39" y="43"/>
                  </a:moveTo>
                  <a:cubicBezTo>
                    <a:pt x="39" y="43"/>
                    <a:pt x="38" y="44"/>
                    <a:pt x="38" y="44"/>
                  </a:cubicBezTo>
                  <a:cubicBezTo>
                    <a:pt x="38" y="43"/>
                    <a:pt x="38" y="43"/>
                    <a:pt x="39" y="43"/>
                  </a:cubicBezTo>
                  <a:close/>
                  <a:moveTo>
                    <a:pt x="38" y="43"/>
                  </a:moveTo>
                  <a:cubicBezTo>
                    <a:pt x="37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5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1" y="46"/>
                    <a:pt x="42" y="46"/>
                    <a:pt x="42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1" y="46"/>
                  </a:cubicBezTo>
                  <a:cubicBezTo>
                    <a:pt x="41" y="46"/>
                    <a:pt x="40" y="46"/>
                    <a:pt x="41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3" y="47"/>
                  </a:cubicBezTo>
                  <a:cubicBezTo>
                    <a:pt x="43" y="47"/>
                    <a:pt x="42" y="47"/>
                    <a:pt x="43" y="47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lose/>
                  <a:moveTo>
                    <a:pt x="37" y="44"/>
                  </a:moveTo>
                  <a:cubicBezTo>
                    <a:pt x="37" y="44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7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8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7"/>
                    <a:pt x="38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4" y="48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8"/>
                    <a:pt x="44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4" y="50"/>
                  </a:moveTo>
                  <a:cubicBezTo>
                    <a:pt x="44" y="50"/>
                    <a:pt x="43" y="51"/>
                    <a:pt x="43" y="51"/>
                  </a:cubicBezTo>
                  <a:cubicBezTo>
                    <a:pt x="43" y="50"/>
                    <a:pt x="44" y="50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43" y="52"/>
                  </a:moveTo>
                  <a:cubicBezTo>
                    <a:pt x="42" y="52"/>
                    <a:pt x="43" y="52"/>
                    <a:pt x="43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7" y="50"/>
                  </a:moveTo>
                  <a:cubicBezTo>
                    <a:pt x="36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lose/>
                  <a:moveTo>
                    <a:pt x="40" y="51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6" y="51"/>
                  </a:cubicBezTo>
                  <a:cubicBezTo>
                    <a:pt x="36" y="51"/>
                    <a:pt x="37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1"/>
                  </a:cubicBezTo>
                  <a:close/>
                  <a:moveTo>
                    <a:pt x="36" y="50"/>
                  </a:move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9" y="51"/>
                    <a:pt x="38" y="51"/>
                    <a:pt x="38" y="51"/>
                  </a:cubicBezTo>
                  <a:close/>
                  <a:moveTo>
                    <a:pt x="38" y="52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54"/>
                  </a:moveTo>
                  <a:cubicBezTo>
                    <a:pt x="42" y="54"/>
                    <a:pt x="42" y="54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8" y="52"/>
                    <a:pt x="38" y="51"/>
                  </a:cubicBezTo>
                  <a:cubicBezTo>
                    <a:pt x="38" y="51"/>
                    <a:pt x="38" y="51"/>
                    <a:pt x="38" y="52"/>
                  </a:cubicBezTo>
                  <a:close/>
                  <a:moveTo>
                    <a:pt x="34" y="50"/>
                  </a:moveTo>
                  <a:cubicBezTo>
                    <a:pt x="34" y="50"/>
                    <a:pt x="34" y="50"/>
                    <a:pt x="33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lose/>
                  <a:moveTo>
                    <a:pt x="35" y="50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3"/>
                  </a:cubicBezTo>
                  <a:close/>
                  <a:moveTo>
                    <a:pt x="37" y="52"/>
                  </a:moveTo>
                  <a:cubicBezTo>
                    <a:pt x="37" y="52"/>
                    <a:pt x="36" y="52"/>
                    <a:pt x="36" y="52"/>
                  </a:cubicBezTo>
                  <a:cubicBezTo>
                    <a:pt x="36" y="52"/>
                    <a:pt x="36" y="52"/>
                    <a:pt x="37" y="52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40" y="54"/>
                  </a:moveTo>
                  <a:cubicBezTo>
                    <a:pt x="40" y="54"/>
                    <a:pt x="40" y="54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1" y="49"/>
                  </a:moveTo>
                  <a:cubicBezTo>
                    <a:pt x="31" y="49"/>
                    <a:pt x="31" y="50"/>
                    <a:pt x="31" y="50"/>
                  </a:cubicBezTo>
                  <a:cubicBezTo>
                    <a:pt x="30" y="50"/>
                    <a:pt x="30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1" y="51"/>
                  </a:moveTo>
                  <a:cubicBezTo>
                    <a:pt x="30" y="51"/>
                    <a:pt x="30" y="52"/>
                    <a:pt x="30" y="52"/>
                  </a:cubicBezTo>
                  <a:cubicBezTo>
                    <a:pt x="30" y="51"/>
                    <a:pt x="30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lose/>
                  <a:moveTo>
                    <a:pt x="34" y="52"/>
                  </a:moveTo>
                  <a:cubicBezTo>
                    <a:pt x="35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2"/>
                  </a:move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0" y="50"/>
                    <a:pt x="31" y="50"/>
                    <a:pt x="31" y="50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2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6" y="53"/>
                    <a:pt x="35" y="53"/>
                    <a:pt x="35" y="53"/>
                  </a:cubicBezTo>
                  <a:close/>
                  <a:moveTo>
                    <a:pt x="37" y="53"/>
                  </a:move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6" y="54"/>
                    <a:pt x="36" y="54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3"/>
                  </a:cubicBezTo>
                  <a:close/>
                  <a:moveTo>
                    <a:pt x="36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6" y="54"/>
                    <a:pt x="36" y="54"/>
                  </a:cubicBezTo>
                  <a:close/>
                  <a:moveTo>
                    <a:pt x="31" y="52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4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4" y="54"/>
                    <a:pt x="35" y="54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2"/>
                    <a:pt x="32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5" y="54"/>
                  </a:moveTo>
                  <a:cubicBezTo>
                    <a:pt x="34" y="54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1" y="52"/>
                  </a:move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2"/>
                    <a:pt x="31" y="52"/>
                  </a:cubicBezTo>
                  <a:close/>
                  <a:moveTo>
                    <a:pt x="36" y="56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lose/>
                  <a:moveTo>
                    <a:pt x="37" y="56"/>
                  </a:moveTo>
                  <a:cubicBezTo>
                    <a:pt x="37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8" y="56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5" y="55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lose/>
                  <a:moveTo>
                    <a:pt x="29" y="53"/>
                  </a:moveTo>
                  <a:cubicBezTo>
                    <a:pt x="29" y="52"/>
                    <a:pt x="30" y="53"/>
                    <a:pt x="30" y="52"/>
                  </a:cubicBezTo>
                  <a:cubicBezTo>
                    <a:pt x="30" y="52"/>
                    <a:pt x="30" y="53"/>
                    <a:pt x="29" y="53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5" y="55"/>
                    <a:pt x="35" y="55"/>
                  </a:cubicBezTo>
                  <a:cubicBezTo>
                    <a:pt x="35" y="55"/>
                    <a:pt x="34" y="55"/>
                    <a:pt x="34" y="55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4" y="56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lose/>
                  <a:moveTo>
                    <a:pt x="29" y="54"/>
                  </a:moveTo>
                  <a:cubicBezTo>
                    <a:pt x="29" y="54"/>
                    <a:pt x="30" y="54"/>
                    <a:pt x="30" y="53"/>
                  </a:cubicBezTo>
                  <a:cubicBezTo>
                    <a:pt x="30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30" y="54"/>
                    <a:pt x="29" y="54"/>
                    <a:pt x="30" y="55"/>
                  </a:cubicBezTo>
                  <a:cubicBezTo>
                    <a:pt x="29" y="55"/>
                    <a:pt x="29" y="55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5" y="57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5" y="58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3" y="58"/>
                    <a:pt x="33" y="58"/>
                  </a:cubicBezTo>
                  <a:cubicBezTo>
                    <a:pt x="33" y="58"/>
                    <a:pt x="33" y="57"/>
                    <a:pt x="33" y="57"/>
                  </a:cubicBezTo>
                  <a:close/>
                  <a:moveTo>
                    <a:pt x="31" y="56"/>
                  </a:move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6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7"/>
                  </a:cubicBezTo>
                  <a:cubicBezTo>
                    <a:pt x="28" y="57"/>
                    <a:pt x="28" y="56"/>
                    <a:pt x="28" y="56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28" y="59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4" y="61"/>
                    <a:pt x="34" y="61"/>
                  </a:cubicBezTo>
                  <a:cubicBezTo>
                    <a:pt x="34" y="62"/>
                    <a:pt x="33" y="61"/>
                    <a:pt x="33" y="62"/>
                  </a:cubicBezTo>
                  <a:close/>
                  <a:moveTo>
                    <a:pt x="30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0" y="59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9"/>
                  </a:cubicBezTo>
                  <a:cubicBezTo>
                    <a:pt x="27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9" y="59"/>
                    <a:pt x="29" y="59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2" y="61"/>
                  </a:move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29" y="59"/>
                    <a:pt x="29" y="60"/>
                    <a:pt x="29" y="60"/>
                  </a:cubicBezTo>
                  <a:close/>
                  <a:moveTo>
                    <a:pt x="29" y="61"/>
                  </a:moveTo>
                  <a:cubicBezTo>
                    <a:pt x="29" y="61"/>
                    <a:pt x="30" y="61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lose/>
                  <a:moveTo>
                    <a:pt x="33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2" y="62"/>
                    <a:pt x="33" y="62"/>
                    <a:pt x="33" y="62"/>
                  </a:cubicBezTo>
                  <a:close/>
                  <a:moveTo>
                    <a:pt x="27" y="59"/>
                  </a:move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0"/>
                    <a:pt x="27" y="60"/>
                  </a:cubicBezTo>
                  <a:cubicBezTo>
                    <a:pt x="27" y="60"/>
                    <a:pt x="27" y="61"/>
                    <a:pt x="27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7" y="65"/>
                    <a:pt x="36" y="65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4" y="65"/>
                  </a:cubicBezTo>
                  <a:cubicBezTo>
                    <a:pt x="34" y="65"/>
                    <a:pt x="35" y="65"/>
                    <a:pt x="35" y="65"/>
                  </a:cubicBezTo>
                  <a:close/>
                  <a:moveTo>
                    <a:pt x="29" y="63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30" y="62"/>
                    <a:pt x="29" y="63"/>
                    <a:pt x="29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2"/>
                    <a:pt x="27" y="61"/>
                    <a:pt x="27" y="61"/>
                  </a:cubicBezTo>
                  <a:close/>
                  <a:moveTo>
                    <a:pt x="35" y="66"/>
                  </a:move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lose/>
                  <a:moveTo>
                    <a:pt x="26" y="63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3"/>
                  </a:move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4"/>
                    <a:pt x="26" y="64"/>
                  </a:cubicBezTo>
                  <a:cubicBezTo>
                    <a:pt x="26" y="64"/>
                    <a:pt x="26" y="63"/>
                    <a:pt x="26" y="63"/>
                  </a:cubicBezTo>
                  <a:close/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26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lose/>
                  <a:moveTo>
                    <a:pt x="30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6"/>
                    <a:pt x="30" y="66"/>
                    <a:pt x="30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3" y="72"/>
                  </a:cubicBezTo>
                  <a:cubicBezTo>
                    <a:pt x="33" y="71"/>
                    <a:pt x="34" y="70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70"/>
                    <a:pt x="34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7" y="66"/>
                    <a:pt x="27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6"/>
                    <a:pt x="27" y="66"/>
                    <a:pt x="26" y="66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6"/>
                    <a:pt x="26" y="66"/>
                  </a:cubicBezTo>
                  <a:cubicBezTo>
                    <a:pt x="26" y="67"/>
                    <a:pt x="26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6" y="67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7"/>
                  </a:cubicBezTo>
                  <a:close/>
                  <a:moveTo>
                    <a:pt x="28" y="68"/>
                  </a:moveTo>
                  <a:cubicBezTo>
                    <a:pt x="29" y="68"/>
                    <a:pt x="29" y="68"/>
                    <a:pt x="29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4" y="68"/>
                  </a:move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lose/>
                  <a:moveTo>
                    <a:pt x="26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5" y="68"/>
                    <a:pt x="24" y="68"/>
                    <a:pt x="24" y="68"/>
                  </a:cubicBezTo>
                  <a:close/>
                  <a:moveTo>
                    <a:pt x="28" y="70"/>
                  </a:moveTo>
                  <a:cubicBezTo>
                    <a:pt x="28" y="70"/>
                    <a:pt x="27" y="71"/>
                    <a:pt x="27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70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5" y="72"/>
                    <a:pt x="26" y="72"/>
                  </a:cubicBezTo>
                  <a:cubicBezTo>
                    <a:pt x="25" y="72"/>
                    <a:pt x="25" y="73"/>
                    <a:pt x="25" y="73"/>
                  </a:cubicBezTo>
                  <a:cubicBezTo>
                    <a:pt x="25" y="72"/>
                    <a:pt x="26" y="71"/>
                    <a:pt x="26" y="70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0"/>
                    <a:pt x="25" y="70"/>
                  </a:cubicBezTo>
                  <a:cubicBezTo>
                    <a:pt x="26" y="70"/>
                    <a:pt x="25" y="71"/>
                    <a:pt x="25" y="71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3" y="70"/>
                    <a:pt x="24" y="70"/>
                    <a:pt x="24" y="70"/>
                  </a:cubicBezTo>
                  <a:close/>
                  <a:moveTo>
                    <a:pt x="23" y="70"/>
                  </a:move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lose/>
                  <a:moveTo>
                    <a:pt x="28" y="72"/>
                  </a:moveTo>
                  <a:cubicBezTo>
                    <a:pt x="29" y="72"/>
                    <a:pt x="28" y="73"/>
                    <a:pt x="28" y="73"/>
                  </a:cubicBezTo>
                  <a:cubicBezTo>
                    <a:pt x="28" y="73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7" y="71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lose/>
                  <a:moveTo>
                    <a:pt x="23" y="70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4" y="71"/>
                  </a:cubicBezTo>
                  <a:cubicBezTo>
                    <a:pt x="24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3" y="73"/>
                  </a:moveTo>
                  <a:cubicBezTo>
                    <a:pt x="23" y="73"/>
                    <a:pt x="23" y="73"/>
                    <a:pt x="23" y="72"/>
                  </a:cubicBezTo>
                  <a:cubicBezTo>
                    <a:pt x="24" y="72"/>
                    <a:pt x="24" y="73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8" y="74"/>
                    <a:pt x="28" y="75"/>
                  </a:cubicBezTo>
                  <a:cubicBezTo>
                    <a:pt x="28" y="75"/>
                    <a:pt x="28" y="75"/>
                    <a:pt x="27" y="75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8" y="77"/>
                    <a:pt x="27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7" y="77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6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7" y="76"/>
                    <a:pt x="26" y="76"/>
                    <a:pt x="27" y="76"/>
                  </a:cubicBezTo>
                  <a:cubicBezTo>
                    <a:pt x="27" y="77"/>
                    <a:pt x="26" y="76"/>
                    <a:pt x="26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7"/>
                    <a:pt x="29" y="77"/>
                  </a:cubicBezTo>
                  <a:cubicBezTo>
                    <a:pt x="29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4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lose/>
                  <a:moveTo>
                    <a:pt x="20" y="74"/>
                  </a:moveTo>
                  <a:cubicBezTo>
                    <a:pt x="20" y="75"/>
                    <a:pt x="20" y="74"/>
                    <a:pt x="20" y="74"/>
                  </a:cubicBezTo>
                  <a:cubicBezTo>
                    <a:pt x="20" y="74"/>
                    <a:pt x="20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4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0" y="75"/>
                  </a:moveTo>
                  <a:cubicBezTo>
                    <a:pt x="20" y="75"/>
                    <a:pt x="20" y="75"/>
                    <a:pt x="20" y="74"/>
                  </a:cubicBezTo>
                  <a:cubicBezTo>
                    <a:pt x="20" y="75"/>
                    <a:pt x="20" y="75"/>
                    <a:pt x="20" y="75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7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4" y="78"/>
                  </a:move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7"/>
                    <a:pt x="24" y="77"/>
                  </a:cubicBezTo>
                  <a:cubicBezTo>
                    <a:pt x="24" y="77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80"/>
                    <a:pt x="27" y="79"/>
                  </a:cubicBezTo>
                  <a:close/>
                  <a:moveTo>
                    <a:pt x="28" y="80"/>
                  </a:moveTo>
                  <a:cubicBezTo>
                    <a:pt x="28" y="80"/>
                    <a:pt x="28" y="80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80"/>
                    <a:pt x="28" y="80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3" y="7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8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7" y="79"/>
                  </a:moveTo>
                  <a:cubicBezTo>
                    <a:pt x="27" y="80"/>
                    <a:pt x="26" y="79"/>
                    <a:pt x="26" y="80"/>
                  </a:cubicBezTo>
                  <a:cubicBezTo>
                    <a:pt x="26" y="79"/>
                    <a:pt x="26" y="79"/>
                    <a:pt x="27" y="79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4" y="79"/>
                    <a:pt x="24" y="79"/>
                  </a:cubicBezTo>
                  <a:cubicBezTo>
                    <a:pt x="24" y="79"/>
                    <a:pt x="23" y="79"/>
                    <a:pt x="23" y="79"/>
                  </a:cubicBezTo>
                  <a:cubicBezTo>
                    <a:pt x="23" y="79"/>
                    <a:pt x="23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4" y="78"/>
                  </a:cubicBezTo>
                  <a:cubicBezTo>
                    <a:pt x="24" y="79"/>
                    <a:pt x="24" y="79"/>
                    <a:pt x="23" y="79"/>
                  </a:cubicBezTo>
                  <a:cubicBezTo>
                    <a:pt x="24" y="79"/>
                    <a:pt x="24" y="78"/>
                    <a:pt x="24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lose/>
                  <a:moveTo>
                    <a:pt x="26" y="81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5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8" y="81"/>
                    <a:pt x="28" y="81"/>
                  </a:cubicBezTo>
                  <a:cubicBezTo>
                    <a:pt x="28" y="81"/>
                    <a:pt x="28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3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5" y="80"/>
                  </a:cubicBezTo>
                  <a:cubicBezTo>
                    <a:pt x="25" y="80"/>
                    <a:pt x="24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2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8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8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79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79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0" y="79"/>
                  </a:move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79"/>
                    <a:pt x="20" y="79"/>
                  </a:cubicBezTo>
                  <a:close/>
                  <a:moveTo>
                    <a:pt x="25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5" y="82"/>
                  </a:cubicBezTo>
                  <a:cubicBezTo>
                    <a:pt x="26" y="82"/>
                    <a:pt x="25" y="82"/>
                    <a:pt x="25" y="82"/>
                  </a:cubicBezTo>
                  <a:close/>
                  <a:moveTo>
                    <a:pt x="27" y="83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lnTo>
                    <a:pt x="27" y="83"/>
                  </a:lnTo>
                  <a:close/>
                  <a:moveTo>
                    <a:pt x="27" y="82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close/>
                  <a:moveTo>
                    <a:pt x="25" y="82"/>
                  </a:move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2"/>
                  </a:moveTo>
                  <a:cubicBezTo>
                    <a:pt x="21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lose/>
                  <a:moveTo>
                    <a:pt x="23" y="83"/>
                  </a:move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lose/>
                  <a:moveTo>
                    <a:pt x="18" y="81"/>
                  </a:move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21" y="83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21" y="83"/>
                    <a:pt x="21" y="83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1" y="83"/>
                    <a:pt x="20" y="83"/>
                    <a:pt x="21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3"/>
                  </a:moveTo>
                  <a:cubicBezTo>
                    <a:pt x="17" y="82"/>
                    <a:pt x="17" y="82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21" y="84"/>
                  </a:moveTo>
                  <a:cubicBezTo>
                    <a:pt x="21" y="84"/>
                    <a:pt x="21" y="84"/>
                    <a:pt x="21" y="84"/>
                  </a:cubicBezTo>
                  <a:cubicBezTo>
                    <a:pt x="20" y="84"/>
                    <a:pt x="21" y="84"/>
                    <a:pt x="21" y="84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4"/>
                    <a:pt x="20" y="84"/>
                  </a:cubicBezTo>
                  <a:cubicBezTo>
                    <a:pt x="20" y="84"/>
                    <a:pt x="20" y="83"/>
                    <a:pt x="20" y="83"/>
                  </a:cubicBezTo>
                  <a:close/>
                  <a:moveTo>
                    <a:pt x="20" y="84"/>
                  </a:moveTo>
                  <a:cubicBezTo>
                    <a:pt x="20" y="84"/>
                    <a:pt x="20" y="84"/>
                    <a:pt x="20" y="84"/>
                  </a:cubicBezTo>
                  <a:close/>
                  <a:moveTo>
                    <a:pt x="16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3"/>
                    <a:pt x="16" y="82"/>
                  </a:cubicBezTo>
                  <a:close/>
                  <a:moveTo>
                    <a:pt x="22" y="86"/>
                  </a:moveTo>
                  <a:cubicBezTo>
                    <a:pt x="21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6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17" y="85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6"/>
                    <a:pt x="17" y="85"/>
                  </a:cubicBezTo>
                  <a:close/>
                  <a:moveTo>
                    <a:pt x="19" y="86"/>
                  </a:moveTo>
                  <a:cubicBezTo>
                    <a:pt x="18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3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3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lose/>
                  <a:moveTo>
                    <a:pt x="17" y="87"/>
                  </a:move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6" y="90"/>
                  </a:moveTo>
                  <a:cubicBezTo>
                    <a:pt x="16" y="90"/>
                    <a:pt x="16" y="90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lose/>
                  <a:moveTo>
                    <a:pt x="18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lose/>
                  <a:moveTo>
                    <a:pt x="14" y="95"/>
                  </a:moveTo>
                  <a:cubicBezTo>
                    <a:pt x="15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lose/>
                  <a:moveTo>
                    <a:pt x="18" y="98"/>
                  </a:moveTo>
                  <a:cubicBezTo>
                    <a:pt x="18" y="97"/>
                    <a:pt x="18" y="98"/>
                    <a:pt x="17" y="98"/>
                  </a:cubicBezTo>
                  <a:cubicBezTo>
                    <a:pt x="18" y="98"/>
                    <a:pt x="17" y="98"/>
                    <a:pt x="17" y="97"/>
                  </a:cubicBezTo>
                  <a:cubicBezTo>
                    <a:pt x="18" y="97"/>
                    <a:pt x="18" y="98"/>
                    <a:pt x="18" y="97"/>
                  </a:cubicBezTo>
                  <a:cubicBezTo>
                    <a:pt x="18" y="97"/>
                    <a:pt x="18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6" y="103"/>
                  </a:cubicBezTo>
                  <a:cubicBezTo>
                    <a:pt x="16" y="102"/>
                    <a:pt x="17" y="102"/>
                    <a:pt x="17" y="102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3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3" y="104"/>
                    <a:pt x="13" y="103"/>
                  </a:cubicBezTo>
                  <a:cubicBezTo>
                    <a:pt x="13" y="104"/>
                    <a:pt x="13" y="104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7"/>
                  </a:cubicBezTo>
                  <a:cubicBezTo>
                    <a:pt x="14" y="106"/>
                    <a:pt x="15" y="106"/>
                    <a:pt x="15" y="105"/>
                  </a:cubicBezTo>
                  <a:cubicBezTo>
                    <a:pt x="15" y="106"/>
                    <a:pt x="15" y="106"/>
                    <a:pt x="14" y="107"/>
                  </a:cubicBezTo>
                  <a:close/>
                  <a:moveTo>
                    <a:pt x="12" y="105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lose/>
                  <a:moveTo>
                    <a:pt x="14" y="107"/>
                  </a:moveTo>
                  <a:cubicBezTo>
                    <a:pt x="14" y="108"/>
                    <a:pt x="14" y="108"/>
                    <a:pt x="14" y="108"/>
                  </a:cubicBezTo>
                  <a:cubicBezTo>
                    <a:pt x="13" y="108"/>
                    <a:pt x="14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09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1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1"/>
                    <a:pt x="12" y="111"/>
                  </a:cubicBezTo>
                  <a:cubicBezTo>
                    <a:pt x="11" y="111"/>
                    <a:pt x="12" y="110"/>
                    <a:pt x="12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1" y="111"/>
                    <a:pt x="11" y="110"/>
                  </a:cubicBezTo>
                  <a:cubicBezTo>
                    <a:pt x="11" y="111"/>
                    <a:pt x="11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7" y="110"/>
                    <a:pt x="7" y="110"/>
                    <a:pt x="6" y="110"/>
                  </a:cubicBezTo>
                  <a:close/>
                  <a:moveTo>
                    <a:pt x="6" y="111"/>
                  </a:move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10" y="115"/>
                    <a:pt x="9" y="116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9" y="117"/>
                    <a:pt x="10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1" y="115"/>
                    <a:pt x="11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8" y="114"/>
                    <a:pt x="8" y="114"/>
                    <a:pt x="9" y="114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5"/>
                    <a:pt x="11" y="115"/>
                  </a:cubicBezTo>
                  <a:cubicBezTo>
                    <a:pt x="11" y="115"/>
                    <a:pt x="11" y="116"/>
                    <a:pt x="11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0" y="117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1" y="116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9" y="115"/>
                    <a:pt x="8" y="115"/>
                    <a:pt x="8" y="115"/>
                  </a:cubicBezTo>
                  <a:close/>
                  <a:moveTo>
                    <a:pt x="4" y="114"/>
                  </a:moveTo>
                  <a:cubicBezTo>
                    <a:pt x="4" y="114"/>
                    <a:pt x="3" y="114"/>
                    <a:pt x="3" y="114"/>
                  </a:cubicBezTo>
                  <a:cubicBezTo>
                    <a:pt x="3" y="114"/>
                    <a:pt x="3" y="114"/>
                    <a:pt x="4" y="114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6"/>
                    <a:pt x="7" y="116"/>
                  </a:cubicBezTo>
                  <a:cubicBezTo>
                    <a:pt x="8" y="116"/>
                    <a:pt x="7" y="116"/>
                    <a:pt x="7" y="117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lose/>
                  <a:moveTo>
                    <a:pt x="7" y="117"/>
                  </a:move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8"/>
                  </a:cubicBezTo>
                  <a:cubicBezTo>
                    <a:pt x="7" y="117"/>
                    <a:pt x="7" y="118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10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3" y="116"/>
                    <a:pt x="3" y="115"/>
                  </a:cubicBezTo>
                  <a:cubicBezTo>
                    <a:pt x="3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9" y="120"/>
                    <a:pt x="9" y="120"/>
                  </a:cubicBezTo>
                  <a:cubicBezTo>
                    <a:pt x="9" y="119"/>
                    <a:pt x="9" y="119"/>
                    <a:pt x="9" y="119"/>
                  </a:cubicBezTo>
                  <a:close/>
                  <a:moveTo>
                    <a:pt x="8" y="118"/>
                  </a:moveTo>
                  <a:cubicBezTo>
                    <a:pt x="8" y="118"/>
                    <a:pt x="8" y="119"/>
                    <a:pt x="8" y="119"/>
                  </a:cubicBezTo>
                  <a:cubicBezTo>
                    <a:pt x="8" y="119"/>
                    <a:pt x="8" y="119"/>
                    <a:pt x="8" y="118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7"/>
                    <a:pt x="2" y="117"/>
                  </a:cubicBezTo>
                  <a:cubicBezTo>
                    <a:pt x="2" y="117"/>
                    <a:pt x="2" y="116"/>
                    <a:pt x="3" y="116"/>
                  </a:cubicBezTo>
                  <a:close/>
                  <a:moveTo>
                    <a:pt x="5" y="118"/>
                  </a:moveTo>
                  <a:cubicBezTo>
                    <a:pt x="5" y="118"/>
                    <a:pt x="5" y="118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9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9" y="120"/>
                    <a:pt x="9" y="120"/>
                  </a:cubicBezTo>
                  <a:cubicBezTo>
                    <a:pt x="9" y="120"/>
                    <a:pt x="9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5" y="118"/>
                  </a:cubicBezTo>
                  <a:cubicBezTo>
                    <a:pt x="5" y="118"/>
                    <a:pt x="4" y="118"/>
                    <a:pt x="4" y="119"/>
                  </a:cubicBezTo>
                  <a:close/>
                  <a:moveTo>
                    <a:pt x="2" y="117"/>
                  </a:moveTo>
                  <a:cubicBezTo>
                    <a:pt x="2" y="117"/>
                    <a:pt x="2" y="117"/>
                    <a:pt x="2" y="117"/>
                  </a:cubicBezTo>
                  <a:cubicBezTo>
                    <a:pt x="2" y="117"/>
                    <a:pt x="2" y="117"/>
                    <a:pt x="2" y="117"/>
                  </a:cubicBezTo>
                  <a:close/>
                  <a:moveTo>
                    <a:pt x="8" y="122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6" y="120"/>
                  </a:moveTo>
                  <a:cubicBezTo>
                    <a:pt x="5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0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3" y="121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4" y="120"/>
                    <a:pt x="4" y="120"/>
                  </a:cubicBezTo>
                  <a:cubicBezTo>
                    <a:pt x="3" y="120"/>
                    <a:pt x="3" y="120"/>
                    <a:pt x="3" y="121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7" y="123"/>
                  </a:move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3"/>
                    <a:pt x="7" y="122"/>
                  </a:cubicBezTo>
                  <a:cubicBezTo>
                    <a:pt x="7" y="122"/>
                    <a:pt x="7" y="123"/>
                    <a:pt x="7" y="123"/>
                  </a:cubicBezTo>
                  <a:close/>
                  <a:moveTo>
                    <a:pt x="5" y="123"/>
                  </a:moveTo>
                  <a:cubicBezTo>
                    <a:pt x="5" y="123"/>
                    <a:pt x="6" y="123"/>
                    <a:pt x="6" y="123"/>
                  </a:cubicBezTo>
                  <a:cubicBezTo>
                    <a:pt x="6" y="123"/>
                    <a:pt x="5" y="123"/>
                    <a:pt x="5" y="123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63" y="17"/>
                  </a:moveTo>
                  <a:cubicBezTo>
                    <a:pt x="63" y="18"/>
                    <a:pt x="63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9"/>
                  </a:cubicBezTo>
                  <a:cubicBezTo>
                    <a:pt x="62" y="19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1" y="21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8" y="24"/>
                    <a:pt x="59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6" y="25"/>
                    <a:pt x="57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9"/>
                    <a:pt x="54" y="30"/>
                    <a:pt x="53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4" y="29"/>
                    <a:pt x="53" y="30"/>
                    <a:pt x="54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3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2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0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1" y="34"/>
                    <a:pt x="51" y="33"/>
                    <a:pt x="51" y="33"/>
                  </a:cubicBezTo>
                  <a:cubicBezTo>
                    <a:pt x="51" y="34"/>
                    <a:pt x="51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7"/>
                    <a:pt x="49" y="36"/>
                    <a:pt x="50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8" y="37"/>
                    <a:pt x="49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6" y="41"/>
                  </a:cubicBezTo>
                  <a:cubicBezTo>
                    <a:pt x="46" y="42"/>
                    <a:pt x="47" y="41"/>
                    <a:pt x="47" y="42"/>
                  </a:cubicBezTo>
                  <a:cubicBezTo>
                    <a:pt x="46" y="42"/>
                    <a:pt x="46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6" y="41"/>
                    <a:pt x="46" y="40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8" y="39"/>
                    <a:pt x="47" y="39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8" y="39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6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7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ubicBezTo>
                    <a:pt x="48" y="36"/>
                    <a:pt x="47" y="37"/>
                    <a:pt x="47" y="37"/>
                  </a:cubicBezTo>
                  <a:cubicBezTo>
                    <a:pt x="48" y="37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6"/>
                    <a:pt x="48" y="36"/>
                    <a:pt x="48" y="37"/>
                  </a:cubicBezTo>
                  <a:cubicBezTo>
                    <a:pt x="48" y="37"/>
                    <a:pt x="49" y="36"/>
                    <a:pt x="49" y="36"/>
                  </a:cubicBezTo>
                  <a:cubicBezTo>
                    <a:pt x="49" y="36"/>
                    <a:pt x="49" y="36"/>
                    <a:pt x="4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5"/>
                  </a:cubicBezTo>
                  <a:cubicBezTo>
                    <a:pt x="50" y="34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1" y="32"/>
                  </a:cubicBezTo>
                  <a:cubicBezTo>
                    <a:pt x="51" y="32"/>
                    <a:pt x="51" y="32"/>
                    <a:pt x="50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2"/>
                  </a:cubicBezTo>
                  <a:cubicBezTo>
                    <a:pt x="50" y="31"/>
                    <a:pt x="50" y="32"/>
                    <a:pt x="50" y="31"/>
                  </a:cubicBezTo>
                  <a:cubicBezTo>
                    <a:pt x="50" y="31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8" y="33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9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8" y="32"/>
                    <a:pt x="49" y="32"/>
                  </a:cubicBezTo>
                  <a:cubicBezTo>
                    <a:pt x="48" y="32"/>
                    <a:pt x="48" y="32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3"/>
                  </a:cubicBezTo>
                  <a:cubicBezTo>
                    <a:pt x="47" y="34"/>
                    <a:pt x="47" y="33"/>
                    <a:pt x="47" y="34"/>
                  </a:cubicBezTo>
                  <a:cubicBezTo>
                    <a:pt x="47" y="33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6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6" y="35"/>
                    <a:pt x="46" y="35"/>
                    <a:pt x="47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8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6"/>
                  </a:cubicBezTo>
                  <a:cubicBezTo>
                    <a:pt x="47" y="35"/>
                    <a:pt x="47" y="36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6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6" y="36"/>
                    <a:pt x="46" y="36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5" y="39"/>
                    <a:pt x="44" y="39"/>
                  </a:cubicBezTo>
                  <a:cubicBezTo>
                    <a:pt x="45" y="39"/>
                    <a:pt x="44" y="40"/>
                    <a:pt x="45" y="40"/>
                  </a:cubicBezTo>
                  <a:cubicBezTo>
                    <a:pt x="44" y="40"/>
                    <a:pt x="45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4" y="39"/>
                    <a:pt x="44" y="39"/>
                  </a:cubicBezTo>
                  <a:cubicBezTo>
                    <a:pt x="45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7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5" y="36"/>
                    <a:pt x="46" y="35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6" y="35"/>
                    <a:pt x="46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3"/>
                    <a:pt x="46" y="34"/>
                  </a:cubicBezTo>
                  <a:cubicBezTo>
                    <a:pt x="46" y="34"/>
                    <a:pt x="46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29"/>
                    <a:pt x="49" y="30"/>
                  </a:cubicBezTo>
                  <a:cubicBezTo>
                    <a:pt x="49" y="29"/>
                    <a:pt x="48" y="29"/>
                    <a:pt x="49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29"/>
                    <a:pt x="48" y="30"/>
                    <a:pt x="48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9"/>
                    <a:pt x="48" y="29"/>
                  </a:cubicBezTo>
                  <a:cubicBezTo>
                    <a:pt x="48" y="28"/>
                    <a:pt x="49" y="28"/>
                    <a:pt x="49" y="28"/>
                  </a:cubicBezTo>
                  <a:cubicBezTo>
                    <a:pt x="48" y="28"/>
                    <a:pt x="48" y="29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7" y="28"/>
                    <a:pt x="48" y="27"/>
                    <a:pt x="48" y="27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8" y="27"/>
                  </a:cubicBezTo>
                  <a:cubicBezTo>
                    <a:pt x="49" y="27"/>
                    <a:pt x="48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7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5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7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7"/>
                    <a:pt x="47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8"/>
                    <a:pt x="46" y="29"/>
                  </a:cubicBezTo>
                  <a:cubicBezTo>
                    <a:pt x="46" y="29"/>
                    <a:pt x="47" y="29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6" y="29"/>
                    <a:pt x="46" y="30"/>
                  </a:cubicBezTo>
                  <a:cubicBezTo>
                    <a:pt x="46" y="30"/>
                    <a:pt x="46" y="29"/>
                    <a:pt x="46" y="29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3"/>
                    <a:pt x="44" y="32"/>
                    <a:pt x="44" y="33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5" y="27"/>
                    <a:pt x="46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5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5" y="25"/>
                  </a:cubicBezTo>
                  <a:cubicBezTo>
                    <a:pt x="45" y="25"/>
                    <a:pt x="45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3"/>
                    <a:pt x="45" y="24"/>
                    <a:pt x="45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3"/>
                    <a:pt x="45" y="23"/>
                    <a:pt x="45" y="23"/>
                  </a:cubicBezTo>
                  <a:cubicBezTo>
                    <a:pt x="46" y="24"/>
                    <a:pt x="45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5" y="23"/>
                    <a:pt x="45" y="22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6" y="21"/>
                    <a:pt x="46" y="22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7" y="20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19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19"/>
                  </a:cubicBezTo>
                  <a:cubicBezTo>
                    <a:pt x="45" y="19"/>
                    <a:pt x="45" y="19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6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4"/>
                    <a:pt x="47" y="14"/>
                  </a:cubicBezTo>
                  <a:cubicBezTo>
                    <a:pt x="47" y="14"/>
                    <a:pt x="47" y="13"/>
                    <a:pt x="47" y="13"/>
                  </a:cubicBezTo>
                  <a:cubicBezTo>
                    <a:pt x="47" y="13"/>
                    <a:pt x="48" y="13"/>
                    <a:pt x="48" y="13"/>
                  </a:cubicBezTo>
                  <a:cubicBezTo>
                    <a:pt x="48" y="13"/>
                    <a:pt x="48" y="12"/>
                    <a:pt x="48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1"/>
                  </a:cubicBezTo>
                  <a:cubicBezTo>
                    <a:pt x="48" y="12"/>
                    <a:pt x="49" y="11"/>
                    <a:pt x="49" y="11"/>
                  </a:cubicBezTo>
                  <a:cubicBezTo>
                    <a:pt x="49" y="11"/>
                    <a:pt x="49" y="11"/>
                    <a:pt x="49" y="12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1" y="8"/>
                    <a:pt x="51" y="8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2" y="7"/>
                    <a:pt x="52" y="7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5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1"/>
                    <a:pt x="55" y="1"/>
                  </a:cubicBezTo>
                  <a:cubicBezTo>
                    <a:pt x="57" y="1"/>
                    <a:pt x="58" y="0"/>
                    <a:pt x="60" y="1"/>
                  </a:cubicBezTo>
                  <a:cubicBezTo>
                    <a:pt x="60" y="1"/>
                    <a:pt x="60" y="1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3" y="1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4" y="2"/>
                    <a:pt x="64" y="3"/>
                    <a:pt x="64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5" y="4"/>
                    <a:pt x="65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5" y="6"/>
                  </a:cubicBezTo>
                  <a:cubicBezTo>
                    <a:pt x="66" y="7"/>
                    <a:pt x="65" y="7"/>
                    <a:pt x="66" y="7"/>
                  </a:cubicBezTo>
                  <a:cubicBezTo>
                    <a:pt x="65" y="8"/>
                    <a:pt x="66" y="9"/>
                    <a:pt x="65" y="10"/>
                  </a:cubicBezTo>
                  <a:cubicBezTo>
                    <a:pt x="66" y="10"/>
                    <a:pt x="65" y="10"/>
                    <a:pt x="65" y="11"/>
                  </a:cubicBezTo>
                  <a:cubicBezTo>
                    <a:pt x="65" y="11"/>
                    <a:pt x="65" y="11"/>
                    <a:pt x="65" y="12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4" y="13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5"/>
                    <a:pt x="64" y="16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8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8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8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8" y="18"/>
                    <a:pt x="48" y="18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21"/>
                  </a:moveTo>
                  <a:cubicBezTo>
                    <a:pt x="47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lose/>
                  <a:moveTo>
                    <a:pt x="46" y="22"/>
                  </a:moveTo>
                  <a:cubicBezTo>
                    <a:pt x="47" y="22"/>
                    <a:pt x="47" y="21"/>
                    <a:pt x="47" y="21"/>
                  </a:cubicBezTo>
                  <a:cubicBezTo>
                    <a:pt x="47" y="22"/>
                    <a:pt x="46" y="21"/>
                    <a:pt x="46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7" y="23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lose/>
                  <a:moveTo>
                    <a:pt x="47" y="24"/>
                  </a:move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6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7" y="25"/>
                  </a:cubicBezTo>
                  <a:cubicBezTo>
                    <a:pt x="47" y="26"/>
                    <a:pt x="46" y="25"/>
                    <a:pt x="46" y="26"/>
                  </a:cubicBezTo>
                  <a:cubicBezTo>
                    <a:pt x="46" y="26"/>
                    <a:pt x="46" y="26"/>
                    <a:pt x="47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9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5"/>
                    <a:pt x="48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50" y="24"/>
                  </a:moveTo>
                  <a:cubicBezTo>
                    <a:pt x="50" y="25"/>
                    <a:pt x="50" y="24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5"/>
                    <a:pt x="50" y="25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5"/>
                  </a:cubicBezTo>
                  <a:cubicBezTo>
                    <a:pt x="49" y="25"/>
                    <a:pt x="49" y="25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3"/>
                  </a:moveTo>
                  <a:cubicBezTo>
                    <a:pt x="50" y="22"/>
                    <a:pt x="50" y="23"/>
                    <a:pt x="50" y="23"/>
                  </a:cubicBezTo>
                  <a:cubicBezTo>
                    <a:pt x="50" y="23"/>
                    <a:pt x="50" y="22"/>
                    <a:pt x="50" y="22"/>
                  </a:cubicBezTo>
                  <a:cubicBezTo>
                    <a:pt x="50" y="22"/>
                    <a:pt x="50" y="22"/>
                    <a:pt x="50" y="23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6"/>
                  </a:cubicBezTo>
                  <a:cubicBezTo>
                    <a:pt x="48" y="26"/>
                    <a:pt x="48" y="25"/>
                    <a:pt x="49" y="25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5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1" y="23"/>
                  </a:move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lose/>
                  <a:moveTo>
                    <a:pt x="49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7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39"/>
                  </a:move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6"/>
                  </a:cubicBezTo>
                  <a:cubicBezTo>
                    <a:pt x="46" y="36"/>
                    <a:pt x="46" y="37"/>
                    <a:pt x="46" y="37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4"/>
                    <a:pt x="46" y="3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50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50" y="28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0"/>
                    <a:pt x="48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8" y="32"/>
                    <a:pt x="47" y="32"/>
                  </a:cubicBezTo>
                  <a:close/>
                  <a:moveTo>
                    <a:pt x="48" y="33"/>
                  </a:moveTo>
                  <a:cubicBezTo>
                    <a:pt x="48" y="32"/>
                    <a:pt x="48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8" y="32"/>
                    <a:pt x="48" y="33"/>
                  </a:cubicBezTo>
                  <a:close/>
                  <a:moveTo>
                    <a:pt x="48" y="32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lose/>
                  <a:moveTo>
                    <a:pt x="50" y="30"/>
                  </a:moveTo>
                  <a:cubicBezTo>
                    <a:pt x="50" y="30"/>
                    <a:pt x="49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50" y="30"/>
                  </a:moveTo>
                  <a:cubicBezTo>
                    <a:pt x="50" y="29"/>
                    <a:pt x="50" y="30"/>
                    <a:pt x="50" y="29"/>
                  </a:cubicBezTo>
                  <a:cubicBezTo>
                    <a:pt x="50" y="29"/>
                    <a:pt x="50" y="30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0"/>
                    <a:pt x="50" y="30"/>
                    <a:pt x="50" y="31"/>
                  </a:cubicBez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7"/>
                  </a:move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6"/>
                    <a:pt x="54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lose/>
                  <a:moveTo>
                    <a:pt x="52" y="27"/>
                  </a:moveTo>
                  <a:cubicBezTo>
                    <a:pt x="53" y="27"/>
                    <a:pt x="52" y="27"/>
                    <a:pt x="52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lose/>
                  <a:moveTo>
                    <a:pt x="51" y="30"/>
                  </a:moveTo>
                  <a:cubicBezTo>
                    <a:pt x="51" y="29"/>
                    <a:pt x="52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lose/>
                  <a:moveTo>
                    <a:pt x="50" y="31"/>
                  </a:moveTo>
                  <a:cubicBezTo>
                    <a:pt x="51" y="31"/>
                    <a:pt x="51" y="30"/>
                    <a:pt x="51" y="30"/>
                  </a:cubicBezTo>
                  <a:cubicBezTo>
                    <a:pt x="51" y="30"/>
                    <a:pt x="50" y="30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1" y="2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2" y="30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4" y="25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5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3" y="26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4" y="26"/>
                    <a:pt x="54" y="27"/>
                    <a:pt x="54" y="26"/>
                  </a:cubicBezTo>
                  <a:close/>
                  <a:moveTo>
                    <a:pt x="47" y="38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lose/>
                  <a:moveTo>
                    <a:pt x="50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9" y="36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6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0" y="34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2" y="29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2" y="30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2" y="30"/>
                    <a:pt x="52" y="30"/>
                  </a:cubicBezTo>
                  <a:cubicBezTo>
                    <a:pt x="52" y="30"/>
                    <a:pt x="52" y="30"/>
                    <a:pt x="53" y="30"/>
                  </a:cubicBezTo>
                  <a:cubicBezTo>
                    <a:pt x="52" y="30"/>
                    <a:pt x="53" y="30"/>
                    <a:pt x="53" y="30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8"/>
                    <a:pt x="54" y="28"/>
                  </a:cubicBezTo>
                  <a:cubicBezTo>
                    <a:pt x="54" y="28"/>
                    <a:pt x="54" y="27"/>
                    <a:pt x="54" y="27"/>
                  </a:cubicBezTo>
                  <a:cubicBezTo>
                    <a:pt x="54" y="27"/>
                    <a:pt x="53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3" y="28"/>
                    <a:pt x="53" y="29"/>
                  </a:cubicBezTo>
                  <a:cubicBezTo>
                    <a:pt x="53" y="29"/>
                    <a:pt x="53" y="28"/>
                    <a:pt x="54" y="28"/>
                  </a:cubicBezTo>
                  <a:cubicBezTo>
                    <a:pt x="54" y="28"/>
                    <a:pt x="53" y="28"/>
                    <a:pt x="54" y="28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56" y="26"/>
                  </a:moveTo>
                  <a:cubicBezTo>
                    <a:pt x="56" y="27"/>
                    <a:pt x="55" y="26"/>
                    <a:pt x="56" y="27"/>
                  </a:cubicBezTo>
                  <a:cubicBezTo>
                    <a:pt x="56" y="27"/>
                    <a:pt x="56" y="26"/>
                    <a:pt x="56" y="26"/>
                  </a:cubicBezTo>
                  <a:close/>
                  <a:moveTo>
                    <a:pt x="59" y="23"/>
                  </a:moveTo>
                  <a:cubicBezTo>
                    <a:pt x="58" y="23"/>
                    <a:pt x="59" y="23"/>
                    <a:pt x="59" y="23"/>
                  </a:cubicBezTo>
                  <a:cubicBezTo>
                    <a:pt x="59" y="23"/>
                    <a:pt x="58" y="23"/>
                    <a:pt x="58" y="23"/>
                  </a:cubicBezTo>
                  <a:cubicBezTo>
                    <a:pt x="58" y="23"/>
                    <a:pt x="58" y="24"/>
                    <a:pt x="59" y="23"/>
                  </a:cubicBezTo>
                  <a:close/>
                  <a:moveTo>
                    <a:pt x="60" y="22"/>
                  </a:moveTo>
                  <a:cubicBezTo>
                    <a:pt x="60" y="22"/>
                    <a:pt x="60" y="22"/>
                    <a:pt x="60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60" y="22"/>
                  </a:cubicBezTo>
                  <a:cubicBezTo>
                    <a:pt x="60" y="22"/>
                    <a:pt x="59" y="22"/>
                    <a:pt x="60" y="22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65" y="4"/>
                  </a:moveTo>
                  <a:cubicBezTo>
                    <a:pt x="65" y="4"/>
                    <a:pt x="65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5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lose/>
                  <a:moveTo>
                    <a:pt x="46" y="27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28"/>
                    <a:pt x="44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4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30"/>
                    <a:pt x="43" y="30"/>
                  </a:cubicBezTo>
                  <a:cubicBezTo>
                    <a:pt x="43" y="30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30"/>
                  </a:cubicBezTo>
                  <a:cubicBezTo>
                    <a:pt x="44" y="30"/>
                    <a:pt x="44" y="30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2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7" y="30"/>
                    <a:pt x="46" y="31"/>
                    <a:pt x="47" y="31"/>
                  </a:cubicBezTo>
                  <a:cubicBezTo>
                    <a:pt x="47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1"/>
                    <a:pt x="47" y="31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4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9" y="34"/>
                    <a:pt x="49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9" y="34"/>
                    <a:pt x="49" y="33"/>
                  </a:cubicBezTo>
                  <a:cubicBezTo>
                    <a:pt x="49" y="34"/>
                    <a:pt x="49" y="33"/>
                    <a:pt x="49" y="34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8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1"/>
                    <a:pt x="46" y="31"/>
                  </a:cubicBezTo>
                  <a:close/>
                  <a:moveTo>
                    <a:pt x="44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3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0"/>
                    <a:pt x="43" y="31"/>
                    <a:pt x="43" y="30"/>
                  </a:cubicBezTo>
                  <a:cubicBezTo>
                    <a:pt x="44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9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5"/>
                  </a:cubicBezTo>
                  <a:cubicBezTo>
                    <a:pt x="47" y="35"/>
                    <a:pt x="48" y="34"/>
                    <a:pt x="47" y="35"/>
                  </a:cubicBezTo>
                  <a:cubicBezTo>
                    <a:pt x="47" y="34"/>
                    <a:pt x="48" y="34"/>
                    <a:pt x="47" y="34"/>
                  </a:cubicBezTo>
                  <a:close/>
                  <a:moveTo>
                    <a:pt x="41" y="30"/>
                  </a:moveTo>
                  <a:cubicBezTo>
                    <a:pt x="40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4"/>
                    <a:pt x="43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3" y="37"/>
                    <a:pt x="43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40" y="38"/>
                    <a:pt x="39" y="38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1" y="38"/>
                    <a:pt x="41" y="38"/>
                    <a:pt x="41" y="37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0" y="37"/>
                  </a:moveTo>
                  <a:cubicBezTo>
                    <a:pt x="41" y="37"/>
                    <a:pt x="40" y="37"/>
                    <a:pt x="41" y="38"/>
                  </a:cubicBezTo>
                  <a:cubicBezTo>
                    <a:pt x="40" y="38"/>
                    <a:pt x="40" y="37"/>
                    <a:pt x="40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39"/>
                    <a:pt x="42" y="39"/>
                    <a:pt x="41" y="38"/>
                  </a:cubicBezTo>
                  <a:cubicBezTo>
                    <a:pt x="41" y="38"/>
                    <a:pt x="42" y="38"/>
                    <a:pt x="42" y="38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7" y="42"/>
                  </a:moveTo>
                  <a:cubicBezTo>
                    <a:pt x="47" y="43"/>
                    <a:pt x="47" y="42"/>
                    <a:pt x="47" y="42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2"/>
                  </a:cubicBezTo>
                  <a:close/>
                  <a:moveTo>
                    <a:pt x="45" y="42"/>
                  </a:moveTo>
                  <a:cubicBezTo>
                    <a:pt x="45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4" y="43"/>
                  </a:cubicBezTo>
                  <a:cubicBezTo>
                    <a:pt x="44" y="43"/>
                    <a:pt x="45" y="42"/>
                    <a:pt x="45" y="42"/>
                  </a:cubicBezTo>
                  <a:close/>
                  <a:moveTo>
                    <a:pt x="40" y="4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7"/>
                    <a:pt x="43" y="46"/>
                    <a:pt x="43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5"/>
                    <a:pt x="44" y="45"/>
                    <a:pt x="43" y="46"/>
                  </a:cubicBezTo>
                  <a:cubicBezTo>
                    <a:pt x="43" y="46"/>
                    <a:pt x="44" y="46"/>
                    <a:pt x="43" y="46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5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6" y="46"/>
                    <a:pt x="46" y="46"/>
                  </a:cubicBezTo>
                  <a:cubicBezTo>
                    <a:pt x="46" y="46"/>
                    <a:pt x="45" y="46"/>
                    <a:pt x="45" y="46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5" y="45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6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7"/>
                  </a:moveTo>
                  <a:cubicBezTo>
                    <a:pt x="45" y="46"/>
                    <a:pt x="45" y="46"/>
                    <a:pt x="45" y="47"/>
                  </a:cubicBezTo>
                  <a:cubicBezTo>
                    <a:pt x="44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7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2" y="45"/>
                  </a:cubicBezTo>
                  <a:cubicBezTo>
                    <a:pt x="41" y="45"/>
                    <a:pt x="42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0" y="46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2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7"/>
                    <a:pt x="41" y="47"/>
                  </a:cubicBezTo>
                  <a:cubicBezTo>
                    <a:pt x="41" y="47"/>
                    <a:pt x="42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6"/>
                    <a:pt x="42" y="46"/>
                  </a:cubicBezTo>
                  <a:cubicBezTo>
                    <a:pt x="42" y="46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6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8"/>
                  </a:cubicBezTo>
                  <a:cubicBezTo>
                    <a:pt x="43" y="48"/>
                    <a:pt x="43" y="48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1"/>
                    <a:pt x="43" y="51"/>
                  </a:cubicBezTo>
                  <a:cubicBezTo>
                    <a:pt x="43" y="51"/>
                    <a:pt x="43" y="51"/>
                    <a:pt x="43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3"/>
                    <a:pt x="42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5"/>
                    <a:pt x="39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0" y="54"/>
                    <a:pt x="39" y="54"/>
                    <a:pt x="40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40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1"/>
                  </a:cubicBezTo>
                  <a:cubicBezTo>
                    <a:pt x="40" y="52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1" y="51"/>
                    <a:pt x="40" y="51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1"/>
                    <a:pt x="40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40" y="51"/>
                    <a:pt x="40" y="50"/>
                  </a:cubicBezTo>
                  <a:cubicBezTo>
                    <a:pt x="40" y="49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39" y="50"/>
                  </a:cubicBezTo>
                  <a:cubicBezTo>
                    <a:pt x="40" y="50"/>
                    <a:pt x="39" y="49"/>
                    <a:pt x="40" y="49"/>
                  </a:cubicBezTo>
                  <a:cubicBezTo>
                    <a:pt x="40" y="49"/>
                    <a:pt x="40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8" y="51"/>
                    <a:pt x="39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9"/>
                    <a:pt x="39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7" y="49"/>
                  </a:cubicBezTo>
                  <a:cubicBezTo>
                    <a:pt x="37" y="48"/>
                    <a:pt x="38" y="48"/>
                    <a:pt x="38" y="48"/>
                  </a:cubicBezTo>
                  <a:cubicBezTo>
                    <a:pt x="38" y="48"/>
                    <a:pt x="37" y="48"/>
                    <a:pt x="37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8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7"/>
                  </a:cubicBezTo>
                  <a:close/>
                  <a:moveTo>
                    <a:pt x="39" y="48"/>
                  </a:moveTo>
                  <a:cubicBezTo>
                    <a:pt x="39" y="48"/>
                    <a:pt x="38" y="48"/>
                    <a:pt x="38" y="48"/>
                  </a:cubicBezTo>
                  <a:cubicBezTo>
                    <a:pt x="39" y="48"/>
                    <a:pt x="39" y="48"/>
                    <a:pt x="39" y="48"/>
                  </a:cubicBezTo>
                  <a:close/>
                  <a:moveTo>
                    <a:pt x="40" y="49"/>
                  </a:moveTo>
                  <a:cubicBezTo>
                    <a:pt x="40" y="48"/>
                    <a:pt x="40" y="49"/>
                    <a:pt x="40" y="48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40" y="53"/>
                  </a:moveTo>
                  <a:cubicBezTo>
                    <a:pt x="40" y="54"/>
                    <a:pt x="39" y="54"/>
                    <a:pt x="39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3"/>
                  </a:cubicBezTo>
                  <a:close/>
                  <a:moveTo>
                    <a:pt x="43" y="50"/>
                  </a:move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1" y="53"/>
                    <a:pt x="41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2"/>
                    <a:pt x="41" y="51"/>
                    <a:pt x="41" y="52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49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1"/>
                  </a:move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50"/>
                    <a:pt x="41" y="50"/>
                    <a:pt x="41" y="49"/>
                  </a:cubicBezTo>
                  <a:close/>
                  <a:moveTo>
                    <a:pt x="42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8"/>
                    <a:pt x="42" y="48"/>
                  </a:cubicBezTo>
                  <a:cubicBezTo>
                    <a:pt x="41" y="49"/>
                    <a:pt x="42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2" y="48"/>
                    <a:pt x="42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0" y="50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0" y="50"/>
                    <a:pt x="40" y="50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39" y="53"/>
                    <a:pt x="39" y="53"/>
                  </a:cubicBezTo>
                  <a:close/>
                  <a:moveTo>
                    <a:pt x="42" y="51"/>
                  </a:move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7"/>
                    <a:pt x="41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39" y="46"/>
                    <a:pt x="40" y="46"/>
                    <a:pt x="39" y="46"/>
                  </a:cubicBezTo>
                  <a:cubicBezTo>
                    <a:pt x="40" y="46"/>
                    <a:pt x="39" y="46"/>
                    <a:pt x="39" y="46"/>
                  </a:cubicBezTo>
                  <a:lnTo>
                    <a:pt x="40" y="46"/>
                  </a:lnTo>
                  <a:close/>
                  <a:moveTo>
                    <a:pt x="34" y="44"/>
                  </a:moveTo>
                  <a:cubicBezTo>
                    <a:pt x="35" y="44"/>
                    <a:pt x="34" y="44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5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5" y="45"/>
                  </a:cubicBezTo>
                  <a:cubicBezTo>
                    <a:pt x="35" y="44"/>
                    <a:pt x="35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8"/>
                    <a:pt x="37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6" y="47"/>
                    <a:pt x="35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2" y="49"/>
                    <a:pt x="33" y="49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6"/>
                    <a:pt x="36" y="47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8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5" y="47"/>
                    <a:pt x="34" y="47"/>
                  </a:cubicBezTo>
                  <a:close/>
                  <a:moveTo>
                    <a:pt x="35" y="48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7" y="47"/>
                    <a:pt x="37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1" y="48"/>
                    <a:pt x="40" y="47"/>
                    <a:pt x="40" y="48"/>
                  </a:cubicBezTo>
                  <a:cubicBezTo>
                    <a:pt x="40" y="48"/>
                    <a:pt x="40" y="48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1"/>
                    <a:pt x="37" y="50"/>
                  </a:cubicBezTo>
                  <a:cubicBezTo>
                    <a:pt x="37" y="50"/>
                    <a:pt x="38" y="50"/>
                    <a:pt x="37" y="50"/>
                  </a:cubicBezTo>
                  <a:close/>
                  <a:moveTo>
                    <a:pt x="39" y="51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0"/>
                  </a:cubicBezTo>
                  <a:cubicBezTo>
                    <a:pt x="39" y="50"/>
                    <a:pt x="39" y="51"/>
                    <a:pt x="39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6" y="75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6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6"/>
                    <a:pt x="25" y="76"/>
                  </a:cubicBezTo>
                  <a:cubicBezTo>
                    <a:pt x="25" y="76"/>
                    <a:pt x="26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6"/>
                    <a:pt x="25" y="77"/>
                    <a:pt x="24" y="77"/>
                  </a:cubicBezTo>
                  <a:cubicBezTo>
                    <a:pt x="24" y="77"/>
                    <a:pt x="25" y="76"/>
                    <a:pt x="25" y="76"/>
                  </a:cubicBezTo>
                  <a:cubicBezTo>
                    <a:pt x="25" y="76"/>
                    <a:pt x="25" y="76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5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4" y="76"/>
                    <a:pt x="25" y="76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6" y="73"/>
                  </a:cubicBezTo>
                  <a:cubicBezTo>
                    <a:pt x="26" y="73"/>
                    <a:pt x="25" y="73"/>
                    <a:pt x="25" y="73"/>
                  </a:cubicBezTo>
                  <a:cubicBezTo>
                    <a:pt x="25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5"/>
                    <a:pt x="25" y="74"/>
                    <a:pt x="26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2"/>
                  </a:cubicBezTo>
                  <a:cubicBezTo>
                    <a:pt x="28" y="72"/>
                    <a:pt x="27" y="72"/>
                    <a:pt x="27" y="71"/>
                  </a:cubicBezTo>
                  <a:cubicBezTo>
                    <a:pt x="27" y="71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8" y="71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1"/>
                  </a:cubicBezTo>
                  <a:cubicBezTo>
                    <a:pt x="28" y="71"/>
                    <a:pt x="28" y="70"/>
                    <a:pt x="28" y="70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0"/>
                    <a:pt x="29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69"/>
                    <a:pt x="29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9" y="69"/>
                    <a:pt x="28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7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6"/>
                    <a:pt x="30" y="66"/>
                    <a:pt x="31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8"/>
                    <a:pt x="29" y="68"/>
                  </a:cubicBezTo>
                  <a:cubicBezTo>
                    <a:pt x="29" y="69"/>
                    <a:pt x="29" y="68"/>
                    <a:pt x="29" y="68"/>
                  </a:cubicBezTo>
                  <a:cubicBezTo>
                    <a:pt x="30" y="68"/>
                    <a:pt x="29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6"/>
                    <a:pt x="31" y="66"/>
                    <a:pt x="31" y="65"/>
                  </a:cubicBezTo>
                  <a:cubicBezTo>
                    <a:pt x="31" y="65"/>
                    <a:pt x="31" y="66"/>
                    <a:pt x="30" y="66"/>
                  </a:cubicBezTo>
                  <a:cubicBezTo>
                    <a:pt x="31" y="66"/>
                    <a:pt x="30" y="66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30" y="66"/>
                    <a:pt x="30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8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8"/>
                    <a:pt x="28" y="67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7" y="69"/>
                    <a:pt x="27" y="69"/>
                  </a:cubicBezTo>
                  <a:cubicBezTo>
                    <a:pt x="27" y="69"/>
                    <a:pt x="27" y="69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70"/>
                    <a:pt x="27" y="70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9"/>
                    <a:pt x="27" y="69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5" y="69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9" y="67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8" y="65"/>
                    <a:pt x="28" y="66"/>
                  </a:cubicBezTo>
                  <a:cubicBezTo>
                    <a:pt x="28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29" y="66"/>
                  </a:cubicBezTo>
                  <a:cubicBezTo>
                    <a:pt x="30" y="66"/>
                    <a:pt x="30" y="65"/>
                    <a:pt x="30" y="64"/>
                  </a:cubicBezTo>
                  <a:cubicBezTo>
                    <a:pt x="30" y="64"/>
                    <a:pt x="30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2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3" y="63"/>
                    <a:pt x="33" y="62"/>
                    <a:pt x="33" y="62"/>
                  </a:cubicBezTo>
                  <a:cubicBezTo>
                    <a:pt x="33" y="62"/>
                    <a:pt x="33" y="63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1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0"/>
                    <a:pt x="35" y="60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5" y="60"/>
                    <a:pt x="35" y="59"/>
                  </a:cubicBezTo>
                  <a:cubicBezTo>
                    <a:pt x="35" y="59"/>
                    <a:pt x="35" y="60"/>
                    <a:pt x="36" y="59"/>
                  </a:cubicBezTo>
                  <a:cubicBezTo>
                    <a:pt x="36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8"/>
                    <a:pt x="36" y="58"/>
                  </a:cubicBezTo>
                  <a:cubicBezTo>
                    <a:pt x="36" y="58"/>
                    <a:pt x="36" y="59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8"/>
                    <a:pt x="35" y="57"/>
                    <a:pt x="36" y="57"/>
                  </a:cubicBezTo>
                  <a:cubicBezTo>
                    <a:pt x="36" y="57"/>
                    <a:pt x="35" y="58"/>
                    <a:pt x="35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7" y="58"/>
                    <a:pt x="37" y="57"/>
                  </a:cubicBezTo>
                  <a:cubicBezTo>
                    <a:pt x="37" y="57"/>
                    <a:pt x="36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7" y="58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9"/>
                    <a:pt x="36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9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8"/>
                    <a:pt x="37" y="58"/>
                  </a:cubicBezTo>
                  <a:cubicBezTo>
                    <a:pt x="37" y="58"/>
                    <a:pt x="37" y="58"/>
                    <a:pt x="38" y="58"/>
                  </a:cubicBezTo>
                  <a:cubicBezTo>
                    <a:pt x="38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7"/>
                    <a:pt x="37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9" y="55"/>
                    <a:pt x="38" y="56"/>
                    <a:pt x="39" y="56"/>
                  </a:cubicBezTo>
                  <a:cubicBezTo>
                    <a:pt x="39" y="56"/>
                    <a:pt x="39" y="55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1" y="55"/>
                    <a:pt x="41" y="55"/>
                  </a:cubicBezTo>
                  <a:cubicBezTo>
                    <a:pt x="41" y="55"/>
                    <a:pt x="40" y="55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2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39" y="59"/>
                  </a:cubicBezTo>
                  <a:cubicBezTo>
                    <a:pt x="40" y="59"/>
                    <a:pt x="40" y="59"/>
                    <a:pt x="40" y="58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58"/>
                    <a:pt x="39" y="60"/>
                    <a:pt x="39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8" y="61"/>
                    <a:pt x="38" y="60"/>
                    <a:pt x="38" y="60"/>
                  </a:cubicBezTo>
                  <a:cubicBezTo>
                    <a:pt x="38" y="61"/>
                    <a:pt x="38" y="62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3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6" y="64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4" y="68"/>
                    <a:pt x="35" y="68"/>
                    <a:pt x="35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6"/>
                    <a:pt x="35" y="66"/>
                    <a:pt x="36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1"/>
                    <a:pt x="38" y="61"/>
                    <a:pt x="37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7" y="61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6" y="63"/>
                    <a:pt x="37" y="63"/>
                  </a:cubicBezTo>
                  <a:cubicBezTo>
                    <a:pt x="37" y="63"/>
                    <a:pt x="36" y="63"/>
                    <a:pt x="36" y="62"/>
                  </a:cubicBezTo>
                  <a:cubicBezTo>
                    <a:pt x="36" y="62"/>
                    <a:pt x="36" y="63"/>
                    <a:pt x="36" y="63"/>
                  </a:cubicBezTo>
                  <a:cubicBezTo>
                    <a:pt x="36" y="62"/>
                    <a:pt x="36" y="63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7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4"/>
                  </a:cubicBezTo>
                  <a:cubicBezTo>
                    <a:pt x="34" y="64"/>
                    <a:pt x="34" y="64"/>
                    <a:pt x="35" y="64"/>
                  </a:cubicBezTo>
                  <a:cubicBezTo>
                    <a:pt x="35" y="64"/>
                    <a:pt x="34" y="64"/>
                    <a:pt x="34" y="64"/>
                  </a:cubicBezTo>
                  <a:cubicBezTo>
                    <a:pt x="35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5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4" y="68"/>
                    <a:pt x="34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69"/>
                    <a:pt x="33" y="68"/>
                  </a:cubicBezTo>
                  <a:cubicBezTo>
                    <a:pt x="34" y="69"/>
                    <a:pt x="33" y="69"/>
                    <a:pt x="33" y="69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0"/>
                    <a:pt x="32" y="70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3" y="70"/>
                    <a:pt x="33" y="70"/>
                    <a:pt x="32" y="69"/>
                  </a:cubicBezTo>
                  <a:cubicBezTo>
                    <a:pt x="32" y="69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3"/>
                    <a:pt x="31" y="73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5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2"/>
                    <a:pt x="33" y="70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8"/>
                    <a:pt x="34" y="68"/>
                  </a:cubicBezTo>
                  <a:cubicBezTo>
                    <a:pt x="34" y="68"/>
                    <a:pt x="35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4" y="70"/>
                    <a:pt x="33" y="70"/>
                    <a:pt x="33" y="70"/>
                  </a:cubicBezTo>
                  <a:cubicBezTo>
                    <a:pt x="33" y="70"/>
                    <a:pt x="34" y="70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33" y="71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3"/>
                    <a:pt x="31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7"/>
                    <a:pt x="29" y="77"/>
                  </a:cubicBezTo>
                  <a:cubicBezTo>
                    <a:pt x="29" y="77"/>
                    <a:pt x="30" y="77"/>
                    <a:pt x="30" y="77"/>
                  </a:cubicBezTo>
                  <a:cubicBezTo>
                    <a:pt x="30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ubicBezTo>
                    <a:pt x="29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7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7" y="76"/>
                    <a:pt x="27" y="75"/>
                    <a:pt x="27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6" y="76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29" y="71"/>
                    <a:pt x="29" y="71"/>
                    <a:pt x="30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1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8" y="72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3"/>
                    <a:pt x="28" y="73"/>
                  </a:cubicBezTo>
                  <a:cubicBezTo>
                    <a:pt x="28" y="73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6" y="74"/>
                    <a:pt x="26" y="74"/>
                  </a:cubicBezTo>
                  <a:cubicBezTo>
                    <a:pt x="26" y="74"/>
                    <a:pt x="27" y="73"/>
                    <a:pt x="27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6" y="74"/>
                    <a:pt x="26" y="74"/>
                    <a:pt x="26" y="75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4"/>
                    <a:pt x="37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5"/>
                    <a:pt x="36" y="65"/>
                  </a:cubicBezTo>
                  <a:close/>
                  <a:moveTo>
                    <a:pt x="36" y="62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1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8" y="61"/>
                    <a:pt x="37" y="61"/>
                    <a:pt x="37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7"/>
                    <a:pt x="40" y="57"/>
                  </a:cubicBezTo>
                  <a:cubicBezTo>
                    <a:pt x="39" y="57"/>
                    <a:pt x="40" y="57"/>
                    <a:pt x="39" y="58"/>
                  </a:cubicBezTo>
                  <a:close/>
                  <a:moveTo>
                    <a:pt x="38" y="59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8"/>
                    <a:pt x="39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5"/>
                    <a:pt x="40" y="55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6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6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9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6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9" y="56"/>
                  </a:move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6"/>
                  </a:cubicBezTo>
                  <a:close/>
                  <a:moveTo>
                    <a:pt x="36" y="6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7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59"/>
                  </a:cubicBezTo>
                  <a:cubicBezTo>
                    <a:pt x="37" y="59"/>
                    <a:pt x="38" y="59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9"/>
                    <a:pt x="38" y="59"/>
                    <a:pt x="38" y="59"/>
                  </a:cubicBezTo>
                  <a:cubicBezTo>
                    <a:pt x="38" y="59"/>
                    <a:pt x="37" y="59"/>
                    <a:pt x="37" y="59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9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8" y="68"/>
                    <a:pt x="28" y="67"/>
                    <a:pt x="27" y="67"/>
                  </a:cubicBezTo>
                  <a:close/>
                  <a:moveTo>
                    <a:pt x="29" y="67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9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6"/>
                    <a:pt x="29" y="67"/>
                    <a:pt x="29" y="67"/>
                  </a:cubicBezTo>
                  <a:close/>
                  <a:moveTo>
                    <a:pt x="32" y="64"/>
                  </a:moveTo>
                  <a:cubicBezTo>
                    <a:pt x="32" y="64"/>
                    <a:pt x="31" y="64"/>
                    <a:pt x="31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5"/>
                    <a:pt x="31" y="65"/>
                  </a:cubicBezTo>
                  <a:close/>
                  <a:moveTo>
                    <a:pt x="27" y="73"/>
                  </a:moveTo>
                  <a:cubicBezTo>
                    <a:pt x="28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9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9" y="70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8" y="71"/>
                  </a:cubicBezTo>
                  <a:cubicBezTo>
                    <a:pt x="28" y="71"/>
                    <a:pt x="28" y="71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9" y="71"/>
                    <a:pt x="28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0"/>
                  </a:cubicBezTo>
                  <a:close/>
                  <a:moveTo>
                    <a:pt x="30" y="69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lose/>
                  <a:moveTo>
                    <a:pt x="31" y="68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1" y="68"/>
                  </a:cubicBezTo>
                  <a:close/>
                  <a:moveTo>
                    <a:pt x="30" y="68"/>
                  </a:move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8"/>
                    <a:pt x="30" y="68"/>
                  </a:cubicBezTo>
                  <a:close/>
                  <a:moveTo>
                    <a:pt x="30" y="71"/>
                  </a:moveTo>
                  <a:cubicBezTo>
                    <a:pt x="30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0"/>
                    <a:pt x="30" y="71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1"/>
                    <a:pt x="29" y="71"/>
                    <a:pt x="30" y="71"/>
                  </a:cubicBezTo>
                  <a:close/>
                  <a:moveTo>
                    <a:pt x="30" y="69"/>
                  </a:moveTo>
                  <a:cubicBezTo>
                    <a:pt x="30" y="69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0" y="69"/>
                  </a:cubicBezTo>
                  <a:close/>
                  <a:moveTo>
                    <a:pt x="30" y="70"/>
                  </a:moveTo>
                  <a:cubicBezTo>
                    <a:pt x="29" y="70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lose/>
                  <a:moveTo>
                    <a:pt x="31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8"/>
                    <a:pt x="31" y="68"/>
                  </a:cubicBezTo>
                  <a:cubicBezTo>
                    <a:pt x="31" y="68"/>
                    <a:pt x="31" y="69"/>
                    <a:pt x="30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69"/>
                    <a:pt x="30" y="69"/>
                    <a:pt x="31" y="69"/>
                  </a:cubicBezTo>
                  <a:cubicBezTo>
                    <a:pt x="31" y="69"/>
                    <a:pt x="30" y="69"/>
                    <a:pt x="31" y="69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1" y="68"/>
                    <a:pt x="32" y="67"/>
                    <a:pt x="32" y="67"/>
                  </a:cubicBezTo>
                  <a:cubicBezTo>
                    <a:pt x="31" y="67"/>
                    <a:pt x="31" y="67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2" y="66"/>
                  </a:moveTo>
                  <a:cubicBezTo>
                    <a:pt x="32" y="66"/>
                    <a:pt x="32" y="67"/>
                    <a:pt x="32" y="67"/>
                  </a:cubicBezTo>
                  <a:cubicBezTo>
                    <a:pt x="32" y="67"/>
                    <a:pt x="32" y="66"/>
                    <a:pt x="32" y="66"/>
                  </a:cubicBezTo>
                  <a:close/>
                  <a:moveTo>
                    <a:pt x="32" y="66"/>
                  </a:moveTo>
                  <a:cubicBezTo>
                    <a:pt x="33" y="66"/>
                    <a:pt x="32" y="66"/>
                    <a:pt x="32" y="66"/>
                  </a:cubicBezTo>
                  <a:cubicBezTo>
                    <a:pt x="32" y="66"/>
                    <a:pt x="33" y="65"/>
                    <a:pt x="33" y="65"/>
                  </a:cubicBezTo>
                  <a:cubicBezTo>
                    <a:pt x="32" y="65"/>
                    <a:pt x="32" y="65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5"/>
                    <a:pt x="33" y="64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1" y="70"/>
                  </a:moveTo>
                  <a:cubicBezTo>
                    <a:pt x="31" y="70"/>
                    <a:pt x="31" y="70"/>
                    <a:pt x="31" y="69"/>
                  </a:cubicBezTo>
                  <a:cubicBezTo>
                    <a:pt x="31" y="70"/>
                    <a:pt x="30" y="70"/>
                    <a:pt x="30" y="69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1" y="70"/>
                  </a:cubicBezTo>
                  <a:close/>
                  <a:moveTo>
                    <a:pt x="31" y="68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70"/>
                    <a:pt x="31" y="69"/>
                    <a:pt x="31" y="69"/>
                  </a:cubicBezTo>
                  <a:cubicBezTo>
                    <a:pt x="31" y="69"/>
                    <a:pt x="32" y="69"/>
                    <a:pt x="32" y="69"/>
                  </a:cubicBezTo>
                  <a:cubicBezTo>
                    <a:pt x="32" y="69"/>
                    <a:pt x="32" y="69"/>
                    <a:pt x="31" y="69"/>
                  </a:cubicBezTo>
                  <a:cubicBezTo>
                    <a:pt x="31" y="69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29" y="73"/>
                  </a:cubicBezTo>
                  <a:cubicBezTo>
                    <a:pt x="30" y="73"/>
                    <a:pt x="30" y="73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2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8" y="73"/>
                    <a:pt x="29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4"/>
                  </a:moveTo>
                  <a:cubicBezTo>
                    <a:pt x="28" y="74"/>
                    <a:pt x="28" y="73"/>
                    <a:pt x="28" y="73"/>
                  </a:cubicBezTo>
                  <a:cubicBezTo>
                    <a:pt x="28" y="74"/>
                    <a:pt x="29" y="74"/>
                    <a:pt x="28" y="74"/>
                  </a:cubicBezTo>
                  <a:cubicBezTo>
                    <a:pt x="28" y="74"/>
                    <a:pt x="28" y="74"/>
                    <a:pt x="29" y="74"/>
                  </a:cubicBezTo>
                  <a:close/>
                  <a:moveTo>
                    <a:pt x="28" y="75"/>
                  </a:moveTo>
                  <a:cubicBezTo>
                    <a:pt x="28" y="75"/>
                    <a:pt x="29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8" y="75"/>
                    <a:pt x="28" y="76"/>
                    <a:pt x="28" y="76"/>
                  </a:cubicBezTo>
                  <a:cubicBezTo>
                    <a:pt x="28" y="75"/>
                    <a:pt x="28" y="76"/>
                    <a:pt x="28" y="75"/>
                  </a:cubicBez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4"/>
                    <a:pt x="29" y="74"/>
                  </a:cubicBezTo>
                  <a:cubicBezTo>
                    <a:pt x="29" y="73"/>
                    <a:pt x="29" y="73"/>
                    <a:pt x="30" y="73"/>
                  </a:cubicBezTo>
                  <a:close/>
                  <a:moveTo>
                    <a:pt x="30" y="74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29" y="74"/>
                    <a:pt x="29" y="74"/>
                  </a:cubicBezTo>
                  <a:cubicBezTo>
                    <a:pt x="29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0" y="74"/>
                    <a:pt x="29" y="74"/>
                    <a:pt x="29" y="75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5"/>
                  </a:moveTo>
                  <a:cubicBezTo>
                    <a:pt x="30" y="75"/>
                    <a:pt x="29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6"/>
                    <a:pt x="29" y="77"/>
                    <a:pt x="29" y="76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30" y="76"/>
                  </a:cubicBezTo>
                  <a:cubicBezTo>
                    <a:pt x="30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lnTo>
                    <a:pt x="30" y="73"/>
                  </a:ln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29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1" y="73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0" y="72"/>
                    <a:pt x="30" y="73"/>
                  </a:cubicBezTo>
                  <a:close/>
                  <a:moveTo>
                    <a:pt x="31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1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1"/>
                    <a:pt x="31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70"/>
                    <a:pt x="32" y="69"/>
                    <a:pt x="32" y="69"/>
                  </a:cubicBezTo>
                  <a:close/>
                  <a:moveTo>
                    <a:pt x="33" y="69"/>
                  </a:move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2" y="69"/>
                    <a:pt x="33" y="69"/>
                    <a:pt x="33" y="69"/>
                  </a:cubicBezTo>
                  <a:cubicBezTo>
                    <a:pt x="33" y="69"/>
                    <a:pt x="32" y="69"/>
                    <a:pt x="32" y="69"/>
                  </a:cubicBezTo>
                  <a:cubicBezTo>
                    <a:pt x="33" y="69"/>
                    <a:pt x="32" y="69"/>
                    <a:pt x="33" y="69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8"/>
                    <a:pt x="33" y="68"/>
                  </a:cubicBezTo>
                  <a:close/>
                  <a:moveTo>
                    <a:pt x="32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7"/>
                  </a:cubicBezTo>
                  <a:cubicBezTo>
                    <a:pt x="32" y="68"/>
                    <a:pt x="33" y="67"/>
                    <a:pt x="32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2" y="68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8"/>
                    <a:pt x="32" y="6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1" y="70"/>
                    <a:pt x="31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2" y="67"/>
                    <a:pt x="32" y="68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5"/>
                    <a:pt x="33" y="66"/>
                    <a:pt x="33" y="66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3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6" y="58"/>
                    <a:pt x="37" y="58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7" y="58"/>
                    <a:pt x="37" y="59"/>
                    <a:pt x="36" y="59"/>
                  </a:cubicBezTo>
                  <a:cubicBezTo>
                    <a:pt x="37" y="59"/>
                    <a:pt x="37" y="59"/>
                    <a:pt x="37" y="58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6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4" y="63"/>
                  </a:moveTo>
                  <a:cubicBezTo>
                    <a:pt x="34" y="63"/>
                    <a:pt x="34" y="63"/>
                    <a:pt x="33" y="63"/>
                  </a:cubicBezTo>
                  <a:cubicBezTo>
                    <a:pt x="33" y="64"/>
                    <a:pt x="34" y="64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3"/>
                    <a:pt x="34" y="63"/>
                    <a:pt x="34" y="64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3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4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4" y="62"/>
                    <a:pt x="33" y="63"/>
                    <a:pt x="34" y="63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2" y="65"/>
                    <a:pt x="32" y="65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2" y="67"/>
                    <a:pt x="32" y="67"/>
                    <a:pt x="31" y="67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3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1" y="66"/>
                  </a:move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6"/>
                    <a:pt x="32" y="65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6"/>
                  </a:cubicBezTo>
                  <a:cubicBezTo>
                    <a:pt x="31" y="65"/>
                    <a:pt x="31" y="65"/>
                    <a:pt x="32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70"/>
                  </a:moveTo>
                  <a:cubicBezTo>
                    <a:pt x="29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7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3"/>
                    <a:pt x="28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4"/>
                    <a:pt x="25" y="7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1" y="63"/>
                    <a:pt x="31" y="63"/>
                  </a:cubicBezTo>
                  <a:close/>
                  <a:moveTo>
                    <a:pt x="36" y="51"/>
                  </a:moveTo>
                  <a:cubicBezTo>
                    <a:pt x="36" y="50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0"/>
                    <a:pt x="35" y="50"/>
                    <a:pt x="36" y="50"/>
                  </a:cubicBezTo>
                  <a:cubicBezTo>
                    <a:pt x="36" y="50"/>
                    <a:pt x="36" y="51"/>
                    <a:pt x="36" y="51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lose/>
                  <a:moveTo>
                    <a:pt x="36" y="52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6" y="52"/>
                  </a:cubicBezTo>
                  <a:cubicBezTo>
                    <a:pt x="37" y="51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6" y="52"/>
                    <a:pt x="35" y="52"/>
                    <a:pt x="36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2" y="49"/>
                    <a:pt x="32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6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6"/>
                    <a:pt x="37" y="56"/>
                    <a:pt x="36" y="56"/>
                  </a:cubicBezTo>
                  <a:cubicBezTo>
                    <a:pt x="36" y="56"/>
                    <a:pt x="37" y="56"/>
                    <a:pt x="36" y="56"/>
                  </a:cubicBezTo>
                  <a:cubicBezTo>
                    <a:pt x="36" y="56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0"/>
                  </a:cubicBezTo>
                  <a:close/>
                  <a:moveTo>
                    <a:pt x="32" y="50"/>
                  </a:moveTo>
                  <a:cubicBezTo>
                    <a:pt x="32" y="51"/>
                    <a:pt x="32" y="51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2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2" y="52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2" y="52"/>
                    <a:pt x="32" y="5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1"/>
                    <a:pt x="32" y="50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3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2"/>
                  </a:cubicBezTo>
                  <a:cubicBezTo>
                    <a:pt x="35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3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3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lose/>
                  <a:moveTo>
                    <a:pt x="32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29" y="55"/>
                  </a:moveTo>
                  <a:cubicBezTo>
                    <a:pt x="30" y="55"/>
                    <a:pt x="29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3"/>
                  </a:cubicBezTo>
                  <a:cubicBezTo>
                    <a:pt x="30" y="54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2" y="56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5"/>
                    <a:pt x="32" y="56"/>
                    <a:pt x="32" y="56"/>
                  </a:cubicBezTo>
                  <a:cubicBezTo>
                    <a:pt x="32" y="56"/>
                    <a:pt x="33" y="56"/>
                    <a:pt x="32" y="56"/>
                  </a:cubicBezTo>
                  <a:cubicBezTo>
                    <a:pt x="33" y="56"/>
                    <a:pt x="32" y="55"/>
                    <a:pt x="33" y="56"/>
                  </a:cubicBezTo>
                  <a:cubicBezTo>
                    <a:pt x="33" y="56"/>
                    <a:pt x="33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2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5"/>
                    <a:pt x="32" y="56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6"/>
                    <a:pt x="34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4" y="56"/>
                    <a:pt x="33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3" y="57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6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ubicBezTo>
                    <a:pt x="34" y="57"/>
                    <a:pt x="34" y="57"/>
                    <a:pt x="35" y="57"/>
                  </a:cubicBezTo>
                  <a:close/>
                  <a:moveTo>
                    <a:pt x="36" y="57"/>
                  </a:moveTo>
                  <a:cubicBezTo>
                    <a:pt x="37" y="58"/>
                    <a:pt x="36" y="58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7" y="57"/>
                    <a:pt x="36" y="58"/>
                    <a:pt x="36" y="57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4" y="59"/>
                  </a:moveTo>
                  <a:cubicBezTo>
                    <a:pt x="34" y="59"/>
                    <a:pt x="34" y="59"/>
                    <a:pt x="33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5" y="58"/>
                    <a:pt x="34" y="59"/>
                    <a:pt x="34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4" y="59"/>
                    <a:pt x="34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7"/>
                  </a:cubicBezTo>
                  <a:cubicBezTo>
                    <a:pt x="30" y="57"/>
                    <a:pt x="29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1" y="55"/>
                  </a:cubicBezTo>
                  <a:cubicBezTo>
                    <a:pt x="30" y="56"/>
                    <a:pt x="31" y="56"/>
                    <a:pt x="30" y="56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8"/>
                    <a:pt x="33" y="58"/>
                  </a:cubicBezTo>
                  <a:cubicBezTo>
                    <a:pt x="33" y="58"/>
                    <a:pt x="33" y="59"/>
                    <a:pt x="33" y="59"/>
                  </a:cubicBezTo>
                  <a:cubicBezTo>
                    <a:pt x="33" y="58"/>
                    <a:pt x="33" y="58"/>
                    <a:pt x="34" y="57"/>
                  </a:cubicBezTo>
                  <a:cubicBezTo>
                    <a:pt x="34" y="58"/>
                    <a:pt x="34" y="58"/>
                    <a:pt x="33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30" y="56"/>
                  </a:cubicBezTo>
                  <a:cubicBezTo>
                    <a:pt x="30" y="56"/>
                    <a:pt x="29" y="56"/>
                    <a:pt x="29" y="56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9"/>
                    <a:pt x="31" y="59"/>
                  </a:cubicBezTo>
                  <a:cubicBezTo>
                    <a:pt x="31" y="59"/>
                    <a:pt x="31" y="60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7" y="58"/>
                    <a:pt x="28" y="57"/>
                    <a:pt x="28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1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4"/>
                    <a:pt x="36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5" y="64"/>
                    <a:pt x="35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60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2"/>
                    <a:pt x="26" y="62"/>
                  </a:cubicBezTo>
                  <a:cubicBezTo>
                    <a:pt x="26" y="61"/>
                    <a:pt x="26" y="60"/>
                    <a:pt x="26" y="60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1"/>
                    <a:pt x="28" y="61"/>
                  </a:cubicBezTo>
                  <a:cubicBezTo>
                    <a:pt x="28" y="61"/>
                    <a:pt x="28" y="61"/>
                    <a:pt x="28" y="60"/>
                  </a:cubicBezTo>
                  <a:cubicBezTo>
                    <a:pt x="28" y="60"/>
                    <a:pt x="28" y="61"/>
                    <a:pt x="28" y="61"/>
                  </a:cubicBezTo>
                  <a:close/>
                  <a:moveTo>
                    <a:pt x="27" y="63"/>
                  </a:moveTo>
                  <a:cubicBezTo>
                    <a:pt x="27" y="63"/>
                    <a:pt x="28" y="62"/>
                    <a:pt x="28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9" y="61"/>
                    <a:pt x="28" y="61"/>
                    <a:pt x="29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1"/>
                    <a:pt x="29" y="62"/>
                    <a:pt x="29" y="61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9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7" y="64"/>
                    <a:pt x="27" y="65"/>
                  </a:cubicBezTo>
                  <a:cubicBezTo>
                    <a:pt x="27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8" y="64"/>
                    <a:pt x="28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7" y="61"/>
                  </a:moveTo>
                  <a:cubicBezTo>
                    <a:pt x="27" y="62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9" y="63"/>
                    <a:pt x="29" y="63"/>
                  </a:cubicBezTo>
                  <a:cubicBezTo>
                    <a:pt x="29" y="63"/>
                    <a:pt x="28" y="64"/>
                    <a:pt x="29" y="63"/>
                  </a:cubicBezTo>
                  <a:cubicBezTo>
                    <a:pt x="29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7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7"/>
                  </a:cubicBezTo>
                  <a:cubicBezTo>
                    <a:pt x="24" y="66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25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7" y="69"/>
                  </a:cubicBezTo>
                  <a:cubicBezTo>
                    <a:pt x="27" y="69"/>
                    <a:pt x="28" y="69"/>
                    <a:pt x="28" y="70"/>
                  </a:cubicBezTo>
                  <a:cubicBezTo>
                    <a:pt x="28" y="70"/>
                    <a:pt x="27" y="70"/>
                    <a:pt x="28" y="70"/>
                  </a:cubicBezTo>
                  <a:cubicBezTo>
                    <a:pt x="27" y="70"/>
                    <a:pt x="27" y="70"/>
                    <a:pt x="27" y="71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1"/>
                    <a:pt x="26" y="71"/>
                    <a:pt x="26" y="71"/>
                  </a:cubicBezTo>
                  <a:cubicBezTo>
                    <a:pt x="26" y="71"/>
                    <a:pt x="26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32" y="72"/>
                  </a:moveTo>
                  <a:cubicBezTo>
                    <a:pt x="32" y="72"/>
                    <a:pt x="32" y="72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31" y="72"/>
                    <a:pt x="32" y="72"/>
                    <a:pt x="32" y="72"/>
                  </a:cubicBezTo>
                  <a:close/>
                  <a:moveTo>
                    <a:pt x="24" y="68"/>
                  </a:moveTo>
                  <a:cubicBezTo>
                    <a:pt x="24" y="68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4" y="68"/>
                  </a:cubicBezTo>
                  <a:close/>
                  <a:moveTo>
                    <a:pt x="32" y="73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2"/>
                    <a:pt x="33" y="72"/>
                  </a:cubicBezTo>
                  <a:cubicBezTo>
                    <a:pt x="33" y="72"/>
                    <a:pt x="32" y="73"/>
                    <a:pt x="32" y="73"/>
                  </a:cubicBezTo>
                  <a:close/>
                  <a:moveTo>
                    <a:pt x="28" y="76"/>
                  </a:moveTo>
                  <a:cubicBezTo>
                    <a:pt x="29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9" y="75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6" y="77"/>
                  </a:cubicBezTo>
                  <a:cubicBezTo>
                    <a:pt x="26" y="77"/>
                    <a:pt x="25" y="78"/>
                    <a:pt x="26" y="78"/>
                  </a:cubicBezTo>
                  <a:cubicBezTo>
                    <a:pt x="26" y="78"/>
                    <a:pt x="26" y="77"/>
                    <a:pt x="26" y="77"/>
                  </a:cubicBezTo>
                  <a:cubicBezTo>
                    <a:pt x="26" y="78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6" y="79"/>
                    <a:pt x="25" y="79"/>
                  </a:cubicBezTo>
                  <a:cubicBezTo>
                    <a:pt x="25" y="78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7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6"/>
                    <a:pt x="28" y="77"/>
                  </a:cubicBezTo>
                  <a:close/>
                  <a:moveTo>
                    <a:pt x="26" y="76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5" y="77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8" y="78"/>
                  </a:move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9"/>
                    <a:pt x="28" y="79"/>
                  </a:cubicBezTo>
                  <a:cubicBezTo>
                    <a:pt x="28" y="79"/>
                    <a:pt x="28" y="79"/>
                    <a:pt x="29" y="79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9" y="78"/>
                    <a:pt x="29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6" y="81"/>
                  </a:cubicBezTo>
                  <a:cubicBezTo>
                    <a:pt x="27" y="81"/>
                    <a:pt x="27" y="80"/>
                    <a:pt x="27" y="80"/>
                  </a:cubicBezTo>
                  <a:cubicBezTo>
                    <a:pt x="27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0"/>
                    <a:pt x="27" y="80"/>
                    <a:pt x="27" y="81"/>
                  </a:cubicBezTo>
                  <a:cubicBezTo>
                    <a:pt x="27" y="80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6" y="81"/>
                    <a:pt x="25" y="81"/>
                    <a:pt x="25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5" y="81"/>
                    <a:pt x="25" y="81"/>
                  </a:cubicBezTo>
                  <a:cubicBezTo>
                    <a:pt x="25" y="81"/>
                    <a:pt x="26" y="81"/>
                    <a:pt x="26" y="81"/>
                  </a:cubicBezTo>
                  <a:close/>
                  <a:moveTo>
                    <a:pt x="26" y="79"/>
                  </a:moveTo>
                  <a:cubicBezTo>
                    <a:pt x="26" y="79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79"/>
                  </a:cubicBezTo>
                  <a:close/>
                  <a:moveTo>
                    <a:pt x="26" y="81"/>
                  </a:move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5" y="80"/>
                    <a:pt x="25" y="80"/>
                  </a:cubicBez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1"/>
                    <a:pt x="26" y="80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4" y="82"/>
                  </a:cubicBezTo>
                  <a:cubicBezTo>
                    <a:pt x="24" y="82"/>
                    <a:pt x="24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0"/>
                    <a:pt x="25" y="81"/>
                    <a:pt x="25" y="81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4"/>
                  </a:cubicBezTo>
                  <a:cubicBezTo>
                    <a:pt x="26" y="83"/>
                    <a:pt x="26" y="83"/>
                    <a:pt x="26" y="83"/>
                  </a:cubicBezTo>
                  <a:close/>
                  <a:moveTo>
                    <a:pt x="26" y="84"/>
                  </a:moveTo>
                  <a:cubicBezTo>
                    <a:pt x="26" y="84"/>
                    <a:pt x="26" y="83"/>
                    <a:pt x="27" y="83"/>
                  </a:cubicBezTo>
                  <a:cubicBezTo>
                    <a:pt x="26" y="84"/>
                    <a:pt x="26" y="84"/>
                    <a:pt x="26" y="84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90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9"/>
                    <a:pt x="22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90"/>
                  </a:cubicBezTo>
                  <a:cubicBezTo>
                    <a:pt x="23" y="90"/>
                    <a:pt x="23" y="90"/>
                    <a:pt x="22" y="90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3" y="90"/>
                    <a:pt x="22" y="90"/>
                    <a:pt x="22" y="90"/>
                  </a:cubicBezTo>
                  <a:cubicBezTo>
                    <a:pt x="22" y="91"/>
                    <a:pt x="22" y="90"/>
                    <a:pt x="22" y="91"/>
                  </a:cubicBezTo>
                  <a:cubicBezTo>
                    <a:pt x="22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4"/>
                  </a:cubicBezTo>
                  <a:cubicBezTo>
                    <a:pt x="20" y="94"/>
                    <a:pt x="20" y="93"/>
                    <a:pt x="20" y="93"/>
                  </a:cubicBezTo>
                  <a:cubicBezTo>
                    <a:pt x="20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6"/>
                  </a:cubicBezTo>
                  <a:cubicBezTo>
                    <a:pt x="19" y="96"/>
                    <a:pt x="19" y="96"/>
                    <a:pt x="19" y="95"/>
                  </a:cubicBezTo>
                  <a:cubicBezTo>
                    <a:pt x="19" y="95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8" y="96"/>
                    <a:pt x="18" y="97"/>
                  </a:cubicBezTo>
                  <a:cubicBezTo>
                    <a:pt x="18" y="96"/>
                    <a:pt x="18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0" y="93"/>
                    <a:pt x="20" y="92"/>
                  </a:cubicBezTo>
                  <a:cubicBezTo>
                    <a:pt x="21" y="92"/>
                    <a:pt x="20" y="92"/>
                    <a:pt x="21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91"/>
                    <a:pt x="22" y="90"/>
                    <a:pt x="22" y="90"/>
                  </a:cubicBezTo>
                  <a:cubicBezTo>
                    <a:pt x="22" y="91"/>
                    <a:pt x="21" y="92"/>
                    <a:pt x="21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2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9" y="97"/>
                    <a:pt x="20" y="96"/>
                    <a:pt x="20" y="95"/>
                  </a:cubicBezTo>
                  <a:cubicBezTo>
                    <a:pt x="20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6" y="104"/>
                  </a:cubicBezTo>
                  <a:cubicBezTo>
                    <a:pt x="15" y="105"/>
                    <a:pt x="15" y="105"/>
                    <a:pt x="16" y="105"/>
                  </a:cubicBezTo>
                  <a:cubicBezTo>
                    <a:pt x="16" y="105"/>
                    <a:pt x="15" y="105"/>
                    <a:pt x="15" y="105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3" y="109"/>
                    <a:pt x="13" y="108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4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10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2" y="111"/>
                    <a:pt x="12" y="112"/>
                  </a:cubicBezTo>
                  <a:cubicBezTo>
                    <a:pt x="13" y="112"/>
                    <a:pt x="13" y="111"/>
                    <a:pt x="13" y="111"/>
                  </a:cubicBezTo>
                  <a:cubicBezTo>
                    <a:pt x="13" y="111"/>
                    <a:pt x="12" y="112"/>
                    <a:pt x="12" y="112"/>
                  </a:cubicBezTo>
                  <a:cubicBezTo>
                    <a:pt x="12" y="112"/>
                    <a:pt x="13" y="111"/>
                    <a:pt x="13" y="111"/>
                  </a:cubicBezTo>
                  <a:cubicBezTo>
                    <a:pt x="13" y="112"/>
                    <a:pt x="12" y="112"/>
                    <a:pt x="12" y="113"/>
                  </a:cubicBezTo>
                  <a:cubicBezTo>
                    <a:pt x="12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13" y="108"/>
                  </a:move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lose/>
                  <a:moveTo>
                    <a:pt x="13" y="109"/>
                  </a:moveTo>
                  <a:cubicBezTo>
                    <a:pt x="13" y="109"/>
                    <a:pt x="13" y="109"/>
                    <a:pt x="12" y="109"/>
                  </a:cubicBezTo>
                  <a:cubicBezTo>
                    <a:pt x="12" y="109"/>
                    <a:pt x="13" y="108"/>
                    <a:pt x="13" y="109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9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4"/>
                  </a:cubicBezTo>
                  <a:cubicBezTo>
                    <a:pt x="9" y="115"/>
                    <a:pt x="9" y="114"/>
                    <a:pt x="9" y="114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5"/>
                  </a:moveTo>
                  <a:cubicBezTo>
                    <a:pt x="9" y="116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8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4" y="119"/>
                  </a:move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20"/>
                  </a:cubicBezTo>
                  <a:cubicBezTo>
                    <a:pt x="4" y="120"/>
                    <a:pt x="4" y="119"/>
                    <a:pt x="4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3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50" y="8"/>
                    <a:pt x="50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9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6"/>
                    <a:pt x="49" y="35"/>
                  </a:cubicBezTo>
                  <a:cubicBezTo>
                    <a:pt x="49" y="36"/>
                    <a:pt x="48" y="36"/>
                    <a:pt x="48" y="36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1" y="35"/>
                  </a:cubicBezTo>
                  <a:cubicBezTo>
                    <a:pt x="41" y="35"/>
                    <a:pt x="42" y="35"/>
                    <a:pt x="42" y="34"/>
                  </a:cubicBezTo>
                  <a:cubicBezTo>
                    <a:pt x="42" y="34"/>
                    <a:pt x="42" y="35"/>
                    <a:pt x="42" y="35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4" y="48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8" y="46"/>
                  </a:ln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8" y="51"/>
                    <a:pt x="37" y="51"/>
                    <a:pt x="37" y="51"/>
                  </a:cubicBezTo>
                  <a:close/>
                  <a:moveTo>
                    <a:pt x="32" y="52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lose/>
                  <a:moveTo>
                    <a:pt x="35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3"/>
                    <a:pt x="35" y="53"/>
                  </a:cubicBezTo>
                  <a:cubicBezTo>
                    <a:pt x="36" y="53"/>
                    <a:pt x="35" y="54"/>
                    <a:pt x="36" y="54"/>
                  </a:cubicBezTo>
                  <a:cubicBezTo>
                    <a:pt x="35" y="54"/>
                    <a:pt x="36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6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5"/>
                    <a:pt x="35" y="55"/>
                  </a:cubicBezTo>
                  <a:cubicBezTo>
                    <a:pt x="35" y="55"/>
                    <a:pt x="35" y="56"/>
                    <a:pt x="35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8"/>
                  </a:moveTo>
                  <a:cubicBezTo>
                    <a:pt x="28" y="57"/>
                    <a:pt x="29" y="57"/>
                    <a:pt x="29" y="56"/>
                  </a:cubicBezTo>
                  <a:cubicBezTo>
                    <a:pt x="29" y="56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8" y="58"/>
                  </a:cubicBezTo>
                  <a:cubicBezTo>
                    <a:pt x="28" y="58"/>
                    <a:pt x="28" y="57"/>
                    <a:pt x="28" y="58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1"/>
                  </a:cubicBezTo>
                  <a:cubicBezTo>
                    <a:pt x="33" y="61"/>
                    <a:pt x="33" y="60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6"/>
                    <a:pt x="27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1"/>
                    <a:pt x="2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7E64B61-D412-46DD-938F-5DA62F6FE470}"/>
                </a:ext>
              </a:extLst>
            </p:cNvPr>
            <p:cNvSpPr/>
            <p:nvPr/>
          </p:nvSpPr>
          <p:spPr bwMode="auto">
            <a:xfrm>
              <a:off x="6559551" y="1571625"/>
              <a:ext cx="161925" cy="303213"/>
            </a:xfrm>
            <a:custGeom>
              <a:avLst/>
              <a:gdLst>
                <a:gd name="T0" fmla="*/ 44 w 65"/>
                <a:gd name="T1" fmla="*/ 27 h 123"/>
                <a:gd name="T2" fmla="*/ 45 w 65"/>
                <a:gd name="T3" fmla="*/ 32 h 123"/>
                <a:gd name="T4" fmla="*/ 41 w 65"/>
                <a:gd name="T5" fmla="*/ 35 h 123"/>
                <a:gd name="T6" fmla="*/ 40 w 65"/>
                <a:gd name="T7" fmla="*/ 37 h 123"/>
                <a:gd name="T8" fmla="*/ 37 w 65"/>
                <a:gd name="T9" fmla="*/ 42 h 123"/>
                <a:gd name="T10" fmla="*/ 43 w 65"/>
                <a:gd name="T11" fmla="*/ 48 h 123"/>
                <a:gd name="T12" fmla="*/ 40 w 65"/>
                <a:gd name="T13" fmla="*/ 54 h 123"/>
                <a:gd name="T14" fmla="*/ 31 w 65"/>
                <a:gd name="T15" fmla="*/ 53 h 123"/>
                <a:gd name="T16" fmla="*/ 34 w 65"/>
                <a:gd name="T17" fmla="*/ 57 h 123"/>
                <a:gd name="T18" fmla="*/ 29 w 65"/>
                <a:gd name="T19" fmla="*/ 60 h 123"/>
                <a:gd name="T20" fmla="*/ 25 w 65"/>
                <a:gd name="T21" fmla="*/ 66 h 123"/>
                <a:gd name="T22" fmla="*/ 24 w 65"/>
                <a:gd name="T23" fmla="*/ 71 h 123"/>
                <a:gd name="T24" fmla="*/ 27 w 65"/>
                <a:gd name="T25" fmla="*/ 79 h 123"/>
                <a:gd name="T26" fmla="*/ 22 w 65"/>
                <a:gd name="T27" fmla="*/ 79 h 123"/>
                <a:gd name="T28" fmla="*/ 22 w 65"/>
                <a:gd name="T29" fmla="*/ 89 h 123"/>
                <a:gd name="T30" fmla="*/ 11 w 65"/>
                <a:gd name="T31" fmla="*/ 111 h 123"/>
                <a:gd name="T32" fmla="*/ 8 w 65"/>
                <a:gd name="T33" fmla="*/ 120 h 123"/>
                <a:gd name="T34" fmla="*/ 51 w 65"/>
                <a:gd name="T35" fmla="*/ 33 h 123"/>
                <a:gd name="T36" fmla="*/ 47 w 65"/>
                <a:gd name="T37" fmla="*/ 37 h 123"/>
                <a:gd name="T38" fmla="*/ 48 w 65"/>
                <a:gd name="T39" fmla="*/ 33 h 123"/>
                <a:gd name="T40" fmla="*/ 45 w 65"/>
                <a:gd name="T41" fmla="*/ 36 h 123"/>
                <a:gd name="T42" fmla="*/ 48 w 65"/>
                <a:gd name="T43" fmla="*/ 26 h 123"/>
                <a:gd name="T44" fmla="*/ 46 w 65"/>
                <a:gd name="T45" fmla="*/ 24 h 123"/>
                <a:gd name="T46" fmla="*/ 46 w 65"/>
                <a:gd name="T47" fmla="*/ 14 h 123"/>
                <a:gd name="T48" fmla="*/ 46 w 65"/>
                <a:gd name="T49" fmla="*/ 18 h 123"/>
                <a:gd name="T50" fmla="*/ 46 w 65"/>
                <a:gd name="T51" fmla="*/ 28 h 123"/>
                <a:gd name="T52" fmla="*/ 45 w 65"/>
                <a:gd name="T53" fmla="*/ 35 h 123"/>
                <a:gd name="T54" fmla="*/ 52 w 65"/>
                <a:gd name="T55" fmla="*/ 27 h 123"/>
                <a:gd name="T56" fmla="*/ 53 w 65"/>
                <a:gd name="T57" fmla="*/ 27 h 123"/>
                <a:gd name="T58" fmla="*/ 43 w 65"/>
                <a:gd name="T59" fmla="*/ 29 h 123"/>
                <a:gd name="T60" fmla="*/ 43 w 65"/>
                <a:gd name="T61" fmla="*/ 33 h 123"/>
                <a:gd name="T62" fmla="*/ 44 w 65"/>
                <a:gd name="T63" fmla="*/ 45 h 123"/>
                <a:gd name="T64" fmla="*/ 42 w 65"/>
                <a:gd name="T65" fmla="*/ 50 h 123"/>
                <a:gd name="T66" fmla="*/ 40 w 65"/>
                <a:gd name="T67" fmla="*/ 52 h 123"/>
                <a:gd name="T68" fmla="*/ 40 w 65"/>
                <a:gd name="T69" fmla="*/ 47 h 123"/>
                <a:gd name="T70" fmla="*/ 40 w 65"/>
                <a:gd name="T71" fmla="*/ 49 h 123"/>
                <a:gd name="T72" fmla="*/ 33 w 65"/>
                <a:gd name="T73" fmla="*/ 48 h 123"/>
                <a:gd name="T74" fmla="*/ 25 w 65"/>
                <a:gd name="T75" fmla="*/ 75 h 123"/>
                <a:gd name="T76" fmla="*/ 28 w 65"/>
                <a:gd name="T77" fmla="*/ 69 h 123"/>
                <a:gd name="T78" fmla="*/ 26 w 65"/>
                <a:gd name="T79" fmla="*/ 69 h 123"/>
                <a:gd name="T80" fmla="*/ 30 w 65"/>
                <a:gd name="T81" fmla="*/ 64 h 123"/>
                <a:gd name="T82" fmla="*/ 36 w 65"/>
                <a:gd name="T83" fmla="*/ 57 h 123"/>
                <a:gd name="T84" fmla="*/ 40 w 65"/>
                <a:gd name="T85" fmla="*/ 56 h 123"/>
                <a:gd name="T86" fmla="*/ 34 w 65"/>
                <a:gd name="T87" fmla="*/ 66 h 123"/>
                <a:gd name="T88" fmla="*/ 29 w 65"/>
                <a:gd name="T89" fmla="*/ 76 h 123"/>
                <a:gd name="T90" fmla="*/ 27 w 65"/>
                <a:gd name="T91" fmla="*/ 73 h 123"/>
                <a:gd name="T92" fmla="*/ 37 w 65"/>
                <a:gd name="T93" fmla="*/ 57 h 123"/>
                <a:gd name="T94" fmla="*/ 30 w 65"/>
                <a:gd name="T95" fmla="*/ 64 h 123"/>
                <a:gd name="T96" fmla="*/ 31 w 65"/>
                <a:gd name="T97" fmla="*/ 67 h 123"/>
                <a:gd name="T98" fmla="*/ 28 w 65"/>
                <a:gd name="T99" fmla="*/ 77 h 123"/>
                <a:gd name="T100" fmla="*/ 31 w 65"/>
                <a:gd name="T101" fmla="*/ 67 h 123"/>
                <a:gd name="T102" fmla="*/ 36 w 65"/>
                <a:gd name="T103" fmla="*/ 59 h 123"/>
                <a:gd name="T104" fmla="*/ 27 w 65"/>
                <a:gd name="T105" fmla="*/ 72 h 123"/>
                <a:gd name="T106" fmla="*/ 37 w 65"/>
                <a:gd name="T107" fmla="*/ 54 h 123"/>
                <a:gd name="T108" fmla="*/ 33 w 65"/>
                <a:gd name="T109" fmla="*/ 54 h 123"/>
                <a:gd name="T110" fmla="*/ 30 w 65"/>
                <a:gd name="T111" fmla="*/ 54 h 123"/>
                <a:gd name="T112" fmla="*/ 36 w 65"/>
                <a:gd name="T113" fmla="*/ 61 h 123"/>
                <a:gd name="T114" fmla="*/ 27 w 65"/>
                <a:gd name="T115" fmla="*/ 61 h 123"/>
                <a:gd name="T116" fmla="*/ 26 w 65"/>
                <a:gd name="T117" fmla="*/ 79 h 123"/>
                <a:gd name="T118" fmla="*/ 27 w 65"/>
                <a:gd name="T119" fmla="*/ 79 h 123"/>
                <a:gd name="T120" fmla="*/ 23 w 65"/>
                <a:gd name="T121" fmla="*/ 89 h 123"/>
                <a:gd name="T122" fmla="*/ 12 w 65"/>
                <a:gd name="T123" fmla="*/ 113 h 123"/>
                <a:gd name="T124" fmla="*/ 31 w 65"/>
                <a:gd name="T125" fmla="*/ 5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" h="123">
                  <a:moveTo>
                    <a:pt x="64" y="3"/>
                  </a:moveTo>
                  <a:cubicBezTo>
                    <a:pt x="65" y="3"/>
                    <a:pt x="65" y="4"/>
                    <a:pt x="65" y="4"/>
                  </a:cubicBezTo>
                  <a:cubicBezTo>
                    <a:pt x="64" y="4"/>
                    <a:pt x="65" y="4"/>
                    <a:pt x="65" y="4"/>
                  </a:cubicBezTo>
                  <a:cubicBezTo>
                    <a:pt x="64" y="4"/>
                    <a:pt x="64" y="4"/>
                    <a:pt x="64" y="3"/>
                  </a:cubicBezTo>
                  <a:close/>
                  <a:moveTo>
                    <a:pt x="49" y="8"/>
                  </a:moveTo>
                  <a:cubicBezTo>
                    <a:pt x="49" y="7"/>
                    <a:pt x="50" y="8"/>
                    <a:pt x="50" y="7"/>
                  </a:cubicBezTo>
                  <a:cubicBezTo>
                    <a:pt x="50" y="8"/>
                    <a:pt x="50" y="7"/>
                    <a:pt x="50" y="7"/>
                  </a:cubicBezTo>
                  <a:cubicBezTo>
                    <a:pt x="50" y="8"/>
                    <a:pt x="50" y="8"/>
                    <a:pt x="49" y="8"/>
                  </a:cubicBezTo>
                  <a:close/>
                  <a:moveTo>
                    <a:pt x="49" y="9"/>
                  </a:moveTo>
                  <a:cubicBezTo>
                    <a:pt x="49" y="9"/>
                    <a:pt x="49" y="9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lose/>
                  <a:moveTo>
                    <a:pt x="48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2"/>
                    <a:pt x="47" y="12"/>
                    <a:pt x="47" y="12"/>
                  </a:cubicBezTo>
                  <a:close/>
                  <a:moveTo>
                    <a:pt x="45" y="15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5" y="15"/>
                  </a:cubicBezTo>
                  <a:close/>
                  <a:moveTo>
                    <a:pt x="44" y="16"/>
                  </a:moveTo>
                  <a:cubicBezTo>
                    <a:pt x="45" y="15"/>
                    <a:pt x="45" y="15"/>
                    <a:pt x="45" y="15"/>
                  </a:cubicBezTo>
                  <a:cubicBezTo>
                    <a:pt x="45" y="16"/>
                    <a:pt x="45" y="16"/>
                    <a:pt x="44" y="16"/>
                  </a:cubicBezTo>
                  <a:close/>
                  <a:moveTo>
                    <a:pt x="45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lose/>
                  <a:moveTo>
                    <a:pt x="45" y="20"/>
                  </a:moveTo>
                  <a:cubicBezTo>
                    <a:pt x="45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5" y="20"/>
                  </a:cubicBezTo>
                  <a:close/>
                  <a:moveTo>
                    <a:pt x="44" y="21"/>
                  </a:moveTo>
                  <a:cubicBezTo>
                    <a:pt x="44" y="21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2"/>
                    <a:pt x="43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3" y="22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3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7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5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lose/>
                  <a:moveTo>
                    <a:pt x="43" y="26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3" y="27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46" y="29"/>
                  </a:moveTo>
                  <a:cubicBezTo>
                    <a:pt x="46" y="29"/>
                    <a:pt x="46" y="30"/>
                    <a:pt x="46" y="30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0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2" y="32"/>
                    <a:pt x="51" y="32"/>
                    <a:pt x="52" y="32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7" y="31"/>
                    <a:pt x="46" y="31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39" y="29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4"/>
                    <a:pt x="49" y="34"/>
                  </a:cubicBezTo>
                  <a:cubicBezTo>
                    <a:pt x="49" y="34"/>
                    <a:pt x="49" y="33"/>
                    <a:pt x="49" y="33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1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5" y="32"/>
                    <a:pt x="44" y="32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3"/>
                    <a:pt x="45" y="33"/>
                  </a:cubicBezTo>
                  <a:cubicBezTo>
                    <a:pt x="46" y="33"/>
                    <a:pt x="45" y="33"/>
                    <a:pt x="45" y="33"/>
                  </a:cubicBezTo>
                  <a:cubicBezTo>
                    <a:pt x="45" y="33"/>
                    <a:pt x="45" y="34"/>
                    <a:pt x="45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3"/>
                    <a:pt x="44" y="33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5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7" y="35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9" y="37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1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5"/>
                  </a:moveTo>
                  <a:cubicBezTo>
                    <a:pt x="43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9" y="38"/>
                  </a:cubicBezTo>
                  <a:cubicBezTo>
                    <a:pt x="49" y="38"/>
                    <a:pt x="48" y="38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4"/>
                    <a:pt x="42" y="35"/>
                  </a:cubicBezTo>
                  <a:cubicBezTo>
                    <a:pt x="42" y="35"/>
                    <a:pt x="41" y="35"/>
                    <a:pt x="41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2" y="35"/>
                    <a:pt x="42" y="36"/>
                    <a:pt x="42" y="36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6"/>
                    <a:pt x="44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8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0" y="35"/>
                    <a:pt x="40" y="36"/>
                    <a:pt x="40" y="36"/>
                  </a:cubicBezTo>
                  <a:cubicBezTo>
                    <a:pt x="40" y="36"/>
                    <a:pt x="40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4"/>
                    <a:pt x="37" y="34"/>
                  </a:cubicBezTo>
                  <a:close/>
                  <a:moveTo>
                    <a:pt x="43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3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39"/>
                    <a:pt x="47" y="39"/>
                  </a:cubicBezTo>
                  <a:close/>
                  <a:moveTo>
                    <a:pt x="40" y="36"/>
                  </a:moveTo>
                  <a:cubicBezTo>
                    <a:pt x="40" y="36"/>
                    <a:pt x="40" y="36"/>
                    <a:pt x="41" y="36"/>
                  </a:cubicBezTo>
                  <a:cubicBezTo>
                    <a:pt x="41" y="36"/>
                    <a:pt x="40" y="36"/>
                    <a:pt x="40" y="36"/>
                  </a:cubicBezTo>
                  <a:close/>
                  <a:moveTo>
                    <a:pt x="48" y="39"/>
                  </a:moveTo>
                  <a:cubicBezTo>
                    <a:pt x="48" y="39"/>
                    <a:pt x="48" y="40"/>
                    <a:pt x="48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0" y="37"/>
                    <a:pt x="41" y="36"/>
                  </a:cubicBezTo>
                  <a:cubicBezTo>
                    <a:pt x="41" y="37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2" y="37"/>
                    <a:pt x="41" y="37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7" y="40"/>
                  </a:moveTo>
                  <a:cubicBezTo>
                    <a:pt x="47" y="40"/>
                    <a:pt x="47" y="40"/>
                    <a:pt x="48" y="40"/>
                  </a:cubicBezTo>
                  <a:cubicBezTo>
                    <a:pt x="47" y="41"/>
                    <a:pt x="47" y="40"/>
                    <a:pt x="47" y="40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5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7" y="40"/>
                  </a:moveTo>
                  <a:cubicBezTo>
                    <a:pt x="47" y="40"/>
                    <a:pt x="46" y="40"/>
                    <a:pt x="46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7" y="41"/>
                  </a:cubicBezTo>
                  <a:cubicBezTo>
                    <a:pt x="47" y="40"/>
                    <a:pt x="46" y="41"/>
                    <a:pt x="46" y="40"/>
                  </a:cubicBezTo>
                  <a:cubicBezTo>
                    <a:pt x="46" y="40"/>
                    <a:pt x="47" y="40"/>
                    <a:pt x="47" y="40"/>
                  </a:cubicBezTo>
                  <a:close/>
                  <a:moveTo>
                    <a:pt x="47" y="40"/>
                  </a:move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0"/>
                    <a:pt x="47" y="41"/>
                    <a:pt x="47" y="40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39" y="38"/>
                    <a:pt x="40" y="38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1"/>
                    <a:pt x="45" y="42"/>
                  </a:cubicBezTo>
                  <a:cubicBezTo>
                    <a:pt x="45" y="41"/>
                    <a:pt x="45" y="41"/>
                    <a:pt x="45" y="40"/>
                  </a:cubicBezTo>
                  <a:cubicBezTo>
                    <a:pt x="45" y="40"/>
                    <a:pt x="45" y="41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39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39" y="39"/>
                  </a:moveTo>
                  <a:cubicBezTo>
                    <a:pt x="39" y="39"/>
                    <a:pt x="40" y="38"/>
                    <a:pt x="39" y="38"/>
                  </a:cubicBezTo>
                  <a:cubicBezTo>
                    <a:pt x="40" y="38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38" y="39"/>
                  </a:moveTo>
                  <a:cubicBezTo>
                    <a:pt x="38" y="38"/>
                    <a:pt x="38" y="38"/>
                    <a:pt x="38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8" y="39"/>
                  </a:cubicBezTo>
                  <a:close/>
                  <a:moveTo>
                    <a:pt x="43" y="40"/>
                  </a:moveTo>
                  <a:cubicBezTo>
                    <a:pt x="44" y="41"/>
                    <a:pt x="43" y="41"/>
                    <a:pt x="43" y="41"/>
                  </a:cubicBezTo>
                  <a:cubicBezTo>
                    <a:pt x="43" y="41"/>
                    <a:pt x="43" y="40"/>
                    <a:pt x="43" y="40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39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7" y="41"/>
                    <a:pt x="37" y="41"/>
                  </a:cubicBezTo>
                  <a:cubicBezTo>
                    <a:pt x="37" y="41"/>
                    <a:pt x="37" y="40"/>
                    <a:pt x="37" y="40"/>
                  </a:cubicBezTo>
                  <a:cubicBezTo>
                    <a:pt x="37" y="40"/>
                    <a:pt x="38" y="40"/>
                    <a:pt x="38" y="4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8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46" y="43"/>
                  </a:moveTo>
                  <a:cubicBezTo>
                    <a:pt x="45" y="43"/>
                    <a:pt x="46" y="43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0" y="41"/>
                  </a:cubicBezTo>
                  <a:cubicBezTo>
                    <a:pt x="41" y="40"/>
                    <a:pt x="40" y="40"/>
                    <a:pt x="41" y="40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2"/>
                    <a:pt x="43" y="42"/>
                    <a:pt x="43" y="42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lose/>
                  <a:moveTo>
                    <a:pt x="42" y="42"/>
                  </a:moveTo>
                  <a:cubicBezTo>
                    <a:pt x="41" y="42"/>
                    <a:pt x="41" y="42"/>
                    <a:pt x="41" y="41"/>
                  </a:cubicBezTo>
                  <a:cubicBezTo>
                    <a:pt x="41" y="42"/>
                    <a:pt x="42" y="42"/>
                    <a:pt x="42" y="42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5" y="44"/>
                    <a:pt x="45" y="44"/>
                  </a:cubicBezTo>
                  <a:close/>
                  <a:moveTo>
                    <a:pt x="35" y="39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7" y="41"/>
                    <a:pt x="37" y="41"/>
                  </a:cubicBezTo>
                  <a:close/>
                  <a:moveTo>
                    <a:pt x="42" y="43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2" y="43"/>
                  </a:cubicBezTo>
                  <a:close/>
                  <a:moveTo>
                    <a:pt x="40" y="43"/>
                  </a:move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2" y="44"/>
                    <a:pt x="42" y="44"/>
                  </a:cubicBezTo>
                  <a:cubicBezTo>
                    <a:pt x="42" y="44"/>
                    <a:pt x="42" y="45"/>
                    <a:pt x="41" y="44"/>
                  </a:cubicBezTo>
                  <a:close/>
                  <a:moveTo>
                    <a:pt x="36" y="42"/>
                  </a:moveTo>
                  <a:cubicBezTo>
                    <a:pt x="36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2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8" y="43"/>
                  </a:moveTo>
                  <a:cubicBezTo>
                    <a:pt x="38" y="43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34" y="42"/>
                  </a:moveTo>
                  <a:cubicBezTo>
                    <a:pt x="34" y="42"/>
                    <a:pt x="35" y="42"/>
                    <a:pt x="35" y="42"/>
                  </a:cubicBezTo>
                  <a:cubicBezTo>
                    <a:pt x="35" y="42"/>
                    <a:pt x="34" y="42"/>
                    <a:pt x="34" y="42"/>
                  </a:cubicBezTo>
                  <a:close/>
                  <a:moveTo>
                    <a:pt x="42" y="46"/>
                  </a:move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39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5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2" y="47"/>
                    <a:pt x="42" y="47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8" y="45"/>
                  </a:moveTo>
                  <a:cubicBezTo>
                    <a:pt x="38" y="45"/>
                    <a:pt x="38" y="45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3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3" y="49"/>
                  </a:moveTo>
                  <a:cubicBezTo>
                    <a:pt x="43" y="50"/>
                    <a:pt x="43" y="50"/>
                    <a:pt x="42" y="51"/>
                  </a:cubicBezTo>
                  <a:cubicBezTo>
                    <a:pt x="43" y="50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lose/>
                  <a:moveTo>
                    <a:pt x="35" y="46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6"/>
                    <a:pt x="35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1" y="48"/>
                    <a:pt x="40" y="48"/>
                    <a:pt x="41" y="48"/>
                  </a:cubicBezTo>
                  <a:close/>
                  <a:moveTo>
                    <a:pt x="36" y="47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2" y="52"/>
                  </a:moveTo>
                  <a:cubicBezTo>
                    <a:pt x="42" y="52"/>
                    <a:pt x="42" y="52"/>
                    <a:pt x="42" y="52"/>
                  </a:cubicBezTo>
                  <a:close/>
                  <a:moveTo>
                    <a:pt x="3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9" y="51"/>
                  </a:moveTo>
                  <a:cubicBezTo>
                    <a:pt x="40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lose/>
                  <a:moveTo>
                    <a:pt x="34" y="49"/>
                  </a:moveTo>
                  <a:cubicBezTo>
                    <a:pt x="34" y="49"/>
                    <a:pt x="34" y="49"/>
                    <a:pt x="34" y="49"/>
                  </a:cubicBezTo>
                  <a:cubicBezTo>
                    <a:pt x="34" y="48"/>
                    <a:pt x="35" y="49"/>
                    <a:pt x="34" y="49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7" y="50"/>
                    <a:pt x="36" y="50"/>
                    <a:pt x="36" y="51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5" y="49"/>
                    <a:pt x="35" y="50"/>
                    <a:pt x="35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2"/>
                    <a:pt x="38" y="51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0"/>
                  </a:cubicBezTo>
                  <a:cubicBezTo>
                    <a:pt x="37" y="50"/>
                    <a:pt x="36" y="51"/>
                    <a:pt x="36" y="51"/>
                  </a:cubicBezTo>
                  <a:close/>
                  <a:moveTo>
                    <a:pt x="41" y="54"/>
                  </a:moveTo>
                  <a:cubicBezTo>
                    <a:pt x="41" y="54"/>
                    <a:pt x="41" y="53"/>
                    <a:pt x="42" y="53"/>
                  </a:cubicBezTo>
                  <a:cubicBezTo>
                    <a:pt x="42" y="53"/>
                    <a:pt x="41" y="54"/>
                    <a:pt x="41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3" y="50"/>
                  </a:moveTo>
                  <a:cubicBezTo>
                    <a:pt x="33" y="49"/>
                    <a:pt x="33" y="50"/>
                    <a:pt x="33" y="50"/>
                  </a:cubicBezTo>
                  <a:cubicBezTo>
                    <a:pt x="33" y="50"/>
                    <a:pt x="33" y="49"/>
                    <a:pt x="33" y="49"/>
                  </a:cubicBezTo>
                  <a:cubicBezTo>
                    <a:pt x="33" y="49"/>
                    <a:pt x="33" y="50"/>
                    <a:pt x="33" y="50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3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40" y="54"/>
                  </a:moveTo>
                  <a:cubicBezTo>
                    <a:pt x="39" y="54"/>
                    <a:pt x="40" y="54"/>
                    <a:pt x="39" y="54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0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49"/>
                  </a:moveTo>
                  <a:cubicBezTo>
                    <a:pt x="30" y="49"/>
                    <a:pt x="30" y="49"/>
                    <a:pt x="30" y="5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49"/>
                    <a:pt x="30" y="49"/>
                    <a:pt x="30" y="49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2"/>
                    <a:pt x="29" y="52"/>
                  </a:cubicBezTo>
                  <a:cubicBezTo>
                    <a:pt x="30" y="51"/>
                    <a:pt x="30" y="51"/>
                    <a:pt x="30" y="50"/>
                  </a:cubicBezTo>
                  <a:cubicBezTo>
                    <a:pt x="30" y="50"/>
                    <a:pt x="31" y="50"/>
                    <a:pt x="31" y="50"/>
                  </a:cubicBezTo>
                  <a:cubicBezTo>
                    <a:pt x="31" y="50"/>
                    <a:pt x="30" y="50"/>
                    <a:pt x="30" y="51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2"/>
                    <a:pt x="34" y="52"/>
                  </a:cubicBezTo>
                  <a:cubicBezTo>
                    <a:pt x="33" y="52"/>
                    <a:pt x="34" y="51"/>
                    <a:pt x="34" y="51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3" y="51"/>
                  </a:cubicBezTo>
                  <a:cubicBezTo>
                    <a:pt x="33" y="51"/>
                    <a:pt x="32" y="51"/>
                    <a:pt x="32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51"/>
                  </a:moveTo>
                  <a:cubicBezTo>
                    <a:pt x="30" y="50"/>
                    <a:pt x="30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ubicBezTo>
                    <a:pt x="30" y="50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2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4"/>
                  </a:cubicBezTo>
                  <a:cubicBezTo>
                    <a:pt x="36" y="54"/>
                    <a:pt x="36" y="53"/>
                    <a:pt x="36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3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5" y="53"/>
                  </a:moveTo>
                  <a:cubicBezTo>
                    <a:pt x="36" y="53"/>
                    <a:pt x="35" y="54"/>
                    <a:pt x="35" y="54"/>
                  </a:cubicBezTo>
                  <a:cubicBezTo>
                    <a:pt x="35" y="54"/>
                    <a:pt x="35" y="54"/>
                    <a:pt x="35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2"/>
                    <a:pt x="31" y="52"/>
                  </a:cubicBezTo>
                  <a:cubicBezTo>
                    <a:pt x="30" y="52"/>
                    <a:pt x="30" y="52"/>
                    <a:pt x="31" y="51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3"/>
                  </a:cubicBezTo>
                  <a:cubicBezTo>
                    <a:pt x="34" y="53"/>
                    <a:pt x="34" y="54"/>
                    <a:pt x="34" y="54"/>
                  </a:cubicBezTo>
                  <a:close/>
                  <a:moveTo>
                    <a:pt x="31" y="53"/>
                  </a:moveTo>
                  <a:cubicBezTo>
                    <a:pt x="32" y="53"/>
                    <a:pt x="31" y="53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4"/>
                    <a:pt x="33" y="55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1" y="52"/>
                  </a:moveTo>
                  <a:cubicBezTo>
                    <a:pt x="30" y="52"/>
                    <a:pt x="30" y="53"/>
                    <a:pt x="30" y="52"/>
                  </a:cubicBezTo>
                  <a:cubicBezTo>
                    <a:pt x="30" y="52"/>
                    <a:pt x="30" y="52"/>
                    <a:pt x="31" y="52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6" y="56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5"/>
                  </a:cubicBezTo>
                  <a:cubicBezTo>
                    <a:pt x="37" y="55"/>
                    <a:pt x="37" y="56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29" y="52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3"/>
                    <a:pt x="29" y="52"/>
                  </a:cubicBezTo>
                  <a:close/>
                  <a:moveTo>
                    <a:pt x="30" y="53"/>
                  </a:moveTo>
                  <a:cubicBezTo>
                    <a:pt x="29" y="52"/>
                    <a:pt x="29" y="53"/>
                    <a:pt x="29" y="53"/>
                  </a:cubicBezTo>
                  <a:cubicBezTo>
                    <a:pt x="29" y="53"/>
                    <a:pt x="29" y="53"/>
                    <a:pt x="29" y="52"/>
                  </a:cubicBezTo>
                  <a:cubicBezTo>
                    <a:pt x="29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2" y="55"/>
                  </a:moveTo>
                  <a:cubicBezTo>
                    <a:pt x="32" y="55"/>
                    <a:pt x="32" y="55"/>
                    <a:pt x="32" y="5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5"/>
                    <a:pt x="32" y="54"/>
                    <a:pt x="32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5"/>
                    <a:pt x="34" y="55"/>
                  </a:cubicBezTo>
                  <a:close/>
                  <a:moveTo>
                    <a:pt x="30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0" y="54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3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6"/>
                    <a:pt x="34" y="56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7"/>
                    <a:pt x="34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2" y="58"/>
                    <a:pt x="33" y="57"/>
                    <a:pt x="33" y="57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lose/>
                  <a:moveTo>
                    <a:pt x="34" y="59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5" y="58"/>
                    <a:pt x="35" y="59"/>
                    <a:pt x="34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5"/>
                    <a:pt x="29" y="55"/>
                  </a:cubicBezTo>
                  <a:cubicBezTo>
                    <a:pt x="29" y="55"/>
                    <a:pt x="29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5"/>
                    <a:pt x="29" y="56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7" y="56"/>
                    <a:pt x="28" y="56"/>
                    <a:pt x="28" y="56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58"/>
                    <a:pt x="30" y="58"/>
                    <a:pt x="30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8" y="58"/>
                  </a:cubicBezTo>
                  <a:cubicBezTo>
                    <a:pt x="28" y="58"/>
                    <a:pt x="28" y="58"/>
                    <a:pt x="27" y="58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8" y="59"/>
                    <a:pt x="29" y="59"/>
                    <a:pt x="29" y="59"/>
                  </a:cubicBezTo>
                  <a:cubicBezTo>
                    <a:pt x="29" y="59"/>
                    <a:pt x="28" y="59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lose/>
                  <a:moveTo>
                    <a:pt x="29" y="60"/>
                  </a:moveTo>
                  <a:cubicBezTo>
                    <a:pt x="29" y="59"/>
                    <a:pt x="29" y="60"/>
                    <a:pt x="29" y="60"/>
                  </a:cubicBezTo>
                  <a:cubicBezTo>
                    <a:pt x="29" y="60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1" y="61"/>
                  </a:moveTo>
                  <a:cubicBezTo>
                    <a:pt x="31" y="61"/>
                    <a:pt x="31" y="61"/>
                    <a:pt x="32" y="61"/>
                  </a:cubicBezTo>
                  <a:cubicBezTo>
                    <a:pt x="32" y="61"/>
                    <a:pt x="32" y="61"/>
                    <a:pt x="31" y="61"/>
                  </a:cubicBezTo>
                  <a:close/>
                  <a:moveTo>
                    <a:pt x="28" y="59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0"/>
                    <a:pt x="29" y="60"/>
                  </a:cubicBezTo>
                  <a:cubicBezTo>
                    <a:pt x="29" y="60"/>
                    <a:pt x="29" y="61"/>
                    <a:pt x="29" y="61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6" y="61"/>
                  </a:move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5" y="65"/>
                  </a:moveTo>
                  <a:cubicBezTo>
                    <a:pt x="34" y="65"/>
                    <a:pt x="35" y="65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0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lose/>
                  <a:moveTo>
                    <a:pt x="29" y="62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3"/>
                    <a:pt x="29" y="62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6" y="61"/>
                  </a:cubicBezTo>
                  <a:close/>
                  <a:moveTo>
                    <a:pt x="34" y="66"/>
                  </a:move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lose/>
                  <a:moveTo>
                    <a:pt x="26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2"/>
                    <a:pt x="26" y="63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lose/>
                  <a:moveTo>
                    <a:pt x="25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5" y="64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lose/>
                  <a:moveTo>
                    <a:pt x="27" y="65"/>
                  </a:moveTo>
                  <a:cubicBezTo>
                    <a:pt x="27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7" y="65"/>
                    <a:pt x="27" y="65"/>
                  </a:cubicBezTo>
                  <a:close/>
                  <a:moveTo>
                    <a:pt x="25" y="64"/>
                  </a:move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lose/>
                  <a:moveTo>
                    <a:pt x="29" y="66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2" y="71"/>
                  </a:cubicBezTo>
                  <a:cubicBezTo>
                    <a:pt x="33" y="70"/>
                    <a:pt x="3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3" y="69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6"/>
                    <a:pt x="26" y="66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6" y="66"/>
                    <a:pt x="25" y="66"/>
                    <a:pt x="25" y="66"/>
                  </a:cubicBezTo>
                  <a:close/>
                  <a:moveTo>
                    <a:pt x="28" y="68"/>
                  </a:move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7"/>
                    <a:pt x="25" y="66"/>
                  </a:cubicBezTo>
                  <a:cubicBezTo>
                    <a:pt x="25" y="67"/>
                    <a:pt x="26" y="66"/>
                    <a:pt x="26" y="67"/>
                  </a:cubicBezTo>
                  <a:close/>
                  <a:moveTo>
                    <a:pt x="25" y="67"/>
                  </a:moveTo>
                  <a:cubicBezTo>
                    <a:pt x="24" y="67"/>
                    <a:pt x="25" y="66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4" y="67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4" y="67"/>
                  </a:cubicBezTo>
                  <a:close/>
                  <a:moveTo>
                    <a:pt x="27" y="69"/>
                  </a:move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lose/>
                  <a:moveTo>
                    <a:pt x="23" y="67"/>
                  </a:moveTo>
                  <a:cubicBezTo>
                    <a:pt x="23" y="67"/>
                    <a:pt x="24" y="67"/>
                    <a:pt x="24" y="67"/>
                  </a:cubicBezTo>
                  <a:cubicBezTo>
                    <a:pt x="24" y="67"/>
                    <a:pt x="24" y="67"/>
                    <a:pt x="23" y="67"/>
                  </a:cubicBezTo>
                  <a:close/>
                  <a:moveTo>
                    <a:pt x="25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8"/>
                  </a:cubicBezTo>
                  <a:cubicBezTo>
                    <a:pt x="23" y="68"/>
                    <a:pt x="23" y="67"/>
                    <a:pt x="23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7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lose/>
                  <a:moveTo>
                    <a:pt x="26" y="70"/>
                  </a:move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5" y="70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4" y="70"/>
                  </a:cubicBezTo>
                  <a:cubicBezTo>
                    <a:pt x="24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5" y="71"/>
                    <a:pt x="26" y="71"/>
                    <a:pt x="25" y="71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5" y="72"/>
                    <a:pt x="25" y="73"/>
                    <a:pt x="24" y="73"/>
                  </a:cubicBezTo>
                  <a:cubicBezTo>
                    <a:pt x="25" y="72"/>
                    <a:pt x="25" y="71"/>
                    <a:pt x="26" y="70"/>
                  </a:cubicBezTo>
                  <a:cubicBezTo>
                    <a:pt x="26" y="70"/>
                    <a:pt x="26" y="70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2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1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2" y="70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2" y="70"/>
                  </a:cubicBezTo>
                  <a:close/>
                  <a:moveTo>
                    <a:pt x="28" y="72"/>
                  </a:moveTo>
                  <a:cubicBezTo>
                    <a:pt x="28" y="72"/>
                    <a:pt x="28" y="72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2" y="70"/>
                  </a:move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70"/>
                    <a:pt x="22" y="70"/>
                  </a:cubicBezTo>
                  <a:close/>
                  <a:moveTo>
                    <a:pt x="24" y="71"/>
                  </a:moveTo>
                  <a:cubicBezTo>
                    <a:pt x="25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3" y="70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3" y="73"/>
                  </a:moveTo>
                  <a:cubicBezTo>
                    <a:pt x="23" y="72"/>
                    <a:pt x="23" y="72"/>
                    <a:pt x="23" y="72"/>
                  </a:cubicBezTo>
                  <a:cubicBezTo>
                    <a:pt x="23" y="72"/>
                    <a:pt x="23" y="72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6" y="75"/>
                  </a:cubicBezTo>
                  <a:cubicBezTo>
                    <a:pt x="26" y="75"/>
                    <a:pt x="25" y="75"/>
                    <a:pt x="25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2" y="74"/>
                    <a:pt x="23" y="74"/>
                    <a:pt x="23" y="74"/>
                  </a:cubicBezTo>
                  <a:close/>
                  <a:moveTo>
                    <a:pt x="26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8"/>
                  </a:cubicBezTo>
                  <a:cubicBezTo>
                    <a:pt x="27" y="77"/>
                    <a:pt x="27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5" y="75"/>
                  </a:moveTo>
                  <a:cubicBezTo>
                    <a:pt x="25" y="76"/>
                    <a:pt x="25" y="76"/>
                    <a:pt x="25" y="76"/>
                  </a:cubicBezTo>
                  <a:lnTo>
                    <a:pt x="25" y="75"/>
                  </a:lnTo>
                  <a:close/>
                  <a:moveTo>
                    <a:pt x="26" y="77"/>
                  </a:move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7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6"/>
                    <a:pt x="27" y="76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6" y="77"/>
                    <a:pt x="27" y="77"/>
                    <a:pt x="27" y="76"/>
                  </a:cubicBezTo>
                  <a:close/>
                  <a:moveTo>
                    <a:pt x="28" y="78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lose/>
                  <a:moveTo>
                    <a:pt x="29" y="78"/>
                  </a:move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7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2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lose/>
                  <a:moveTo>
                    <a:pt x="25" y="76"/>
                  </a:move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6"/>
                  </a:cubicBezTo>
                  <a:close/>
                  <a:moveTo>
                    <a:pt x="20" y="74"/>
                  </a:moveTo>
                  <a:cubicBezTo>
                    <a:pt x="19" y="74"/>
                    <a:pt x="19" y="74"/>
                    <a:pt x="19" y="74"/>
                  </a:cubicBezTo>
                  <a:cubicBezTo>
                    <a:pt x="20" y="74"/>
                    <a:pt x="19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19" y="75"/>
                  </a:moveTo>
                  <a:cubicBezTo>
                    <a:pt x="19" y="75"/>
                    <a:pt x="19" y="74"/>
                    <a:pt x="19" y="74"/>
                  </a:cubicBezTo>
                  <a:cubicBezTo>
                    <a:pt x="19" y="74"/>
                    <a:pt x="19" y="75"/>
                    <a:pt x="19" y="75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4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8"/>
                  </a:cubicBezTo>
                  <a:cubicBezTo>
                    <a:pt x="24" y="78"/>
                    <a:pt x="24" y="78"/>
                    <a:pt x="23" y="78"/>
                  </a:cubicBezTo>
                  <a:cubicBezTo>
                    <a:pt x="24" y="77"/>
                    <a:pt x="23" y="77"/>
                    <a:pt x="24" y="77"/>
                  </a:cubicBezTo>
                  <a:cubicBezTo>
                    <a:pt x="24" y="77"/>
                    <a:pt x="24" y="77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7" y="80"/>
                  </a:moveTo>
                  <a:cubicBezTo>
                    <a:pt x="27" y="80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79"/>
                    <a:pt x="27" y="80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2" y="77"/>
                  </a:move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3" y="77"/>
                    <a:pt x="22" y="77"/>
                    <a:pt x="22" y="77"/>
                  </a:cubicBezTo>
                  <a:close/>
                  <a:moveTo>
                    <a:pt x="25" y="79"/>
                  </a:moveTo>
                  <a:cubicBezTo>
                    <a:pt x="26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5" y="80"/>
                  </a:cubicBezTo>
                  <a:cubicBezTo>
                    <a:pt x="25" y="79"/>
                    <a:pt x="26" y="79"/>
                    <a:pt x="26" y="79"/>
                  </a:cubicBezTo>
                  <a:close/>
                  <a:moveTo>
                    <a:pt x="23" y="78"/>
                  </a:moveTo>
                  <a:cubicBezTo>
                    <a:pt x="23" y="79"/>
                    <a:pt x="23" y="78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9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lose/>
                  <a:moveTo>
                    <a:pt x="25" y="81"/>
                  </a:moveTo>
                  <a:cubicBezTo>
                    <a:pt x="25" y="80"/>
                    <a:pt x="26" y="80"/>
                    <a:pt x="26" y="79"/>
                  </a:cubicBezTo>
                  <a:cubicBezTo>
                    <a:pt x="26" y="80"/>
                    <a:pt x="25" y="80"/>
                    <a:pt x="25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8"/>
                    <a:pt x="24" y="78"/>
                  </a:cubicBezTo>
                  <a:cubicBezTo>
                    <a:pt x="24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lose/>
                  <a:moveTo>
                    <a:pt x="24" y="80"/>
                  </a:move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79"/>
                  </a:cubicBezTo>
                  <a:cubicBezTo>
                    <a:pt x="24" y="80"/>
                    <a:pt x="24" y="80"/>
                    <a:pt x="24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4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7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2"/>
                    <a:pt x="26" y="81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lose/>
                  <a:moveTo>
                    <a:pt x="21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80"/>
                  </a:cubicBezTo>
                  <a:cubicBezTo>
                    <a:pt x="22" y="80"/>
                    <a:pt x="22" y="79"/>
                    <a:pt x="22" y="79"/>
                  </a:cubicBezTo>
                  <a:cubicBezTo>
                    <a:pt x="22" y="79"/>
                    <a:pt x="22" y="80"/>
                    <a:pt x="21" y="80"/>
                  </a:cubicBezTo>
                  <a:close/>
                  <a:moveTo>
                    <a:pt x="21" y="80"/>
                  </a:moveTo>
                  <a:cubicBezTo>
                    <a:pt x="21" y="80"/>
                    <a:pt x="21" y="79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19" y="79"/>
                  </a:moveTo>
                  <a:cubicBezTo>
                    <a:pt x="19" y="79"/>
                    <a:pt x="19" y="79"/>
                    <a:pt x="19" y="78"/>
                  </a:cubicBezTo>
                  <a:cubicBezTo>
                    <a:pt x="19" y="78"/>
                    <a:pt x="19" y="79"/>
                    <a:pt x="19" y="79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1"/>
                  </a:cubicBezTo>
                  <a:close/>
                  <a:moveTo>
                    <a:pt x="27" y="82"/>
                  </a:moveTo>
                  <a:cubicBezTo>
                    <a:pt x="26" y="83"/>
                    <a:pt x="27" y="83"/>
                    <a:pt x="26" y="83"/>
                  </a:cubicBezTo>
                  <a:cubicBezTo>
                    <a:pt x="26" y="83"/>
                    <a:pt x="26" y="83"/>
                    <a:pt x="26" y="82"/>
                  </a:cubicBezTo>
                  <a:lnTo>
                    <a:pt x="27" y="82"/>
                  </a:lnTo>
                  <a:close/>
                  <a:moveTo>
                    <a:pt x="26" y="82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lose/>
                  <a:moveTo>
                    <a:pt x="25" y="82"/>
                  </a:move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2"/>
                    <a:pt x="26" y="82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2"/>
                    <a:pt x="25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1"/>
                  </a:moveTo>
                  <a:cubicBezTo>
                    <a:pt x="21" y="81"/>
                    <a:pt x="21" y="81"/>
                    <a:pt x="20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lose/>
                  <a:moveTo>
                    <a:pt x="21" y="82"/>
                  </a:moveTo>
                  <a:cubicBezTo>
                    <a:pt x="20" y="82"/>
                    <a:pt x="21" y="81"/>
                    <a:pt x="20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0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2" y="83"/>
                  </a:moveTo>
                  <a:cubicBezTo>
                    <a:pt x="22" y="83"/>
                    <a:pt x="23" y="83"/>
                    <a:pt x="23" y="83"/>
                  </a:cubicBezTo>
                  <a:cubicBezTo>
                    <a:pt x="23" y="83"/>
                    <a:pt x="22" y="83"/>
                    <a:pt x="22" y="83"/>
                  </a:cubicBezTo>
                  <a:close/>
                  <a:moveTo>
                    <a:pt x="17" y="81"/>
                  </a:moveTo>
                  <a:cubicBezTo>
                    <a:pt x="17" y="81"/>
                    <a:pt x="17" y="81"/>
                    <a:pt x="17" y="81"/>
                  </a:cubicBezTo>
                  <a:cubicBezTo>
                    <a:pt x="17" y="80"/>
                    <a:pt x="17" y="81"/>
                    <a:pt x="17" y="81"/>
                  </a:cubicBezTo>
                  <a:close/>
                  <a:moveTo>
                    <a:pt x="20" y="82"/>
                  </a:moveTo>
                  <a:cubicBezTo>
                    <a:pt x="20" y="82"/>
                    <a:pt x="20" y="82"/>
                    <a:pt x="20" y="82"/>
                  </a:cubicBezTo>
                  <a:cubicBezTo>
                    <a:pt x="20" y="83"/>
                    <a:pt x="20" y="83"/>
                    <a:pt x="20" y="83"/>
                  </a:cubicBezTo>
                  <a:lnTo>
                    <a:pt x="20" y="82"/>
                  </a:ln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20" y="83"/>
                  </a:move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3"/>
                  </a:cubicBezTo>
                  <a:close/>
                  <a:moveTo>
                    <a:pt x="19" y="83"/>
                  </a:moveTo>
                  <a:cubicBezTo>
                    <a:pt x="19" y="83"/>
                    <a:pt x="19" y="83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lose/>
                  <a:moveTo>
                    <a:pt x="19" y="83"/>
                  </a:moveTo>
                  <a:cubicBezTo>
                    <a:pt x="20" y="84"/>
                    <a:pt x="19" y="84"/>
                    <a:pt x="19" y="83"/>
                  </a:cubicBezTo>
                  <a:close/>
                  <a:moveTo>
                    <a:pt x="16" y="82"/>
                  </a:moveTo>
                  <a:cubicBezTo>
                    <a:pt x="15" y="82"/>
                    <a:pt x="16" y="82"/>
                    <a:pt x="16" y="82"/>
                  </a:cubicBezTo>
                  <a:cubicBezTo>
                    <a:pt x="16" y="82"/>
                    <a:pt x="15" y="83"/>
                    <a:pt x="16" y="82"/>
                  </a:cubicBezTo>
                  <a:close/>
                  <a:moveTo>
                    <a:pt x="21" y="85"/>
                  </a:move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lose/>
                  <a:moveTo>
                    <a:pt x="21" y="87"/>
                  </a:moveTo>
                  <a:cubicBezTo>
                    <a:pt x="21" y="87"/>
                    <a:pt x="21" y="87"/>
                    <a:pt x="21" y="87"/>
                  </a:cubicBezTo>
                  <a:cubicBezTo>
                    <a:pt x="22" y="87"/>
                    <a:pt x="21" y="87"/>
                    <a:pt x="21" y="87"/>
                  </a:cubicBezTo>
                  <a:close/>
                  <a:moveTo>
                    <a:pt x="17" y="85"/>
                  </a:move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lose/>
                  <a:moveTo>
                    <a:pt x="18" y="86"/>
                  </a:moveTo>
                  <a:cubicBezTo>
                    <a:pt x="18" y="86"/>
                    <a:pt x="18" y="86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6"/>
                  </a:cubicBezTo>
                  <a:cubicBezTo>
                    <a:pt x="17" y="86"/>
                    <a:pt x="16" y="87"/>
                    <a:pt x="16" y="86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23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5" y="90"/>
                  </a:move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lose/>
                  <a:moveTo>
                    <a:pt x="17" y="96"/>
                  </a:moveTo>
                  <a:cubicBezTo>
                    <a:pt x="18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lose/>
                  <a:moveTo>
                    <a:pt x="14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4" y="95"/>
                    <a:pt x="14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8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lose/>
                  <a:moveTo>
                    <a:pt x="15" y="100"/>
                  </a:moveTo>
                  <a:cubicBezTo>
                    <a:pt x="16" y="100"/>
                    <a:pt x="15" y="100"/>
                    <a:pt x="15" y="101"/>
                  </a:cubicBezTo>
                  <a:cubicBezTo>
                    <a:pt x="15" y="100"/>
                    <a:pt x="15" y="100"/>
                    <a:pt x="15" y="100"/>
                  </a:cubicBezTo>
                  <a:close/>
                  <a:moveTo>
                    <a:pt x="16" y="102"/>
                  </a:move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lose/>
                  <a:moveTo>
                    <a:pt x="15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104"/>
                    <a:pt x="15" y="103"/>
                    <a:pt x="15" y="103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4" y="104"/>
                  </a:moveTo>
                  <a:cubicBezTo>
                    <a:pt x="14" y="104"/>
                    <a:pt x="14" y="104"/>
                    <a:pt x="14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4"/>
                    <a:pt x="14" y="104"/>
                  </a:cubicBezTo>
                  <a:close/>
                  <a:moveTo>
                    <a:pt x="12" y="104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7"/>
                    <a:pt x="14" y="107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6"/>
                    <a:pt x="14" y="106"/>
                    <a:pt x="14" y="107"/>
                  </a:cubicBezTo>
                  <a:close/>
                  <a:moveTo>
                    <a:pt x="11" y="105"/>
                  </a:moveTo>
                  <a:cubicBezTo>
                    <a:pt x="11" y="105"/>
                    <a:pt x="11" y="104"/>
                    <a:pt x="11" y="104"/>
                  </a:cubicBezTo>
                  <a:cubicBezTo>
                    <a:pt x="11" y="104"/>
                    <a:pt x="11" y="105"/>
                    <a:pt x="11" y="105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8"/>
                    <a:pt x="13" y="108"/>
                  </a:cubicBezTo>
                  <a:cubicBezTo>
                    <a:pt x="13" y="108"/>
                    <a:pt x="13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9"/>
                    <a:pt x="11" y="109"/>
                    <a:pt x="12" y="109"/>
                  </a:cubicBezTo>
                  <a:cubicBezTo>
                    <a:pt x="12" y="109"/>
                    <a:pt x="11" y="110"/>
                    <a:pt x="11" y="110"/>
                  </a:cubicBezTo>
                  <a:close/>
                  <a:moveTo>
                    <a:pt x="7" y="108"/>
                  </a:moveTo>
                  <a:cubicBezTo>
                    <a:pt x="7" y="108"/>
                    <a:pt x="7" y="107"/>
                    <a:pt x="7" y="107"/>
                  </a:cubicBezTo>
                  <a:cubicBezTo>
                    <a:pt x="7" y="107"/>
                    <a:pt x="7" y="108"/>
                    <a:pt x="7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1" y="110"/>
                    <a:pt x="11" y="109"/>
                  </a:cubicBezTo>
                  <a:cubicBezTo>
                    <a:pt x="11" y="110"/>
                    <a:pt x="11" y="110"/>
                    <a:pt x="10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2" y="110"/>
                    <a:pt x="11" y="111"/>
                    <a:pt x="11" y="111"/>
                  </a:cubicBezTo>
                  <a:cubicBezTo>
                    <a:pt x="11" y="111"/>
                    <a:pt x="12" y="110"/>
                    <a:pt x="11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0" y="110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lose/>
                  <a:moveTo>
                    <a:pt x="10" y="111"/>
                  </a:moveTo>
                  <a:cubicBezTo>
                    <a:pt x="11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lose/>
                  <a:moveTo>
                    <a:pt x="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6" y="111"/>
                    <a:pt x="5" y="111"/>
                    <a:pt x="5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9" y="115"/>
                    <a:pt x="9" y="116"/>
                  </a:cubicBezTo>
                  <a:cubicBezTo>
                    <a:pt x="8" y="116"/>
                    <a:pt x="8" y="117"/>
                    <a:pt x="8" y="117"/>
                  </a:cubicBezTo>
                  <a:cubicBezTo>
                    <a:pt x="8" y="116"/>
                    <a:pt x="9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1" y="115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lose/>
                  <a:moveTo>
                    <a:pt x="10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lose/>
                  <a:moveTo>
                    <a:pt x="10" y="116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5"/>
                  </a:cubicBezTo>
                  <a:lnTo>
                    <a:pt x="10" y="116"/>
                  </a:ln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3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3"/>
                  </a:cubicBezTo>
                  <a:close/>
                  <a:moveTo>
                    <a:pt x="7" y="116"/>
                  </a:moveTo>
                  <a:cubicBezTo>
                    <a:pt x="7" y="117"/>
                    <a:pt x="7" y="116"/>
                    <a:pt x="7" y="117"/>
                  </a:cubicBezTo>
                  <a:cubicBezTo>
                    <a:pt x="6" y="116"/>
                    <a:pt x="7" y="116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lose/>
                  <a:moveTo>
                    <a:pt x="7" y="116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7" y="117"/>
                    <a:pt x="7" y="116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6" y="118"/>
                  </a:cubicBezTo>
                  <a:cubicBezTo>
                    <a:pt x="6" y="117"/>
                    <a:pt x="7" y="117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9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5"/>
                    <a:pt x="2" y="115"/>
                  </a:cubicBezTo>
                  <a:cubicBezTo>
                    <a:pt x="2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8" y="119"/>
                    <a:pt x="8" y="120"/>
                  </a:cubicBezTo>
                  <a:cubicBezTo>
                    <a:pt x="8" y="119"/>
                    <a:pt x="8" y="119"/>
                    <a:pt x="9" y="119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9"/>
                    <a:pt x="7" y="119"/>
                  </a:cubicBezTo>
                  <a:cubicBezTo>
                    <a:pt x="7" y="119"/>
                    <a:pt x="7" y="118"/>
                    <a:pt x="7" y="118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7"/>
                    <a:pt x="2" y="117"/>
                  </a:cubicBezTo>
                  <a:cubicBezTo>
                    <a:pt x="2" y="117"/>
                    <a:pt x="2" y="116"/>
                    <a:pt x="2" y="116"/>
                  </a:cubicBezTo>
                  <a:close/>
                  <a:moveTo>
                    <a:pt x="4" y="118"/>
                  </a:moveTo>
                  <a:cubicBezTo>
                    <a:pt x="4" y="118"/>
                    <a:pt x="4" y="117"/>
                    <a:pt x="4" y="117"/>
                  </a:cubicBezTo>
                  <a:cubicBezTo>
                    <a:pt x="5" y="117"/>
                    <a:pt x="4" y="118"/>
                    <a:pt x="4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8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9"/>
                  </a:cubicBezTo>
                  <a:close/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lose/>
                  <a:moveTo>
                    <a:pt x="7" y="121"/>
                  </a:move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0"/>
                    <a:pt x="8" y="120"/>
                    <a:pt x="8" y="120"/>
                  </a:cubicBezTo>
                  <a:cubicBezTo>
                    <a:pt x="8" y="121"/>
                    <a:pt x="8" y="121"/>
                    <a:pt x="7" y="121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7"/>
                    <a:pt x="0" y="117"/>
                  </a:cubicBezTo>
                  <a:cubicBezTo>
                    <a:pt x="0" y="117"/>
                    <a:pt x="0" y="117"/>
                    <a:pt x="1" y="117"/>
                  </a:cubicBezTo>
                  <a:cubicBezTo>
                    <a:pt x="1" y="117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20"/>
                  </a:cubicBezTo>
                  <a:cubicBezTo>
                    <a:pt x="6" y="120"/>
                    <a:pt x="5" y="120"/>
                    <a:pt x="5" y="120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19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1" y="118"/>
                  </a:cubicBezTo>
                  <a:cubicBezTo>
                    <a:pt x="1" y="118"/>
                    <a:pt x="0" y="118"/>
                    <a:pt x="0" y="118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2"/>
                  </a:cubicBezTo>
                  <a:cubicBezTo>
                    <a:pt x="7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5" y="123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45" y="36"/>
                  </a:move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lose/>
                  <a:moveTo>
                    <a:pt x="62" y="17"/>
                  </a:moveTo>
                  <a:cubicBezTo>
                    <a:pt x="62" y="17"/>
                    <a:pt x="62" y="18"/>
                    <a:pt x="62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9"/>
                    <a:pt x="61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1"/>
                    <a:pt x="59" y="22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9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3"/>
                    <a:pt x="58" y="23"/>
                  </a:cubicBezTo>
                  <a:cubicBezTo>
                    <a:pt x="58" y="24"/>
                    <a:pt x="57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9"/>
                    <a:pt x="54" y="30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2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2"/>
                    <a:pt x="51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49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1" y="33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6"/>
                    <a:pt x="49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9" y="37"/>
                    <a:pt x="49" y="37"/>
                  </a:cubicBezTo>
                  <a:cubicBezTo>
                    <a:pt x="49" y="37"/>
                    <a:pt x="48" y="37"/>
                    <a:pt x="48" y="37"/>
                  </a:cubicBezTo>
                  <a:cubicBezTo>
                    <a:pt x="49" y="37"/>
                    <a:pt x="48" y="36"/>
                    <a:pt x="49" y="36"/>
                  </a:cubicBezTo>
                  <a:cubicBezTo>
                    <a:pt x="49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8"/>
                    <a:pt x="48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6" y="40"/>
                    <a:pt x="46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3"/>
                    <a:pt x="45" y="43"/>
                    <a:pt x="45" y="43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1"/>
                    <a:pt x="46" y="40"/>
                    <a:pt x="46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9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8"/>
                  </a:cubicBezTo>
                  <a:cubicBezTo>
                    <a:pt x="48" y="37"/>
                    <a:pt x="47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7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6"/>
                  </a:cubicBezTo>
                  <a:cubicBezTo>
                    <a:pt x="48" y="36"/>
                    <a:pt x="48" y="36"/>
                    <a:pt x="47" y="36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5"/>
                    <a:pt x="48" y="35"/>
                  </a:cubicBezTo>
                  <a:cubicBezTo>
                    <a:pt x="48" y="35"/>
                    <a:pt x="47" y="36"/>
                    <a:pt x="47" y="36"/>
                  </a:cubicBezTo>
                  <a:cubicBezTo>
                    <a:pt x="47" y="36"/>
                    <a:pt x="47" y="37"/>
                    <a:pt x="47" y="37"/>
                  </a:cubicBezTo>
                  <a:cubicBezTo>
                    <a:pt x="47" y="37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6"/>
                    <a:pt x="48" y="35"/>
                    <a:pt x="48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3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0"/>
                    <a:pt x="51" y="31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2" y="28"/>
                    <a:pt x="52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2"/>
                    <a:pt x="50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3"/>
                    <a:pt x="48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5"/>
                    <a:pt x="46" y="34"/>
                    <a:pt x="46" y="34"/>
                  </a:cubicBezTo>
                  <a:cubicBezTo>
                    <a:pt x="46" y="34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6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6" y="35"/>
                    <a:pt x="46" y="36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3" y="40"/>
                    <a:pt x="43" y="40"/>
                  </a:cubicBezTo>
                  <a:cubicBezTo>
                    <a:pt x="43" y="40"/>
                    <a:pt x="44" y="40"/>
                    <a:pt x="43" y="40"/>
                  </a:cubicBezTo>
                  <a:cubicBezTo>
                    <a:pt x="44" y="39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8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4" y="37"/>
                    <a:pt x="44" y="37"/>
                  </a:cubicBezTo>
                  <a:cubicBezTo>
                    <a:pt x="44" y="37"/>
                    <a:pt x="44" y="38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5" y="36"/>
                    <a:pt x="46" y="36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4" y="36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4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6" y="32"/>
                    <a:pt x="46" y="33"/>
                  </a:cubicBez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8" y="30"/>
                    <a:pt x="47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30"/>
                    <a:pt x="47" y="30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6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6" y="26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7"/>
                  </a:cubicBez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5" y="2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5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2"/>
                    <a:pt x="44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6" y="29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5" y="27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6"/>
                    <a:pt x="44" y="26"/>
                  </a:cubicBezTo>
                  <a:cubicBezTo>
                    <a:pt x="44" y="26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5" y="25"/>
                    <a:pt x="45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4"/>
                  </a:cubicBezTo>
                  <a:cubicBezTo>
                    <a:pt x="44" y="24"/>
                    <a:pt x="45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5" y="23"/>
                    <a:pt x="45" y="24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5" y="21"/>
                    <a:pt x="46" y="22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8"/>
                    <a:pt x="46" y="19"/>
                  </a:cubicBezTo>
                  <a:cubicBezTo>
                    <a:pt x="45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20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5" y="17"/>
                    <a:pt x="45" y="17"/>
                    <a:pt x="46" y="16"/>
                  </a:cubicBezTo>
                  <a:cubicBezTo>
                    <a:pt x="46" y="16"/>
                    <a:pt x="46" y="17"/>
                    <a:pt x="45" y="17"/>
                  </a:cubicBezTo>
                  <a:cubicBezTo>
                    <a:pt x="46" y="17"/>
                    <a:pt x="46" y="16"/>
                    <a:pt x="45" y="16"/>
                  </a:cubicBezTo>
                  <a:cubicBezTo>
                    <a:pt x="46" y="16"/>
                    <a:pt x="46" y="16"/>
                    <a:pt x="46" y="15"/>
                  </a:cubicBezTo>
                  <a:cubicBezTo>
                    <a:pt x="46" y="15"/>
                    <a:pt x="46" y="16"/>
                    <a:pt x="46" y="15"/>
                  </a:cubicBezTo>
                  <a:cubicBezTo>
                    <a:pt x="46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5"/>
                    <a:pt x="45" y="15"/>
                  </a:cubicBezTo>
                  <a:cubicBezTo>
                    <a:pt x="45" y="15"/>
                    <a:pt x="45" y="14"/>
                    <a:pt x="45" y="14"/>
                  </a:cubicBezTo>
                  <a:cubicBezTo>
                    <a:pt x="45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6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7" y="12"/>
                  </a:cubicBezTo>
                  <a:cubicBezTo>
                    <a:pt x="47" y="12"/>
                    <a:pt x="48" y="12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9" y="11"/>
                  </a:cubicBezTo>
                  <a:cubicBezTo>
                    <a:pt x="49" y="11"/>
                    <a:pt x="49" y="11"/>
                    <a:pt x="49" y="10"/>
                  </a:cubicBezTo>
                  <a:cubicBezTo>
                    <a:pt x="49" y="11"/>
                    <a:pt x="49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9"/>
                  </a:cubicBezTo>
                  <a:cubicBezTo>
                    <a:pt x="49" y="10"/>
                    <a:pt x="49" y="10"/>
                    <a:pt x="50" y="10"/>
                  </a:cubicBezTo>
                  <a:cubicBezTo>
                    <a:pt x="49" y="9"/>
                    <a:pt x="49" y="10"/>
                    <a:pt x="49" y="9"/>
                  </a:cubicBezTo>
                  <a:cubicBezTo>
                    <a:pt x="49" y="9"/>
                    <a:pt x="49" y="9"/>
                    <a:pt x="50" y="9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0" y="7"/>
                    <a:pt x="50" y="8"/>
                  </a:cubicBezTo>
                  <a:cubicBezTo>
                    <a:pt x="50" y="7"/>
                    <a:pt x="51" y="7"/>
                    <a:pt x="51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2" y="6"/>
                    <a:pt x="52" y="5"/>
                    <a:pt x="52" y="6"/>
                  </a:cubicBezTo>
                  <a:cubicBezTo>
                    <a:pt x="52" y="5"/>
                    <a:pt x="52" y="6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1" y="5"/>
                  </a:cubicBezTo>
                  <a:cubicBezTo>
                    <a:pt x="51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3" y="4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2"/>
                    <a:pt x="54" y="2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8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2" y="1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3" y="2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4"/>
                    <a:pt x="64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7"/>
                    <a:pt x="65" y="7"/>
                  </a:cubicBezTo>
                  <a:cubicBezTo>
                    <a:pt x="65" y="8"/>
                    <a:pt x="65" y="9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4" y="11"/>
                    <a:pt x="65" y="11"/>
                    <a:pt x="65" y="12"/>
                  </a:cubicBezTo>
                  <a:cubicBezTo>
                    <a:pt x="64" y="12"/>
                    <a:pt x="64" y="12"/>
                    <a:pt x="64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5"/>
                    <a:pt x="63" y="16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8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6" y="21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7" y="22"/>
                  </a:cubicBezTo>
                  <a:close/>
                  <a:moveTo>
                    <a:pt x="46" y="22"/>
                  </a:move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7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6" y="23"/>
                  </a:cubicBezTo>
                  <a:cubicBezTo>
                    <a:pt x="46" y="22"/>
                    <a:pt x="46" y="22"/>
                    <a:pt x="46" y="23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3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6" y="25"/>
                    <a:pt x="45" y="25"/>
                  </a:cubicBezTo>
                  <a:cubicBezTo>
                    <a:pt x="46" y="26"/>
                    <a:pt x="46" y="25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7"/>
                    <a:pt x="46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5" y="28"/>
                    <a:pt x="45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7" y="24"/>
                    <a:pt x="48" y="24"/>
                    <a:pt x="47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3"/>
                    <a:pt x="49" y="23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8" y="24"/>
                    <a:pt x="48" y="24"/>
                    <a:pt x="48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4"/>
                    <a:pt x="48" y="24"/>
                    <a:pt x="48" y="24"/>
                  </a:cubicBezTo>
                  <a:cubicBezTo>
                    <a:pt x="48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2"/>
                  </a:moveTo>
                  <a:cubicBezTo>
                    <a:pt x="49" y="22"/>
                    <a:pt x="49" y="23"/>
                    <a:pt x="49" y="23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49" y="25"/>
                    <a:pt x="49" y="25"/>
                  </a:cubicBezTo>
                  <a:cubicBezTo>
                    <a:pt x="50" y="25"/>
                    <a:pt x="49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0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8" y="28"/>
                    <a:pt x="48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4" y="39"/>
                  </a:move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46" y="37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5" y="36"/>
                    <a:pt x="46" y="37"/>
                  </a:cubicBezTo>
                  <a:close/>
                  <a:moveTo>
                    <a:pt x="45" y="35"/>
                  </a:moveTo>
                  <a:cubicBezTo>
                    <a:pt x="45" y="35"/>
                    <a:pt x="45" y="34"/>
                    <a:pt x="45" y="34"/>
                  </a:cubicBezTo>
                  <a:cubicBezTo>
                    <a:pt x="45" y="34"/>
                    <a:pt x="45" y="34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7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1"/>
                    <a:pt x="47" y="31"/>
                  </a:cubicBezTo>
                  <a:cubicBezTo>
                    <a:pt x="47" y="31"/>
                    <a:pt x="48" y="30"/>
                    <a:pt x="47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7" y="31"/>
                    <a:pt x="48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lose/>
                  <a:moveTo>
                    <a:pt x="50" y="29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49" y="29"/>
                    <a:pt x="50" y="29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1"/>
                    <a:pt x="49" y="30"/>
                    <a:pt x="49" y="31"/>
                  </a:cubicBezTo>
                  <a:cubicBezTo>
                    <a:pt x="49" y="31"/>
                    <a:pt x="49" y="30"/>
                    <a:pt x="49" y="30"/>
                  </a:cubicBezTo>
                  <a:close/>
                  <a:moveTo>
                    <a:pt x="53" y="25"/>
                  </a:move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5"/>
                  </a:cubicBezTo>
                  <a:cubicBezTo>
                    <a:pt x="53" y="25"/>
                    <a:pt x="53" y="26"/>
                    <a:pt x="53" y="25"/>
                  </a:cubicBezTo>
                  <a:lnTo>
                    <a:pt x="53" y="26"/>
                  </a:lnTo>
                  <a:close/>
                  <a:moveTo>
                    <a:pt x="52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2" y="26"/>
                    <a:pt x="52" y="26"/>
                  </a:cubicBezTo>
                  <a:close/>
                  <a:moveTo>
                    <a:pt x="52" y="26"/>
                  </a:moveTo>
                  <a:cubicBezTo>
                    <a:pt x="52" y="26"/>
                    <a:pt x="52" y="27"/>
                    <a:pt x="52" y="27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0" y="29"/>
                    <a:pt x="51" y="29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1"/>
                  </a:cubicBezTo>
                  <a:close/>
                  <a:moveTo>
                    <a:pt x="50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1"/>
                    <a:pt x="50" y="31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9"/>
                  </a:move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9"/>
                    <a:pt x="51" y="28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2" y="29"/>
                  </a:cubicBezTo>
                  <a:close/>
                  <a:moveTo>
                    <a:pt x="54" y="24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4"/>
                    <a:pt x="54" y="25"/>
                    <a:pt x="54" y="25"/>
                  </a:cubicBezTo>
                  <a:lnTo>
                    <a:pt x="54" y="24"/>
                  </a:lnTo>
                  <a:close/>
                  <a:moveTo>
                    <a:pt x="53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lnTo>
                    <a:pt x="53" y="25"/>
                  </a:ln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47" y="37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6" y="38"/>
                    <a:pt x="46" y="38"/>
                  </a:cubicBezTo>
                  <a:cubicBezTo>
                    <a:pt x="47" y="38"/>
                    <a:pt x="47" y="38"/>
                    <a:pt x="47" y="37"/>
                  </a:cubicBezTo>
                  <a:close/>
                  <a:moveTo>
                    <a:pt x="49" y="34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9" y="34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52" y="28"/>
                  </a:moveTo>
                  <a:cubicBezTo>
                    <a:pt x="52" y="29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8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2" y="28"/>
                    <a:pt x="53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3" y="29"/>
                    <a:pt x="53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3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2"/>
                    <a:pt x="59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2"/>
                    <a:pt x="58" y="22"/>
                    <a:pt x="59" y="22"/>
                  </a:cubicBezTo>
                  <a:cubicBezTo>
                    <a:pt x="59" y="22"/>
                    <a:pt x="58" y="22"/>
                    <a:pt x="59" y="22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5" y="26"/>
                    <a:pt x="45" y="26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1" y="30"/>
                    <a:pt x="51" y="31"/>
                  </a:cubicBezTo>
                  <a:cubicBezTo>
                    <a:pt x="51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64" y="4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3"/>
                  </a:cubicBezTo>
                  <a:cubicBezTo>
                    <a:pt x="65" y="3"/>
                    <a:pt x="64" y="4"/>
                    <a:pt x="64" y="4"/>
                  </a:cubicBezTo>
                  <a:close/>
                  <a:moveTo>
                    <a:pt x="43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3" y="23"/>
                    <a:pt x="42" y="23"/>
                    <a:pt x="43" y="23"/>
                  </a:cubicBezTo>
                  <a:close/>
                  <a:moveTo>
                    <a:pt x="44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3" y="29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lose/>
                  <a:moveTo>
                    <a:pt x="44" y="28"/>
                  </a:moveTo>
                  <a:cubicBezTo>
                    <a:pt x="45" y="28"/>
                    <a:pt x="44" y="29"/>
                    <a:pt x="45" y="29"/>
                  </a:cubicBezTo>
                  <a:cubicBezTo>
                    <a:pt x="45" y="29"/>
                    <a:pt x="45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8"/>
                    <a:pt x="44" y="28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5" y="31"/>
                  </a:move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2"/>
                    <a:pt x="45" y="32"/>
                  </a:cubicBezTo>
                  <a:cubicBezTo>
                    <a:pt x="45" y="32"/>
                    <a:pt x="45" y="32"/>
                    <a:pt x="45" y="31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8" y="34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7" y="35"/>
                    <a:pt x="48" y="35"/>
                    <a:pt x="47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3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1"/>
                    <a:pt x="43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3" y="30"/>
                    <a:pt x="43" y="31"/>
                  </a:cubicBezTo>
                  <a:cubicBezTo>
                    <a:pt x="43" y="31"/>
                    <a:pt x="43" y="30"/>
                    <a:pt x="43" y="30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2" y="31"/>
                  </a:moveTo>
                  <a:cubicBezTo>
                    <a:pt x="41" y="31"/>
                    <a:pt x="41" y="30"/>
                    <a:pt x="41" y="31"/>
                  </a:cubicBezTo>
                  <a:cubicBezTo>
                    <a:pt x="41" y="31"/>
                    <a:pt x="41" y="30"/>
                    <a:pt x="41" y="30"/>
                  </a:cubicBezTo>
                  <a:cubicBezTo>
                    <a:pt x="42" y="30"/>
                    <a:pt x="42" y="30"/>
                    <a:pt x="42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3" y="34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2" y="36"/>
                  </a:cubicBezTo>
                  <a:cubicBezTo>
                    <a:pt x="42" y="37"/>
                    <a:pt x="42" y="36"/>
                    <a:pt x="42" y="36"/>
                  </a:cubicBezTo>
                  <a:cubicBezTo>
                    <a:pt x="42" y="36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6"/>
                    <a:pt x="42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39" y="37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7"/>
                    <a:pt x="39" y="37"/>
                  </a:cubicBezTo>
                  <a:cubicBezTo>
                    <a:pt x="39" y="37"/>
                    <a:pt x="39" y="36"/>
                    <a:pt x="40" y="35"/>
                  </a:cubicBezTo>
                  <a:cubicBezTo>
                    <a:pt x="40" y="36"/>
                    <a:pt x="39" y="36"/>
                    <a:pt x="40" y="36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7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46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4" y="42"/>
                  </a:moveTo>
                  <a:cubicBezTo>
                    <a:pt x="44" y="42"/>
                    <a:pt x="45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4" y="42"/>
                    <a:pt x="44" y="42"/>
                  </a:cubicBezTo>
                  <a:close/>
                  <a:moveTo>
                    <a:pt x="39" y="40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2" y="46"/>
                    <a:pt x="42" y="46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3" y="44"/>
                  </a:cubicBezTo>
                  <a:cubicBezTo>
                    <a:pt x="43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3" y="44"/>
                    <a:pt x="43" y="45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3" y="44"/>
                    <a:pt x="43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6"/>
                    <a:pt x="44" y="46"/>
                  </a:cubicBezTo>
                  <a:cubicBezTo>
                    <a:pt x="44" y="46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4" y="46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4"/>
                  </a:cubicBezTo>
                  <a:cubicBezTo>
                    <a:pt x="41" y="44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2" y="45"/>
                    <a:pt x="41" y="45"/>
                    <a:pt x="42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4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1" y="45"/>
                    <a:pt x="41" y="45"/>
                    <a:pt x="41" y="44"/>
                  </a:cubicBezTo>
                  <a:close/>
                  <a:moveTo>
                    <a:pt x="40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1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0" y="47"/>
                    <a:pt x="40" y="46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3" y="47"/>
                  </a:cubicBezTo>
                  <a:cubicBezTo>
                    <a:pt x="43" y="47"/>
                    <a:pt x="42" y="47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2" y="50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1" y="52"/>
                    <a:pt x="42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4"/>
                    <a:pt x="41" y="53"/>
                  </a:cubicBezTo>
                  <a:cubicBezTo>
                    <a:pt x="41" y="54"/>
                    <a:pt x="41" y="54"/>
                    <a:pt x="40" y="54"/>
                  </a:cubicBezTo>
                  <a:cubicBezTo>
                    <a:pt x="40" y="53"/>
                    <a:pt x="40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8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ubicBezTo>
                    <a:pt x="39" y="53"/>
                    <a:pt x="39" y="53"/>
                    <a:pt x="39" y="54"/>
                  </a:cubicBezTo>
                  <a:cubicBezTo>
                    <a:pt x="39" y="53"/>
                    <a:pt x="39" y="53"/>
                    <a:pt x="38" y="5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40" y="51"/>
                    <a:pt x="40" y="51"/>
                  </a:cubicBezTo>
                  <a:cubicBezTo>
                    <a:pt x="40" y="52"/>
                    <a:pt x="40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0"/>
                    <a:pt x="41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1"/>
                    <a:pt x="39" y="51"/>
                    <a:pt x="40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7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2"/>
                    <a:pt x="38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1"/>
                    <a:pt x="39" y="50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49"/>
                    <a:pt x="38" y="50"/>
                    <a:pt x="38" y="5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9"/>
                  </a:cubicBezTo>
                  <a:cubicBezTo>
                    <a:pt x="38" y="48"/>
                    <a:pt x="38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8"/>
                    <a:pt x="37" y="48"/>
                    <a:pt x="37" y="49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6"/>
                    <a:pt x="37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6"/>
                    <a:pt x="40" y="46"/>
                  </a:cubicBezTo>
                  <a:cubicBezTo>
                    <a:pt x="39" y="47"/>
                    <a:pt x="40" y="47"/>
                    <a:pt x="40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7" y="47"/>
                    <a:pt x="38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8"/>
                    <a:pt x="37" y="48"/>
                  </a:cubicBezTo>
                  <a:cubicBezTo>
                    <a:pt x="38" y="48"/>
                    <a:pt x="38" y="47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8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9" y="49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lose/>
                  <a:moveTo>
                    <a:pt x="39" y="53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3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3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0" y="52"/>
                    <a:pt x="40" y="52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2"/>
                    <a:pt x="41" y="51"/>
                    <a:pt x="41" y="51"/>
                  </a:cubicBezTo>
                  <a:cubicBezTo>
                    <a:pt x="41" y="52"/>
                    <a:pt x="41" y="51"/>
                    <a:pt x="40" y="52"/>
                  </a:cubicBezTo>
                  <a:close/>
                  <a:moveTo>
                    <a:pt x="41" y="50"/>
                  </a:moveTo>
                  <a:cubicBezTo>
                    <a:pt x="41" y="50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1"/>
                    <a:pt x="40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39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0" y="49"/>
                    <a:pt x="41" y="49"/>
                    <a:pt x="41" y="49"/>
                  </a:cubicBezTo>
                  <a:cubicBezTo>
                    <a:pt x="40" y="49"/>
                    <a:pt x="41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1" y="49"/>
                  </a:cubicBezTo>
                  <a:cubicBezTo>
                    <a:pt x="41" y="49"/>
                    <a:pt x="41" y="49"/>
                    <a:pt x="40" y="50"/>
                  </a:cubicBezTo>
                  <a:cubicBezTo>
                    <a:pt x="41" y="50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9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9" y="52"/>
                  </a:moveTo>
                  <a:cubicBezTo>
                    <a:pt x="38" y="53"/>
                    <a:pt x="38" y="53"/>
                    <a:pt x="39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9" y="53"/>
                    <a:pt x="38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41" y="51"/>
                  </a:move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1" y="51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5"/>
                    <a:pt x="38" y="46"/>
                  </a:cubicBezTo>
                  <a:cubicBezTo>
                    <a:pt x="38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39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lose/>
                  <a:moveTo>
                    <a:pt x="34" y="44"/>
                  </a:move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5"/>
                    <a:pt x="36" y="46"/>
                    <a:pt x="36" y="46"/>
                  </a:cubicBezTo>
                  <a:cubicBezTo>
                    <a:pt x="36" y="46"/>
                    <a:pt x="36" y="46"/>
                    <a:pt x="37" y="46"/>
                  </a:cubicBezTo>
                  <a:cubicBezTo>
                    <a:pt x="37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6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9"/>
                    <a:pt x="35" y="48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4" y="48"/>
                  </a:cubicBezTo>
                  <a:cubicBezTo>
                    <a:pt x="34" y="48"/>
                    <a:pt x="35" y="48"/>
                    <a:pt x="35" y="48"/>
                  </a:cubicBezTo>
                  <a:cubicBezTo>
                    <a:pt x="35" y="47"/>
                    <a:pt x="35" y="48"/>
                    <a:pt x="35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2" y="48"/>
                    <a:pt x="33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7"/>
                    <a:pt x="33" y="48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lose/>
                  <a:moveTo>
                    <a:pt x="36" y="46"/>
                  </a:moveTo>
                  <a:cubicBezTo>
                    <a:pt x="36" y="47"/>
                    <a:pt x="35" y="47"/>
                    <a:pt x="36" y="47"/>
                  </a:cubicBezTo>
                  <a:cubicBezTo>
                    <a:pt x="36" y="47"/>
                    <a:pt x="36" y="47"/>
                    <a:pt x="36" y="46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6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0" y="47"/>
                    <a:pt x="40" y="47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7" y="50"/>
                    <a:pt x="37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1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0"/>
                    <a:pt x="39" y="50"/>
                  </a:cubicBezTo>
                  <a:cubicBezTo>
                    <a:pt x="39" y="50"/>
                    <a:pt x="38" y="51"/>
                    <a:pt x="38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6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6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4" y="77"/>
                    <a:pt x="24" y="76"/>
                    <a:pt x="24" y="77"/>
                  </a:cubicBezTo>
                  <a:cubicBezTo>
                    <a:pt x="24" y="76"/>
                    <a:pt x="24" y="77"/>
                    <a:pt x="23" y="76"/>
                  </a:cubicBezTo>
                  <a:cubicBezTo>
                    <a:pt x="23" y="76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6"/>
                    <a:pt x="23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4" y="75"/>
                  </a:cubicBezTo>
                  <a:cubicBezTo>
                    <a:pt x="24" y="75"/>
                    <a:pt x="25" y="75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5" y="74"/>
                    <a:pt x="25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4"/>
                  </a:cubicBezTo>
                  <a:cubicBezTo>
                    <a:pt x="24" y="74"/>
                    <a:pt x="23" y="75"/>
                    <a:pt x="23" y="75"/>
                  </a:cubicBezTo>
                  <a:cubicBezTo>
                    <a:pt x="24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5" y="73"/>
                    <a:pt x="24" y="73"/>
                    <a:pt x="24" y="74"/>
                  </a:cubicBezTo>
                  <a:cubicBezTo>
                    <a:pt x="24" y="74"/>
                    <a:pt x="24" y="74"/>
                    <a:pt x="25" y="74"/>
                  </a:cubicBezTo>
                  <a:cubicBezTo>
                    <a:pt x="25" y="73"/>
                    <a:pt x="24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2"/>
                  </a:cubicBezTo>
                  <a:cubicBezTo>
                    <a:pt x="25" y="73"/>
                    <a:pt x="25" y="72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3"/>
                    <a:pt x="26" y="73"/>
                    <a:pt x="26" y="72"/>
                  </a:cubicBezTo>
                  <a:cubicBezTo>
                    <a:pt x="26" y="73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1"/>
                    <a:pt x="27" y="71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69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7"/>
                    <a:pt x="29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69"/>
                  </a:cubicBezTo>
                  <a:cubicBezTo>
                    <a:pt x="29" y="69"/>
                    <a:pt x="29" y="68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8"/>
                    <a:pt x="29" y="68"/>
                    <a:pt x="29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6"/>
                    <a:pt x="31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6"/>
                  </a:cubicBezTo>
                  <a:cubicBezTo>
                    <a:pt x="30" y="65"/>
                    <a:pt x="29" y="66"/>
                    <a:pt x="29" y="66"/>
                  </a:cubicBezTo>
                  <a:cubicBezTo>
                    <a:pt x="29" y="66"/>
                    <a:pt x="30" y="65"/>
                    <a:pt x="29" y="65"/>
                  </a:cubicBezTo>
                  <a:cubicBezTo>
                    <a:pt x="29" y="65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8"/>
                  </a:cubicBezTo>
                  <a:cubicBezTo>
                    <a:pt x="28" y="68"/>
                    <a:pt x="28" y="67"/>
                    <a:pt x="28" y="67"/>
                  </a:cubicBezTo>
                  <a:cubicBezTo>
                    <a:pt x="27" y="68"/>
                    <a:pt x="28" y="68"/>
                    <a:pt x="27" y="68"/>
                  </a:cubicBezTo>
                  <a:cubicBezTo>
                    <a:pt x="27" y="68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8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9"/>
                  </a:cubicBezTo>
                  <a:cubicBezTo>
                    <a:pt x="27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7" y="69"/>
                    <a:pt x="27" y="68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5" y="69"/>
                    <a:pt x="26" y="69"/>
                  </a:cubicBezTo>
                  <a:cubicBezTo>
                    <a:pt x="26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8"/>
                    <a:pt x="26" y="68"/>
                  </a:cubicBezTo>
                  <a:cubicBezTo>
                    <a:pt x="26" y="68"/>
                    <a:pt x="26" y="68"/>
                    <a:pt x="25" y="68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5"/>
                    <a:pt x="27" y="65"/>
                    <a:pt x="28" y="6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7"/>
                    <a:pt x="27" y="67"/>
                  </a:cubicBezTo>
                  <a:cubicBezTo>
                    <a:pt x="27" y="67"/>
                    <a:pt x="27" y="66"/>
                    <a:pt x="27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4"/>
                  </a:cubicBezTo>
                  <a:cubicBezTo>
                    <a:pt x="28" y="64"/>
                    <a:pt x="29" y="64"/>
                    <a:pt x="29" y="63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8" y="64"/>
                    <a:pt x="29" y="65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8" y="66"/>
                    <a:pt x="28" y="65"/>
                    <a:pt x="28" y="66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9" y="65"/>
                    <a:pt x="29" y="65"/>
                    <a:pt x="28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30" y="64"/>
                  </a:cubicBezTo>
                  <a:cubicBezTo>
                    <a:pt x="30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1" y="62"/>
                    <a:pt x="31" y="62"/>
                  </a:cubicBezTo>
                  <a:cubicBezTo>
                    <a:pt x="31" y="63"/>
                    <a:pt x="31" y="62"/>
                    <a:pt x="32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2" y="63"/>
                  </a:cubicBezTo>
                  <a:cubicBezTo>
                    <a:pt x="32" y="63"/>
                    <a:pt x="31" y="63"/>
                    <a:pt x="31" y="63"/>
                  </a:cubicBezTo>
                  <a:cubicBezTo>
                    <a:pt x="31" y="64"/>
                    <a:pt x="32" y="63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4"/>
                    <a:pt x="31" y="64"/>
                  </a:cubicBezTo>
                  <a:cubicBezTo>
                    <a:pt x="31" y="64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2"/>
                    <a:pt x="33" y="62"/>
                  </a:cubicBezTo>
                  <a:cubicBezTo>
                    <a:pt x="33" y="63"/>
                    <a:pt x="33" y="62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2"/>
                    <a:pt x="33" y="6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1"/>
                    <a:pt x="33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4" y="61"/>
                    <a:pt x="33" y="61"/>
                    <a:pt x="33" y="6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3" y="61"/>
                    <a:pt x="33" y="61"/>
                  </a:cubicBezTo>
                  <a:cubicBezTo>
                    <a:pt x="33" y="60"/>
                    <a:pt x="33" y="60"/>
                    <a:pt x="34" y="60"/>
                  </a:cubicBezTo>
                  <a:cubicBezTo>
                    <a:pt x="34" y="60"/>
                    <a:pt x="34" y="60"/>
                    <a:pt x="34" y="61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9"/>
                    <a:pt x="35" y="59"/>
                  </a:cubicBezTo>
                  <a:cubicBezTo>
                    <a:pt x="35" y="59"/>
                    <a:pt x="34" y="59"/>
                    <a:pt x="34" y="59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0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5" y="60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60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8"/>
                    <a:pt x="36" y="58"/>
                  </a:cubicBezTo>
                  <a:cubicBezTo>
                    <a:pt x="36" y="58"/>
                    <a:pt x="35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6" y="59"/>
                    <a:pt x="37" y="59"/>
                  </a:cubicBezTo>
                  <a:cubicBezTo>
                    <a:pt x="36" y="59"/>
                    <a:pt x="37" y="59"/>
                    <a:pt x="36" y="59"/>
                  </a:cubicBezTo>
                  <a:cubicBezTo>
                    <a:pt x="36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5"/>
                    <a:pt x="38" y="56"/>
                    <a:pt x="38" y="56"/>
                  </a:cubicBezTo>
                  <a:cubicBezTo>
                    <a:pt x="38" y="56"/>
                    <a:pt x="38" y="55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5"/>
                    <a:pt x="41" y="55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9"/>
                    <a:pt x="39" y="59"/>
                  </a:cubicBezTo>
                  <a:cubicBezTo>
                    <a:pt x="39" y="59"/>
                    <a:pt x="39" y="59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58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37" y="62"/>
                    <a:pt x="36" y="63"/>
                  </a:cubicBezTo>
                  <a:cubicBezTo>
                    <a:pt x="37" y="63"/>
                    <a:pt x="37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6" y="64"/>
                    <a:pt x="36" y="65"/>
                    <a:pt x="36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4" y="67"/>
                    <a:pt x="35" y="67"/>
                    <a:pt x="35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6"/>
                    <a:pt x="35" y="66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6" y="62"/>
                    <a:pt x="36" y="62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6" y="62"/>
                    <a:pt x="37" y="61"/>
                    <a:pt x="37" y="62"/>
                  </a:cubicBezTo>
                  <a:cubicBezTo>
                    <a:pt x="37" y="61"/>
                    <a:pt x="37" y="61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2"/>
                  </a:cubicBezTo>
                  <a:cubicBezTo>
                    <a:pt x="36" y="62"/>
                    <a:pt x="35" y="63"/>
                    <a:pt x="35" y="63"/>
                  </a:cubicBezTo>
                  <a:cubicBezTo>
                    <a:pt x="35" y="62"/>
                    <a:pt x="35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4" y="63"/>
                    <a:pt x="34" y="63"/>
                  </a:cubicBezTo>
                  <a:cubicBezTo>
                    <a:pt x="34" y="63"/>
                    <a:pt x="35" y="63"/>
                    <a:pt x="35" y="63"/>
                  </a:cubicBezTo>
                  <a:cubicBezTo>
                    <a:pt x="35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6"/>
                  </a:cubicBezTo>
                  <a:cubicBezTo>
                    <a:pt x="33" y="66"/>
                    <a:pt x="34" y="66"/>
                    <a:pt x="34" y="66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7"/>
                  </a:cubicBezTo>
                  <a:cubicBezTo>
                    <a:pt x="33" y="67"/>
                    <a:pt x="33" y="67"/>
                    <a:pt x="33" y="66"/>
                  </a:cubicBezTo>
                  <a:cubicBezTo>
                    <a:pt x="34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8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0"/>
                    <a:pt x="32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0"/>
                    <a:pt x="32" y="70"/>
                    <a:pt x="31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9"/>
                    <a:pt x="32" y="70"/>
                    <a:pt x="31" y="70"/>
                  </a:cubicBezTo>
                  <a:cubicBezTo>
                    <a:pt x="31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6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1" y="70"/>
                    <a:pt x="32" y="70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2"/>
                    <a:pt x="31" y="72"/>
                  </a:cubicBezTo>
                  <a:cubicBezTo>
                    <a:pt x="31" y="72"/>
                    <a:pt x="30" y="72"/>
                    <a:pt x="30" y="72"/>
                  </a:cubicBezTo>
                  <a:cubicBezTo>
                    <a:pt x="30" y="72"/>
                    <a:pt x="30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1" y="73"/>
                    <a:pt x="30" y="73"/>
                    <a:pt x="31" y="73"/>
                  </a:cubicBezTo>
                  <a:cubicBezTo>
                    <a:pt x="31" y="73"/>
                    <a:pt x="31" y="73"/>
                    <a:pt x="30" y="73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5"/>
                    <a:pt x="30" y="75"/>
                  </a:cubicBezTo>
                  <a:cubicBezTo>
                    <a:pt x="29" y="75"/>
                    <a:pt x="30" y="75"/>
                    <a:pt x="30" y="75"/>
                  </a:cubicBezTo>
                  <a:cubicBezTo>
                    <a:pt x="29" y="75"/>
                    <a:pt x="29" y="75"/>
                    <a:pt x="30" y="75"/>
                  </a:cubicBezTo>
                  <a:cubicBezTo>
                    <a:pt x="30" y="75"/>
                    <a:pt x="29" y="75"/>
                    <a:pt x="29" y="75"/>
                  </a:cubicBezTo>
                  <a:cubicBezTo>
                    <a:pt x="30" y="75"/>
                    <a:pt x="29" y="76"/>
                    <a:pt x="29" y="76"/>
                  </a:cubicBezTo>
                  <a:cubicBezTo>
                    <a:pt x="29" y="75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1"/>
                    <a:pt x="32" y="70"/>
                    <a:pt x="33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1"/>
                    <a:pt x="33" y="70"/>
                    <a:pt x="33" y="70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2"/>
                    <a:pt x="32" y="72"/>
                  </a:cubicBezTo>
                  <a:cubicBezTo>
                    <a:pt x="31" y="73"/>
                    <a:pt x="30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8" y="77"/>
                    <a:pt x="29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7" y="78"/>
                    <a:pt x="27" y="78"/>
                  </a:cubicBezTo>
                  <a:cubicBezTo>
                    <a:pt x="27" y="78"/>
                    <a:pt x="27" y="78"/>
                    <a:pt x="28" y="78"/>
                  </a:cubicBezTo>
                  <a:cubicBezTo>
                    <a:pt x="28" y="78"/>
                    <a:pt x="27" y="78"/>
                    <a:pt x="28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7"/>
                  </a:cubicBezTo>
                  <a:cubicBezTo>
                    <a:pt x="27" y="77"/>
                    <a:pt x="27" y="78"/>
                    <a:pt x="27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7" y="75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8" y="76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8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6" y="76"/>
                  </a:cubicBezTo>
                  <a:cubicBezTo>
                    <a:pt x="26" y="75"/>
                    <a:pt x="26" y="75"/>
                    <a:pt x="27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2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8" y="71"/>
                    <a:pt x="28" y="71"/>
                  </a:cubicBezTo>
                  <a:cubicBezTo>
                    <a:pt x="29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1"/>
                  </a:cubicBezTo>
                  <a:cubicBezTo>
                    <a:pt x="28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7" y="72"/>
                    <a:pt x="26" y="72"/>
                  </a:cubicBezTo>
                  <a:cubicBezTo>
                    <a:pt x="27" y="72"/>
                    <a:pt x="26" y="72"/>
                    <a:pt x="27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5" y="74"/>
                    <a:pt x="25" y="74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36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lose/>
                  <a:moveTo>
                    <a:pt x="35" y="62"/>
                  </a:move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1"/>
                    <a:pt x="37" y="61"/>
                  </a:cubicBezTo>
                  <a:cubicBezTo>
                    <a:pt x="36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0"/>
                    <a:pt x="37" y="61"/>
                    <a:pt x="36" y="61"/>
                  </a:cubicBezTo>
                  <a:cubicBezTo>
                    <a:pt x="37" y="61"/>
                    <a:pt x="37" y="60"/>
                    <a:pt x="37" y="60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1"/>
                    <a:pt x="37" y="60"/>
                  </a:cubicBezTo>
                  <a:close/>
                  <a:moveTo>
                    <a:pt x="37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7" y="60"/>
                    <a:pt x="37" y="60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9"/>
                  </a:moveTo>
                  <a:cubicBezTo>
                    <a:pt x="38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59"/>
                    <a:pt x="39" y="58"/>
                    <a:pt x="39" y="58"/>
                  </a:cubicBezTo>
                  <a:cubicBezTo>
                    <a:pt x="38" y="58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5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7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6"/>
                    <a:pt x="38" y="56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1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59"/>
                    <a:pt x="37" y="59"/>
                    <a:pt x="38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8" y="66"/>
                  </a:move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9" y="66"/>
                    <a:pt x="28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9" y="67"/>
                  </a:cubicBezTo>
                  <a:cubicBezTo>
                    <a:pt x="28" y="67"/>
                    <a:pt x="29" y="67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lose/>
                  <a:moveTo>
                    <a:pt x="31" y="63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0" y="65"/>
                  </a:moveTo>
                  <a:cubicBezTo>
                    <a:pt x="30" y="65"/>
                    <a:pt x="30" y="65"/>
                    <a:pt x="30" y="64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lose/>
                  <a:moveTo>
                    <a:pt x="31" y="64"/>
                  </a:move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4"/>
                    <a:pt x="31" y="64"/>
                    <a:pt x="31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1" y="65"/>
                    <a:pt x="31" y="64"/>
                    <a:pt x="31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8" y="70"/>
                  </a:moveTo>
                  <a:cubicBezTo>
                    <a:pt x="28" y="71"/>
                    <a:pt x="28" y="70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1"/>
                    <a:pt x="28" y="71"/>
                    <a:pt x="28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69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7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29" y="68"/>
                    <a:pt x="29" y="69"/>
                    <a:pt x="29" y="69"/>
                  </a:cubicBezTo>
                  <a:cubicBezTo>
                    <a:pt x="30" y="69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8" y="70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70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30" y="69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1" y="68"/>
                    <a:pt x="30" y="68"/>
                  </a:cubicBezTo>
                  <a:cubicBezTo>
                    <a:pt x="30" y="68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30" y="69"/>
                  </a:cubicBezTo>
                  <a:cubicBezTo>
                    <a:pt x="30" y="69"/>
                    <a:pt x="29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lose/>
                  <a:moveTo>
                    <a:pt x="31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7"/>
                    <a:pt x="31" y="67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0" y="70"/>
                  </a:moveTo>
                  <a:cubicBezTo>
                    <a:pt x="30" y="70"/>
                    <a:pt x="30" y="70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30" y="70"/>
                    <a:pt x="30" y="69"/>
                    <a:pt x="30" y="70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0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30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8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3"/>
                  </a:cubicBezTo>
                  <a:close/>
                  <a:moveTo>
                    <a:pt x="28" y="75"/>
                  </a:move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7" y="75"/>
                    <a:pt x="27" y="75"/>
                    <a:pt x="27" y="76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7"/>
                  </a:cubicBezTo>
                  <a:cubicBezTo>
                    <a:pt x="28" y="76"/>
                    <a:pt x="29" y="76"/>
                    <a:pt x="29" y="76"/>
                  </a:cubicBezTo>
                  <a:close/>
                  <a:moveTo>
                    <a:pt x="28" y="76"/>
                  </a:move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29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3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2"/>
                    <a:pt x="29" y="73"/>
                  </a:cubicBezTo>
                  <a:cubicBezTo>
                    <a:pt x="29" y="73"/>
                    <a:pt x="29" y="72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2"/>
                    <a:pt x="30" y="72"/>
                    <a:pt x="30" y="71"/>
                  </a:cubicBezTo>
                  <a:cubicBezTo>
                    <a:pt x="30" y="71"/>
                    <a:pt x="30" y="72"/>
                    <a:pt x="30" y="71"/>
                  </a:cubicBezTo>
                  <a:cubicBezTo>
                    <a:pt x="30" y="72"/>
                    <a:pt x="29" y="72"/>
                    <a:pt x="29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0" y="71"/>
                    <a:pt x="30" y="72"/>
                  </a:cubicBezTo>
                  <a:cubicBezTo>
                    <a:pt x="30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8"/>
                  </a:cubicBezTo>
                  <a:cubicBezTo>
                    <a:pt x="32" y="69"/>
                    <a:pt x="32" y="68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70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69"/>
                    <a:pt x="32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3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7"/>
                    <a:pt x="32" y="67"/>
                  </a:cubicBezTo>
                  <a:cubicBezTo>
                    <a:pt x="32" y="68"/>
                    <a:pt x="32" y="68"/>
                    <a:pt x="31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6"/>
                    <a:pt x="32" y="67"/>
                    <a:pt x="32" y="66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8"/>
                    <a:pt x="31" y="67"/>
                    <a:pt x="32" y="67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1" y="68"/>
                    <a:pt x="31" y="68"/>
                  </a:cubicBezTo>
                  <a:cubicBezTo>
                    <a:pt x="32" y="68"/>
                    <a:pt x="31" y="69"/>
                    <a:pt x="31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9"/>
                    <a:pt x="32" y="69"/>
                    <a:pt x="31" y="69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69"/>
                    <a:pt x="31" y="69"/>
                    <a:pt x="32" y="6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3" y="67"/>
                  </a:cubicBezTo>
                  <a:cubicBezTo>
                    <a:pt x="33" y="67"/>
                    <a:pt x="33" y="66"/>
                    <a:pt x="33" y="67"/>
                  </a:cubicBezTo>
                  <a:cubicBezTo>
                    <a:pt x="32" y="67"/>
                    <a:pt x="32" y="67"/>
                    <a:pt x="32" y="68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3" y="65"/>
                    <a:pt x="32" y="65"/>
                  </a:cubicBezTo>
                  <a:close/>
                  <a:moveTo>
                    <a:pt x="32" y="66"/>
                  </a:moveTo>
                  <a:cubicBezTo>
                    <a:pt x="32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5"/>
                  </a:cubicBezTo>
                  <a:cubicBezTo>
                    <a:pt x="33" y="66"/>
                    <a:pt x="32" y="66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4"/>
                    <a:pt x="34" y="64"/>
                    <a:pt x="34" y="64"/>
                  </a:cubicBezTo>
                  <a:cubicBezTo>
                    <a:pt x="34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3"/>
                    <a:pt x="34" y="64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0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8"/>
                    <a:pt x="36" y="58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8"/>
                  </a:cubicBezTo>
                  <a:cubicBezTo>
                    <a:pt x="35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5" y="61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4" y="62"/>
                    <a:pt x="33" y="63"/>
                    <a:pt x="33" y="63"/>
                  </a:cubicBezTo>
                  <a:close/>
                  <a:moveTo>
                    <a:pt x="32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2" y="64"/>
                    <a:pt x="33" y="64"/>
                    <a:pt x="32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4"/>
                    <a:pt x="32" y="64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1" y="66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6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0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1" y="65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6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29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8" y="69"/>
                    <a:pt x="29" y="69"/>
                    <a:pt x="29" y="69"/>
                  </a:cubicBezTo>
                  <a:close/>
                  <a:moveTo>
                    <a:pt x="28" y="69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9" y="69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lose/>
                  <a:moveTo>
                    <a:pt x="28" y="70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9" y="69"/>
                    <a:pt x="29" y="68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7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1"/>
                  </a:cubicBezTo>
                  <a:cubicBezTo>
                    <a:pt x="28" y="71"/>
                    <a:pt x="27" y="72"/>
                    <a:pt x="27" y="71"/>
                  </a:cubicBezTo>
                  <a:cubicBezTo>
                    <a:pt x="27" y="72"/>
                    <a:pt x="27" y="71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6" y="52"/>
                  </a:cubicBezTo>
                  <a:close/>
                  <a:moveTo>
                    <a:pt x="35" y="52"/>
                  </a:moveTo>
                  <a:cubicBezTo>
                    <a:pt x="35" y="51"/>
                    <a:pt x="35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2"/>
                  </a:cubicBezTo>
                  <a:cubicBezTo>
                    <a:pt x="36" y="52"/>
                    <a:pt x="36" y="51"/>
                    <a:pt x="35" y="51"/>
                  </a:cubicBezTo>
                  <a:cubicBezTo>
                    <a:pt x="35" y="52"/>
                    <a:pt x="35" y="52"/>
                    <a:pt x="36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8" y="52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6" y="55"/>
                  </a:cubicBezTo>
                  <a:cubicBezTo>
                    <a:pt x="36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6" y="56"/>
                    <a:pt x="36" y="55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6" y="54"/>
                    <a:pt x="37" y="54"/>
                    <a:pt x="37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3" y="52"/>
                  </a:cubicBezTo>
                  <a:cubicBezTo>
                    <a:pt x="32" y="52"/>
                    <a:pt x="33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2"/>
                    <a:pt x="32" y="51"/>
                  </a:cubicBezTo>
                  <a:cubicBezTo>
                    <a:pt x="31" y="51"/>
                    <a:pt x="32" y="51"/>
                    <a:pt x="32" y="50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3" y="52"/>
                  </a:moveTo>
                  <a:cubicBezTo>
                    <a:pt x="34" y="53"/>
                    <a:pt x="33" y="53"/>
                    <a:pt x="33" y="53"/>
                  </a:cubicBezTo>
                  <a:cubicBezTo>
                    <a:pt x="33" y="53"/>
                    <a:pt x="33" y="53"/>
                    <a:pt x="34" y="53"/>
                  </a:cubicBezTo>
                  <a:cubicBezTo>
                    <a:pt x="34" y="53"/>
                    <a:pt x="33" y="53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2"/>
                  </a:cubicBezTo>
                  <a:close/>
                  <a:moveTo>
                    <a:pt x="32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2" y="53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8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4" y="55"/>
                    <a:pt x="34" y="55"/>
                  </a:cubicBezTo>
                  <a:cubicBezTo>
                    <a:pt x="34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4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3"/>
                  </a:cubicBezTo>
                  <a:cubicBezTo>
                    <a:pt x="32" y="53"/>
                    <a:pt x="32" y="53"/>
                    <a:pt x="33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4"/>
                  </a:cubicBezTo>
                  <a:cubicBezTo>
                    <a:pt x="30" y="54"/>
                    <a:pt x="29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29" y="54"/>
                    <a:pt x="30" y="54"/>
                  </a:cubicBezTo>
                  <a:cubicBezTo>
                    <a:pt x="29" y="54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3" y="55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3" y="55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7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6"/>
                    <a:pt x="31" y="57"/>
                    <a:pt x="31" y="57"/>
                  </a:cubicBezTo>
                  <a:cubicBezTo>
                    <a:pt x="31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4"/>
                    <a:pt x="30" y="54"/>
                  </a:cubicBezTo>
                  <a:cubicBezTo>
                    <a:pt x="30" y="54"/>
                    <a:pt x="31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lnTo>
                    <a:pt x="29" y="55"/>
                  </a:ln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4" y="57"/>
                  </a:moveTo>
                  <a:cubicBezTo>
                    <a:pt x="34" y="57"/>
                    <a:pt x="35" y="57"/>
                    <a:pt x="35" y="56"/>
                  </a:cubicBezTo>
                  <a:cubicBezTo>
                    <a:pt x="35" y="57"/>
                    <a:pt x="35" y="56"/>
                    <a:pt x="35" y="56"/>
                  </a:cubicBezTo>
                  <a:cubicBezTo>
                    <a:pt x="35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6"/>
                    <a:pt x="35" y="56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3" y="58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6"/>
                    <a:pt x="29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6"/>
                    <a:pt x="30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33" y="58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4" y="59"/>
                  </a:moveTo>
                  <a:cubicBezTo>
                    <a:pt x="35" y="60"/>
                    <a:pt x="34" y="60"/>
                    <a:pt x="35" y="60"/>
                  </a:cubicBezTo>
                  <a:cubicBezTo>
                    <a:pt x="34" y="60"/>
                    <a:pt x="34" y="60"/>
                    <a:pt x="34" y="59"/>
                  </a:cubicBezTo>
                  <a:close/>
                  <a:moveTo>
                    <a:pt x="31" y="58"/>
                  </a:moveTo>
                  <a:cubicBezTo>
                    <a:pt x="31" y="58"/>
                    <a:pt x="30" y="58"/>
                    <a:pt x="30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8"/>
                  </a:cubicBezTo>
                  <a:cubicBezTo>
                    <a:pt x="27" y="58"/>
                    <a:pt x="27" y="57"/>
                    <a:pt x="27" y="57"/>
                  </a:cubicBezTo>
                  <a:close/>
                  <a:moveTo>
                    <a:pt x="30" y="59"/>
                  </a:move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5" y="63"/>
                    <a:pt x="35" y="64"/>
                  </a:cubicBezTo>
                  <a:cubicBezTo>
                    <a:pt x="35" y="63"/>
                    <a:pt x="35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5" y="63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6" y="63"/>
                    <a:pt x="35" y="63"/>
                    <a:pt x="35" y="63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0"/>
                    <a:pt x="27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ubicBezTo>
                    <a:pt x="27" y="60"/>
                    <a:pt x="28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2"/>
                  </a:cubicBezTo>
                  <a:cubicBezTo>
                    <a:pt x="25" y="61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5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6" y="61"/>
                    <a:pt x="25" y="61"/>
                    <a:pt x="25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1"/>
                    <a:pt x="27" y="61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7" y="60"/>
                    <a:pt x="27" y="61"/>
                    <a:pt x="27" y="60"/>
                  </a:cubicBezTo>
                  <a:close/>
                  <a:moveTo>
                    <a:pt x="26" y="63"/>
                  </a:moveTo>
                  <a:cubicBezTo>
                    <a:pt x="27" y="62"/>
                    <a:pt x="27" y="62"/>
                    <a:pt x="28" y="61"/>
                  </a:cubicBezTo>
                  <a:cubicBezTo>
                    <a:pt x="28" y="61"/>
                    <a:pt x="27" y="61"/>
                    <a:pt x="27" y="62"/>
                  </a:cubicBezTo>
                  <a:cubicBezTo>
                    <a:pt x="27" y="62"/>
                    <a:pt x="27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2"/>
                    <a:pt x="28" y="62"/>
                  </a:cubicBezTo>
                  <a:cubicBezTo>
                    <a:pt x="28" y="62"/>
                    <a:pt x="28" y="61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8" y="61"/>
                    <a:pt x="28" y="61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9" y="61"/>
                    <a:pt x="28" y="61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7" y="62"/>
                    <a:pt x="28" y="63"/>
                    <a:pt x="27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5"/>
                  </a:cubicBezTo>
                  <a:cubicBezTo>
                    <a:pt x="26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6" y="61"/>
                    <a:pt x="27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7" y="64"/>
                    <a:pt x="28" y="63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30" y="68"/>
                    <a:pt x="30" y="67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5"/>
                  </a:cubicBezTo>
                  <a:cubicBezTo>
                    <a:pt x="24" y="65"/>
                    <a:pt x="24" y="66"/>
                    <a:pt x="25" y="65"/>
                  </a:cubicBezTo>
                  <a:cubicBezTo>
                    <a:pt x="25" y="66"/>
                    <a:pt x="24" y="66"/>
                    <a:pt x="24" y="66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6" y="70"/>
                  </a:move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6" y="70"/>
                    <a:pt x="27" y="70"/>
                  </a:cubicBezTo>
                  <a:cubicBezTo>
                    <a:pt x="27" y="70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1"/>
                    <a:pt x="26" y="71"/>
                  </a:cubicBezTo>
                  <a:cubicBezTo>
                    <a:pt x="26" y="71"/>
                    <a:pt x="26" y="71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7" y="68"/>
                  </a:moveTo>
                  <a:cubicBezTo>
                    <a:pt x="28" y="69"/>
                    <a:pt x="27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8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2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2" y="71"/>
                    <a:pt x="31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1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2" y="69"/>
                  </a:cubicBezTo>
                  <a:cubicBezTo>
                    <a:pt x="22" y="69"/>
                    <a:pt x="22" y="68"/>
                    <a:pt x="22" y="69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32" y="72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3"/>
                    <a:pt x="32" y="73"/>
                  </a:cubicBezTo>
                  <a:lnTo>
                    <a:pt x="32" y="72"/>
                  </a:lnTo>
                  <a:close/>
                  <a:moveTo>
                    <a:pt x="28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8" y="75"/>
                    <a:pt x="28" y="75"/>
                  </a:cubicBezTo>
                  <a:cubicBezTo>
                    <a:pt x="28" y="75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5" y="79"/>
                    <a:pt x="24" y="79"/>
                  </a:cubicBezTo>
                  <a:cubicBezTo>
                    <a:pt x="24" y="79"/>
                    <a:pt x="24" y="80"/>
                    <a:pt x="24" y="80"/>
                  </a:cubicBezTo>
                  <a:cubicBezTo>
                    <a:pt x="24" y="80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5" y="78"/>
                    <a:pt x="24" y="79"/>
                    <a:pt x="24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4" y="79"/>
                    <a:pt x="24" y="79"/>
                  </a:cubicBezTo>
                  <a:cubicBezTo>
                    <a:pt x="25" y="79"/>
                    <a:pt x="25" y="79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4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7"/>
                    <a:pt x="25" y="78"/>
                    <a:pt x="25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6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7"/>
                    <a:pt x="26" y="77"/>
                  </a:cubicBezTo>
                  <a:cubicBezTo>
                    <a:pt x="26" y="77"/>
                    <a:pt x="25" y="77"/>
                    <a:pt x="25" y="78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8" y="76"/>
                  </a:move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7" y="76"/>
                    <a:pt x="28" y="76"/>
                  </a:cubicBezTo>
                  <a:close/>
                  <a:moveTo>
                    <a:pt x="25" y="76"/>
                  </a:move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6"/>
                    <a:pt x="25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6" y="76"/>
                    <a:pt x="25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2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3" y="76"/>
                    <a:pt x="23" y="76"/>
                    <a:pt x="23" y="75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8" y="79"/>
                  </a:cubicBezTo>
                  <a:cubicBezTo>
                    <a:pt x="28" y="79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1"/>
                    <a:pt x="26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6" y="80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5" y="82"/>
                  </a:cubicBezTo>
                  <a:cubicBezTo>
                    <a:pt x="25" y="81"/>
                    <a:pt x="26" y="81"/>
                    <a:pt x="26" y="80"/>
                  </a:cubicBezTo>
                  <a:close/>
                  <a:moveTo>
                    <a:pt x="25" y="80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0"/>
                  </a:cubicBezTo>
                  <a:close/>
                  <a:moveTo>
                    <a:pt x="25" y="79"/>
                  </a:move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79"/>
                    <a:pt x="25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4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1"/>
                    <a:pt x="24" y="81"/>
                  </a:cubicBezTo>
                  <a:close/>
                  <a:moveTo>
                    <a:pt x="25" y="83"/>
                  </a:move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3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1" y="85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4"/>
                  </a:cubicBezTo>
                  <a:cubicBezTo>
                    <a:pt x="21" y="84"/>
                    <a:pt x="21" y="85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5"/>
                  </a:cubicBezTo>
                  <a:cubicBezTo>
                    <a:pt x="22" y="85"/>
                    <a:pt x="22" y="84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8"/>
                  </a:moveTo>
                  <a:cubicBezTo>
                    <a:pt x="22" y="89"/>
                    <a:pt x="22" y="89"/>
                    <a:pt x="21" y="89"/>
                  </a:cubicBezTo>
                  <a:cubicBezTo>
                    <a:pt x="21" y="89"/>
                    <a:pt x="21" y="90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2" y="89"/>
                  </a:cubicBezTo>
                  <a:cubicBezTo>
                    <a:pt x="22" y="88"/>
                    <a:pt x="21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2" y="89"/>
                    <a:pt x="21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3" y="89"/>
                  </a:cubicBezTo>
                  <a:cubicBezTo>
                    <a:pt x="23" y="89"/>
                    <a:pt x="22" y="89"/>
                    <a:pt x="22" y="89"/>
                  </a:cubicBezTo>
                  <a:cubicBezTo>
                    <a:pt x="22" y="89"/>
                    <a:pt x="23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1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3"/>
                  </a:cubicBezTo>
                  <a:cubicBezTo>
                    <a:pt x="19" y="93"/>
                    <a:pt x="20" y="93"/>
                    <a:pt x="20" y="93"/>
                  </a:cubicBezTo>
                  <a:cubicBezTo>
                    <a:pt x="19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9" y="95"/>
                    <a:pt x="18" y="96"/>
                  </a:cubicBezTo>
                  <a:cubicBezTo>
                    <a:pt x="18" y="95"/>
                    <a:pt x="18" y="95"/>
                    <a:pt x="19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3"/>
                    <a:pt x="19" y="93"/>
                    <a:pt x="20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1" y="91"/>
                    <a:pt x="21" y="90"/>
                    <a:pt x="22" y="90"/>
                  </a:cubicBezTo>
                  <a:cubicBezTo>
                    <a:pt x="21" y="90"/>
                    <a:pt x="20" y="92"/>
                    <a:pt x="20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8" y="97"/>
                    <a:pt x="19" y="96"/>
                    <a:pt x="19" y="95"/>
                  </a:cubicBezTo>
                  <a:cubicBezTo>
                    <a:pt x="19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5" y="105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5"/>
                    <a:pt x="15" y="104"/>
                    <a:pt x="15" y="105"/>
                  </a:cubicBezTo>
                  <a:close/>
                  <a:moveTo>
                    <a:pt x="11" y="112"/>
                  </a:move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2" y="109"/>
                    <a:pt x="13" y="109"/>
                    <a:pt x="12" y="109"/>
                  </a:cubicBezTo>
                  <a:cubicBezTo>
                    <a:pt x="13" y="109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2" y="109"/>
                    <a:pt x="13" y="109"/>
                    <a:pt x="13" y="110"/>
                  </a:cubicBezTo>
                  <a:cubicBezTo>
                    <a:pt x="13" y="109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3" y="11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2"/>
                    <a:pt x="12" y="111"/>
                    <a:pt x="12" y="111"/>
                  </a:cubicBezTo>
                  <a:cubicBezTo>
                    <a:pt x="12" y="112"/>
                    <a:pt x="12" y="112"/>
                    <a:pt x="12" y="113"/>
                  </a:cubicBezTo>
                  <a:cubicBezTo>
                    <a:pt x="11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2" y="112"/>
                    <a:pt x="11" y="112"/>
                  </a:cubicBezTo>
                  <a:cubicBezTo>
                    <a:pt x="11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1" y="112"/>
                  </a:cubicBezTo>
                  <a:close/>
                  <a:moveTo>
                    <a:pt x="12" y="108"/>
                  </a:moveTo>
                  <a:cubicBezTo>
                    <a:pt x="13" y="108"/>
                    <a:pt x="12" y="108"/>
                    <a:pt x="12" y="108"/>
                  </a:cubicBezTo>
                  <a:cubicBezTo>
                    <a:pt x="12" y="108"/>
                    <a:pt x="12" y="108"/>
                    <a:pt x="12" y="108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8"/>
                    <a:pt x="12" y="109"/>
                  </a:cubicBezTo>
                  <a:close/>
                  <a:moveTo>
                    <a:pt x="12" y="109"/>
                  </a:moveTo>
                  <a:cubicBezTo>
                    <a:pt x="11" y="109"/>
                    <a:pt x="12" y="109"/>
                    <a:pt x="11" y="109"/>
                  </a:cubicBezTo>
                  <a:cubicBezTo>
                    <a:pt x="11" y="109"/>
                    <a:pt x="11" y="108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4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8" y="114"/>
                    <a:pt x="8" y="115"/>
                    <a:pt x="8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9"/>
                  </a:moveTo>
                  <a:cubicBezTo>
                    <a:pt x="3" y="119"/>
                    <a:pt x="3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19"/>
                    <a:pt x="3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5" y="122"/>
                    <a:pt x="5" y="122"/>
                  </a:cubicBezTo>
                  <a:cubicBezTo>
                    <a:pt x="5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9" y="8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3" y="26"/>
                    <a:pt x="44" y="25"/>
                    <a:pt x="44" y="25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45" y="27"/>
                  </a:move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5" y="27"/>
                  </a:cubicBezTo>
                  <a:close/>
                  <a:moveTo>
                    <a:pt x="47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4"/>
                  </a:cubicBezTo>
                  <a:cubicBezTo>
                    <a:pt x="41" y="34"/>
                    <a:pt x="41" y="35"/>
                    <a:pt x="41" y="35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3" y="49"/>
                  </a:cubicBezTo>
                  <a:cubicBezTo>
                    <a:pt x="43" y="49"/>
                    <a:pt x="43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lose/>
                  <a:moveTo>
                    <a:pt x="37" y="46"/>
                  </a:moveTo>
                  <a:cubicBezTo>
                    <a:pt x="37" y="46"/>
                    <a:pt x="38" y="46"/>
                    <a:pt x="38" y="46"/>
                  </a:cubicBezTo>
                  <a:cubicBezTo>
                    <a:pt x="38" y="47"/>
                    <a:pt x="38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6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1"/>
                    <a:pt x="31" y="51"/>
                    <a:pt x="32" y="51"/>
                  </a:cubicBezTo>
                  <a:cubicBezTo>
                    <a:pt x="32" y="51"/>
                    <a:pt x="31" y="51"/>
                    <a:pt x="31" y="51"/>
                  </a:cubicBezTo>
                  <a:close/>
                  <a:moveTo>
                    <a:pt x="34" y="56"/>
                  </a:moveTo>
                  <a:cubicBezTo>
                    <a:pt x="34" y="55"/>
                    <a:pt x="35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4" y="56"/>
                    <a:pt x="34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3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8"/>
                    <a:pt x="31" y="57"/>
                  </a:cubicBezTo>
                  <a:cubicBezTo>
                    <a:pt x="31" y="57"/>
                    <a:pt x="31" y="57"/>
                    <a:pt x="32" y="58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8" y="58"/>
                    <a:pt x="28" y="57"/>
                    <a:pt x="28" y="57"/>
                  </a:cubicBezTo>
                  <a:close/>
                  <a:moveTo>
                    <a:pt x="32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3" y="60"/>
                    <a:pt x="32" y="60"/>
                  </a:cubicBezTo>
                  <a:close/>
                  <a:moveTo>
                    <a:pt x="25" y="76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6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5" y="76"/>
                  </a:cubicBezTo>
                  <a:close/>
                  <a:moveTo>
                    <a:pt x="24" y="81"/>
                  </a:moveTo>
                  <a:cubicBezTo>
                    <a:pt x="25" y="81"/>
                    <a:pt x="25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2"/>
                    <a:pt x="24" y="82"/>
                  </a:cubicBezTo>
                  <a:cubicBezTo>
                    <a:pt x="24" y="82"/>
                    <a:pt x="24" y="82"/>
                    <a:pt x="25" y="81"/>
                  </a:cubicBezTo>
                  <a:cubicBezTo>
                    <a:pt x="25" y="81"/>
                    <a:pt x="25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7119348-D433-43E6-9975-C4DFEC4E562B}"/>
                </a:ext>
              </a:extLst>
            </p:cNvPr>
            <p:cNvSpPr/>
            <p:nvPr/>
          </p:nvSpPr>
          <p:spPr bwMode="auto">
            <a:xfrm>
              <a:off x="7804151" y="1595438"/>
              <a:ext cx="244475" cy="474663"/>
            </a:xfrm>
            <a:custGeom>
              <a:avLst/>
              <a:gdLst>
                <a:gd name="T0" fmla="*/ 70 w 99"/>
                <a:gd name="T1" fmla="*/ 43 h 192"/>
                <a:gd name="T2" fmla="*/ 70 w 99"/>
                <a:gd name="T3" fmla="*/ 50 h 192"/>
                <a:gd name="T4" fmla="*/ 66 w 99"/>
                <a:gd name="T5" fmla="*/ 55 h 192"/>
                <a:gd name="T6" fmla="*/ 64 w 99"/>
                <a:gd name="T7" fmla="*/ 58 h 192"/>
                <a:gd name="T8" fmla="*/ 59 w 99"/>
                <a:gd name="T9" fmla="*/ 66 h 192"/>
                <a:gd name="T10" fmla="*/ 65 w 99"/>
                <a:gd name="T11" fmla="*/ 75 h 192"/>
                <a:gd name="T12" fmla="*/ 59 w 99"/>
                <a:gd name="T13" fmla="*/ 84 h 192"/>
                <a:gd name="T14" fmla="*/ 51 w 99"/>
                <a:gd name="T15" fmla="*/ 83 h 192"/>
                <a:gd name="T16" fmla="*/ 53 w 99"/>
                <a:gd name="T17" fmla="*/ 89 h 192"/>
                <a:gd name="T18" fmla="*/ 46 w 99"/>
                <a:gd name="T19" fmla="*/ 95 h 192"/>
                <a:gd name="T20" fmla="*/ 41 w 99"/>
                <a:gd name="T21" fmla="*/ 104 h 192"/>
                <a:gd name="T22" fmla="*/ 39 w 99"/>
                <a:gd name="T23" fmla="*/ 111 h 192"/>
                <a:gd name="T24" fmla="*/ 40 w 99"/>
                <a:gd name="T25" fmla="*/ 123 h 192"/>
                <a:gd name="T26" fmla="*/ 33 w 99"/>
                <a:gd name="T27" fmla="*/ 125 h 192"/>
                <a:gd name="T28" fmla="*/ 32 w 99"/>
                <a:gd name="T29" fmla="*/ 138 h 192"/>
                <a:gd name="T30" fmla="*/ 14 w 99"/>
                <a:gd name="T31" fmla="*/ 173 h 192"/>
                <a:gd name="T32" fmla="*/ 1 w 99"/>
                <a:gd name="T33" fmla="*/ 185 h 192"/>
                <a:gd name="T34" fmla="*/ 77 w 99"/>
                <a:gd name="T35" fmla="*/ 50 h 192"/>
                <a:gd name="T36" fmla="*/ 71 w 99"/>
                <a:gd name="T37" fmla="*/ 58 h 192"/>
                <a:gd name="T38" fmla="*/ 75 w 99"/>
                <a:gd name="T39" fmla="*/ 49 h 192"/>
                <a:gd name="T40" fmla="*/ 70 w 99"/>
                <a:gd name="T41" fmla="*/ 55 h 192"/>
                <a:gd name="T42" fmla="*/ 75 w 99"/>
                <a:gd name="T43" fmla="*/ 41 h 192"/>
                <a:gd name="T44" fmla="*/ 72 w 99"/>
                <a:gd name="T45" fmla="*/ 40 h 192"/>
                <a:gd name="T46" fmla="*/ 77 w 99"/>
                <a:gd name="T47" fmla="*/ 22 h 192"/>
                <a:gd name="T48" fmla="*/ 75 w 99"/>
                <a:gd name="T49" fmla="*/ 30 h 192"/>
                <a:gd name="T50" fmla="*/ 75 w 99"/>
                <a:gd name="T51" fmla="*/ 39 h 192"/>
                <a:gd name="T52" fmla="*/ 70 w 99"/>
                <a:gd name="T53" fmla="*/ 54 h 192"/>
                <a:gd name="T54" fmla="*/ 80 w 99"/>
                <a:gd name="T55" fmla="*/ 41 h 192"/>
                <a:gd name="T56" fmla="*/ 80 w 99"/>
                <a:gd name="T57" fmla="*/ 42 h 192"/>
                <a:gd name="T58" fmla="*/ 70 w 99"/>
                <a:gd name="T59" fmla="*/ 46 h 192"/>
                <a:gd name="T60" fmla="*/ 68 w 99"/>
                <a:gd name="T61" fmla="*/ 54 h 192"/>
                <a:gd name="T62" fmla="*/ 68 w 99"/>
                <a:gd name="T63" fmla="*/ 69 h 192"/>
                <a:gd name="T64" fmla="*/ 64 w 99"/>
                <a:gd name="T65" fmla="*/ 77 h 192"/>
                <a:gd name="T66" fmla="*/ 60 w 99"/>
                <a:gd name="T67" fmla="*/ 80 h 192"/>
                <a:gd name="T68" fmla="*/ 61 w 99"/>
                <a:gd name="T69" fmla="*/ 75 h 192"/>
                <a:gd name="T70" fmla="*/ 62 w 99"/>
                <a:gd name="T71" fmla="*/ 76 h 192"/>
                <a:gd name="T72" fmla="*/ 53 w 99"/>
                <a:gd name="T73" fmla="*/ 76 h 192"/>
                <a:gd name="T74" fmla="*/ 38 w 99"/>
                <a:gd name="T75" fmla="*/ 118 h 192"/>
                <a:gd name="T76" fmla="*/ 43 w 99"/>
                <a:gd name="T77" fmla="*/ 108 h 192"/>
                <a:gd name="T78" fmla="*/ 41 w 99"/>
                <a:gd name="T79" fmla="*/ 108 h 192"/>
                <a:gd name="T80" fmla="*/ 48 w 99"/>
                <a:gd name="T81" fmla="*/ 98 h 192"/>
                <a:gd name="T82" fmla="*/ 55 w 99"/>
                <a:gd name="T83" fmla="*/ 88 h 192"/>
                <a:gd name="T84" fmla="*/ 60 w 99"/>
                <a:gd name="T85" fmla="*/ 87 h 192"/>
                <a:gd name="T86" fmla="*/ 49 w 99"/>
                <a:gd name="T87" fmla="*/ 104 h 192"/>
                <a:gd name="T88" fmla="*/ 42 w 99"/>
                <a:gd name="T89" fmla="*/ 119 h 192"/>
                <a:gd name="T90" fmla="*/ 40 w 99"/>
                <a:gd name="T91" fmla="*/ 114 h 192"/>
                <a:gd name="T92" fmla="*/ 57 w 99"/>
                <a:gd name="T93" fmla="*/ 87 h 192"/>
                <a:gd name="T94" fmla="*/ 46 w 99"/>
                <a:gd name="T95" fmla="*/ 102 h 192"/>
                <a:gd name="T96" fmla="*/ 48 w 99"/>
                <a:gd name="T97" fmla="*/ 102 h 192"/>
                <a:gd name="T98" fmla="*/ 43 w 99"/>
                <a:gd name="T99" fmla="*/ 117 h 192"/>
                <a:gd name="T100" fmla="*/ 47 w 99"/>
                <a:gd name="T101" fmla="*/ 106 h 192"/>
                <a:gd name="T102" fmla="*/ 50 w 99"/>
                <a:gd name="T103" fmla="*/ 98 h 192"/>
                <a:gd name="T104" fmla="*/ 41 w 99"/>
                <a:gd name="T105" fmla="*/ 113 h 192"/>
                <a:gd name="T106" fmla="*/ 56 w 99"/>
                <a:gd name="T107" fmla="*/ 86 h 192"/>
                <a:gd name="T108" fmla="*/ 52 w 99"/>
                <a:gd name="T109" fmla="*/ 87 h 192"/>
                <a:gd name="T110" fmla="*/ 48 w 99"/>
                <a:gd name="T111" fmla="*/ 87 h 192"/>
                <a:gd name="T112" fmla="*/ 48 w 99"/>
                <a:gd name="T113" fmla="*/ 92 h 192"/>
                <a:gd name="T114" fmla="*/ 44 w 99"/>
                <a:gd name="T115" fmla="*/ 100 h 192"/>
                <a:gd name="T116" fmla="*/ 37 w 99"/>
                <a:gd name="T117" fmla="*/ 121 h 192"/>
                <a:gd name="T118" fmla="*/ 38 w 99"/>
                <a:gd name="T119" fmla="*/ 125 h 192"/>
                <a:gd name="T120" fmla="*/ 31 w 99"/>
                <a:gd name="T121" fmla="*/ 139 h 192"/>
                <a:gd name="T122" fmla="*/ 14 w 99"/>
                <a:gd name="T123" fmla="*/ 174 h 192"/>
                <a:gd name="T124" fmla="*/ 54 w 99"/>
                <a:gd name="T125" fmla="*/ 8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192">
                  <a:moveTo>
                    <a:pt x="99" y="4"/>
                  </a:moveTo>
                  <a:cubicBezTo>
                    <a:pt x="99" y="4"/>
                    <a:pt x="99" y="4"/>
                    <a:pt x="99" y="4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4"/>
                  </a:cubicBezTo>
                  <a:close/>
                  <a:moveTo>
                    <a:pt x="81" y="14"/>
                  </a:moveTo>
                  <a:cubicBezTo>
                    <a:pt x="81" y="13"/>
                    <a:pt x="82" y="14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2" y="14"/>
                    <a:pt x="82" y="13"/>
                    <a:pt x="81" y="14"/>
                  </a:cubicBezTo>
                  <a:close/>
                  <a:moveTo>
                    <a:pt x="80" y="16"/>
                  </a:moveTo>
                  <a:cubicBezTo>
                    <a:pt x="80" y="16"/>
                    <a:pt x="80" y="17"/>
                    <a:pt x="80" y="17"/>
                  </a:cubicBezTo>
                  <a:cubicBezTo>
                    <a:pt x="80" y="17"/>
                    <a:pt x="80" y="17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lose/>
                  <a:moveTo>
                    <a:pt x="79" y="18"/>
                  </a:moveTo>
                  <a:cubicBezTo>
                    <a:pt x="79" y="17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2"/>
                    <a:pt x="77" y="22"/>
                  </a:cubicBezTo>
                  <a:cubicBezTo>
                    <a:pt x="77" y="21"/>
                    <a:pt x="77" y="21"/>
                    <a:pt x="77" y="21"/>
                  </a:cubicBezTo>
                  <a:close/>
                  <a:moveTo>
                    <a:pt x="75" y="26"/>
                  </a:move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lose/>
                  <a:moveTo>
                    <a:pt x="74" y="27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lose/>
                  <a:moveTo>
                    <a:pt x="74" y="29"/>
                  </a:moveTo>
                  <a:cubicBezTo>
                    <a:pt x="74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9"/>
                  </a:cubicBezTo>
                  <a:close/>
                  <a:moveTo>
                    <a:pt x="74" y="33"/>
                  </a:move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3"/>
                  </a:cubicBezTo>
                  <a:cubicBezTo>
                    <a:pt x="74" y="33"/>
                    <a:pt x="74" y="33"/>
                    <a:pt x="74" y="33"/>
                  </a:cubicBezTo>
                  <a:close/>
                  <a:moveTo>
                    <a:pt x="73" y="33"/>
                  </a:moveTo>
                  <a:cubicBezTo>
                    <a:pt x="73" y="33"/>
                    <a:pt x="73" y="33"/>
                    <a:pt x="73" y="33"/>
                  </a:cubicBezTo>
                  <a:cubicBezTo>
                    <a:pt x="72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lose/>
                  <a:moveTo>
                    <a:pt x="72" y="35"/>
                  </a:moveTo>
                  <a:cubicBezTo>
                    <a:pt x="72" y="35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2" y="34"/>
                    <a:pt x="72" y="35"/>
                  </a:cubicBezTo>
                  <a:close/>
                  <a:moveTo>
                    <a:pt x="71" y="37"/>
                  </a:moveTo>
                  <a:cubicBezTo>
                    <a:pt x="71" y="37"/>
                    <a:pt x="71" y="37"/>
                    <a:pt x="71" y="37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1" y="37"/>
                    <a:pt x="71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1" y="36"/>
                    <a:pt x="71" y="36"/>
                  </a:cubicBezTo>
                  <a:cubicBezTo>
                    <a:pt x="71" y="36"/>
                    <a:pt x="70" y="37"/>
                    <a:pt x="70" y="37"/>
                  </a:cubicBezTo>
                  <a:close/>
                  <a:moveTo>
                    <a:pt x="70" y="38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2" y="39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4"/>
                  </a:cubicBezTo>
                  <a:close/>
                  <a:moveTo>
                    <a:pt x="71" y="43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lose/>
                  <a:moveTo>
                    <a:pt x="74" y="44"/>
                  </a:move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3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9" y="48"/>
                    <a:pt x="79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6"/>
                    <a:pt x="72" y="46"/>
                  </a:cubicBezTo>
                  <a:cubicBezTo>
                    <a:pt x="73" y="46"/>
                    <a:pt x="73" y="46"/>
                    <a:pt x="73" y="45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70" y="44"/>
                    <a:pt x="70" y="44"/>
                    <a:pt x="70" y="44"/>
                  </a:cubicBezTo>
                  <a:lnTo>
                    <a:pt x="69" y="44"/>
                  </a:lnTo>
                  <a:close/>
                  <a:moveTo>
                    <a:pt x="67" y="43"/>
                  </a:move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2"/>
                    <a:pt x="67" y="43"/>
                  </a:cubicBezTo>
                  <a:close/>
                  <a:moveTo>
                    <a:pt x="78" y="49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7"/>
                  </a:cubicBezTo>
                  <a:cubicBezTo>
                    <a:pt x="73" y="47"/>
                    <a:pt x="73" y="46"/>
                    <a:pt x="73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5"/>
                  </a:move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6"/>
                    <a:pt x="68" y="46"/>
                  </a:cubicBezTo>
                  <a:cubicBezTo>
                    <a:pt x="68" y="45"/>
                    <a:pt x="69" y="45"/>
                    <a:pt x="69" y="45"/>
                  </a:cubicBezTo>
                  <a:close/>
                  <a:moveTo>
                    <a:pt x="71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8"/>
                  </a:cubicBezTo>
                  <a:cubicBezTo>
                    <a:pt x="72" y="49"/>
                    <a:pt x="72" y="48"/>
                    <a:pt x="72" y="48"/>
                  </a:cubicBezTo>
                  <a:cubicBezTo>
                    <a:pt x="73" y="48"/>
                    <a:pt x="73" y="48"/>
                    <a:pt x="72" y="49"/>
                  </a:cubicBezTo>
                  <a:close/>
                  <a:moveTo>
                    <a:pt x="66" y="46"/>
                  </a:moveTo>
                  <a:cubicBezTo>
                    <a:pt x="65" y="46"/>
                    <a:pt x="66" y="46"/>
                    <a:pt x="65" y="47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2" y="50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51"/>
                  </a:moveTo>
                  <a:cubicBezTo>
                    <a:pt x="75" y="51"/>
                    <a:pt x="75" y="52"/>
                    <a:pt x="74" y="52"/>
                  </a:cubicBezTo>
                  <a:cubicBezTo>
                    <a:pt x="74" y="52"/>
                    <a:pt x="75" y="51"/>
                    <a:pt x="75" y="51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50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50"/>
                    <a:pt x="69" y="49"/>
                    <a:pt x="69" y="50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9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70" y="51"/>
                  </a:moveTo>
                  <a:cubicBezTo>
                    <a:pt x="70" y="51"/>
                    <a:pt x="71" y="50"/>
                    <a:pt x="71" y="50"/>
                  </a:cubicBezTo>
                  <a:cubicBezTo>
                    <a:pt x="71" y="50"/>
                    <a:pt x="71" y="51"/>
                    <a:pt x="7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2" y="51"/>
                    <a:pt x="72" y="50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1" y="51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0"/>
                    <a:pt x="70" y="50"/>
                  </a:cubicBezTo>
                  <a:close/>
                  <a:moveTo>
                    <a:pt x="73" y="52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2"/>
                    <a:pt x="7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8" y="50"/>
                  </a:cubicBezTo>
                  <a:cubicBezTo>
                    <a:pt x="68" y="50"/>
                    <a:pt x="69" y="50"/>
                    <a:pt x="69" y="50"/>
                  </a:cubicBezTo>
                  <a:close/>
                  <a:moveTo>
                    <a:pt x="70" y="53"/>
                  </a:moveTo>
                  <a:cubicBezTo>
                    <a:pt x="70" y="53"/>
                    <a:pt x="71" y="52"/>
                    <a:pt x="71" y="51"/>
                  </a:cubicBezTo>
                  <a:cubicBezTo>
                    <a:pt x="71" y="51"/>
                    <a:pt x="71" y="52"/>
                    <a:pt x="71" y="52"/>
                  </a:cubicBezTo>
                  <a:cubicBezTo>
                    <a:pt x="71" y="52"/>
                    <a:pt x="70" y="52"/>
                    <a:pt x="70" y="53"/>
                  </a:cubicBezTo>
                  <a:close/>
                  <a:moveTo>
                    <a:pt x="66" y="49"/>
                  </a:moveTo>
                  <a:cubicBezTo>
                    <a:pt x="66" y="49"/>
                    <a:pt x="67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49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49"/>
                    <a:pt x="66" y="49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70" y="52"/>
                    <a:pt x="70" y="52"/>
                  </a:cubicBezTo>
                  <a:close/>
                  <a:moveTo>
                    <a:pt x="69" y="52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2"/>
                    <a:pt x="69" y="52"/>
                  </a:cubicBezTo>
                  <a:close/>
                  <a:moveTo>
                    <a:pt x="64" y="50"/>
                  </a:move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70" y="53"/>
                  </a:move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lose/>
                  <a:moveTo>
                    <a:pt x="65" y="51"/>
                  </a:moveTo>
                  <a:cubicBezTo>
                    <a:pt x="66" y="51"/>
                    <a:pt x="66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5" y="51"/>
                  </a:cubicBezTo>
                  <a:close/>
                  <a:moveTo>
                    <a:pt x="67" y="52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3"/>
                    <a:pt x="67" y="52"/>
                  </a:cubicBezTo>
                  <a:close/>
                  <a:moveTo>
                    <a:pt x="69" y="53"/>
                  </a:moveTo>
                  <a:cubicBezTo>
                    <a:pt x="69" y="53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3"/>
                    <a:pt x="68" y="53"/>
                    <a:pt x="69" y="53"/>
                  </a:cubicBezTo>
                  <a:close/>
                  <a:moveTo>
                    <a:pt x="71" y="55"/>
                  </a:moveTo>
                  <a:cubicBezTo>
                    <a:pt x="71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3"/>
                    <a:pt x="65" y="53"/>
                  </a:cubicBezTo>
                  <a:cubicBezTo>
                    <a:pt x="65" y="53"/>
                    <a:pt x="65" y="53"/>
                    <a:pt x="66" y="52"/>
                  </a:cubicBezTo>
                  <a:close/>
                  <a:moveTo>
                    <a:pt x="74" y="56"/>
                  </a:moveTo>
                  <a:cubicBezTo>
                    <a:pt x="74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7"/>
                    <a:pt x="74" y="56"/>
                  </a:cubicBezTo>
                  <a:close/>
                  <a:moveTo>
                    <a:pt x="67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6" y="54"/>
                    <a:pt x="67" y="54"/>
                    <a:pt x="67" y="53"/>
                  </a:cubicBezTo>
                  <a:cubicBezTo>
                    <a:pt x="67" y="54"/>
                    <a:pt x="66" y="54"/>
                    <a:pt x="67" y="54"/>
                  </a:cubicBezTo>
                  <a:close/>
                  <a:moveTo>
                    <a:pt x="66" y="53"/>
                  </a:moveTo>
                  <a:cubicBezTo>
                    <a:pt x="67" y="53"/>
                    <a:pt x="67" y="53"/>
                    <a:pt x="67" y="5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3"/>
                  </a:cubicBezTo>
                  <a:close/>
                  <a:moveTo>
                    <a:pt x="66" y="54"/>
                  </a:move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lose/>
                  <a:moveTo>
                    <a:pt x="68" y="55"/>
                  </a:moveTo>
                  <a:cubicBezTo>
                    <a:pt x="68" y="55"/>
                    <a:pt x="67" y="55"/>
                    <a:pt x="68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73" y="59"/>
                  </a:move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9"/>
                    <a:pt x="73" y="59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7" y="55"/>
                  </a:cubicBezTo>
                  <a:cubicBezTo>
                    <a:pt x="67" y="56"/>
                    <a:pt x="66" y="56"/>
                    <a:pt x="66" y="56"/>
                  </a:cubicBezTo>
                  <a:close/>
                  <a:moveTo>
                    <a:pt x="69" y="57"/>
                  </a:move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7"/>
                    <a:pt x="69" y="57"/>
                  </a:cubicBezTo>
                  <a:close/>
                  <a:moveTo>
                    <a:pt x="72" y="59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60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lose/>
                  <a:moveTo>
                    <a:pt x="65" y="56"/>
                  </a:moveTo>
                  <a:cubicBezTo>
                    <a:pt x="65" y="56"/>
                    <a:pt x="65" y="57"/>
                    <a:pt x="64" y="57"/>
                  </a:cubicBezTo>
                  <a:cubicBezTo>
                    <a:pt x="64" y="57"/>
                    <a:pt x="65" y="56"/>
                    <a:pt x="65" y="55"/>
                  </a:cubicBezTo>
                  <a:lnTo>
                    <a:pt x="65" y="56"/>
                  </a:ln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5"/>
                    <a:pt x="61" y="54"/>
                  </a:cubicBezTo>
                  <a:close/>
                  <a:moveTo>
                    <a:pt x="68" y="58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8"/>
                    <a:pt x="68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lose/>
                  <a:moveTo>
                    <a:pt x="71" y="60"/>
                  </a:moveTo>
                  <a:cubicBezTo>
                    <a:pt x="71" y="60"/>
                    <a:pt x="71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0"/>
                    <a:pt x="71" y="60"/>
                  </a:cubicBezTo>
                  <a:close/>
                  <a:moveTo>
                    <a:pt x="64" y="58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4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1"/>
                    <a:pt x="72" y="61"/>
                  </a:cubicBezTo>
                  <a:cubicBezTo>
                    <a:pt x="72" y="61"/>
                    <a:pt x="72" y="60"/>
                    <a:pt x="72" y="60"/>
                  </a:cubicBezTo>
                  <a:close/>
                  <a:moveTo>
                    <a:pt x="65" y="58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9"/>
                    <a:pt x="66" y="59"/>
                  </a:cubicBezTo>
                  <a:cubicBezTo>
                    <a:pt x="66" y="59"/>
                    <a:pt x="66" y="59"/>
                    <a:pt x="66" y="58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6" y="59"/>
                    <a:pt x="66" y="60"/>
                    <a:pt x="65" y="60"/>
                  </a:cubicBezTo>
                  <a:cubicBezTo>
                    <a:pt x="66" y="60"/>
                    <a:pt x="66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6" y="59"/>
                  </a:cubicBezTo>
                  <a:close/>
                  <a:moveTo>
                    <a:pt x="71" y="61"/>
                  </a:moveTo>
                  <a:cubicBezTo>
                    <a:pt x="72" y="61"/>
                    <a:pt x="71" y="61"/>
                    <a:pt x="72" y="61"/>
                  </a:cubicBezTo>
                  <a:cubicBezTo>
                    <a:pt x="71" y="62"/>
                    <a:pt x="71" y="62"/>
                    <a:pt x="71" y="61"/>
                  </a:cubicBezTo>
                  <a:close/>
                  <a:moveTo>
                    <a:pt x="69" y="61"/>
                  </a:moveTo>
                  <a:cubicBezTo>
                    <a:pt x="69" y="61"/>
                    <a:pt x="69" y="61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70" y="62"/>
                    <a:pt x="70" y="62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70" y="60"/>
                  </a:cubicBezTo>
                  <a:cubicBezTo>
                    <a:pt x="70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lose/>
                  <a:moveTo>
                    <a:pt x="70" y="62"/>
                  </a:move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1"/>
                    <a:pt x="71" y="62"/>
                    <a:pt x="71" y="61"/>
                  </a:cubicBezTo>
                  <a:cubicBezTo>
                    <a:pt x="71" y="62"/>
                    <a:pt x="71" y="61"/>
                    <a:pt x="71" y="61"/>
                  </a:cubicBezTo>
                  <a:cubicBezTo>
                    <a:pt x="71" y="61"/>
                    <a:pt x="71" y="62"/>
                    <a:pt x="71" y="62"/>
                  </a:cubicBezTo>
                  <a:cubicBezTo>
                    <a:pt x="71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1" y="62"/>
                  </a:moveTo>
                  <a:cubicBezTo>
                    <a:pt x="71" y="62"/>
                    <a:pt x="71" y="62"/>
                    <a:pt x="71" y="63"/>
                  </a:cubicBezTo>
                  <a:cubicBezTo>
                    <a:pt x="71" y="63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lose/>
                  <a:moveTo>
                    <a:pt x="63" y="5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9"/>
                    <a:pt x="64" y="59"/>
                  </a:cubicBezTo>
                  <a:cubicBezTo>
                    <a:pt x="63" y="59"/>
                    <a:pt x="63" y="59"/>
                    <a:pt x="63" y="59"/>
                  </a:cubicBezTo>
                  <a:close/>
                  <a:moveTo>
                    <a:pt x="60" y="57"/>
                  </a:move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59"/>
                    <a:pt x="64" y="59"/>
                  </a:cubicBezTo>
                  <a:cubicBezTo>
                    <a:pt x="64" y="59"/>
                    <a:pt x="63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2"/>
                  </a:move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8" y="64"/>
                    <a:pt x="68" y="64"/>
                  </a:cubicBezTo>
                  <a:cubicBezTo>
                    <a:pt x="68" y="64"/>
                    <a:pt x="68" y="63"/>
                    <a:pt x="69" y="62"/>
                  </a:cubicBezTo>
                  <a:cubicBezTo>
                    <a:pt x="69" y="62"/>
                    <a:pt x="69" y="63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2"/>
                  </a:cubicBezTo>
                  <a:cubicBezTo>
                    <a:pt x="69" y="63"/>
                    <a:pt x="69" y="62"/>
                    <a:pt x="69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4" y="61"/>
                  </a:cubicBezTo>
                  <a:cubicBezTo>
                    <a:pt x="64" y="61"/>
                    <a:pt x="64" y="60"/>
                    <a:pt x="65" y="60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4"/>
                  </a:cubicBezTo>
                  <a:cubicBezTo>
                    <a:pt x="68" y="64"/>
                    <a:pt x="69" y="63"/>
                    <a:pt x="69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0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1"/>
                  </a:move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0"/>
                    <a:pt x="62" y="60"/>
                  </a:cubicBezTo>
                  <a:cubicBezTo>
                    <a:pt x="62" y="61"/>
                    <a:pt x="62" y="61"/>
                    <a:pt x="62" y="61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63" y="62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2"/>
                  </a:moveTo>
                  <a:cubicBezTo>
                    <a:pt x="62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4"/>
                  </a:cubicBezTo>
                  <a:cubicBezTo>
                    <a:pt x="61" y="63"/>
                    <a:pt x="60" y="64"/>
                    <a:pt x="60" y="64"/>
                  </a:cubicBezTo>
                  <a:cubicBezTo>
                    <a:pt x="60" y="65"/>
                    <a:pt x="60" y="64"/>
                    <a:pt x="60" y="64"/>
                  </a:cubicBezTo>
                  <a:cubicBezTo>
                    <a:pt x="60" y="64"/>
                    <a:pt x="61" y="63"/>
                    <a:pt x="61" y="63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2" y="61"/>
                    <a:pt x="62" y="61"/>
                  </a:cubicBezTo>
                  <a:cubicBezTo>
                    <a:pt x="62" y="61"/>
                    <a:pt x="62" y="62"/>
                    <a:pt x="62" y="62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5"/>
                    <a:pt x="69" y="65"/>
                  </a:cubicBezTo>
                  <a:cubicBezTo>
                    <a:pt x="69" y="65"/>
                    <a:pt x="69" y="66"/>
                    <a:pt x="69" y="66"/>
                  </a:cubicBezTo>
                  <a:close/>
                  <a:moveTo>
                    <a:pt x="64" y="63"/>
                  </a:moveTo>
                  <a:cubicBezTo>
                    <a:pt x="64" y="63"/>
                    <a:pt x="64" y="64"/>
                    <a:pt x="64" y="64"/>
                  </a:cubicBezTo>
                  <a:cubicBezTo>
                    <a:pt x="64" y="63"/>
                    <a:pt x="64" y="63"/>
                    <a:pt x="64" y="63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70" y="66"/>
                    <a:pt x="69" y="66"/>
                  </a:cubicBezTo>
                  <a:close/>
                  <a:moveTo>
                    <a:pt x="66" y="65"/>
                  </a:move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6"/>
                  </a:cubicBezTo>
                  <a:cubicBezTo>
                    <a:pt x="65" y="66"/>
                    <a:pt x="66" y="65"/>
                    <a:pt x="66" y="65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lose/>
                  <a:moveTo>
                    <a:pt x="65" y="65"/>
                  </a:moveTo>
                  <a:cubicBezTo>
                    <a:pt x="64" y="65"/>
                    <a:pt x="64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lose/>
                  <a:moveTo>
                    <a:pt x="68" y="68"/>
                  </a:move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8" y="68"/>
                    <a:pt x="68" y="68"/>
                  </a:cubicBezTo>
                  <a:close/>
                  <a:moveTo>
                    <a:pt x="58" y="62"/>
                  </a:moveTo>
                  <a:cubicBezTo>
                    <a:pt x="58" y="62"/>
                    <a:pt x="58" y="63"/>
                    <a:pt x="58" y="63"/>
                  </a:cubicBezTo>
                  <a:cubicBezTo>
                    <a:pt x="58" y="63"/>
                    <a:pt x="58" y="63"/>
                    <a:pt x="58" y="62"/>
                  </a:cubicBezTo>
                  <a:close/>
                  <a:moveTo>
                    <a:pt x="60" y="65"/>
                  </a:move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0" y="65"/>
                  </a:cubicBezTo>
                  <a:close/>
                  <a:moveTo>
                    <a:pt x="59" y="65"/>
                  </a:move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59" y="65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66"/>
                    <a:pt x="59" y="65"/>
                    <a:pt x="59" y="65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5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7"/>
                    <a:pt x="65" y="68"/>
                  </a:cubicBezTo>
                  <a:close/>
                  <a:moveTo>
                    <a:pt x="62" y="68"/>
                  </a:moveTo>
                  <a:cubicBezTo>
                    <a:pt x="62" y="68"/>
                    <a:pt x="63" y="67"/>
                    <a:pt x="62" y="68"/>
                  </a:cubicBezTo>
                  <a:cubicBezTo>
                    <a:pt x="62" y="67"/>
                    <a:pt x="63" y="67"/>
                    <a:pt x="63" y="67"/>
                  </a:cubicBezTo>
                  <a:cubicBezTo>
                    <a:pt x="63" y="67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6"/>
                    <a:pt x="60" y="66"/>
                  </a:cubicBezTo>
                  <a:cubicBezTo>
                    <a:pt x="60" y="66"/>
                    <a:pt x="59" y="67"/>
                    <a:pt x="59" y="67"/>
                  </a:cubicBezTo>
                  <a:close/>
                  <a:moveTo>
                    <a:pt x="64" y="69"/>
                  </a:move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lose/>
                  <a:moveTo>
                    <a:pt x="59" y="66"/>
                  </a:moveTo>
                  <a:cubicBezTo>
                    <a:pt x="59" y="67"/>
                    <a:pt x="58" y="67"/>
                    <a:pt x="58" y="67"/>
                  </a:cubicBezTo>
                  <a:cubicBezTo>
                    <a:pt x="58" y="67"/>
                    <a:pt x="58" y="67"/>
                    <a:pt x="59" y="66"/>
                  </a:cubicBezTo>
                  <a:close/>
                  <a:moveTo>
                    <a:pt x="63" y="69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69"/>
                    <a:pt x="63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lose/>
                  <a:moveTo>
                    <a:pt x="60" y="68"/>
                  </a:moveTo>
                  <a:cubicBezTo>
                    <a:pt x="60" y="68"/>
                    <a:pt x="60" y="69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60" y="68"/>
                    <a:pt x="59" y="68"/>
                    <a:pt x="59" y="68"/>
                  </a:cubicBezTo>
                  <a:close/>
                  <a:moveTo>
                    <a:pt x="57" y="67"/>
                  </a:move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64" y="71"/>
                  </a:moveTo>
                  <a:cubicBezTo>
                    <a:pt x="64" y="71"/>
                    <a:pt x="64" y="70"/>
                    <a:pt x="64" y="70"/>
                  </a:cubicBezTo>
                  <a:cubicBezTo>
                    <a:pt x="64" y="70"/>
                    <a:pt x="64" y="70"/>
                    <a:pt x="64" y="71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62" y="70"/>
                  </a:moveTo>
                  <a:cubicBezTo>
                    <a:pt x="62" y="70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lose/>
                  <a:moveTo>
                    <a:pt x="63" y="71"/>
                  </a:move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1"/>
                    <a:pt x="63" y="72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lose/>
                  <a:moveTo>
                    <a:pt x="62" y="72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lose/>
                  <a:moveTo>
                    <a:pt x="63" y="72"/>
                  </a:moveTo>
                  <a:cubicBezTo>
                    <a:pt x="64" y="73"/>
                    <a:pt x="64" y="72"/>
                    <a:pt x="64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2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8" y="70"/>
                    <a:pt x="58" y="70"/>
                  </a:cubicBezTo>
                  <a:close/>
                  <a:moveTo>
                    <a:pt x="60" y="71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1" y="72"/>
                    <a:pt x="61" y="72"/>
                  </a:cubicBezTo>
                  <a:cubicBezTo>
                    <a:pt x="61" y="72"/>
                    <a:pt x="61" y="72"/>
                    <a:pt x="62" y="72"/>
                  </a:cubicBezTo>
                  <a:close/>
                  <a:moveTo>
                    <a:pt x="60" y="71"/>
                  </a:move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2"/>
                    <a:pt x="59" y="72"/>
                    <a:pt x="60" y="71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4"/>
                    <a:pt x="65" y="74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4" y="76"/>
                  </a:moveTo>
                  <a:cubicBezTo>
                    <a:pt x="64" y="77"/>
                    <a:pt x="64" y="78"/>
                    <a:pt x="63" y="78"/>
                  </a:cubicBezTo>
                  <a:cubicBezTo>
                    <a:pt x="64" y="77"/>
                    <a:pt x="64" y="76"/>
                    <a:pt x="65" y="75"/>
                  </a:cubicBezTo>
                  <a:cubicBezTo>
                    <a:pt x="65" y="75"/>
                    <a:pt x="65" y="76"/>
                    <a:pt x="64" y="76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lose/>
                  <a:moveTo>
                    <a:pt x="62" y="75"/>
                  </a:moveTo>
                  <a:cubicBezTo>
                    <a:pt x="62" y="75"/>
                    <a:pt x="62" y="75"/>
                    <a:pt x="62" y="75"/>
                  </a:cubicBezTo>
                  <a:cubicBezTo>
                    <a:pt x="62" y="75"/>
                    <a:pt x="62" y="75"/>
                    <a:pt x="62" y="74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58" y="74"/>
                  </a:moveTo>
                  <a:cubicBezTo>
                    <a:pt x="58" y="73"/>
                    <a:pt x="58" y="73"/>
                    <a:pt x="58" y="73"/>
                  </a:cubicBezTo>
                  <a:cubicBezTo>
                    <a:pt x="58" y="73"/>
                    <a:pt x="58" y="74"/>
                    <a:pt x="58" y="75"/>
                  </a:cubicBezTo>
                  <a:cubicBezTo>
                    <a:pt x="57" y="74"/>
                    <a:pt x="58" y="74"/>
                    <a:pt x="58" y="74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63" y="80"/>
                  </a:moveTo>
                  <a:cubicBezTo>
                    <a:pt x="63" y="80"/>
                    <a:pt x="63" y="79"/>
                    <a:pt x="63" y="80"/>
                  </a:cubicBezTo>
                  <a:close/>
                  <a:moveTo>
                    <a:pt x="59" y="78"/>
                  </a:moveTo>
                  <a:cubicBezTo>
                    <a:pt x="59" y="78"/>
                    <a:pt x="59" y="78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8"/>
                    <a:pt x="59" y="78"/>
                    <a:pt x="59" y="78"/>
                  </a:cubicBezTo>
                  <a:close/>
                  <a:moveTo>
                    <a:pt x="57" y="77"/>
                  </a:moveTo>
                  <a:cubicBezTo>
                    <a:pt x="56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60" y="79"/>
                  </a:moveTo>
                  <a:cubicBezTo>
                    <a:pt x="60" y="79"/>
                    <a:pt x="60" y="80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lose/>
                  <a:moveTo>
                    <a:pt x="55" y="77"/>
                  </a:move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7"/>
                    <a:pt x="55" y="77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7" y="79"/>
                    <a:pt x="56" y="79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9"/>
                    <a:pt x="56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5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8" y="79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lose/>
                  <a:moveTo>
                    <a:pt x="58" y="80"/>
                  </a:moveTo>
                  <a:cubicBezTo>
                    <a:pt x="58" y="80"/>
                    <a:pt x="58" y="80"/>
                    <a:pt x="58" y="80"/>
                  </a:cubicBezTo>
                  <a:cubicBezTo>
                    <a:pt x="59" y="80"/>
                    <a:pt x="58" y="80"/>
                    <a:pt x="58" y="80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80"/>
                    <a:pt x="57" y="79"/>
                  </a:cubicBezTo>
                  <a:close/>
                  <a:moveTo>
                    <a:pt x="62" y="83"/>
                  </a:move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3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8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58" y="80"/>
                  </a:moveTo>
                  <a:cubicBezTo>
                    <a:pt x="58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1"/>
                    <a:pt x="57" y="80"/>
                    <a:pt x="57" y="80"/>
                  </a:cubicBezTo>
                  <a:cubicBezTo>
                    <a:pt x="57" y="80"/>
                    <a:pt x="57" y="80"/>
                    <a:pt x="58" y="80"/>
                  </a:cubicBezTo>
                  <a:close/>
                  <a:moveTo>
                    <a:pt x="53" y="79"/>
                  </a:moveTo>
                  <a:cubicBezTo>
                    <a:pt x="53" y="78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4" y="78"/>
                    <a:pt x="53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60" y="82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2"/>
                    <a:pt x="60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79"/>
                    <a:pt x="52" y="79"/>
                  </a:cubicBezTo>
                  <a:cubicBezTo>
                    <a:pt x="52" y="79"/>
                    <a:pt x="52" y="80"/>
                    <a:pt x="52" y="80"/>
                  </a:cubicBezTo>
                  <a:close/>
                  <a:moveTo>
                    <a:pt x="59" y="83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59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59" y="84"/>
                    <a:pt x="60" y="83"/>
                    <a:pt x="59" y="83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9"/>
                    <a:pt x="50" y="78"/>
                    <a:pt x="50" y="79"/>
                  </a:cubicBezTo>
                  <a:close/>
                  <a:moveTo>
                    <a:pt x="50" y="81"/>
                  </a:moveTo>
                  <a:cubicBezTo>
                    <a:pt x="49" y="81"/>
                    <a:pt x="49" y="82"/>
                    <a:pt x="48" y="83"/>
                  </a:cubicBezTo>
                  <a:cubicBezTo>
                    <a:pt x="49" y="82"/>
                    <a:pt x="49" y="81"/>
                    <a:pt x="50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3" y="82"/>
                    <a:pt x="53" y="82"/>
                  </a:cubicBezTo>
                  <a:cubicBezTo>
                    <a:pt x="53" y="81"/>
                    <a:pt x="54" y="81"/>
                    <a:pt x="54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1"/>
                    <a:pt x="54" y="81"/>
                    <a:pt x="54" y="81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80"/>
                  </a:cubicBezTo>
                  <a:cubicBezTo>
                    <a:pt x="50" y="80"/>
                    <a:pt x="50" y="79"/>
                    <a:pt x="50" y="79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2" y="81"/>
                    <a:pt x="52" y="80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0" y="81"/>
                  </a:move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1"/>
                    <a:pt x="50" y="81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0" y="80"/>
                    <a:pt x="51" y="80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3"/>
                  </a:moveTo>
                  <a:cubicBezTo>
                    <a:pt x="54" y="83"/>
                    <a:pt x="55" y="82"/>
                    <a:pt x="54" y="83"/>
                  </a:cubicBezTo>
                  <a:cubicBezTo>
                    <a:pt x="54" y="83"/>
                    <a:pt x="54" y="82"/>
                    <a:pt x="54" y="82"/>
                  </a:cubicBezTo>
                  <a:cubicBezTo>
                    <a:pt x="55" y="82"/>
                    <a:pt x="55" y="82"/>
                    <a:pt x="55" y="83"/>
                  </a:cubicBezTo>
                  <a:cubicBezTo>
                    <a:pt x="55" y="83"/>
                    <a:pt x="54" y="83"/>
                    <a:pt x="54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lose/>
                  <a:moveTo>
                    <a:pt x="55" y="84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5" y="84"/>
                    <a:pt x="55" y="84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3"/>
                    <a:pt x="53" y="82"/>
                    <a:pt x="53" y="83"/>
                  </a:cubicBezTo>
                  <a:cubicBezTo>
                    <a:pt x="53" y="83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5" y="83"/>
                  </a:move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3"/>
                  </a:cubicBezTo>
                  <a:close/>
                  <a:moveTo>
                    <a:pt x="55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4"/>
                  </a:cubicBezTo>
                  <a:close/>
                  <a:moveTo>
                    <a:pt x="50" y="82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53" y="84"/>
                  </a:moveTo>
                  <a:cubicBezTo>
                    <a:pt x="53" y="84"/>
                    <a:pt x="53" y="84"/>
                    <a:pt x="53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1" y="8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1" y="84"/>
                    <a:pt x="51" y="84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5"/>
                    <a:pt x="53" y="86"/>
                  </a:cubicBezTo>
                  <a:cubicBezTo>
                    <a:pt x="53" y="86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0" y="83"/>
                  </a:moveTo>
                  <a:cubicBezTo>
                    <a:pt x="50" y="83"/>
                    <a:pt x="49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7"/>
                    <a:pt x="56" y="87"/>
                    <a:pt x="56" y="86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7" y="85"/>
                    <a:pt x="57" y="85"/>
                  </a:cubicBezTo>
                  <a:cubicBezTo>
                    <a:pt x="57" y="85"/>
                    <a:pt x="57" y="84"/>
                    <a:pt x="57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5"/>
                    <a:pt x="57" y="86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50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48" y="84"/>
                  </a:moveTo>
                  <a:cubicBezTo>
                    <a:pt x="48" y="83"/>
                    <a:pt x="48" y="84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lose/>
                  <a:moveTo>
                    <a:pt x="49" y="84"/>
                  </a:moveTo>
                  <a:cubicBezTo>
                    <a:pt x="48" y="84"/>
                    <a:pt x="48" y="85"/>
                    <a:pt x="48" y="85"/>
                  </a:cubicBezTo>
                  <a:cubicBezTo>
                    <a:pt x="48" y="84"/>
                    <a:pt x="48" y="84"/>
                    <a:pt x="49" y="83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5"/>
                  </a:cubicBezTo>
                  <a:cubicBezTo>
                    <a:pt x="51" y="85"/>
                    <a:pt x="51" y="86"/>
                    <a:pt x="52" y="86"/>
                  </a:cubicBezTo>
                  <a:cubicBezTo>
                    <a:pt x="52" y="86"/>
                    <a:pt x="51" y="86"/>
                    <a:pt x="51" y="86"/>
                  </a:cubicBezTo>
                  <a:close/>
                  <a:moveTo>
                    <a:pt x="55" y="88"/>
                  </a:moveTo>
                  <a:cubicBezTo>
                    <a:pt x="54" y="88"/>
                    <a:pt x="54" y="88"/>
                    <a:pt x="55" y="88"/>
                  </a:cubicBezTo>
                  <a:cubicBezTo>
                    <a:pt x="55" y="88"/>
                    <a:pt x="54" y="88"/>
                    <a:pt x="54" y="88"/>
                  </a:cubicBezTo>
                  <a:cubicBezTo>
                    <a:pt x="54" y="88"/>
                    <a:pt x="55" y="87"/>
                    <a:pt x="55" y="87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9"/>
                    <a:pt x="54" y="89"/>
                  </a:cubicBezTo>
                  <a:cubicBezTo>
                    <a:pt x="54" y="88"/>
                    <a:pt x="54" y="88"/>
                    <a:pt x="55" y="88"/>
                  </a:cubicBezTo>
                  <a:close/>
                  <a:moveTo>
                    <a:pt x="52" y="87"/>
                  </a:moveTo>
                  <a:cubicBezTo>
                    <a:pt x="53" y="87"/>
                    <a:pt x="53" y="87"/>
                    <a:pt x="53" y="86"/>
                  </a:cubicBezTo>
                  <a:cubicBezTo>
                    <a:pt x="53" y="86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2" y="87"/>
                  </a:cubicBezTo>
                  <a:close/>
                  <a:moveTo>
                    <a:pt x="49" y="86"/>
                  </a:moveTo>
                  <a:cubicBezTo>
                    <a:pt x="49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lose/>
                  <a:moveTo>
                    <a:pt x="47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6"/>
                    <a:pt x="47" y="85"/>
                  </a:cubicBezTo>
                  <a:close/>
                  <a:moveTo>
                    <a:pt x="49" y="86"/>
                  </a:moveTo>
                  <a:cubicBezTo>
                    <a:pt x="50" y="86"/>
                    <a:pt x="50" y="86"/>
                    <a:pt x="50" y="86"/>
                  </a:cubicBezTo>
                  <a:cubicBezTo>
                    <a:pt x="49" y="87"/>
                    <a:pt x="49" y="87"/>
                    <a:pt x="49" y="86"/>
                  </a:cubicBezTo>
                  <a:close/>
                  <a:moveTo>
                    <a:pt x="51" y="89"/>
                  </a:moveTo>
                  <a:cubicBezTo>
                    <a:pt x="52" y="89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9"/>
                    <a:pt x="52" y="89"/>
                  </a:cubicBezTo>
                  <a:cubicBezTo>
                    <a:pt x="52" y="89"/>
                    <a:pt x="52" y="89"/>
                    <a:pt x="51" y="89"/>
                  </a:cubicBezTo>
                  <a:close/>
                  <a:moveTo>
                    <a:pt x="52" y="89"/>
                  </a:moveTo>
                  <a:cubicBezTo>
                    <a:pt x="52" y="89"/>
                    <a:pt x="53" y="89"/>
                    <a:pt x="53" y="88"/>
                  </a:cubicBezTo>
                  <a:cubicBezTo>
                    <a:pt x="53" y="89"/>
                    <a:pt x="52" y="89"/>
                    <a:pt x="52" y="89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7" y="86"/>
                    <a:pt x="47" y="86"/>
                    <a:pt x="48" y="86"/>
                  </a:cubicBezTo>
                  <a:close/>
                  <a:moveTo>
                    <a:pt x="53" y="89"/>
                  </a:moveTo>
                  <a:cubicBezTo>
                    <a:pt x="53" y="90"/>
                    <a:pt x="52" y="90"/>
                    <a:pt x="52" y="90"/>
                  </a:cubicBezTo>
                  <a:cubicBezTo>
                    <a:pt x="52" y="90"/>
                    <a:pt x="53" y="90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90"/>
                    <a:pt x="51" y="90"/>
                    <a:pt x="51" y="91"/>
                  </a:cubicBezTo>
                  <a:cubicBezTo>
                    <a:pt x="51" y="90"/>
                    <a:pt x="51" y="89"/>
                    <a:pt x="51" y="89"/>
                  </a:cubicBezTo>
                  <a:close/>
                  <a:moveTo>
                    <a:pt x="49" y="89"/>
                  </a:moveTo>
                  <a:cubicBezTo>
                    <a:pt x="48" y="89"/>
                    <a:pt x="48" y="88"/>
                    <a:pt x="49" y="88"/>
                  </a:cubicBezTo>
                  <a:cubicBezTo>
                    <a:pt x="49" y="88"/>
                    <a:pt x="49" y="88"/>
                    <a:pt x="49" y="89"/>
                  </a:cubicBezTo>
                  <a:close/>
                  <a:moveTo>
                    <a:pt x="52" y="91"/>
                  </a:moveTo>
                  <a:cubicBezTo>
                    <a:pt x="52" y="91"/>
                    <a:pt x="53" y="91"/>
                    <a:pt x="53" y="90"/>
                  </a:cubicBezTo>
                  <a:cubicBezTo>
                    <a:pt x="53" y="90"/>
                    <a:pt x="53" y="91"/>
                    <a:pt x="52" y="91"/>
                  </a:cubicBezTo>
                  <a:close/>
                  <a:moveTo>
                    <a:pt x="53" y="91"/>
                  </a:move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0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  <a:moveTo>
                    <a:pt x="47" y="88"/>
                  </a:move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51" y="91"/>
                    <a:pt x="51" y="91"/>
                  </a:cubicBezTo>
                  <a:close/>
                  <a:moveTo>
                    <a:pt x="46" y="89"/>
                  </a:moveTo>
                  <a:cubicBezTo>
                    <a:pt x="46" y="89"/>
                    <a:pt x="46" y="89"/>
                    <a:pt x="46" y="90"/>
                  </a:cubicBezTo>
                  <a:cubicBezTo>
                    <a:pt x="45" y="90"/>
                    <a:pt x="46" y="89"/>
                    <a:pt x="46" y="89"/>
                  </a:cubicBezTo>
                  <a:close/>
                  <a:moveTo>
                    <a:pt x="47" y="90"/>
                  </a:move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lose/>
                  <a:moveTo>
                    <a:pt x="50" y="92"/>
                  </a:moveTo>
                  <a:cubicBezTo>
                    <a:pt x="50" y="92"/>
                    <a:pt x="50" y="93"/>
                    <a:pt x="50" y="93"/>
                  </a:cubicBezTo>
                  <a:cubicBezTo>
                    <a:pt x="50" y="92"/>
                    <a:pt x="50" y="92"/>
                    <a:pt x="50" y="92"/>
                  </a:cubicBezTo>
                  <a:close/>
                  <a:moveTo>
                    <a:pt x="48" y="91"/>
                  </a:moveTo>
                  <a:cubicBezTo>
                    <a:pt x="48" y="91"/>
                    <a:pt x="48" y="91"/>
                    <a:pt x="47" y="91"/>
                  </a:cubicBezTo>
                  <a:cubicBezTo>
                    <a:pt x="47" y="91"/>
                    <a:pt x="48" y="91"/>
                    <a:pt x="48" y="91"/>
                  </a:cubicBezTo>
                  <a:close/>
                  <a:moveTo>
                    <a:pt x="49" y="92"/>
                  </a:moveTo>
                  <a:cubicBezTo>
                    <a:pt x="49" y="92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47" y="91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92"/>
                    <a:pt x="47" y="91"/>
                    <a:pt x="47" y="91"/>
                  </a:cubicBezTo>
                  <a:close/>
                  <a:moveTo>
                    <a:pt x="45" y="93"/>
                  </a:moveTo>
                  <a:cubicBezTo>
                    <a:pt x="45" y="92"/>
                    <a:pt x="45" y="92"/>
                    <a:pt x="45" y="92"/>
                  </a:cubicBezTo>
                  <a:cubicBezTo>
                    <a:pt x="46" y="92"/>
                    <a:pt x="45" y="92"/>
                    <a:pt x="45" y="93"/>
                  </a:cubicBezTo>
                  <a:close/>
                  <a:moveTo>
                    <a:pt x="46" y="93"/>
                  </a:move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2"/>
                    <a:pt x="46" y="92"/>
                  </a:cubicBezTo>
                  <a:cubicBezTo>
                    <a:pt x="46" y="92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lose/>
                  <a:moveTo>
                    <a:pt x="50" y="96"/>
                  </a:moveTo>
                  <a:cubicBezTo>
                    <a:pt x="50" y="96"/>
                    <a:pt x="51" y="95"/>
                    <a:pt x="51" y="95"/>
                  </a:cubicBezTo>
                  <a:cubicBezTo>
                    <a:pt x="51" y="96"/>
                    <a:pt x="50" y="96"/>
                    <a:pt x="50" y="96"/>
                  </a:cubicBezTo>
                  <a:close/>
                  <a:moveTo>
                    <a:pt x="47" y="94"/>
                  </a:move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3"/>
                    <a:pt x="47" y="93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lose/>
                  <a:moveTo>
                    <a:pt x="44" y="92"/>
                  </a:moveTo>
                  <a:cubicBezTo>
                    <a:pt x="44" y="92"/>
                    <a:pt x="44" y="93"/>
                    <a:pt x="44" y="93"/>
                  </a:cubicBezTo>
                  <a:cubicBezTo>
                    <a:pt x="44" y="93"/>
                    <a:pt x="44" y="92"/>
                    <a:pt x="44" y="92"/>
                  </a:cubicBezTo>
                  <a:close/>
                  <a:moveTo>
                    <a:pt x="45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3"/>
                    <a:pt x="45" y="94"/>
                    <a:pt x="45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5" y="94"/>
                    <a:pt x="45" y="93"/>
                    <a:pt x="45" y="93"/>
                  </a:cubicBezTo>
                  <a:close/>
                  <a:moveTo>
                    <a:pt x="49" y="96"/>
                  </a:moveTo>
                  <a:cubicBezTo>
                    <a:pt x="49" y="95"/>
                    <a:pt x="49" y="95"/>
                    <a:pt x="49" y="95"/>
                  </a:cubicBezTo>
                  <a:cubicBezTo>
                    <a:pt x="49" y="95"/>
                    <a:pt x="49" y="95"/>
                    <a:pt x="49" y="96"/>
                  </a:cubicBezTo>
                  <a:close/>
                  <a:moveTo>
                    <a:pt x="46" y="94"/>
                  </a:moveTo>
                  <a:cubicBezTo>
                    <a:pt x="46" y="94"/>
                    <a:pt x="45" y="95"/>
                    <a:pt x="45" y="95"/>
                  </a:cubicBezTo>
                  <a:cubicBezTo>
                    <a:pt x="45" y="95"/>
                    <a:pt x="46" y="94"/>
                    <a:pt x="46" y="94"/>
                  </a:cubicBezTo>
                  <a:cubicBezTo>
                    <a:pt x="46" y="94"/>
                    <a:pt x="46" y="94"/>
                    <a:pt x="46" y="94"/>
                  </a:cubicBezTo>
                  <a:close/>
                  <a:moveTo>
                    <a:pt x="46" y="96"/>
                  </a:moveTo>
                  <a:cubicBezTo>
                    <a:pt x="46" y="96"/>
                    <a:pt x="46" y="95"/>
                    <a:pt x="47" y="94"/>
                  </a:cubicBezTo>
                  <a:cubicBezTo>
                    <a:pt x="47" y="95"/>
                    <a:pt x="46" y="96"/>
                    <a:pt x="46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7"/>
                    <a:pt x="49" y="97"/>
                  </a:cubicBezTo>
                  <a:cubicBezTo>
                    <a:pt x="49" y="97"/>
                    <a:pt x="49" y="96"/>
                    <a:pt x="49" y="96"/>
                  </a:cubicBezTo>
                  <a:close/>
                  <a:moveTo>
                    <a:pt x="44" y="94"/>
                  </a:moveTo>
                  <a:cubicBezTo>
                    <a:pt x="44" y="94"/>
                    <a:pt x="44" y="94"/>
                    <a:pt x="44" y="94"/>
                  </a:cubicBezTo>
                  <a:cubicBezTo>
                    <a:pt x="43" y="94"/>
                    <a:pt x="44" y="94"/>
                    <a:pt x="43" y="94"/>
                  </a:cubicBezTo>
                  <a:cubicBezTo>
                    <a:pt x="43" y="94"/>
                    <a:pt x="44" y="93"/>
                    <a:pt x="44" y="94"/>
                  </a:cubicBezTo>
                  <a:close/>
                  <a:moveTo>
                    <a:pt x="46" y="95"/>
                  </a:move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5" y="95"/>
                  </a:cubicBezTo>
                  <a:cubicBezTo>
                    <a:pt x="45" y="95"/>
                    <a:pt x="45" y="95"/>
                    <a:pt x="46" y="95"/>
                  </a:cubicBezTo>
                  <a:close/>
                  <a:moveTo>
                    <a:pt x="48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lose/>
                  <a:moveTo>
                    <a:pt x="43" y="96"/>
                  </a:moveTo>
                  <a:cubicBezTo>
                    <a:pt x="43" y="96"/>
                    <a:pt x="43" y="95"/>
                    <a:pt x="44" y="95"/>
                  </a:cubicBezTo>
                  <a:cubicBezTo>
                    <a:pt x="44" y="95"/>
                    <a:pt x="43" y="96"/>
                    <a:pt x="43" y="96"/>
                  </a:cubicBezTo>
                  <a:close/>
                  <a:moveTo>
                    <a:pt x="53" y="100"/>
                  </a:moveTo>
                  <a:cubicBezTo>
                    <a:pt x="53" y="100"/>
                    <a:pt x="53" y="100"/>
                    <a:pt x="53" y="100"/>
                  </a:cubicBezTo>
                  <a:cubicBezTo>
                    <a:pt x="52" y="100"/>
                    <a:pt x="53" y="100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lose/>
                  <a:moveTo>
                    <a:pt x="49" y="98"/>
                  </a:moveTo>
                  <a:cubicBezTo>
                    <a:pt x="49" y="98"/>
                    <a:pt x="49" y="98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1" y="100"/>
                  </a:cubicBezTo>
                  <a:close/>
                  <a:moveTo>
                    <a:pt x="47" y="99"/>
                  </a:moveTo>
                  <a:cubicBezTo>
                    <a:pt x="47" y="99"/>
                    <a:pt x="47" y="99"/>
                    <a:pt x="47" y="99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7" y="98"/>
                    <a:pt x="47" y="98"/>
                    <a:pt x="47" y="99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1"/>
                    <a:pt x="51" y="101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45" y="98"/>
                  </a:moveTo>
                  <a:cubicBezTo>
                    <a:pt x="46" y="98"/>
                    <a:pt x="45" y="98"/>
                    <a:pt x="46" y="98"/>
                  </a:cubicBezTo>
                  <a:cubicBezTo>
                    <a:pt x="46" y="98"/>
                    <a:pt x="45" y="99"/>
                    <a:pt x="45" y="98"/>
                  </a:cubicBezTo>
                  <a:close/>
                  <a:moveTo>
                    <a:pt x="43" y="97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lose/>
                  <a:moveTo>
                    <a:pt x="51" y="102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51" y="101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lose/>
                  <a:moveTo>
                    <a:pt x="42" y="99"/>
                  </a:move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2" y="98"/>
                    <a:pt x="42" y="99"/>
                  </a:cubicBezTo>
                  <a:close/>
                  <a:moveTo>
                    <a:pt x="42" y="99"/>
                  </a:moveTo>
                  <a:cubicBezTo>
                    <a:pt x="42" y="99"/>
                    <a:pt x="42" y="100"/>
                    <a:pt x="42" y="100"/>
                  </a:cubicBezTo>
                  <a:cubicBezTo>
                    <a:pt x="42" y="100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3" y="99"/>
                  </a:move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100"/>
                    <a:pt x="43" y="100"/>
                  </a:cubicBezTo>
                  <a:cubicBezTo>
                    <a:pt x="42" y="100"/>
                    <a:pt x="43" y="99"/>
                    <a:pt x="43" y="99"/>
                  </a:cubicBezTo>
                  <a:close/>
                  <a:moveTo>
                    <a:pt x="42" y="100"/>
                  </a:moveTo>
                  <a:cubicBezTo>
                    <a:pt x="42" y="100"/>
                    <a:pt x="42" y="100"/>
                    <a:pt x="42" y="100"/>
                  </a:cubicBezTo>
                  <a:cubicBezTo>
                    <a:pt x="42" y="100"/>
                    <a:pt x="42" y="101"/>
                    <a:pt x="41" y="100"/>
                  </a:cubicBezTo>
                  <a:cubicBezTo>
                    <a:pt x="41" y="100"/>
                    <a:pt x="41" y="100"/>
                    <a:pt x="42" y="100"/>
                  </a:cubicBezTo>
                  <a:close/>
                  <a:moveTo>
                    <a:pt x="43" y="102"/>
                  </a:moveTo>
                  <a:cubicBezTo>
                    <a:pt x="43" y="102"/>
                    <a:pt x="44" y="102"/>
                    <a:pt x="44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102"/>
                    <a:pt x="43" y="102"/>
                    <a:pt x="43" y="102"/>
                  </a:cubicBezTo>
                  <a:close/>
                  <a:moveTo>
                    <a:pt x="41" y="101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2" y="101"/>
                    <a:pt x="41" y="101"/>
                    <a:pt x="41" y="101"/>
                  </a:cubicBezTo>
                  <a:close/>
                  <a:moveTo>
                    <a:pt x="45" y="103"/>
                  </a:moveTo>
                  <a:cubicBezTo>
                    <a:pt x="45" y="103"/>
                    <a:pt x="45" y="103"/>
                    <a:pt x="45" y="103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3"/>
                    <a:pt x="45" y="103"/>
                  </a:cubicBezTo>
                  <a:close/>
                  <a:moveTo>
                    <a:pt x="48" y="110"/>
                  </a:moveTo>
                  <a:cubicBezTo>
                    <a:pt x="48" y="110"/>
                    <a:pt x="48" y="110"/>
                    <a:pt x="47" y="110"/>
                  </a:cubicBezTo>
                  <a:cubicBezTo>
                    <a:pt x="48" y="109"/>
                    <a:pt x="49" y="107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49" y="107"/>
                    <a:pt x="49" y="109"/>
                    <a:pt x="48" y="110"/>
                  </a:cubicBezTo>
                  <a:cubicBezTo>
                    <a:pt x="48" y="110"/>
                    <a:pt x="48" y="109"/>
                    <a:pt x="48" y="110"/>
                  </a:cubicBezTo>
                  <a:close/>
                  <a:moveTo>
                    <a:pt x="41" y="104"/>
                  </a:moveTo>
                  <a:cubicBezTo>
                    <a:pt x="41" y="104"/>
                    <a:pt x="42" y="104"/>
                    <a:pt x="42" y="103"/>
                  </a:cubicBezTo>
                  <a:cubicBezTo>
                    <a:pt x="41" y="103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3"/>
                    <a:pt x="41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4"/>
                    <a:pt x="41" y="104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0" y="105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5"/>
                    <a:pt x="40" y="106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1" y="104"/>
                    <a:pt x="41" y="105"/>
                    <a:pt x="41" y="104"/>
                  </a:cubicBezTo>
                  <a:cubicBezTo>
                    <a:pt x="41" y="104"/>
                    <a:pt x="41" y="105"/>
                    <a:pt x="41" y="105"/>
                  </a:cubicBezTo>
                  <a:close/>
                  <a:moveTo>
                    <a:pt x="43" y="106"/>
                  </a:moveTo>
                  <a:cubicBezTo>
                    <a:pt x="44" y="106"/>
                    <a:pt x="43" y="106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07"/>
                    <a:pt x="43" y="106"/>
                    <a:pt x="43" y="106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lose/>
                  <a:moveTo>
                    <a:pt x="40" y="105"/>
                  </a:move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0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40" y="105"/>
                    <a:pt x="40" y="105"/>
                  </a:cubicBezTo>
                  <a:cubicBezTo>
                    <a:pt x="40" y="105"/>
                    <a:pt x="39" y="105"/>
                    <a:pt x="39" y="105"/>
                  </a:cubicBezTo>
                  <a:close/>
                  <a:moveTo>
                    <a:pt x="42" y="108"/>
                  </a:move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7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lose/>
                  <a:moveTo>
                    <a:pt x="38" y="107"/>
                  </a:moveTo>
                  <a:cubicBezTo>
                    <a:pt x="38" y="106"/>
                    <a:pt x="39" y="106"/>
                    <a:pt x="39" y="106"/>
                  </a:cubicBezTo>
                  <a:cubicBezTo>
                    <a:pt x="39" y="106"/>
                    <a:pt x="38" y="107"/>
                    <a:pt x="38" y="107"/>
                  </a:cubicBezTo>
                  <a:close/>
                  <a:moveTo>
                    <a:pt x="40" y="107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lose/>
                  <a:moveTo>
                    <a:pt x="38" y="107"/>
                  </a:moveTo>
                  <a:cubicBezTo>
                    <a:pt x="38" y="107"/>
                    <a:pt x="38" y="108"/>
                    <a:pt x="38" y="108"/>
                  </a:cubicBezTo>
                  <a:cubicBezTo>
                    <a:pt x="38" y="108"/>
                    <a:pt x="38" y="107"/>
                    <a:pt x="38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6"/>
                    <a:pt x="38" y="107"/>
                    <a:pt x="38" y="107"/>
                  </a:cubicBezTo>
                  <a:cubicBezTo>
                    <a:pt x="38" y="107"/>
                    <a:pt x="38" y="107"/>
                    <a:pt x="38" y="107"/>
                  </a:cubicBezTo>
                  <a:close/>
                  <a:moveTo>
                    <a:pt x="39" y="107"/>
                  </a:moveTo>
                  <a:cubicBezTo>
                    <a:pt x="39" y="107"/>
                    <a:pt x="39" y="107"/>
                    <a:pt x="39" y="107"/>
                  </a:cubicBezTo>
                  <a:cubicBezTo>
                    <a:pt x="39" y="107"/>
                    <a:pt x="39" y="107"/>
                    <a:pt x="39" y="107"/>
                  </a:cubicBezTo>
                  <a:close/>
                  <a:moveTo>
                    <a:pt x="42" y="109"/>
                  </a:moveTo>
                  <a:cubicBezTo>
                    <a:pt x="42" y="110"/>
                    <a:pt x="41" y="111"/>
                    <a:pt x="41" y="111"/>
                  </a:cubicBezTo>
                  <a:cubicBezTo>
                    <a:pt x="41" y="110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1" y="109"/>
                  </a:cubicBezTo>
                  <a:cubicBezTo>
                    <a:pt x="41" y="109"/>
                    <a:pt x="41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39" y="109"/>
                    <a:pt x="39" y="110"/>
                  </a:cubicBezTo>
                  <a:cubicBezTo>
                    <a:pt x="39" y="109"/>
                    <a:pt x="39" y="109"/>
                    <a:pt x="40" y="109"/>
                  </a:cubicBezTo>
                  <a:close/>
                  <a:moveTo>
                    <a:pt x="39" y="110"/>
                  </a:move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lose/>
                  <a:moveTo>
                    <a:pt x="40" y="111"/>
                  </a:move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2"/>
                    <a:pt x="39" y="112"/>
                    <a:pt x="39" y="113"/>
                  </a:cubicBezTo>
                  <a:cubicBezTo>
                    <a:pt x="39" y="113"/>
                    <a:pt x="38" y="114"/>
                    <a:pt x="38" y="114"/>
                  </a:cubicBezTo>
                  <a:cubicBezTo>
                    <a:pt x="39" y="113"/>
                    <a:pt x="39" y="112"/>
                    <a:pt x="40" y="110"/>
                  </a:cubicBezTo>
                  <a:cubicBezTo>
                    <a:pt x="40" y="110"/>
                    <a:pt x="40" y="111"/>
                    <a:pt x="40" y="111"/>
                  </a:cubicBezTo>
                  <a:close/>
                  <a:moveTo>
                    <a:pt x="37" y="109"/>
                  </a:moveTo>
                  <a:cubicBezTo>
                    <a:pt x="37" y="109"/>
                    <a:pt x="37" y="109"/>
                    <a:pt x="37" y="110"/>
                  </a:cubicBezTo>
                  <a:cubicBezTo>
                    <a:pt x="37" y="109"/>
                    <a:pt x="37" y="110"/>
                    <a:pt x="36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7" y="109"/>
                    <a:pt x="37" y="109"/>
                  </a:cubicBezTo>
                  <a:close/>
                  <a:moveTo>
                    <a:pt x="39" y="111"/>
                  </a:moveTo>
                  <a:cubicBezTo>
                    <a:pt x="39" y="111"/>
                    <a:pt x="39" y="110"/>
                    <a:pt x="39" y="110"/>
                  </a:cubicBezTo>
                  <a:cubicBezTo>
                    <a:pt x="40" y="110"/>
                    <a:pt x="39" y="111"/>
                    <a:pt x="39" y="111"/>
                  </a:cubicBezTo>
                  <a:close/>
                  <a:moveTo>
                    <a:pt x="38" y="110"/>
                  </a:moveTo>
                  <a:cubicBezTo>
                    <a:pt x="38" y="110"/>
                    <a:pt x="38" y="110"/>
                    <a:pt x="38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8" y="110"/>
                  </a:cubicBezTo>
                  <a:close/>
                  <a:moveTo>
                    <a:pt x="37" y="110"/>
                  </a:moveTo>
                  <a:cubicBezTo>
                    <a:pt x="37" y="110"/>
                    <a:pt x="37" y="110"/>
                    <a:pt x="37" y="109"/>
                  </a:cubicBezTo>
                  <a:cubicBezTo>
                    <a:pt x="37" y="109"/>
                    <a:pt x="37" y="110"/>
                    <a:pt x="37" y="110"/>
                  </a:cubicBezTo>
                  <a:close/>
                  <a:moveTo>
                    <a:pt x="42" y="112"/>
                  </a:moveTo>
                  <a:cubicBezTo>
                    <a:pt x="42" y="112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2"/>
                    <a:pt x="42" y="112"/>
                    <a:pt x="42" y="112"/>
                  </a:cubicBezTo>
                  <a:close/>
                  <a:moveTo>
                    <a:pt x="41" y="112"/>
                  </a:moveTo>
                  <a:cubicBezTo>
                    <a:pt x="41" y="112"/>
                    <a:pt x="41" y="112"/>
                    <a:pt x="41" y="112"/>
                  </a:cubicBezTo>
                  <a:cubicBezTo>
                    <a:pt x="40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lose/>
                  <a:moveTo>
                    <a:pt x="36" y="110"/>
                  </a:move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6" y="110"/>
                    <a:pt x="36" y="110"/>
                  </a:cubicBezTo>
                  <a:close/>
                  <a:moveTo>
                    <a:pt x="39" y="111"/>
                  </a:moveTo>
                  <a:cubicBezTo>
                    <a:pt x="39" y="111"/>
                    <a:pt x="38" y="112"/>
                    <a:pt x="38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112"/>
                    <a:pt x="38" y="111"/>
                    <a:pt x="39" y="111"/>
                  </a:cubicBezTo>
                  <a:close/>
                  <a:moveTo>
                    <a:pt x="37" y="112"/>
                  </a:moveTo>
                  <a:cubicBezTo>
                    <a:pt x="37" y="112"/>
                    <a:pt x="37" y="111"/>
                    <a:pt x="37" y="111"/>
                  </a:cubicBezTo>
                  <a:cubicBezTo>
                    <a:pt x="37" y="111"/>
                    <a:pt x="37" y="112"/>
                    <a:pt x="37" y="112"/>
                  </a:cubicBezTo>
                  <a:close/>
                  <a:moveTo>
                    <a:pt x="40" y="113"/>
                  </a:move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lose/>
                  <a:moveTo>
                    <a:pt x="41" y="114"/>
                  </a:moveTo>
                  <a:cubicBezTo>
                    <a:pt x="42" y="114"/>
                    <a:pt x="41" y="114"/>
                    <a:pt x="42" y="114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37" y="114"/>
                  </a:moveTo>
                  <a:cubicBezTo>
                    <a:pt x="36" y="114"/>
                    <a:pt x="36" y="114"/>
                    <a:pt x="37" y="114"/>
                  </a:cubicBezTo>
                  <a:cubicBezTo>
                    <a:pt x="37" y="114"/>
                    <a:pt x="37" y="114"/>
                    <a:pt x="37" y="114"/>
                  </a:cubicBezTo>
                  <a:close/>
                  <a:moveTo>
                    <a:pt x="41" y="116"/>
                  </a:moveTo>
                  <a:cubicBezTo>
                    <a:pt x="40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0" y="117"/>
                  </a:move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lose/>
                  <a:moveTo>
                    <a:pt x="39" y="118"/>
                  </a:moveTo>
                  <a:cubicBezTo>
                    <a:pt x="38" y="118"/>
                    <a:pt x="39" y="117"/>
                    <a:pt x="39" y="117"/>
                  </a:cubicBezTo>
                  <a:cubicBezTo>
                    <a:pt x="39" y="117"/>
                    <a:pt x="39" y="118"/>
                    <a:pt x="39" y="118"/>
                  </a:cubicBezTo>
                  <a:close/>
                  <a:moveTo>
                    <a:pt x="36" y="116"/>
                  </a:moveTo>
                  <a:cubicBezTo>
                    <a:pt x="36" y="116"/>
                    <a:pt x="36" y="117"/>
                    <a:pt x="36" y="117"/>
                  </a:cubicBezTo>
                  <a:cubicBezTo>
                    <a:pt x="36" y="117"/>
                    <a:pt x="36" y="117"/>
                    <a:pt x="36" y="116"/>
                  </a:cubicBezTo>
                  <a:close/>
                  <a:moveTo>
                    <a:pt x="39" y="121"/>
                  </a:moveTo>
                  <a:cubicBezTo>
                    <a:pt x="40" y="121"/>
                    <a:pt x="40" y="120"/>
                    <a:pt x="40" y="119"/>
                  </a:cubicBezTo>
                  <a:cubicBezTo>
                    <a:pt x="40" y="119"/>
                    <a:pt x="40" y="120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ubicBezTo>
                    <a:pt x="40" y="119"/>
                    <a:pt x="40" y="119"/>
                    <a:pt x="41" y="119"/>
                  </a:cubicBezTo>
                  <a:cubicBezTo>
                    <a:pt x="41" y="119"/>
                    <a:pt x="40" y="119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lose/>
                  <a:moveTo>
                    <a:pt x="38" y="118"/>
                  </a:moveTo>
                  <a:cubicBezTo>
                    <a:pt x="38" y="118"/>
                    <a:pt x="38" y="119"/>
                    <a:pt x="38" y="118"/>
                  </a:cubicBezTo>
                  <a:close/>
                  <a:moveTo>
                    <a:pt x="39" y="120"/>
                  </a:moveTo>
                  <a:cubicBezTo>
                    <a:pt x="38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20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39" y="120"/>
                  </a:cubicBezTo>
                  <a:cubicBezTo>
                    <a:pt x="39" y="119"/>
                    <a:pt x="40" y="119"/>
                    <a:pt x="40" y="119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lose/>
                  <a:moveTo>
                    <a:pt x="41" y="120"/>
                  </a:move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lose/>
                  <a:moveTo>
                    <a:pt x="42" y="120"/>
                  </a:moveTo>
                  <a:cubicBezTo>
                    <a:pt x="42" y="120"/>
                    <a:pt x="42" y="120"/>
                    <a:pt x="42" y="120"/>
                  </a:cubicBezTo>
                  <a:cubicBezTo>
                    <a:pt x="42" y="120"/>
                    <a:pt x="42" y="121"/>
                    <a:pt x="42" y="121"/>
                  </a:cubicBezTo>
                  <a:cubicBezTo>
                    <a:pt x="41" y="121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lose/>
                  <a:moveTo>
                    <a:pt x="35" y="119"/>
                  </a:moveTo>
                  <a:cubicBezTo>
                    <a:pt x="35" y="118"/>
                    <a:pt x="36" y="118"/>
                    <a:pt x="36" y="117"/>
                  </a:cubicBezTo>
                  <a:cubicBezTo>
                    <a:pt x="36" y="118"/>
                    <a:pt x="36" y="118"/>
                    <a:pt x="35" y="119"/>
                  </a:cubicBezTo>
                  <a:close/>
                  <a:moveTo>
                    <a:pt x="40" y="120"/>
                  </a:moveTo>
                  <a:cubicBezTo>
                    <a:pt x="40" y="120"/>
                    <a:pt x="40" y="120"/>
                    <a:pt x="39" y="120"/>
                  </a:cubicBezTo>
                  <a:cubicBezTo>
                    <a:pt x="39" y="120"/>
                    <a:pt x="39" y="120"/>
                    <a:pt x="40" y="120"/>
                  </a:cubicBezTo>
                  <a:close/>
                  <a:moveTo>
                    <a:pt x="39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9" y="119"/>
                  </a:cubicBezTo>
                  <a:close/>
                  <a:moveTo>
                    <a:pt x="32" y="117"/>
                  </a:moveTo>
                  <a:cubicBezTo>
                    <a:pt x="32" y="118"/>
                    <a:pt x="32" y="117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lose/>
                  <a:moveTo>
                    <a:pt x="35" y="119"/>
                  </a:move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5" y="119"/>
                  </a:cubicBezTo>
                  <a:close/>
                  <a:moveTo>
                    <a:pt x="32" y="118"/>
                  </a:moveTo>
                  <a:cubicBezTo>
                    <a:pt x="32" y="118"/>
                    <a:pt x="32" y="118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lose/>
                  <a:moveTo>
                    <a:pt x="37" y="121"/>
                  </a:move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2"/>
                  </a:cubicBezTo>
                  <a:cubicBezTo>
                    <a:pt x="37" y="121"/>
                    <a:pt x="37" y="121"/>
                    <a:pt x="37" y="121"/>
                  </a:cubicBezTo>
                  <a:close/>
                  <a:moveTo>
                    <a:pt x="40" y="122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2"/>
                    <a:pt x="40" y="122"/>
                  </a:cubicBezTo>
                  <a:close/>
                  <a:moveTo>
                    <a:pt x="36" y="121"/>
                  </a:move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lose/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4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4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40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123"/>
                  </a:move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35" y="122"/>
                  </a:moveTo>
                  <a:cubicBezTo>
                    <a:pt x="34" y="121"/>
                    <a:pt x="34" y="121"/>
                    <a:pt x="34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2"/>
                  </a:cubicBezTo>
                  <a:close/>
                  <a:moveTo>
                    <a:pt x="38" y="122"/>
                  </a:moveTo>
                  <a:cubicBezTo>
                    <a:pt x="38" y="123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38" y="123"/>
                  </a:moveTo>
                  <a:cubicBezTo>
                    <a:pt x="38" y="123"/>
                    <a:pt x="38" y="123"/>
                    <a:pt x="38" y="124"/>
                  </a:cubicBezTo>
                  <a:cubicBezTo>
                    <a:pt x="38" y="123"/>
                    <a:pt x="38" y="123"/>
                    <a:pt x="38" y="123"/>
                  </a:cubicBezTo>
                  <a:close/>
                  <a:moveTo>
                    <a:pt x="36" y="123"/>
                  </a:moveTo>
                  <a:cubicBezTo>
                    <a:pt x="36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6" y="122"/>
                    <a:pt x="36" y="122"/>
                  </a:cubicBezTo>
                  <a:cubicBezTo>
                    <a:pt x="36" y="122"/>
                    <a:pt x="35" y="123"/>
                    <a:pt x="36" y="123"/>
                  </a:cubicBezTo>
                  <a:close/>
                  <a:moveTo>
                    <a:pt x="37" y="125"/>
                  </a:moveTo>
                  <a:cubicBezTo>
                    <a:pt x="37" y="125"/>
                    <a:pt x="38" y="124"/>
                    <a:pt x="38" y="123"/>
                  </a:cubicBezTo>
                  <a:cubicBezTo>
                    <a:pt x="38" y="124"/>
                    <a:pt x="37" y="125"/>
                    <a:pt x="37" y="125"/>
                  </a:cubicBezTo>
                  <a:close/>
                  <a:moveTo>
                    <a:pt x="36" y="123"/>
                  </a:moveTo>
                  <a:cubicBezTo>
                    <a:pt x="36" y="123"/>
                    <a:pt x="36" y="123"/>
                    <a:pt x="36" y="123"/>
                  </a:cubicBezTo>
                  <a:cubicBezTo>
                    <a:pt x="36" y="123"/>
                    <a:pt x="36" y="123"/>
                    <a:pt x="36" y="123"/>
                  </a:cubicBezTo>
                  <a:close/>
                  <a:moveTo>
                    <a:pt x="39" y="126"/>
                  </a:moveTo>
                  <a:cubicBezTo>
                    <a:pt x="39" y="125"/>
                    <a:pt x="39" y="125"/>
                    <a:pt x="39" y="125"/>
                  </a:cubicBezTo>
                  <a:cubicBezTo>
                    <a:pt x="39" y="125"/>
                    <a:pt x="39" y="125"/>
                    <a:pt x="39" y="126"/>
                  </a:cubicBezTo>
                  <a:close/>
                  <a:moveTo>
                    <a:pt x="35" y="124"/>
                  </a:move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4"/>
                    <a:pt x="35" y="124"/>
                  </a:cubicBezTo>
                  <a:close/>
                  <a:moveTo>
                    <a:pt x="36" y="124"/>
                  </a:moveTo>
                  <a:cubicBezTo>
                    <a:pt x="36" y="124"/>
                    <a:pt x="36" y="124"/>
                    <a:pt x="36" y="125"/>
                  </a:cubicBezTo>
                  <a:cubicBezTo>
                    <a:pt x="36" y="125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ubicBezTo>
                    <a:pt x="36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9" y="126"/>
                  </a:move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lose/>
                  <a:moveTo>
                    <a:pt x="38" y="126"/>
                  </a:moveTo>
                  <a:cubicBezTo>
                    <a:pt x="39" y="127"/>
                    <a:pt x="38" y="127"/>
                    <a:pt x="38" y="127"/>
                  </a:cubicBezTo>
                  <a:cubicBezTo>
                    <a:pt x="38" y="126"/>
                    <a:pt x="38" y="127"/>
                    <a:pt x="38" y="126"/>
                  </a:cubicBezTo>
                  <a:close/>
                  <a:moveTo>
                    <a:pt x="39" y="127"/>
                  </a:move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lose/>
                  <a:moveTo>
                    <a:pt x="33" y="124"/>
                  </a:move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4" y="124"/>
                  </a:cubicBezTo>
                  <a:cubicBezTo>
                    <a:pt x="34" y="125"/>
                    <a:pt x="33" y="125"/>
                    <a:pt x="33" y="125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4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lose/>
                  <a:moveTo>
                    <a:pt x="34" y="125"/>
                  </a:moveTo>
                  <a:cubicBezTo>
                    <a:pt x="33" y="125"/>
                    <a:pt x="34" y="125"/>
                    <a:pt x="34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4" y="125"/>
                    <a:pt x="34" y="125"/>
                  </a:cubicBezTo>
                  <a:cubicBezTo>
                    <a:pt x="34" y="125"/>
                    <a:pt x="34" y="125"/>
                    <a:pt x="34" y="125"/>
                  </a:cubicBezTo>
                  <a:close/>
                  <a:moveTo>
                    <a:pt x="31" y="124"/>
                  </a:moveTo>
                  <a:cubicBezTo>
                    <a:pt x="31" y="124"/>
                    <a:pt x="31" y="124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37" y="127"/>
                  </a:move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7" y="127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9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8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7" y="127"/>
                  </a:moveTo>
                  <a:cubicBezTo>
                    <a:pt x="37" y="127"/>
                    <a:pt x="36" y="128"/>
                    <a:pt x="36" y="128"/>
                  </a:cubicBezTo>
                  <a:cubicBezTo>
                    <a:pt x="36" y="128"/>
                    <a:pt x="36" y="127"/>
                    <a:pt x="37" y="127"/>
                  </a:cubicBezTo>
                  <a:close/>
                  <a:moveTo>
                    <a:pt x="37" y="128"/>
                  </a:move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8" y="128"/>
                    <a:pt x="37" y="128"/>
                  </a:cubicBezTo>
                  <a:close/>
                  <a:moveTo>
                    <a:pt x="32" y="128"/>
                  </a:moveTo>
                  <a:cubicBezTo>
                    <a:pt x="32" y="127"/>
                    <a:pt x="32" y="128"/>
                    <a:pt x="32" y="128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8"/>
                  </a:cubicBezTo>
                  <a:close/>
                  <a:moveTo>
                    <a:pt x="32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lose/>
                  <a:moveTo>
                    <a:pt x="33" y="130"/>
                  </a:moveTo>
                  <a:cubicBezTo>
                    <a:pt x="33" y="130"/>
                    <a:pt x="34" y="130"/>
                    <a:pt x="34" y="129"/>
                  </a:cubicBezTo>
                  <a:cubicBezTo>
                    <a:pt x="34" y="130"/>
                    <a:pt x="33" y="130"/>
                    <a:pt x="33" y="130"/>
                  </a:cubicBezTo>
                  <a:close/>
                  <a:moveTo>
                    <a:pt x="28" y="128"/>
                  </a:moveTo>
                  <a:cubicBezTo>
                    <a:pt x="28" y="127"/>
                    <a:pt x="28" y="127"/>
                    <a:pt x="28" y="127"/>
                  </a:cubicBezTo>
                  <a:cubicBezTo>
                    <a:pt x="29" y="127"/>
                    <a:pt x="28" y="128"/>
                    <a:pt x="28" y="128"/>
                  </a:cubicBezTo>
                  <a:close/>
                  <a:moveTo>
                    <a:pt x="31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1" y="129"/>
                    <a:pt x="31" y="130"/>
                    <a:pt x="31" y="129"/>
                  </a:cubicBezTo>
                  <a:close/>
                  <a:moveTo>
                    <a:pt x="30" y="130"/>
                  </a:moveTo>
                  <a:cubicBezTo>
                    <a:pt x="30" y="130"/>
                    <a:pt x="31" y="130"/>
                    <a:pt x="31" y="129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31"/>
                    <a:pt x="31" y="130"/>
                    <a:pt x="30" y="130"/>
                  </a:cubicBezTo>
                  <a:close/>
                  <a:moveTo>
                    <a:pt x="27" y="130"/>
                  </a:moveTo>
                  <a:cubicBezTo>
                    <a:pt x="27" y="130"/>
                    <a:pt x="27" y="130"/>
                    <a:pt x="27" y="130"/>
                  </a:cubicBezTo>
                  <a:cubicBezTo>
                    <a:pt x="27" y="130"/>
                    <a:pt x="27" y="129"/>
                    <a:pt x="27" y="129"/>
                  </a:cubicBezTo>
                  <a:cubicBezTo>
                    <a:pt x="28" y="129"/>
                    <a:pt x="27" y="130"/>
                    <a:pt x="27" y="130"/>
                  </a:cubicBezTo>
                  <a:close/>
                  <a:moveTo>
                    <a:pt x="31" y="131"/>
                  </a:moveTo>
                  <a:cubicBezTo>
                    <a:pt x="31" y="131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lose/>
                  <a:moveTo>
                    <a:pt x="30" y="130"/>
                  </a:moveTo>
                  <a:cubicBezTo>
                    <a:pt x="30" y="131"/>
                    <a:pt x="30" y="131"/>
                    <a:pt x="30" y="131"/>
                  </a:cubicBezTo>
                  <a:cubicBezTo>
                    <a:pt x="30" y="131"/>
                    <a:pt x="30" y="131"/>
                    <a:pt x="30" y="130"/>
                  </a:cubicBezTo>
                  <a:close/>
                  <a:moveTo>
                    <a:pt x="30" y="131"/>
                  </a:moveTo>
                  <a:cubicBezTo>
                    <a:pt x="30" y="131"/>
                    <a:pt x="30" y="132"/>
                    <a:pt x="30" y="131"/>
                  </a:cubicBezTo>
                  <a:close/>
                  <a:moveTo>
                    <a:pt x="26" y="130"/>
                  </a:moveTo>
                  <a:cubicBezTo>
                    <a:pt x="26" y="130"/>
                    <a:pt x="26" y="130"/>
                    <a:pt x="26" y="130"/>
                  </a:cubicBezTo>
                  <a:cubicBezTo>
                    <a:pt x="26" y="130"/>
                    <a:pt x="26" y="131"/>
                    <a:pt x="26" y="130"/>
                  </a:cubicBezTo>
                  <a:close/>
                  <a:moveTo>
                    <a:pt x="31" y="133"/>
                  </a:moveTo>
                  <a:cubicBezTo>
                    <a:pt x="31" y="133"/>
                    <a:pt x="31" y="133"/>
                    <a:pt x="32" y="133"/>
                  </a:cubicBezTo>
                  <a:cubicBezTo>
                    <a:pt x="32" y="133"/>
                    <a:pt x="31" y="133"/>
                    <a:pt x="31" y="133"/>
                  </a:cubicBezTo>
                  <a:close/>
                  <a:moveTo>
                    <a:pt x="31" y="136"/>
                  </a:moveTo>
                  <a:cubicBezTo>
                    <a:pt x="31" y="136"/>
                    <a:pt x="32" y="135"/>
                    <a:pt x="31" y="135"/>
                  </a:cubicBezTo>
                  <a:cubicBezTo>
                    <a:pt x="32" y="135"/>
                    <a:pt x="31" y="136"/>
                    <a:pt x="31" y="136"/>
                  </a:cubicBezTo>
                  <a:close/>
                  <a:moveTo>
                    <a:pt x="27" y="134"/>
                  </a:moveTo>
                  <a:cubicBezTo>
                    <a:pt x="27" y="134"/>
                    <a:pt x="27" y="134"/>
                    <a:pt x="27" y="134"/>
                  </a:cubicBezTo>
                  <a:cubicBezTo>
                    <a:pt x="27" y="134"/>
                    <a:pt x="27" y="134"/>
                    <a:pt x="27" y="134"/>
                  </a:cubicBezTo>
                  <a:close/>
                  <a:moveTo>
                    <a:pt x="28" y="135"/>
                  </a:moveTo>
                  <a:cubicBezTo>
                    <a:pt x="28" y="135"/>
                    <a:pt x="28" y="135"/>
                    <a:pt x="28" y="135"/>
                  </a:cubicBezTo>
                  <a:cubicBezTo>
                    <a:pt x="28" y="135"/>
                    <a:pt x="28" y="135"/>
                    <a:pt x="28" y="135"/>
                  </a:cubicBezTo>
                  <a:close/>
                  <a:moveTo>
                    <a:pt x="32" y="137"/>
                  </a:move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lose/>
                  <a:moveTo>
                    <a:pt x="31" y="137"/>
                  </a:moveTo>
                  <a:cubicBezTo>
                    <a:pt x="31" y="137"/>
                    <a:pt x="31" y="137"/>
                    <a:pt x="31" y="137"/>
                  </a:cubicBezTo>
                  <a:cubicBezTo>
                    <a:pt x="30" y="137"/>
                    <a:pt x="31" y="137"/>
                    <a:pt x="31" y="137"/>
                  </a:cubicBezTo>
                  <a:close/>
                  <a:moveTo>
                    <a:pt x="32" y="138"/>
                  </a:move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lose/>
                  <a:moveTo>
                    <a:pt x="26" y="136"/>
                  </a:moveTo>
                  <a:cubicBezTo>
                    <a:pt x="26" y="136"/>
                    <a:pt x="26" y="136"/>
                    <a:pt x="26" y="136"/>
                  </a:cubicBezTo>
                  <a:cubicBezTo>
                    <a:pt x="26" y="135"/>
                    <a:pt x="26" y="136"/>
                    <a:pt x="26" y="136"/>
                  </a:cubicBezTo>
                  <a:close/>
                  <a:moveTo>
                    <a:pt x="32" y="140"/>
                  </a:moveTo>
                  <a:cubicBezTo>
                    <a:pt x="32" y="140"/>
                    <a:pt x="32" y="139"/>
                    <a:pt x="33" y="139"/>
                  </a:cubicBezTo>
                  <a:cubicBezTo>
                    <a:pt x="33" y="139"/>
                    <a:pt x="32" y="140"/>
                    <a:pt x="32" y="140"/>
                  </a:cubicBezTo>
                  <a:close/>
                  <a:moveTo>
                    <a:pt x="30" y="138"/>
                  </a:moveTo>
                  <a:cubicBezTo>
                    <a:pt x="30" y="138"/>
                    <a:pt x="30" y="139"/>
                    <a:pt x="30" y="139"/>
                  </a:cubicBezTo>
                  <a:cubicBezTo>
                    <a:pt x="30" y="139"/>
                    <a:pt x="30" y="138"/>
                    <a:pt x="30" y="138"/>
                  </a:cubicBezTo>
                  <a:close/>
                  <a:moveTo>
                    <a:pt x="24" y="141"/>
                  </a:moveTo>
                  <a:cubicBezTo>
                    <a:pt x="24" y="141"/>
                    <a:pt x="24" y="142"/>
                    <a:pt x="24" y="142"/>
                  </a:cubicBezTo>
                  <a:cubicBezTo>
                    <a:pt x="24" y="142"/>
                    <a:pt x="24" y="141"/>
                    <a:pt x="24" y="141"/>
                  </a:cubicBezTo>
                  <a:close/>
                  <a:moveTo>
                    <a:pt x="25" y="149"/>
                  </a:moveTo>
                  <a:cubicBezTo>
                    <a:pt x="25" y="149"/>
                    <a:pt x="25" y="150"/>
                    <a:pt x="25" y="150"/>
                  </a:cubicBezTo>
                  <a:cubicBezTo>
                    <a:pt x="25" y="150"/>
                    <a:pt x="25" y="150"/>
                    <a:pt x="25" y="149"/>
                  </a:cubicBezTo>
                  <a:close/>
                  <a:moveTo>
                    <a:pt x="21" y="149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149"/>
                    <a:pt x="21" y="149"/>
                    <a:pt x="21" y="149"/>
                  </a:cubicBezTo>
                  <a:close/>
                  <a:moveTo>
                    <a:pt x="24" y="152"/>
                  </a:move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1"/>
                  </a:cubicBezTo>
                  <a:cubicBezTo>
                    <a:pt x="24" y="152"/>
                    <a:pt x="25" y="152"/>
                    <a:pt x="24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7"/>
                    <a:pt x="21" y="157"/>
                  </a:cubicBezTo>
                  <a:cubicBezTo>
                    <a:pt x="21" y="156"/>
                    <a:pt x="22" y="156"/>
                    <a:pt x="22" y="156"/>
                  </a:cubicBezTo>
                  <a:close/>
                  <a:moveTo>
                    <a:pt x="22" y="159"/>
                  </a:moveTo>
                  <a:cubicBezTo>
                    <a:pt x="22" y="159"/>
                    <a:pt x="22" y="159"/>
                    <a:pt x="22" y="159"/>
                  </a:cubicBezTo>
                  <a:cubicBezTo>
                    <a:pt x="22" y="159"/>
                    <a:pt x="22" y="159"/>
                    <a:pt x="22" y="159"/>
                  </a:cubicBezTo>
                  <a:close/>
                  <a:moveTo>
                    <a:pt x="21" y="161"/>
                  </a:moveTo>
                  <a:cubicBezTo>
                    <a:pt x="21" y="161"/>
                    <a:pt x="21" y="161"/>
                    <a:pt x="21" y="161"/>
                  </a:cubicBezTo>
                  <a:cubicBezTo>
                    <a:pt x="21" y="161"/>
                    <a:pt x="21" y="161"/>
                    <a:pt x="21" y="161"/>
                  </a:cubicBezTo>
                  <a:close/>
                  <a:moveTo>
                    <a:pt x="21" y="161"/>
                  </a:moveTo>
                  <a:cubicBezTo>
                    <a:pt x="21" y="161"/>
                    <a:pt x="20" y="162"/>
                    <a:pt x="21" y="161"/>
                  </a:cubicBezTo>
                  <a:cubicBezTo>
                    <a:pt x="21" y="162"/>
                    <a:pt x="21" y="162"/>
                    <a:pt x="20" y="162"/>
                  </a:cubicBezTo>
                  <a:cubicBezTo>
                    <a:pt x="20" y="162"/>
                    <a:pt x="20" y="161"/>
                    <a:pt x="21" y="161"/>
                  </a:cubicBezTo>
                  <a:close/>
                  <a:moveTo>
                    <a:pt x="20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1"/>
                    <a:pt x="20" y="161"/>
                    <a:pt x="20" y="161"/>
                  </a:cubicBezTo>
                  <a:cubicBezTo>
                    <a:pt x="20" y="161"/>
                    <a:pt x="20" y="161"/>
                    <a:pt x="20" y="162"/>
                  </a:cubicBezTo>
                  <a:close/>
                  <a:moveTo>
                    <a:pt x="17" y="162"/>
                  </a:moveTo>
                  <a:cubicBezTo>
                    <a:pt x="17" y="162"/>
                    <a:pt x="17" y="162"/>
                    <a:pt x="17" y="161"/>
                  </a:cubicBezTo>
                  <a:cubicBezTo>
                    <a:pt x="17" y="162"/>
                    <a:pt x="17" y="162"/>
                    <a:pt x="17" y="162"/>
                  </a:cubicBezTo>
                  <a:close/>
                  <a:moveTo>
                    <a:pt x="18" y="166"/>
                  </a:moveTo>
                  <a:cubicBezTo>
                    <a:pt x="18" y="166"/>
                    <a:pt x="18" y="166"/>
                    <a:pt x="18" y="166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8" y="166"/>
                  </a:cubicBezTo>
                  <a:close/>
                  <a:moveTo>
                    <a:pt x="16" y="164"/>
                  </a:moveTo>
                  <a:cubicBezTo>
                    <a:pt x="16" y="163"/>
                    <a:pt x="16" y="163"/>
                    <a:pt x="16" y="163"/>
                  </a:cubicBezTo>
                  <a:cubicBezTo>
                    <a:pt x="16" y="163"/>
                    <a:pt x="16" y="164"/>
                    <a:pt x="16" y="164"/>
                  </a:cubicBezTo>
                  <a:close/>
                  <a:moveTo>
                    <a:pt x="18" y="166"/>
                  </a:moveTo>
                  <a:cubicBezTo>
                    <a:pt x="18" y="167"/>
                    <a:pt x="17" y="168"/>
                    <a:pt x="17" y="168"/>
                  </a:cubicBezTo>
                  <a:cubicBezTo>
                    <a:pt x="17" y="168"/>
                    <a:pt x="18" y="167"/>
                    <a:pt x="18" y="166"/>
                  </a:cubicBezTo>
                  <a:close/>
                  <a:moveTo>
                    <a:pt x="16" y="171"/>
                  </a:moveTo>
                  <a:cubicBezTo>
                    <a:pt x="16" y="171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1"/>
                    <a:pt x="16" y="171"/>
                  </a:cubicBezTo>
                  <a:close/>
                  <a:moveTo>
                    <a:pt x="16" y="171"/>
                  </a:move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lose/>
                  <a:moveTo>
                    <a:pt x="11" y="169"/>
                  </a:moveTo>
                  <a:cubicBezTo>
                    <a:pt x="11" y="169"/>
                    <a:pt x="11" y="169"/>
                    <a:pt x="11" y="168"/>
                  </a:cubicBezTo>
                  <a:cubicBezTo>
                    <a:pt x="11" y="169"/>
                    <a:pt x="11" y="169"/>
                    <a:pt x="11" y="169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1"/>
                    <a:pt x="14" y="171"/>
                  </a:cubicBezTo>
                  <a:cubicBezTo>
                    <a:pt x="14" y="171"/>
                    <a:pt x="14" y="171"/>
                    <a:pt x="14" y="172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2"/>
                    <a:pt x="15" y="172"/>
                  </a:cubicBezTo>
                  <a:cubicBezTo>
                    <a:pt x="15" y="172"/>
                    <a:pt x="15" y="171"/>
                    <a:pt x="15" y="171"/>
                  </a:cubicBezTo>
                  <a:close/>
                  <a:moveTo>
                    <a:pt x="15" y="172"/>
                  </a:moveTo>
                  <a:cubicBezTo>
                    <a:pt x="15" y="172"/>
                    <a:pt x="15" y="172"/>
                    <a:pt x="15" y="171"/>
                  </a:cubicBezTo>
                  <a:cubicBezTo>
                    <a:pt x="15" y="172"/>
                    <a:pt x="14" y="172"/>
                    <a:pt x="14" y="173"/>
                  </a:cubicBezTo>
                  <a:cubicBezTo>
                    <a:pt x="14" y="173"/>
                    <a:pt x="15" y="172"/>
                    <a:pt x="15" y="172"/>
                  </a:cubicBezTo>
                  <a:close/>
                  <a:moveTo>
                    <a:pt x="13" y="173"/>
                  </a:moveTo>
                  <a:cubicBezTo>
                    <a:pt x="13" y="173"/>
                    <a:pt x="13" y="172"/>
                    <a:pt x="13" y="172"/>
                  </a:cubicBezTo>
                  <a:cubicBezTo>
                    <a:pt x="14" y="172"/>
                    <a:pt x="13" y="173"/>
                    <a:pt x="13" y="173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3"/>
                    <a:pt x="14" y="173"/>
                  </a:cubicBezTo>
                  <a:cubicBezTo>
                    <a:pt x="13" y="173"/>
                    <a:pt x="14" y="173"/>
                    <a:pt x="14" y="172"/>
                  </a:cubicBezTo>
                  <a:close/>
                  <a:moveTo>
                    <a:pt x="14" y="173"/>
                  </a:moveTo>
                  <a:cubicBezTo>
                    <a:pt x="14" y="174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lose/>
                  <a:moveTo>
                    <a:pt x="14" y="175"/>
                  </a:moveTo>
                  <a:cubicBezTo>
                    <a:pt x="14" y="175"/>
                    <a:pt x="14" y="175"/>
                    <a:pt x="14" y="174"/>
                  </a:cubicBezTo>
                  <a:cubicBezTo>
                    <a:pt x="14" y="174"/>
                    <a:pt x="14" y="175"/>
                    <a:pt x="14" y="175"/>
                  </a:cubicBezTo>
                  <a:close/>
                  <a:moveTo>
                    <a:pt x="9" y="173"/>
                  </a:moveTo>
                  <a:cubicBezTo>
                    <a:pt x="9" y="173"/>
                    <a:pt x="9" y="172"/>
                    <a:pt x="9" y="172"/>
                  </a:cubicBezTo>
                  <a:cubicBezTo>
                    <a:pt x="9" y="172"/>
                    <a:pt x="9" y="172"/>
                    <a:pt x="9" y="173"/>
                  </a:cubicBezTo>
                  <a:close/>
                  <a:moveTo>
                    <a:pt x="8" y="174"/>
                  </a:moveTo>
                  <a:cubicBezTo>
                    <a:pt x="8" y="174"/>
                    <a:pt x="8" y="174"/>
                    <a:pt x="8" y="174"/>
                  </a:cubicBezTo>
                  <a:cubicBezTo>
                    <a:pt x="8" y="174"/>
                    <a:pt x="8" y="174"/>
                    <a:pt x="8" y="174"/>
                  </a:cubicBezTo>
                  <a:close/>
                  <a:moveTo>
                    <a:pt x="12" y="177"/>
                  </a:moveTo>
                  <a:cubicBezTo>
                    <a:pt x="12" y="178"/>
                    <a:pt x="11" y="179"/>
                    <a:pt x="11" y="180"/>
                  </a:cubicBezTo>
                  <a:cubicBezTo>
                    <a:pt x="10" y="181"/>
                    <a:pt x="10" y="182"/>
                    <a:pt x="9" y="183"/>
                  </a:cubicBezTo>
                  <a:cubicBezTo>
                    <a:pt x="10" y="181"/>
                    <a:pt x="11" y="179"/>
                    <a:pt x="12" y="177"/>
                  </a:cubicBezTo>
                  <a:close/>
                  <a:moveTo>
                    <a:pt x="13" y="179"/>
                  </a:moveTo>
                  <a:cubicBezTo>
                    <a:pt x="13" y="179"/>
                    <a:pt x="13" y="179"/>
                    <a:pt x="13" y="179"/>
                  </a:cubicBezTo>
                  <a:cubicBezTo>
                    <a:pt x="13" y="179"/>
                    <a:pt x="13" y="178"/>
                    <a:pt x="13" y="179"/>
                  </a:cubicBezTo>
                  <a:close/>
                  <a:moveTo>
                    <a:pt x="10" y="178"/>
                  </a:moveTo>
                  <a:cubicBezTo>
                    <a:pt x="10" y="178"/>
                    <a:pt x="10" y="178"/>
                    <a:pt x="10" y="178"/>
                  </a:cubicBezTo>
                  <a:cubicBezTo>
                    <a:pt x="10" y="178"/>
                    <a:pt x="10" y="178"/>
                    <a:pt x="10" y="179"/>
                  </a:cubicBezTo>
                  <a:cubicBezTo>
                    <a:pt x="10" y="178"/>
                    <a:pt x="10" y="178"/>
                    <a:pt x="10" y="178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3" y="179"/>
                    <a:pt x="13" y="179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2" y="179"/>
                    <a:pt x="12" y="180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81"/>
                    <a:pt x="12" y="181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181"/>
                    <a:pt x="12" y="180"/>
                    <a:pt x="12" y="180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5" y="178"/>
                  </a:moveTo>
                  <a:cubicBezTo>
                    <a:pt x="5" y="179"/>
                    <a:pt x="5" y="179"/>
                    <a:pt x="4" y="179"/>
                  </a:cubicBezTo>
                  <a:cubicBezTo>
                    <a:pt x="4" y="179"/>
                    <a:pt x="5" y="179"/>
                    <a:pt x="5" y="178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1"/>
                  </a:cubicBezTo>
                  <a:cubicBezTo>
                    <a:pt x="9" y="181"/>
                    <a:pt x="8" y="182"/>
                    <a:pt x="8" y="182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3"/>
                  </a:cubicBezTo>
                  <a:cubicBezTo>
                    <a:pt x="8" y="182"/>
                    <a:pt x="8" y="182"/>
                    <a:pt x="8" y="182"/>
                  </a:cubicBezTo>
                  <a:close/>
                  <a:moveTo>
                    <a:pt x="8" y="183"/>
                  </a:move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lose/>
                  <a:moveTo>
                    <a:pt x="10" y="185"/>
                  </a:moveTo>
                  <a:cubicBezTo>
                    <a:pt x="10" y="185"/>
                    <a:pt x="10" y="184"/>
                    <a:pt x="10" y="184"/>
                  </a:cubicBezTo>
                  <a:cubicBezTo>
                    <a:pt x="10" y="184"/>
                    <a:pt x="10" y="184"/>
                    <a:pt x="10" y="185"/>
                  </a:cubicBezTo>
                  <a:close/>
                  <a:moveTo>
                    <a:pt x="3" y="182"/>
                  </a:moveTo>
                  <a:cubicBezTo>
                    <a:pt x="3" y="182"/>
                    <a:pt x="3" y="181"/>
                    <a:pt x="3" y="181"/>
                  </a:cubicBezTo>
                  <a:cubicBezTo>
                    <a:pt x="3" y="182"/>
                    <a:pt x="3" y="182"/>
                    <a:pt x="3" y="182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4"/>
                    <a:pt x="7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7" y="184"/>
                    <a:pt x="8" y="184"/>
                    <a:pt x="8" y="184"/>
                  </a:cubicBezTo>
                  <a:cubicBezTo>
                    <a:pt x="8" y="184"/>
                    <a:pt x="8" y="184"/>
                    <a:pt x="8" y="184"/>
                  </a:cubicBezTo>
                  <a:close/>
                  <a:moveTo>
                    <a:pt x="10" y="185"/>
                  </a:moveTo>
                  <a:cubicBezTo>
                    <a:pt x="10" y="185"/>
                    <a:pt x="9" y="186"/>
                    <a:pt x="9" y="186"/>
                  </a:cubicBezTo>
                  <a:cubicBezTo>
                    <a:pt x="9" y="186"/>
                    <a:pt x="9" y="185"/>
                    <a:pt x="10" y="185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5"/>
                    <a:pt x="8" y="185"/>
                  </a:cubicBezTo>
                  <a:cubicBezTo>
                    <a:pt x="8" y="185"/>
                    <a:pt x="8" y="185"/>
                    <a:pt x="8" y="184"/>
                  </a:cubicBezTo>
                  <a:close/>
                  <a:moveTo>
                    <a:pt x="3" y="182"/>
                  </a:moveTo>
                  <a:cubicBezTo>
                    <a:pt x="3" y="183"/>
                    <a:pt x="3" y="183"/>
                    <a:pt x="3" y="183"/>
                  </a:cubicBezTo>
                  <a:cubicBezTo>
                    <a:pt x="3" y="183"/>
                    <a:pt x="3" y="183"/>
                    <a:pt x="3" y="182"/>
                  </a:cubicBezTo>
                  <a:close/>
                  <a:moveTo>
                    <a:pt x="5" y="184"/>
                  </a:moveTo>
                  <a:cubicBezTo>
                    <a:pt x="5" y="184"/>
                    <a:pt x="5" y="184"/>
                    <a:pt x="5" y="184"/>
                  </a:cubicBezTo>
                  <a:cubicBezTo>
                    <a:pt x="6" y="184"/>
                    <a:pt x="5" y="184"/>
                    <a:pt x="5" y="184"/>
                  </a:cubicBezTo>
                  <a:close/>
                  <a:moveTo>
                    <a:pt x="7" y="185"/>
                  </a:moveTo>
                  <a:cubicBezTo>
                    <a:pt x="7" y="185"/>
                    <a:pt x="7" y="185"/>
                    <a:pt x="7" y="186"/>
                  </a:cubicBezTo>
                  <a:cubicBezTo>
                    <a:pt x="6" y="185"/>
                    <a:pt x="7" y="185"/>
                    <a:pt x="7" y="185"/>
                  </a:cubicBezTo>
                  <a:close/>
                  <a:moveTo>
                    <a:pt x="9" y="187"/>
                  </a:moveTo>
                  <a:cubicBezTo>
                    <a:pt x="8" y="187"/>
                    <a:pt x="9" y="187"/>
                    <a:pt x="9" y="186"/>
                  </a:cubicBezTo>
                  <a:cubicBezTo>
                    <a:pt x="9" y="186"/>
                    <a:pt x="9" y="187"/>
                    <a:pt x="9" y="187"/>
                  </a:cubicBezTo>
                  <a:close/>
                  <a:moveTo>
                    <a:pt x="4" y="186"/>
                  </a:moveTo>
                  <a:cubicBezTo>
                    <a:pt x="4" y="185"/>
                    <a:pt x="5" y="185"/>
                    <a:pt x="5" y="185"/>
                  </a:cubicBezTo>
                  <a:cubicBezTo>
                    <a:pt x="5" y="185"/>
                    <a:pt x="4" y="185"/>
                    <a:pt x="4" y="186"/>
                  </a:cubicBezTo>
                  <a:close/>
                  <a:moveTo>
                    <a:pt x="2" y="184"/>
                  </a:moveTo>
                  <a:cubicBezTo>
                    <a:pt x="2" y="184"/>
                    <a:pt x="2" y="183"/>
                    <a:pt x="2" y="183"/>
                  </a:cubicBezTo>
                  <a:cubicBezTo>
                    <a:pt x="2" y="183"/>
                    <a:pt x="2" y="184"/>
                    <a:pt x="2" y="184"/>
                  </a:cubicBezTo>
                  <a:close/>
                  <a:moveTo>
                    <a:pt x="8" y="189"/>
                  </a:moveTo>
                  <a:cubicBezTo>
                    <a:pt x="7" y="189"/>
                    <a:pt x="8" y="188"/>
                    <a:pt x="8" y="188"/>
                  </a:cubicBezTo>
                  <a:cubicBezTo>
                    <a:pt x="8" y="188"/>
                    <a:pt x="8" y="188"/>
                    <a:pt x="7" y="188"/>
                  </a:cubicBezTo>
                  <a:cubicBezTo>
                    <a:pt x="8" y="188"/>
                    <a:pt x="8" y="188"/>
                    <a:pt x="8" y="188"/>
                  </a:cubicBezTo>
                  <a:cubicBezTo>
                    <a:pt x="8" y="188"/>
                    <a:pt x="8" y="187"/>
                    <a:pt x="9" y="187"/>
                  </a:cubicBezTo>
                  <a:cubicBezTo>
                    <a:pt x="8" y="188"/>
                    <a:pt x="8" y="188"/>
                    <a:pt x="8" y="189"/>
                  </a:cubicBezTo>
                  <a:close/>
                  <a:moveTo>
                    <a:pt x="1" y="185"/>
                  </a:moveTo>
                  <a:cubicBezTo>
                    <a:pt x="1" y="185"/>
                    <a:pt x="1" y="185"/>
                    <a:pt x="1" y="185"/>
                  </a:cubicBezTo>
                  <a:cubicBezTo>
                    <a:pt x="1" y="184"/>
                    <a:pt x="1" y="184"/>
                    <a:pt x="1" y="184"/>
                  </a:cubicBezTo>
                  <a:cubicBezTo>
                    <a:pt x="1" y="184"/>
                    <a:pt x="1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lose/>
                  <a:moveTo>
                    <a:pt x="6" y="187"/>
                  </a:move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lose/>
                  <a:moveTo>
                    <a:pt x="5" y="187"/>
                  </a:moveTo>
                  <a:cubicBezTo>
                    <a:pt x="5" y="187"/>
                    <a:pt x="6" y="187"/>
                    <a:pt x="6" y="187"/>
                  </a:cubicBezTo>
                  <a:cubicBezTo>
                    <a:pt x="6" y="187"/>
                    <a:pt x="6" y="187"/>
                    <a:pt x="5" y="187"/>
                  </a:cubicBezTo>
                  <a:close/>
                  <a:moveTo>
                    <a:pt x="1" y="186"/>
                  </a:moveTo>
                  <a:cubicBezTo>
                    <a:pt x="1" y="186"/>
                    <a:pt x="1" y="185"/>
                    <a:pt x="1" y="185"/>
                  </a:cubicBezTo>
                  <a:cubicBezTo>
                    <a:pt x="1" y="185"/>
                    <a:pt x="1" y="186"/>
                    <a:pt x="1" y="186"/>
                  </a:cubicBezTo>
                  <a:close/>
                  <a:moveTo>
                    <a:pt x="0" y="186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1" y="186"/>
                    <a:pt x="1" y="185"/>
                  </a:cubicBezTo>
                  <a:cubicBezTo>
                    <a:pt x="1" y="186"/>
                    <a:pt x="0" y="186"/>
                    <a:pt x="0" y="186"/>
                  </a:cubicBezTo>
                  <a:close/>
                  <a:moveTo>
                    <a:pt x="3" y="188"/>
                  </a:move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lose/>
                  <a:moveTo>
                    <a:pt x="0" y="187"/>
                  </a:moveTo>
                  <a:cubicBezTo>
                    <a:pt x="0" y="187"/>
                    <a:pt x="0" y="187"/>
                    <a:pt x="0" y="188"/>
                  </a:cubicBezTo>
                  <a:cubicBezTo>
                    <a:pt x="0" y="187"/>
                    <a:pt x="0" y="187"/>
                    <a:pt x="0" y="187"/>
                  </a:cubicBezTo>
                  <a:close/>
                  <a:moveTo>
                    <a:pt x="6" y="191"/>
                  </a:moveTo>
                  <a:cubicBezTo>
                    <a:pt x="6" y="190"/>
                    <a:pt x="6" y="190"/>
                    <a:pt x="6" y="190"/>
                  </a:cubicBezTo>
                  <a:cubicBezTo>
                    <a:pt x="7" y="190"/>
                    <a:pt x="6" y="191"/>
                    <a:pt x="6" y="190"/>
                  </a:cubicBezTo>
                  <a:cubicBezTo>
                    <a:pt x="7" y="191"/>
                    <a:pt x="6" y="191"/>
                    <a:pt x="6" y="191"/>
                  </a:cubicBezTo>
                  <a:close/>
                  <a:moveTo>
                    <a:pt x="4" y="192"/>
                  </a:moveTo>
                  <a:cubicBezTo>
                    <a:pt x="4" y="192"/>
                    <a:pt x="5" y="191"/>
                    <a:pt x="5" y="191"/>
                  </a:cubicBezTo>
                  <a:cubicBezTo>
                    <a:pt x="5" y="191"/>
                    <a:pt x="5" y="192"/>
                    <a:pt x="4" y="192"/>
                  </a:cubicBezTo>
                  <a:close/>
                  <a:moveTo>
                    <a:pt x="70" y="56"/>
                  </a:move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lose/>
                  <a:moveTo>
                    <a:pt x="94" y="24"/>
                  </a:moveTo>
                  <a:cubicBezTo>
                    <a:pt x="93" y="25"/>
                    <a:pt x="93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7"/>
                    <a:pt x="92" y="27"/>
                  </a:cubicBezTo>
                  <a:cubicBezTo>
                    <a:pt x="92" y="28"/>
                    <a:pt x="91" y="29"/>
                    <a:pt x="91" y="30"/>
                  </a:cubicBezTo>
                  <a:cubicBezTo>
                    <a:pt x="91" y="30"/>
                    <a:pt x="90" y="29"/>
                    <a:pt x="91" y="29"/>
                  </a:cubicBezTo>
                  <a:cubicBezTo>
                    <a:pt x="90" y="30"/>
                    <a:pt x="90" y="31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2"/>
                    <a:pt x="88" y="33"/>
                    <a:pt x="88" y="33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3"/>
                  </a:cubicBezTo>
                  <a:cubicBezTo>
                    <a:pt x="88" y="33"/>
                    <a:pt x="88" y="34"/>
                    <a:pt x="88" y="34"/>
                  </a:cubicBezTo>
                  <a:cubicBezTo>
                    <a:pt x="87" y="34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6" y="35"/>
                    <a:pt x="87" y="36"/>
                  </a:cubicBezTo>
                  <a:cubicBezTo>
                    <a:pt x="87" y="36"/>
                    <a:pt x="86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5"/>
                  </a:cubicBezTo>
                  <a:cubicBezTo>
                    <a:pt x="86" y="36"/>
                    <a:pt x="85" y="37"/>
                    <a:pt x="85" y="37"/>
                  </a:cubicBezTo>
                  <a:cubicBezTo>
                    <a:pt x="85" y="37"/>
                    <a:pt x="85" y="38"/>
                    <a:pt x="85" y="37"/>
                  </a:cubicBezTo>
                  <a:cubicBezTo>
                    <a:pt x="85" y="38"/>
                    <a:pt x="84" y="38"/>
                    <a:pt x="85" y="38"/>
                  </a:cubicBezTo>
                  <a:cubicBezTo>
                    <a:pt x="84" y="38"/>
                    <a:pt x="84" y="39"/>
                    <a:pt x="84" y="40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2" y="42"/>
                  </a:cubicBezTo>
                  <a:cubicBezTo>
                    <a:pt x="82" y="42"/>
                    <a:pt x="82" y="41"/>
                    <a:pt x="82" y="41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3"/>
                    <a:pt x="82" y="42"/>
                    <a:pt x="82" y="43"/>
                  </a:cubicBezTo>
                  <a:cubicBezTo>
                    <a:pt x="82" y="43"/>
                    <a:pt x="82" y="42"/>
                    <a:pt x="82" y="42"/>
                  </a:cubicBezTo>
                  <a:cubicBezTo>
                    <a:pt x="82" y="42"/>
                    <a:pt x="82" y="43"/>
                    <a:pt x="82" y="43"/>
                  </a:cubicBezTo>
                  <a:cubicBezTo>
                    <a:pt x="81" y="44"/>
                    <a:pt x="81" y="45"/>
                    <a:pt x="80" y="45"/>
                  </a:cubicBezTo>
                  <a:cubicBezTo>
                    <a:pt x="80" y="45"/>
                    <a:pt x="80" y="45"/>
                    <a:pt x="81" y="44"/>
                  </a:cubicBezTo>
                  <a:cubicBezTo>
                    <a:pt x="80" y="44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7"/>
                    <a:pt x="79" y="47"/>
                  </a:cubicBezTo>
                  <a:cubicBezTo>
                    <a:pt x="79" y="47"/>
                    <a:pt x="79" y="46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ubicBezTo>
                    <a:pt x="78" y="49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49"/>
                    <a:pt x="78" y="48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8" y="47"/>
                    <a:pt x="79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8" y="48"/>
                    <a:pt x="77" y="4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1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2"/>
                    <a:pt x="75" y="52"/>
                    <a:pt x="76" y="52"/>
                  </a:cubicBezTo>
                  <a:cubicBezTo>
                    <a:pt x="76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1"/>
                    <a:pt x="77" y="51"/>
                  </a:cubicBezTo>
                  <a:cubicBezTo>
                    <a:pt x="76" y="52"/>
                    <a:pt x="76" y="53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4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5"/>
                  </a:cubicBezTo>
                  <a:cubicBezTo>
                    <a:pt x="75" y="55"/>
                    <a:pt x="75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6"/>
                    <a:pt x="74" y="56"/>
                  </a:cubicBezTo>
                  <a:cubicBezTo>
                    <a:pt x="74" y="56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4" y="56"/>
                    <a:pt x="74" y="56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7"/>
                    <a:pt x="73" y="57"/>
                  </a:cubicBezTo>
                  <a:cubicBezTo>
                    <a:pt x="73" y="57"/>
                    <a:pt x="72" y="57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1"/>
                    <a:pt x="71" y="60"/>
                  </a:cubicBezTo>
                  <a:cubicBezTo>
                    <a:pt x="70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4"/>
                    <a:pt x="69" y="63"/>
                  </a:cubicBezTo>
                  <a:cubicBezTo>
                    <a:pt x="69" y="64"/>
                    <a:pt x="70" y="63"/>
                    <a:pt x="70" y="64"/>
                  </a:cubicBezTo>
                  <a:cubicBezTo>
                    <a:pt x="69" y="64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6"/>
                    <a:pt x="68" y="67"/>
                  </a:cubicBezTo>
                  <a:cubicBezTo>
                    <a:pt x="67" y="67"/>
                    <a:pt x="68" y="66"/>
                    <a:pt x="68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9" y="63"/>
                    <a:pt x="70" y="62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7"/>
                  </a:cubicBezTo>
                  <a:cubicBezTo>
                    <a:pt x="72" y="57"/>
                    <a:pt x="72" y="58"/>
                    <a:pt x="72" y="58"/>
                  </a:cubicBezTo>
                  <a:cubicBezTo>
                    <a:pt x="73" y="57"/>
                    <a:pt x="72" y="57"/>
                    <a:pt x="73" y="57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7"/>
                    <a:pt x="72" y="56"/>
                    <a:pt x="72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1" y="58"/>
                  </a:cubicBezTo>
                  <a:cubicBezTo>
                    <a:pt x="71" y="58"/>
                    <a:pt x="72" y="58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0" y="59"/>
                  </a:cubicBezTo>
                  <a:cubicBezTo>
                    <a:pt x="70" y="59"/>
                    <a:pt x="70" y="60"/>
                    <a:pt x="69" y="60"/>
                  </a:cubicBezTo>
                  <a:cubicBezTo>
                    <a:pt x="69" y="60"/>
                    <a:pt x="69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59"/>
                    <a:pt x="70" y="58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7"/>
                    <a:pt x="71" y="57"/>
                  </a:cubicBezTo>
                  <a:cubicBezTo>
                    <a:pt x="71" y="57"/>
                    <a:pt x="71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6"/>
                    <a:pt x="72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6"/>
                    <a:pt x="73" y="56"/>
                  </a:cubicBezTo>
                  <a:cubicBezTo>
                    <a:pt x="73" y="56"/>
                    <a:pt x="73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4" y="54"/>
                    <a:pt x="74" y="55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2"/>
                    <a:pt x="75" y="51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50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6" y="49"/>
                    <a:pt x="76" y="49"/>
                  </a:cubicBezTo>
                  <a:cubicBezTo>
                    <a:pt x="76" y="49"/>
                    <a:pt x="77" y="48"/>
                    <a:pt x="76" y="49"/>
                  </a:cubicBezTo>
                  <a:cubicBezTo>
                    <a:pt x="77" y="48"/>
                    <a:pt x="77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77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6"/>
                    <a:pt x="77" y="47"/>
                  </a:cubicBezTo>
                  <a:cubicBezTo>
                    <a:pt x="77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2"/>
                    <a:pt x="80" y="41"/>
                  </a:cubicBezTo>
                  <a:cubicBezTo>
                    <a:pt x="80" y="41"/>
                    <a:pt x="81" y="41"/>
                    <a:pt x="81" y="41"/>
                  </a:cubicBezTo>
                  <a:cubicBezTo>
                    <a:pt x="81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3"/>
                  </a:cubicBezTo>
                  <a:cubicBezTo>
                    <a:pt x="79" y="43"/>
                    <a:pt x="79" y="43"/>
                    <a:pt x="79" y="44"/>
                  </a:cubicBezTo>
                  <a:cubicBezTo>
                    <a:pt x="79" y="44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5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9"/>
                    <a:pt x="76" y="48"/>
                  </a:cubicBezTo>
                  <a:cubicBezTo>
                    <a:pt x="76" y="48"/>
                    <a:pt x="76" y="49"/>
                    <a:pt x="76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50"/>
                  </a:cubicBezTo>
                  <a:cubicBezTo>
                    <a:pt x="75" y="49"/>
                    <a:pt x="75" y="50"/>
                    <a:pt x="74" y="50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4" y="49"/>
                    <a:pt x="75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50"/>
                    <a:pt x="74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2" y="51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2" y="53"/>
                    <a:pt x="72" y="53"/>
                  </a:cubicBezTo>
                  <a:cubicBezTo>
                    <a:pt x="72" y="53"/>
                    <a:pt x="71" y="53"/>
                    <a:pt x="71" y="53"/>
                  </a:cubicBezTo>
                  <a:cubicBezTo>
                    <a:pt x="71" y="53"/>
                    <a:pt x="71" y="52"/>
                    <a:pt x="72" y="52"/>
                  </a:cubicBezTo>
                  <a:cubicBezTo>
                    <a:pt x="71" y="52"/>
                    <a:pt x="71" y="53"/>
                    <a:pt x="71" y="53"/>
                  </a:cubicBezTo>
                  <a:cubicBezTo>
                    <a:pt x="71" y="53"/>
                    <a:pt x="71" y="53"/>
                    <a:pt x="71" y="54"/>
                  </a:cubicBezTo>
                  <a:cubicBezTo>
                    <a:pt x="71" y="54"/>
                    <a:pt x="71" y="53"/>
                    <a:pt x="71" y="53"/>
                  </a:cubicBezTo>
                  <a:cubicBezTo>
                    <a:pt x="71" y="53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5"/>
                  </a:cubicBezTo>
                  <a:cubicBezTo>
                    <a:pt x="70" y="54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2" y="55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7"/>
                    <a:pt x="70" y="57"/>
                  </a:cubicBezTo>
                  <a:cubicBezTo>
                    <a:pt x="70" y="57"/>
                    <a:pt x="70" y="58"/>
                    <a:pt x="70" y="57"/>
                  </a:cubicBezTo>
                  <a:cubicBezTo>
                    <a:pt x="70" y="58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60"/>
                  </a:cubicBezTo>
                  <a:cubicBezTo>
                    <a:pt x="69" y="60"/>
                    <a:pt x="69" y="59"/>
                    <a:pt x="69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2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60"/>
                    <a:pt x="68" y="59"/>
                  </a:cubicBezTo>
                  <a:cubicBezTo>
                    <a:pt x="68" y="59"/>
                    <a:pt x="68" y="59"/>
                    <a:pt x="69" y="59"/>
                  </a:cubicBezTo>
                  <a:cubicBezTo>
                    <a:pt x="69" y="59"/>
                    <a:pt x="69" y="58"/>
                    <a:pt x="69" y="59"/>
                  </a:cubicBezTo>
                  <a:cubicBezTo>
                    <a:pt x="68" y="59"/>
                    <a:pt x="69" y="59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8" y="58"/>
                  </a:cubicBezTo>
                  <a:cubicBezTo>
                    <a:pt x="69" y="58"/>
                    <a:pt x="69" y="58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70" y="57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1" y="55"/>
                    <a:pt x="71" y="55"/>
                  </a:cubicBezTo>
                  <a:cubicBezTo>
                    <a:pt x="71" y="55"/>
                    <a:pt x="71" y="55"/>
                    <a:pt x="70" y="55"/>
                  </a:cubicBezTo>
                  <a:cubicBezTo>
                    <a:pt x="70" y="55"/>
                    <a:pt x="70" y="55"/>
                    <a:pt x="70" y="56"/>
                  </a:cubicBezTo>
                  <a:cubicBezTo>
                    <a:pt x="70" y="55"/>
                    <a:pt x="70" y="56"/>
                    <a:pt x="70" y="56"/>
                  </a:cubicBezTo>
                  <a:cubicBezTo>
                    <a:pt x="70" y="56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5"/>
                    <a:pt x="69" y="55"/>
                  </a:cubicBezTo>
                  <a:cubicBezTo>
                    <a:pt x="70" y="55"/>
                    <a:pt x="69" y="55"/>
                    <a:pt x="69" y="55"/>
                  </a:cubicBezTo>
                  <a:cubicBezTo>
                    <a:pt x="69" y="55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3"/>
                    <a:pt x="70" y="53"/>
                  </a:cubicBezTo>
                  <a:cubicBezTo>
                    <a:pt x="70" y="53"/>
                    <a:pt x="71" y="53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1"/>
                    <a:pt x="71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1" y="52"/>
                    <a:pt x="71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2" y="50"/>
                    <a:pt x="72" y="50"/>
                    <a:pt x="72" y="51"/>
                  </a:cubicBezTo>
                  <a:cubicBezTo>
                    <a:pt x="72" y="51"/>
                    <a:pt x="72" y="51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6"/>
                    <a:pt x="74" y="46"/>
                    <a:pt x="74" y="45"/>
                  </a:cubicBezTo>
                  <a:cubicBezTo>
                    <a:pt x="75" y="46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4" y="43"/>
                    <a:pt x="75" y="43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3"/>
                    <a:pt x="74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2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1"/>
                    <a:pt x="76" y="40"/>
                  </a:cubicBezTo>
                  <a:cubicBezTo>
                    <a:pt x="76" y="40"/>
                    <a:pt x="76" y="41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1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0"/>
                    <a:pt x="76" y="40"/>
                  </a:cubicBezTo>
                  <a:cubicBezTo>
                    <a:pt x="77" y="40"/>
                    <a:pt x="76" y="40"/>
                    <a:pt x="77" y="40"/>
                  </a:cubicBezTo>
                  <a:cubicBezTo>
                    <a:pt x="76" y="39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5" y="41"/>
                    <a:pt x="76" y="41"/>
                    <a:pt x="76" y="40"/>
                  </a:cubicBezTo>
                  <a:cubicBezTo>
                    <a:pt x="75" y="40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4" y="41"/>
                    <a:pt x="74" y="41"/>
                  </a:cubicBezTo>
                  <a:cubicBezTo>
                    <a:pt x="75" y="41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0"/>
                  </a:cubicBezTo>
                  <a:cubicBezTo>
                    <a:pt x="74" y="40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ubicBezTo>
                    <a:pt x="73" y="44"/>
                    <a:pt x="74" y="43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ubicBezTo>
                    <a:pt x="71" y="48"/>
                    <a:pt x="71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ubicBezTo>
                    <a:pt x="72" y="47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1" y="49"/>
                    <a:pt x="71" y="49"/>
                    <a:pt x="71" y="48"/>
                  </a:cubicBezTo>
                  <a:cubicBezTo>
                    <a:pt x="71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50"/>
                    <a:pt x="70" y="50"/>
                    <a:pt x="69" y="50"/>
                  </a:cubicBezTo>
                  <a:cubicBezTo>
                    <a:pt x="69" y="50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2"/>
                    <a:pt x="68" y="52"/>
                  </a:cubicBezTo>
                  <a:cubicBezTo>
                    <a:pt x="68" y="51"/>
                    <a:pt x="69" y="51"/>
                    <a:pt x="68" y="51"/>
                  </a:cubicBezTo>
                  <a:cubicBezTo>
                    <a:pt x="69" y="50"/>
                    <a:pt x="70" y="48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2"/>
                    <a:pt x="73" y="42"/>
                  </a:cubicBezTo>
                  <a:cubicBezTo>
                    <a:pt x="73" y="42"/>
                    <a:pt x="73" y="42"/>
                    <a:pt x="73" y="43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3" y="42"/>
                    <a:pt x="72" y="42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3"/>
                    <a:pt x="71" y="43"/>
                  </a:cubicBezTo>
                  <a:cubicBezTo>
                    <a:pt x="71" y="43"/>
                    <a:pt x="72" y="43"/>
                    <a:pt x="71" y="43"/>
                  </a:cubicBezTo>
                  <a:cubicBezTo>
                    <a:pt x="71" y="42"/>
                    <a:pt x="72" y="42"/>
                    <a:pt x="72" y="41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3" y="40"/>
                    <a:pt x="72" y="40"/>
                  </a:cubicBezTo>
                  <a:cubicBezTo>
                    <a:pt x="73" y="39"/>
                    <a:pt x="73" y="40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2" y="38"/>
                    <a:pt x="72" y="39"/>
                    <a:pt x="72" y="39"/>
                  </a:cubicBezTo>
                  <a:cubicBezTo>
                    <a:pt x="72" y="39"/>
                    <a:pt x="72" y="38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9"/>
                    <a:pt x="73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3" y="37"/>
                    <a:pt x="72" y="37"/>
                    <a:pt x="72" y="38"/>
                  </a:cubicBezTo>
                  <a:cubicBezTo>
                    <a:pt x="73" y="38"/>
                    <a:pt x="73" y="37"/>
                    <a:pt x="73" y="37"/>
                  </a:cubicBezTo>
                  <a:cubicBezTo>
                    <a:pt x="73" y="37"/>
                    <a:pt x="73" y="37"/>
                    <a:pt x="73" y="36"/>
                  </a:cubicBezTo>
                  <a:cubicBezTo>
                    <a:pt x="73" y="36"/>
                    <a:pt x="73" y="37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5"/>
                    <a:pt x="73" y="35"/>
                  </a:cubicBezTo>
                  <a:cubicBezTo>
                    <a:pt x="74" y="35"/>
                    <a:pt x="73" y="35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5"/>
                  </a:cubicBezTo>
                  <a:cubicBezTo>
                    <a:pt x="74" y="35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4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4" y="33"/>
                    <a:pt x="74" y="33"/>
                    <a:pt x="75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0"/>
                  </a:cubicBezTo>
                  <a:cubicBezTo>
                    <a:pt x="75" y="30"/>
                    <a:pt x="74" y="30"/>
                    <a:pt x="74" y="30"/>
                  </a:cubicBezTo>
                  <a:cubicBezTo>
                    <a:pt x="74" y="30"/>
                    <a:pt x="74" y="31"/>
                    <a:pt x="74" y="31"/>
                  </a:cubicBezTo>
                  <a:cubicBezTo>
                    <a:pt x="74" y="31"/>
                    <a:pt x="74" y="31"/>
                    <a:pt x="75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2"/>
                    <a:pt x="74" y="31"/>
                    <a:pt x="74" y="31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3" y="33"/>
                  </a:cubicBezTo>
                  <a:cubicBezTo>
                    <a:pt x="73" y="33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3" y="32"/>
                    <a:pt x="73" y="31"/>
                    <a:pt x="73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0"/>
                    <a:pt x="74" y="30"/>
                    <a:pt x="74" y="29"/>
                  </a:cubicBezTo>
                  <a:cubicBezTo>
                    <a:pt x="74" y="29"/>
                    <a:pt x="74" y="30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5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7"/>
                  </a:cubicBezTo>
                  <a:cubicBezTo>
                    <a:pt x="75" y="27"/>
                    <a:pt x="75" y="28"/>
                    <a:pt x="75" y="28"/>
                  </a:cubicBezTo>
                  <a:cubicBezTo>
                    <a:pt x="75" y="28"/>
                    <a:pt x="75" y="27"/>
                    <a:pt x="75" y="27"/>
                  </a:cubicBezTo>
                  <a:cubicBezTo>
                    <a:pt x="75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6" y="24"/>
                  </a:cubicBezTo>
                  <a:cubicBezTo>
                    <a:pt x="75" y="24"/>
                    <a:pt x="75" y="25"/>
                    <a:pt x="75" y="25"/>
                  </a:cubicBezTo>
                  <a:cubicBezTo>
                    <a:pt x="75" y="25"/>
                    <a:pt x="75" y="24"/>
                    <a:pt x="75" y="24"/>
                  </a:cubicBezTo>
                  <a:cubicBezTo>
                    <a:pt x="75" y="24"/>
                    <a:pt x="75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3"/>
                  </a:cubicBezTo>
                  <a:cubicBezTo>
                    <a:pt x="77" y="24"/>
                    <a:pt x="76" y="22"/>
                    <a:pt x="77" y="22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9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7"/>
                    <a:pt x="81" y="17"/>
                  </a:cubicBezTo>
                  <a:cubicBezTo>
                    <a:pt x="81" y="18"/>
                    <a:pt x="80" y="18"/>
                    <a:pt x="80" y="18"/>
                  </a:cubicBezTo>
                  <a:cubicBezTo>
                    <a:pt x="80" y="18"/>
                    <a:pt x="80" y="19"/>
                    <a:pt x="80" y="1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9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80" y="18"/>
                    <a:pt x="79" y="18"/>
                    <a:pt x="80" y="18"/>
                  </a:cubicBezTo>
                  <a:cubicBezTo>
                    <a:pt x="80" y="18"/>
                    <a:pt x="80" y="17"/>
                    <a:pt x="80" y="17"/>
                  </a:cubicBezTo>
                  <a:cubicBezTo>
                    <a:pt x="80" y="17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5"/>
                    <a:pt x="81" y="15"/>
                  </a:cubicBezTo>
                  <a:cubicBezTo>
                    <a:pt x="82" y="14"/>
                    <a:pt x="82" y="13"/>
                    <a:pt x="83" y="14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2" y="13"/>
                    <a:pt x="82" y="13"/>
                  </a:cubicBezTo>
                  <a:cubicBezTo>
                    <a:pt x="82" y="13"/>
                    <a:pt x="83" y="13"/>
                    <a:pt x="83" y="12"/>
                  </a:cubicBezTo>
                  <a:cubicBezTo>
                    <a:pt x="83" y="12"/>
                    <a:pt x="83" y="12"/>
                    <a:pt x="82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4" y="12"/>
                    <a:pt x="84" y="11"/>
                  </a:cubicBezTo>
                  <a:cubicBezTo>
                    <a:pt x="84" y="11"/>
                    <a:pt x="84" y="11"/>
                    <a:pt x="83" y="11"/>
                  </a:cubicBezTo>
                  <a:cubicBezTo>
                    <a:pt x="83" y="11"/>
                    <a:pt x="83" y="11"/>
                    <a:pt x="8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1"/>
                    <a:pt x="83" y="10"/>
                    <a:pt x="84" y="11"/>
                  </a:cubicBezTo>
                  <a:cubicBezTo>
                    <a:pt x="84" y="10"/>
                    <a:pt x="84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9"/>
                    <a:pt x="84" y="10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8"/>
                    <a:pt x="85" y="8"/>
                  </a:cubicBezTo>
                  <a:cubicBezTo>
                    <a:pt x="85" y="8"/>
                    <a:pt x="86" y="7"/>
                    <a:pt x="86" y="7"/>
                  </a:cubicBezTo>
                  <a:cubicBezTo>
                    <a:pt x="86" y="7"/>
                    <a:pt x="86" y="6"/>
                    <a:pt x="86" y="6"/>
                  </a:cubicBezTo>
                  <a:cubicBezTo>
                    <a:pt x="87" y="6"/>
                    <a:pt x="87" y="6"/>
                    <a:pt x="87" y="5"/>
                  </a:cubicBezTo>
                  <a:cubicBezTo>
                    <a:pt x="88" y="5"/>
                    <a:pt x="88" y="4"/>
                    <a:pt x="89" y="4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91" y="2"/>
                    <a:pt x="92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0"/>
                    <a:pt x="95" y="0"/>
                    <a:pt x="95" y="1"/>
                  </a:cubicBezTo>
                  <a:cubicBezTo>
                    <a:pt x="96" y="1"/>
                    <a:pt x="97" y="1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3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9" y="5"/>
                    <a:pt x="98" y="7"/>
                    <a:pt x="99" y="8"/>
                  </a:cubicBezTo>
                  <a:cubicBezTo>
                    <a:pt x="99" y="8"/>
                    <a:pt x="99" y="7"/>
                    <a:pt x="99" y="7"/>
                  </a:cubicBezTo>
                  <a:cubicBezTo>
                    <a:pt x="99" y="7"/>
                    <a:pt x="99" y="8"/>
                    <a:pt x="99" y="8"/>
                  </a:cubicBezTo>
                  <a:cubicBezTo>
                    <a:pt x="99" y="8"/>
                    <a:pt x="99" y="9"/>
                    <a:pt x="99" y="9"/>
                  </a:cubicBezTo>
                  <a:cubicBezTo>
                    <a:pt x="98" y="11"/>
                    <a:pt x="99" y="12"/>
                    <a:pt x="98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5"/>
                    <a:pt x="97" y="15"/>
                    <a:pt x="97" y="16"/>
                  </a:cubicBezTo>
                  <a:cubicBezTo>
                    <a:pt x="97" y="17"/>
                    <a:pt x="97" y="17"/>
                    <a:pt x="96" y="18"/>
                  </a:cubicBezTo>
                  <a:cubicBezTo>
                    <a:pt x="96" y="18"/>
                    <a:pt x="96" y="19"/>
                    <a:pt x="96" y="19"/>
                  </a:cubicBezTo>
                  <a:cubicBezTo>
                    <a:pt x="96" y="19"/>
                    <a:pt x="96" y="19"/>
                    <a:pt x="95" y="20"/>
                  </a:cubicBezTo>
                  <a:cubicBezTo>
                    <a:pt x="95" y="21"/>
                    <a:pt x="95" y="22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75" y="27"/>
                  </a:move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4" y="32"/>
                  </a:move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2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75" y="29"/>
                  </a:moveTo>
                  <a:cubicBezTo>
                    <a:pt x="76" y="29"/>
                    <a:pt x="75" y="29"/>
                    <a:pt x="75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29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1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0"/>
                    <a:pt x="75" y="30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9"/>
                    <a:pt x="76" y="29"/>
                  </a:cubicBezTo>
                  <a:cubicBezTo>
                    <a:pt x="76" y="29"/>
                    <a:pt x="76" y="28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1"/>
                  </a:move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3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3"/>
                  </a:cubicBezTo>
                  <a:close/>
                  <a:moveTo>
                    <a:pt x="75" y="34"/>
                  </a:moveTo>
                  <a:cubicBezTo>
                    <a:pt x="75" y="33"/>
                    <a:pt x="74" y="33"/>
                    <a:pt x="74" y="34"/>
                  </a:cubicBezTo>
                  <a:cubicBezTo>
                    <a:pt x="74" y="34"/>
                    <a:pt x="74" y="34"/>
                    <a:pt x="75" y="34"/>
                  </a:cubicBezTo>
                  <a:close/>
                  <a:moveTo>
                    <a:pt x="74" y="35"/>
                  </a:moveTo>
                  <a:cubicBezTo>
                    <a:pt x="74" y="35"/>
                    <a:pt x="75" y="34"/>
                    <a:pt x="74" y="34"/>
                  </a:cubicBezTo>
                  <a:cubicBezTo>
                    <a:pt x="74" y="34"/>
                    <a:pt x="74" y="34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lose/>
                  <a:moveTo>
                    <a:pt x="73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lose/>
                  <a:moveTo>
                    <a:pt x="75" y="35"/>
                  </a:move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lose/>
                  <a:moveTo>
                    <a:pt x="75" y="35"/>
                  </a:moveTo>
                  <a:cubicBezTo>
                    <a:pt x="75" y="35"/>
                    <a:pt x="74" y="35"/>
                    <a:pt x="74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4" y="35"/>
                    <a:pt x="75" y="35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6"/>
                    <a:pt x="74" y="36"/>
                  </a:cubicBezTo>
                  <a:close/>
                  <a:moveTo>
                    <a:pt x="74" y="38"/>
                  </a:moveTo>
                  <a:cubicBezTo>
                    <a:pt x="74" y="38"/>
                    <a:pt x="74" y="38"/>
                    <a:pt x="74" y="37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1"/>
                  </a:cubicBezTo>
                  <a:close/>
                  <a:moveTo>
                    <a:pt x="73" y="41"/>
                  </a:moveTo>
                  <a:cubicBezTo>
                    <a:pt x="74" y="41"/>
                    <a:pt x="73" y="41"/>
                    <a:pt x="74" y="40"/>
                  </a:cubicBezTo>
                  <a:cubicBezTo>
                    <a:pt x="73" y="40"/>
                    <a:pt x="73" y="40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4"/>
                    <a:pt x="72" y="44"/>
                  </a:cubicBezTo>
                  <a:cubicBezTo>
                    <a:pt x="72" y="44"/>
                    <a:pt x="73" y="44"/>
                    <a:pt x="73" y="44"/>
                  </a:cubicBezTo>
                  <a:close/>
                  <a:moveTo>
                    <a:pt x="72" y="45"/>
                  </a:moveTo>
                  <a:cubicBezTo>
                    <a:pt x="72" y="45"/>
                    <a:pt x="73" y="44"/>
                    <a:pt x="72" y="44"/>
                  </a:cubicBezTo>
                  <a:cubicBezTo>
                    <a:pt x="72" y="44"/>
                    <a:pt x="72" y="45"/>
                    <a:pt x="72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3" y="44"/>
                  </a:moveTo>
                  <a:cubicBezTo>
                    <a:pt x="73" y="43"/>
                    <a:pt x="73" y="44"/>
                    <a:pt x="73" y="43"/>
                  </a:cubicBezTo>
                  <a:cubicBezTo>
                    <a:pt x="73" y="43"/>
                    <a:pt x="73" y="43"/>
                    <a:pt x="73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3" y="43"/>
                    <a:pt x="73" y="43"/>
                  </a:cubicBezTo>
                  <a:cubicBezTo>
                    <a:pt x="73" y="43"/>
                    <a:pt x="73" y="44"/>
                    <a:pt x="72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lose/>
                  <a:moveTo>
                    <a:pt x="75" y="38"/>
                  </a:move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5" y="38"/>
                    <a:pt x="75" y="38"/>
                  </a:cubicBezTo>
                  <a:close/>
                  <a:moveTo>
                    <a:pt x="82" y="27"/>
                  </a:moveTo>
                  <a:cubicBezTo>
                    <a:pt x="82" y="27"/>
                    <a:pt x="81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77" y="38"/>
                  </a:move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7" y="37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8" y="37"/>
                    <a:pt x="78" y="37"/>
                  </a:cubicBezTo>
                  <a:cubicBezTo>
                    <a:pt x="77" y="37"/>
                    <a:pt x="78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lose/>
                  <a:moveTo>
                    <a:pt x="77" y="38"/>
                  </a:moveTo>
                  <a:cubicBezTo>
                    <a:pt x="76" y="38"/>
                    <a:pt x="76" y="38"/>
                    <a:pt x="76" y="39"/>
                  </a:cubicBezTo>
                  <a:cubicBezTo>
                    <a:pt x="76" y="39"/>
                    <a:pt x="77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lose/>
                  <a:moveTo>
                    <a:pt x="77" y="35"/>
                  </a:moveTo>
                  <a:cubicBezTo>
                    <a:pt x="78" y="35"/>
                    <a:pt x="77" y="36"/>
                    <a:pt x="78" y="36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5"/>
                    <a:pt x="77" y="35"/>
                  </a:cubicBezTo>
                  <a:close/>
                  <a:moveTo>
                    <a:pt x="76" y="40"/>
                  </a:moveTo>
                  <a:cubicBezTo>
                    <a:pt x="76" y="40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5" y="39"/>
                    <a:pt x="76" y="39"/>
                    <a:pt x="76" y="39"/>
                  </a:cubicBezTo>
                  <a:cubicBezTo>
                    <a:pt x="75" y="39"/>
                    <a:pt x="76" y="39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39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7" y="39"/>
                    <a:pt x="76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9"/>
                    <a:pt x="77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8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39"/>
                    <a:pt x="77" y="39"/>
                    <a:pt x="78" y="38"/>
                  </a:cubicBezTo>
                  <a:close/>
                  <a:moveTo>
                    <a:pt x="79" y="36"/>
                  </a:move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lose/>
                  <a:moveTo>
                    <a:pt x="76" y="41"/>
                  </a:move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7" y="40"/>
                    <a:pt x="76" y="41"/>
                  </a:cubicBezTo>
                  <a:close/>
                  <a:moveTo>
                    <a:pt x="76" y="43"/>
                  </a:moveTo>
                  <a:cubicBezTo>
                    <a:pt x="76" y="43"/>
                    <a:pt x="75" y="43"/>
                    <a:pt x="75" y="43"/>
                  </a:cubicBezTo>
                  <a:cubicBezTo>
                    <a:pt x="76" y="43"/>
                    <a:pt x="75" y="43"/>
                    <a:pt x="75" y="43"/>
                  </a:cubicBezTo>
                  <a:cubicBezTo>
                    <a:pt x="75" y="43"/>
                    <a:pt x="75" y="43"/>
                    <a:pt x="76" y="43"/>
                  </a:cubicBezTo>
                  <a:close/>
                  <a:moveTo>
                    <a:pt x="75" y="44"/>
                  </a:move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8" y="60"/>
                  </a:moveTo>
                  <a:cubicBezTo>
                    <a:pt x="68" y="60"/>
                    <a:pt x="69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lose/>
                  <a:moveTo>
                    <a:pt x="70" y="57"/>
                  </a:moveTo>
                  <a:cubicBezTo>
                    <a:pt x="70" y="56"/>
                    <a:pt x="71" y="56"/>
                    <a:pt x="70" y="56"/>
                  </a:cubicBezTo>
                  <a:cubicBezTo>
                    <a:pt x="70" y="56"/>
                    <a:pt x="70" y="57"/>
                    <a:pt x="70" y="57"/>
                  </a:cubicBezTo>
                  <a:close/>
                  <a:moveTo>
                    <a:pt x="71" y="54"/>
                  </a:moveTo>
                  <a:cubicBezTo>
                    <a:pt x="70" y="54"/>
                    <a:pt x="71" y="53"/>
                    <a:pt x="70" y="53"/>
                  </a:cubicBezTo>
                  <a:cubicBezTo>
                    <a:pt x="71" y="54"/>
                    <a:pt x="70" y="54"/>
                    <a:pt x="70" y="54"/>
                  </a:cubicBezTo>
                  <a:cubicBezTo>
                    <a:pt x="70" y="54"/>
                    <a:pt x="70" y="54"/>
                    <a:pt x="71" y="5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4" y="47"/>
                  </a:moveTo>
                  <a:cubicBezTo>
                    <a:pt x="74" y="47"/>
                    <a:pt x="73" y="48"/>
                    <a:pt x="73" y="48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50"/>
                    <a:pt x="72" y="50"/>
                  </a:cubicBezTo>
                  <a:cubicBezTo>
                    <a:pt x="73" y="50"/>
                    <a:pt x="73" y="49"/>
                    <a:pt x="73" y="49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3" y="49"/>
                    <a:pt x="74" y="49"/>
                  </a:cubicBezTo>
                  <a:cubicBezTo>
                    <a:pt x="74" y="49"/>
                    <a:pt x="74" y="48"/>
                    <a:pt x="74" y="48"/>
                  </a:cubicBezTo>
                  <a:cubicBezTo>
                    <a:pt x="74" y="48"/>
                    <a:pt x="74" y="48"/>
                    <a:pt x="74" y="49"/>
                  </a:cubicBezTo>
                  <a:cubicBezTo>
                    <a:pt x="73" y="48"/>
                    <a:pt x="73" y="49"/>
                    <a:pt x="73" y="48"/>
                  </a:cubicBez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6" y="45"/>
                  </a:move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5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82" y="38"/>
                  </a:moveTo>
                  <a:cubicBezTo>
                    <a:pt x="81" y="38"/>
                    <a:pt x="82" y="38"/>
                    <a:pt x="82" y="38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80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lose/>
                  <a:moveTo>
                    <a:pt x="81" y="39"/>
                  </a:move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lose/>
                  <a:moveTo>
                    <a:pt x="80" y="40"/>
                  </a:moveTo>
                  <a:cubicBezTo>
                    <a:pt x="80" y="40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lose/>
                  <a:moveTo>
                    <a:pt x="80" y="40"/>
                  </a:moveTo>
                  <a:cubicBezTo>
                    <a:pt x="80" y="40"/>
                    <a:pt x="80" y="41"/>
                    <a:pt x="80" y="41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7" y="45"/>
                    <a:pt x="78" y="45"/>
                  </a:cubicBezTo>
                  <a:close/>
                  <a:moveTo>
                    <a:pt x="76" y="47"/>
                  </a:moveTo>
                  <a:cubicBezTo>
                    <a:pt x="77" y="47"/>
                    <a:pt x="77" y="46"/>
                    <a:pt x="77" y="46"/>
                  </a:cubicBezTo>
                  <a:cubicBezTo>
                    <a:pt x="77" y="46"/>
                    <a:pt x="77" y="47"/>
                    <a:pt x="76" y="47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6" y="48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80" y="41"/>
                  </a:moveTo>
                  <a:cubicBezTo>
                    <a:pt x="80" y="41"/>
                    <a:pt x="79" y="42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79" y="41"/>
                  </a:cubicBezTo>
                  <a:cubicBezTo>
                    <a:pt x="79" y="41"/>
                    <a:pt x="80" y="41"/>
                    <a:pt x="80" y="41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82" y="37"/>
                  </a:move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lose/>
                  <a:moveTo>
                    <a:pt x="82" y="38"/>
                  </a:move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1" y="40"/>
                  </a:move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lose/>
                  <a:moveTo>
                    <a:pt x="71" y="58"/>
                  </a:moveTo>
                  <a:cubicBezTo>
                    <a:pt x="71" y="58"/>
                    <a:pt x="72" y="57"/>
                    <a:pt x="72" y="57"/>
                  </a:cubicBezTo>
                  <a:cubicBezTo>
                    <a:pt x="72" y="57"/>
                    <a:pt x="71" y="57"/>
                    <a:pt x="71" y="57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lose/>
                  <a:moveTo>
                    <a:pt x="75" y="53"/>
                  </a:moveTo>
                  <a:cubicBezTo>
                    <a:pt x="74" y="53"/>
                    <a:pt x="74" y="53"/>
                    <a:pt x="74" y="53"/>
                  </a:cubicBezTo>
                  <a:cubicBezTo>
                    <a:pt x="75" y="53"/>
                    <a:pt x="75" y="53"/>
                    <a:pt x="75" y="53"/>
                  </a:cubicBezTo>
                  <a:close/>
                  <a:moveTo>
                    <a:pt x="74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lose/>
                  <a:moveTo>
                    <a:pt x="75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3"/>
                    <a:pt x="75" y="53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4"/>
                    <a:pt x="75" y="53"/>
                  </a:cubicBezTo>
                  <a:cubicBezTo>
                    <a:pt x="75" y="53"/>
                    <a:pt x="75" y="53"/>
                    <a:pt x="75" y="54"/>
                  </a:cubicBezTo>
                  <a:close/>
                  <a:moveTo>
                    <a:pt x="75" y="52"/>
                  </a:moveTo>
                  <a:cubicBezTo>
                    <a:pt x="75" y="52"/>
                    <a:pt x="75" y="52"/>
                    <a:pt x="75" y="5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80" y="43"/>
                  </a:move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lose/>
                  <a:moveTo>
                    <a:pt x="80" y="44"/>
                  </a:moveTo>
                  <a:cubicBezTo>
                    <a:pt x="80" y="44"/>
                    <a:pt x="79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3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7"/>
                  </a:cubicBezTo>
                  <a:cubicBezTo>
                    <a:pt x="78" y="46"/>
                    <a:pt x="79" y="46"/>
                    <a:pt x="78" y="46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5"/>
                    <a:pt x="79" y="45"/>
                  </a:cubicBezTo>
                  <a:cubicBezTo>
                    <a:pt x="79" y="45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lose/>
                  <a:moveTo>
                    <a:pt x="81" y="42"/>
                  </a:move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1"/>
                  </a:cubicBezTo>
                  <a:cubicBezTo>
                    <a:pt x="81" y="41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2"/>
                    <a:pt x="81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1" y="42"/>
                    <a:pt x="80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0" y="43"/>
                  </a:cubicBezTo>
                  <a:cubicBezTo>
                    <a:pt x="80" y="43"/>
                    <a:pt x="80" y="43"/>
                    <a:pt x="81" y="43"/>
                  </a:cubicBezTo>
                  <a:cubicBezTo>
                    <a:pt x="81" y="43"/>
                    <a:pt x="81" y="42"/>
                    <a:pt x="81" y="42"/>
                  </a:cubicBezTo>
                  <a:close/>
                  <a:moveTo>
                    <a:pt x="80" y="45"/>
                  </a:moveTo>
                  <a:cubicBezTo>
                    <a:pt x="79" y="45"/>
                    <a:pt x="80" y="45"/>
                    <a:pt x="79" y="45"/>
                  </a:cubicBezTo>
                  <a:cubicBezTo>
                    <a:pt x="80" y="46"/>
                    <a:pt x="80" y="45"/>
                    <a:pt x="80" y="45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0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83" y="39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39"/>
                    <a:pt x="83" y="39"/>
                  </a:cubicBezTo>
                  <a:close/>
                  <a:moveTo>
                    <a:pt x="87" y="34"/>
                  </a:moveTo>
                  <a:cubicBezTo>
                    <a:pt x="87" y="34"/>
                    <a:pt x="88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7" y="34"/>
                    <a:pt x="87" y="35"/>
                    <a:pt x="87" y="34"/>
                  </a:cubicBezTo>
                  <a:close/>
                  <a:moveTo>
                    <a:pt x="89" y="32"/>
                  </a:move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8" y="32"/>
                    <a:pt x="88" y="31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72" y="41"/>
                  </a:moveTo>
                  <a:cubicBezTo>
                    <a:pt x="72" y="41"/>
                    <a:pt x="72" y="41"/>
                    <a:pt x="72" y="42"/>
                  </a:cubicBezTo>
                  <a:cubicBezTo>
                    <a:pt x="72" y="41"/>
                    <a:pt x="72" y="42"/>
                    <a:pt x="72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1"/>
                    <a:pt x="72" y="41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7"/>
                    <a:pt x="77" y="48"/>
                    <a:pt x="77" y="48"/>
                  </a:cubicBezTo>
                  <a:cubicBezTo>
                    <a:pt x="77" y="48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lose/>
                  <a:moveTo>
                    <a:pt x="99" y="4"/>
                  </a:moveTo>
                  <a:cubicBezTo>
                    <a:pt x="99" y="4"/>
                    <a:pt x="99" y="4"/>
                    <a:pt x="98" y="4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  <a:moveTo>
                    <a:pt x="70" y="37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69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71" y="42"/>
                  </a:move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lose/>
                  <a:moveTo>
                    <a:pt x="71" y="44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0" y="45"/>
                    <a:pt x="70" y="46"/>
                    <a:pt x="70" y="46"/>
                  </a:cubicBezTo>
                  <a:cubicBezTo>
                    <a:pt x="69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4"/>
                    <a:pt x="70" y="44"/>
                  </a:cubicBezTo>
                  <a:cubicBezTo>
                    <a:pt x="71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0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70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ubicBezTo>
                    <a:pt x="70" y="46"/>
                    <a:pt x="70" y="46"/>
                    <a:pt x="70" y="47"/>
                  </a:cubicBezTo>
                  <a:cubicBezTo>
                    <a:pt x="70" y="47"/>
                    <a:pt x="70" y="46"/>
                    <a:pt x="70" y="46"/>
                  </a:cubicBezTo>
                  <a:close/>
                  <a:moveTo>
                    <a:pt x="71" y="49"/>
                  </a:moveTo>
                  <a:cubicBezTo>
                    <a:pt x="71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ubicBezTo>
                    <a:pt x="72" y="48"/>
                    <a:pt x="72" y="49"/>
                    <a:pt x="72" y="48"/>
                  </a:cubicBezTo>
                  <a:cubicBezTo>
                    <a:pt x="72" y="49"/>
                    <a:pt x="71" y="49"/>
                    <a:pt x="71" y="50"/>
                  </a:cubicBezTo>
                  <a:cubicBezTo>
                    <a:pt x="71" y="50"/>
                    <a:pt x="71" y="49"/>
                    <a:pt x="71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lose/>
                  <a:moveTo>
                    <a:pt x="70" y="47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7"/>
                    <a:pt x="70" y="47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4" y="52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3" y="52"/>
                    <a:pt x="74" y="52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0"/>
                  </a:cubicBezTo>
                  <a:cubicBezTo>
                    <a:pt x="74" y="51"/>
                    <a:pt x="74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2" y="49"/>
                    <a:pt x="72" y="49"/>
                  </a:cubicBezTo>
                  <a:close/>
                  <a:moveTo>
                    <a:pt x="69" y="49"/>
                  </a:moveTo>
                  <a:cubicBezTo>
                    <a:pt x="68" y="50"/>
                    <a:pt x="68" y="51"/>
                    <a:pt x="67" y="53"/>
                  </a:cubicBezTo>
                  <a:cubicBezTo>
                    <a:pt x="67" y="52"/>
                    <a:pt x="67" y="51"/>
                    <a:pt x="68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2" y="53"/>
                  </a:moveTo>
                  <a:cubicBezTo>
                    <a:pt x="72" y="53"/>
                    <a:pt x="72" y="53"/>
                    <a:pt x="72" y="52"/>
                  </a:cubicBezTo>
                  <a:cubicBezTo>
                    <a:pt x="72" y="53"/>
                    <a:pt x="73" y="52"/>
                    <a:pt x="73" y="53"/>
                  </a:cubicBezTo>
                  <a:cubicBezTo>
                    <a:pt x="73" y="52"/>
                    <a:pt x="73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2"/>
                    <a:pt x="73" y="52"/>
                  </a:cubicBezTo>
                  <a:cubicBezTo>
                    <a:pt x="73" y="52"/>
                    <a:pt x="74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3"/>
                    <a:pt x="73" y="53"/>
                    <a:pt x="72" y="54"/>
                  </a:cubicBezTo>
                  <a:cubicBezTo>
                    <a:pt x="72" y="54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lose/>
                  <a:moveTo>
                    <a:pt x="66" y="49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8"/>
                  </a:cubicBezTo>
                  <a:cubicBezTo>
                    <a:pt x="67" y="48"/>
                    <a:pt x="67" y="49"/>
                    <a:pt x="67" y="49"/>
                  </a:cubicBezTo>
                  <a:close/>
                  <a:moveTo>
                    <a:pt x="69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8" y="54"/>
                  </a:cubicBezTo>
                  <a:cubicBezTo>
                    <a:pt x="68" y="54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7" y="55"/>
                  </a:cubicBezTo>
                  <a:cubicBezTo>
                    <a:pt x="67" y="55"/>
                    <a:pt x="67" y="54"/>
                    <a:pt x="67" y="54"/>
                  </a:cubicBezTo>
                  <a:cubicBezTo>
                    <a:pt x="68" y="53"/>
                    <a:pt x="68" y="53"/>
                    <a:pt x="68" y="52"/>
                  </a:cubicBezTo>
                  <a:cubicBezTo>
                    <a:pt x="69" y="52"/>
                    <a:pt x="68" y="52"/>
                    <a:pt x="69" y="52"/>
                  </a:cubicBezTo>
                  <a:close/>
                  <a:moveTo>
                    <a:pt x="67" y="56"/>
                  </a:move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7" y="56"/>
                    <a:pt x="67" y="56"/>
                  </a:cubicBezTo>
                  <a:close/>
                  <a:moveTo>
                    <a:pt x="6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6"/>
                    <a:pt x="65" y="56"/>
                  </a:cubicBezTo>
                  <a:cubicBezTo>
                    <a:pt x="66" y="56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lose/>
                  <a:moveTo>
                    <a:pt x="64" y="58"/>
                  </a:moveTo>
                  <a:cubicBezTo>
                    <a:pt x="63" y="59"/>
                    <a:pt x="63" y="60"/>
                    <a:pt x="62" y="60"/>
                  </a:cubicBezTo>
                  <a:cubicBezTo>
                    <a:pt x="63" y="60"/>
                    <a:pt x="62" y="60"/>
                    <a:pt x="62" y="60"/>
                  </a:cubicBezTo>
                  <a:cubicBezTo>
                    <a:pt x="62" y="60"/>
                    <a:pt x="63" y="60"/>
                    <a:pt x="63" y="59"/>
                  </a:cubicBezTo>
                  <a:cubicBezTo>
                    <a:pt x="63" y="58"/>
                    <a:pt x="64" y="57"/>
                    <a:pt x="64" y="56"/>
                  </a:cubicBezTo>
                  <a:cubicBezTo>
                    <a:pt x="64" y="57"/>
                    <a:pt x="63" y="57"/>
                    <a:pt x="64" y="58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59"/>
                    <a:pt x="64" y="59"/>
                  </a:cubicBezTo>
                  <a:cubicBezTo>
                    <a:pt x="64" y="59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8"/>
                    <a:pt x="64" y="59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1"/>
                  </a:cubicBezTo>
                  <a:cubicBezTo>
                    <a:pt x="65" y="61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4"/>
                    <a:pt x="70" y="64"/>
                  </a:cubicBezTo>
                  <a:cubicBezTo>
                    <a:pt x="70" y="64"/>
                    <a:pt x="70" y="65"/>
                    <a:pt x="70" y="66"/>
                  </a:cubicBezTo>
                  <a:cubicBezTo>
                    <a:pt x="69" y="65"/>
                    <a:pt x="70" y="65"/>
                    <a:pt x="70" y="65"/>
                  </a:cubicBezTo>
                  <a:cubicBezTo>
                    <a:pt x="70" y="65"/>
                    <a:pt x="70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68" y="65"/>
                  </a:moveTo>
                  <a:cubicBezTo>
                    <a:pt x="67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6" y="66"/>
                    <a:pt x="67" y="65"/>
                    <a:pt x="68" y="65"/>
                  </a:cubicBezTo>
                  <a:close/>
                  <a:moveTo>
                    <a:pt x="62" y="63"/>
                  </a:move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3" y="62"/>
                  </a:cubicBezTo>
                  <a:cubicBezTo>
                    <a:pt x="62" y="63"/>
                    <a:pt x="63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lose/>
                  <a:moveTo>
                    <a:pt x="65" y="71"/>
                  </a:moveTo>
                  <a:cubicBezTo>
                    <a:pt x="65" y="71"/>
                    <a:pt x="65" y="71"/>
                    <a:pt x="65" y="71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1"/>
                    <a:pt x="65" y="70"/>
                    <a:pt x="66" y="69"/>
                  </a:cubicBezTo>
                  <a:cubicBezTo>
                    <a:pt x="66" y="68"/>
                    <a:pt x="66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9"/>
                    <a:pt x="66" y="69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5" y="71"/>
                  </a:moveTo>
                  <a:cubicBezTo>
                    <a:pt x="64" y="71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8" y="69"/>
                  </a:move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8" y="69"/>
                  </a:cubicBezTo>
                  <a:cubicBezTo>
                    <a:pt x="68" y="69"/>
                    <a:pt x="67" y="69"/>
                    <a:pt x="68" y="69"/>
                  </a:cubicBezTo>
                  <a:close/>
                  <a:moveTo>
                    <a:pt x="68" y="69"/>
                  </a:moveTo>
                  <a:cubicBezTo>
                    <a:pt x="68" y="69"/>
                    <a:pt x="68" y="70"/>
                    <a:pt x="68" y="70"/>
                  </a:cubicBezTo>
                  <a:cubicBezTo>
                    <a:pt x="68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6" y="70"/>
                    <a:pt x="67" y="70"/>
                    <a:pt x="67" y="69"/>
                  </a:cubicBezTo>
                  <a:cubicBezTo>
                    <a:pt x="67" y="69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7" y="69"/>
                    <a:pt x="67" y="69"/>
                  </a:cubicBezTo>
                  <a:cubicBezTo>
                    <a:pt x="67" y="70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lose/>
                  <a:moveTo>
                    <a:pt x="66" y="71"/>
                  </a:moveTo>
                  <a:cubicBezTo>
                    <a:pt x="67" y="71"/>
                    <a:pt x="66" y="71"/>
                    <a:pt x="66" y="71"/>
                  </a:cubicBezTo>
                  <a:cubicBezTo>
                    <a:pt x="66" y="71"/>
                    <a:pt x="67" y="71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6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6" y="71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69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3" y="71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0"/>
                    <a:pt x="62" y="71"/>
                    <a:pt x="62" y="70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69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1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4" y="69"/>
                  </a:moveTo>
                  <a:cubicBezTo>
                    <a:pt x="64" y="69"/>
                    <a:pt x="64" y="70"/>
                    <a:pt x="64" y="70"/>
                  </a:cubicBezTo>
                  <a:cubicBezTo>
                    <a:pt x="64" y="70"/>
                    <a:pt x="64" y="69"/>
                    <a:pt x="64" y="69"/>
                  </a:cubicBezTo>
                  <a:close/>
                  <a:moveTo>
                    <a:pt x="62" y="71"/>
                  </a:moveTo>
                  <a:cubicBezTo>
                    <a:pt x="62" y="71"/>
                    <a:pt x="63" y="71"/>
                    <a:pt x="62" y="72"/>
                  </a:cubicBezTo>
                  <a:cubicBezTo>
                    <a:pt x="63" y="72"/>
                    <a:pt x="62" y="72"/>
                    <a:pt x="62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3" y="72"/>
                    <a:pt x="62" y="73"/>
                  </a:cubicBezTo>
                  <a:cubicBezTo>
                    <a:pt x="63" y="73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3"/>
                    <a:pt x="62" y="73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63" y="72"/>
                    <a:pt x="62" y="72"/>
                    <a:pt x="62" y="72"/>
                  </a:cubicBezTo>
                  <a:close/>
                  <a:moveTo>
                    <a:pt x="61" y="76"/>
                  </a:moveTo>
                  <a:cubicBezTo>
                    <a:pt x="62" y="76"/>
                    <a:pt x="62" y="75"/>
                    <a:pt x="62" y="75"/>
                  </a:cubicBezTo>
                  <a:cubicBezTo>
                    <a:pt x="62" y="75"/>
                    <a:pt x="62" y="74"/>
                    <a:pt x="62" y="74"/>
                  </a:cubicBezTo>
                  <a:cubicBezTo>
                    <a:pt x="62" y="74"/>
                    <a:pt x="62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4"/>
                    <a:pt x="64" y="73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4"/>
                    <a:pt x="64" y="74"/>
                    <a:pt x="63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2" y="77"/>
                    <a:pt x="62" y="77"/>
                    <a:pt x="62" y="78"/>
                  </a:cubicBezTo>
                  <a:cubicBezTo>
                    <a:pt x="62" y="78"/>
                    <a:pt x="63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8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6"/>
                    <a:pt x="63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6"/>
                    <a:pt x="63" y="77"/>
                    <a:pt x="64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8"/>
                    <a:pt x="62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2" y="78"/>
                    <a:pt x="62" y="79"/>
                  </a:cubicBezTo>
                  <a:cubicBezTo>
                    <a:pt x="63" y="79"/>
                    <a:pt x="62" y="79"/>
                    <a:pt x="62" y="79"/>
                  </a:cubicBezTo>
                  <a:cubicBezTo>
                    <a:pt x="62" y="80"/>
                    <a:pt x="62" y="79"/>
                    <a:pt x="62" y="79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3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80"/>
                    <a:pt x="63" y="80"/>
                  </a:cubicBezTo>
                  <a:cubicBezTo>
                    <a:pt x="62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2"/>
                    <a:pt x="61" y="82"/>
                    <a:pt x="60" y="82"/>
                  </a:cubicBezTo>
                  <a:cubicBezTo>
                    <a:pt x="60" y="82"/>
                    <a:pt x="60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1" y="81"/>
                    <a:pt x="60" y="81"/>
                    <a:pt x="61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3"/>
                  </a:cubicBezTo>
                  <a:cubicBezTo>
                    <a:pt x="60" y="83"/>
                    <a:pt x="60" y="82"/>
                    <a:pt x="60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3"/>
                    <a:pt x="60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9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9" y="83"/>
                  </a:cubicBezTo>
                  <a:cubicBezTo>
                    <a:pt x="59" y="83"/>
                    <a:pt x="58" y="83"/>
                    <a:pt x="58" y="84"/>
                  </a:cubicBezTo>
                  <a:cubicBezTo>
                    <a:pt x="59" y="84"/>
                    <a:pt x="59" y="83"/>
                    <a:pt x="59" y="8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8" y="83"/>
                    <a:pt x="58" y="83"/>
                  </a:cubicBezTo>
                  <a:cubicBezTo>
                    <a:pt x="58" y="83"/>
                    <a:pt x="59" y="82"/>
                    <a:pt x="59" y="82"/>
                  </a:cubicBezTo>
                  <a:cubicBezTo>
                    <a:pt x="59" y="82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81"/>
                    <a:pt x="60" y="81"/>
                    <a:pt x="60" y="81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79"/>
                  </a:cubicBezTo>
                  <a:cubicBezTo>
                    <a:pt x="60" y="80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0" y="79"/>
                    <a:pt x="60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1" y="79"/>
                  </a:cubicBezTo>
                  <a:cubicBezTo>
                    <a:pt x="61" y="79"/>
                    <a:pt x="60" y="79"/>
                    <a:pt x="61" y="79"/>
                  </a:cubicBezTo>
                  <a:cubicBezTo>
                    <a:pt x="61" y="79"/>
                    <a:pt x="61" y="78"/>
                    <a:pt x="61" y="79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0" y="78"/>
                  </a:cubicBezTo>
                  <a:cubicBezTo>
                    <a:pt x="60" y="79"/>
                    <a:pt x="61" y="78"/>
                    <a:pt x="61" y="79"/>
                  </a:cubicBezTo>
                  <a:cubicBezTo>
                    <a:pt x="61" y="79"/>
                    <a:pt x="60" y="78"/>
                    <a:pt x="60" y="79"/>
                  </a:cubicBezTo>
                  <a:cubicBezTo>
                    <a:pt x="60" y="79"/>
                    <a:pt x="60" y="79"/>
                    <a:pt x="60" y="78"/>
                  </a:cubicBezTo>
                  <a:cubicBezTo>
                    <a:pt x="60" y="78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80"/>
                    <a:pt x="59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9" y="80"/>
                    <a:pt x="60" y="78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7"/>
                    <a:pt x="59" y="77"/>
                    <a:pt x="59" y="78"/>
                  </a:cubicBezTo>
                  <a:cubicBezTo>
                    <a:pt x="59" y="78"/>
                    <a:pt x="58" y="79"/>
                    <a:pt x="59" y="78"/>
                  </a:cubicBezTo>
                  <a:cubicBezTo>
                    <a:pt x="59" y="78"/>
                    <a:pt x="58" y="78"/>
                    <a:pt x="58" y="78"/>
                  </a:cubicBezTo>
                  <a:cubicBezTo>
                    <a:pt x="58" y="79"/>
                    <a:pt x="59" y="78"/>
                    <a:pt x="59" y="78"/>
                  </a:cubicBezTo>
                  <a:cubicBezTo>
                    <a:pt x="59" y="78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6"/>
                    <a:pt x="60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59" y="75"/>
                    <a:pt x="59" y="75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59" y="75"/>
                    <a:pt x="59" y="76"/>
                    <a:pt x="59" y="76"/>
                  </a:cubicBezTo>
                  <a:cubicBezTo>
                    <a:pt x="59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7"/>
                  </a:cubicBez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3"/>
                    <a:pt x="59" y="74"/>
                    <a:pt x="59" y="73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60" y="73"/>
                  </a:cubicBezTo>
                  <a:cubicBezTo>
                    <a:pt x="60" y="74"/>
                    <a:pt x="60" y="73"/>
                    <a:pt x="60" y="73"/>
                  </a:cubicBezTo>
                  <a:cubicBezTo>
                    <a:pt x="60" y="73"/>
                    <a:pt x="60" y="73"/>
                    <a:pt x="60" y="74"/>
                  </a:cubicBezTo>
                  <a:cubicBezTo>
                    <a:pt x="60" y="74"/>
                    <a:pt x="60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2"/>
                    <a:pt x="61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2" y="74"/>
                    <a:pt x="61" y="74"/>
                  </a:cubicBezTo>
                  <a:cubicBezTo>
                    <a:pt x="62" y="74"/>
                    <a:pt x="62" y="73"/>
                    <a:pt x="62" y="73"/>
                  </a:cubicBezTo>
                  <a:cubicBezTo>
                    <a:pt x="62" y="73"/>
                    <a:pt x="62" y="73"/>
                    <a:pt x="62" y="74"/>
                  </a:cubicBezTo>
                  <a:cubicBezTo>
                    <a:pt x="62" y="73"/>
                    <a:pt x="61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4"/>
                    <a:pt x="62" y="74"/>
                  </a:cubicBezTo>
                  <a:cubicBezTo>
                    <a:pt x="62" y="74"/>
                    <a:pt x="62" y="74"/>
                    <a:pt x="61" y="75"/>
                  </a:cubicBezTo>
                  <a:cubicBezTo>
                    <a:pt x="61" y="74"/>
                    <a:pt x="61" y="74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1" y="76"/>
                    <a:pt x="61" y="76"/>
                  </a:cubicBezTo>
                  <a:cubicBezTo>
                    <a:pt x="61" y="76"/>
                    <a:pt x="62" y="76"/>
                    <a:pt x="61" y="76"/>
                  </a:cubicBezTo>
                  <a:close/>
                  <a:moveTo>
                    <a:pt x="58" y="74"/>
                  </a:moveTo>
                  <a:cubicBezTo>
                    <a:pt x="59" y="74"/>
                    <a:pt x="59" y="74"/>
                    <a:pt x="59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lose/>
                  <a:moveTo>
                    <a:pt x="59" y="74"/>
                  </a:moveTo>
                  <a:cubicBezTo>
                    <a:pt x="59" y="75"/>
                    <a:pt x="59" y="74"/>
                    <a:pt x="59" y="74"/>
                  </a:cubicBezTo>
                  <a:cubicBezTo>
                    <a:pt x="59" y="74"/>
                    <a:pt x="59" y="75"/>
                    <a:pt x="58" y="75"/>
                  </a:cubicBezTo>
                  <a:cubicBezTo>
                    <a:pt x="58" y="75"/>
                    <a:pt x="58" y="75"/>
                    <a:pt x="58" y="76"/>
                  </a:cubicBezTo>
                  <a:cubicBezTo>
                    <a:pt x="58" y="76"/>
                    <a:pt x="58" y="75"/>
                    <a:pt x="58" y="76"/>
                  </a:cubicBezTo>
                  <a:cubicBezTo>
                    <a:pt x="58" y="75"/>
                    <a:pt x="59" y="75"/>
                    <a:pt x="59" y="75"/>
                  </a:cubicBezTo>
                  <a:cubicBezTo>
                    <a:pt x="59" y="75"/>
                    <a:pt x="59" y="74"/>
                    <a:pt x="59" y="75"/>
                  </a:cubicBezTo>
                  <a:cubicBezTo>
                    <a:pt x="59" y="74"/>
                    <a:pt x="59" y="74"/>
                    <a:pt x="59" y="74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0" y="76"/>
                  </a:moveTo>
                  <a:cubicBezTo>
                    <a:pt x="61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6"/>
                  </a:cubicBezTo>
                  <a:close/>
                  <a:moveTo>
                    <a:pt x="59" y="82"/>
                  </a:moveTo>
                  <a:cubicBezTo>
                    <a:pt x="59" y="83"/>
                    <a:pt x="59" y="83"/>
                    <a:pt x="59" y="84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2"/>
                    <a:pt x="59" y="82"/>
                  </a:cubicBezTo>
                  <a:close/>
                  <a:moveTo>
                    <a:pt x="60" y="80"/>
                  </a:moveTo>
                  <a:cubicBezTo>
                    <a:pt x="60" y="80"/>
                    <a:pt x="60" y="80"/>
                    <a:pt x="60" y="80"/>
                  </a:cubicBezTo>
                  <a:cubicBezTo>
                    <a:pt x="61" y="80"/>
                    <a:pt x="61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0"/>
                    <a:pt x="60" y="80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3" y="77"/>
                  </a:moveTo>
                  <a:cubicBezTo>
                    <a:pt x="63" y="77"/>
                    <a:pt x="64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lose/>
                  <a:moveTo>
                    <a:pt x="61" y="81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lose/>
                  <a:moveTo>
                    <a:pt x="61" y="80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1"/>
                  </a:cubicBezTo>
                  <a:cubicBezTo>
                    <a:pt x="61" y="81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79"/>
                  </a:cubicBezTo>
                  <a:cubicBezTo>
                    <a:pt x="62" y="79"/>
                    <a:pt x="62" y="79"/>
                    <a:pt x="62" y="80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0"/>
                    <a:pt x="61" y="79"/>
                    <a:pt x="61" y="79"/>
                  </a:cubicBezTo>
                  <a:cubicBezTo>
                    <a:pt x="61" y="80"/>
                    <a:pt x="61" y="79"/>
                    <a:pt x="61" y="80"/>
                  </a:cubicBezTo>
                  <a:close/>
                  <a:moveTo>
                    <a:pt x="62" y="77"/>
                  </a:moveTo>
                  <a:cubicBezTo>
                    <a:pt x="62" y="77"/>
                    <a:pt x="63" y="76"/>
                    <a:pt x="63" y="76"/>
                  </a:cubicBezTo>
                  <a:cubicBezTo>
                    <a:pt x="62" y="76"/>
                    <a:pt x="62" y="77"/>
                    <a:pt x="62" y="77"/>
                  </a:cubicBezTo>
                  <a:close/>
                  <a:moveTo>
                    <a:pt x="60" y="78"/>
                  </a:move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lose/>
                  <a:moveTo>
                    <a:pt x="61" y="78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0" y="77"/>
                  </a:cubicBezTo>
                  <a:cubicBezTo>
                    <a:pt x="61" y="77"/>
                    <a:pt x="60" y="78"/>
                    <a:pt x="60" y="78"/>
                  </a:cubicBezTo>
                  <a:cubicBezTo>
                    <a:pt x="60" y="78"/>
                    <a:pt x="61" y="77"/>
                    <a:pt x="61" y="77"/>
                  </a:cubicBezTo>
                  <a:cubicBezTo>
                    <a:pt x="61" y="78"/>
                    <a:pt x="60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5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1" y="76"/>
                    <a:pt x="61" y="77"/>
                    <a:pt x="61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3" y="76"/>
                  </a:cubicBezTo>
                  <a:cubicBezTo>
                    <a:pt x="63" y="76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2" y="75"/>
                    <a:pt x="62" y="75"/>
                    <a:pt x="62" y="76"/>
                  </a:cubicBezTo>
                  <a:close/>
                  <a:moveTo>
                    <a:pt x="62" y="75"/>
                  </a:moveTo>
                  <a:cubicBezTo>
                    <a:pt x="62" y="76"/>
                    <a:pt x="63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6"/>
                    <a:pt x="61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81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8" y="82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lose/>
                  <a:moveTo>
                    <a:pt x="62" y="79"/>
                  </a:move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1" y="73"/>
                    <a:pt x="62" y="71"/>
                  </a:cubicBezTo>
                  <a:close/>
                  <a:moveTo>
                    <a:pt x="61" y="70"/>
                  </a:moveTo>
                  <a:cubicBezTo>
                    <a:pt x="61" y="71"/>
                    <a:pt x="60" y="71"/>
                    <a:pt x="60" y="71"/>
                  </a:cubicBezTo>
                  <a:cubicBezTo>
                    <a:pt x="60" y="71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1" y="70"/>
                  </a:cubicBezTo>
                  <a:close/>
                  <a:moveTo>
                    <a:pt x="61" y="72"/>
                  </a:move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0" y="72"/>
                    <a:pt x="61" y="72"/>
                  </a:cubicBezTo>
                  <a:close/>
                  <a:moveTo>
                    <a:pt x="55" y="70"/>
                  </a:moveTo>
                  <a:cubicBezTo>
                    <a:pt x="56" y="70"/>
                    <a:pt x="55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1"/>
                    <a:pt x="56" y="70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1"/>
                    <a:pt x="56" y="70"/>
                    <a:pt x="55" y="70"/>
                  </a:cubicBezTo>
                  <a:close/>
                  <a:moveTo>
                    <a:pt x="58" y="71"/>
                  </a:moveTo>
                  <a:cubicBezTo>
                    <a:pt x="58" y="72"/>
                    <a:pt x="58" y="72"/>
                    <a:pt x="58" y="73"/>
                  </a:cubicBezTo>
                  <a:cubicBezTo>
                    <a:pt x="58" y="73"/>
                    <a:pt x="58" y="72"/>
                    <a:pt x="58" y="72"/>
                  </a:cubicBezTo>
                  <a:cubicBezTo>
                    <a:pt x="58" y="72"/>
                    <a:pt x="58" y="73"/>
                    <a:pt x="58" y="73"/>
                  </a:cubicBezTo>
                  <a:cubicBezTo>
                    <a:pt x="58" y="73"/>
                    <a:pt x="58" y="73"/>
                    <a:pt x="57" y="73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7" y="74"/>
                    <a:pt x="58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6"/>
                    <a:pt x="56" y="75"/>
                    <a:pt x="56" y="75"/>
                  </a:cubicBezTo>
                  <a:cubicBezTo>
                    <a:pt x="56" y="75"/>
                    <a:pt x="57" y="74"/>
                    <a:pt x="56" y="74"/>
                  </a:cubicBezTo>
                  <a:cubicBezTo>
                    <a:pt x="56" y="74"/>
                    <a:pt x="56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5" y="76"/>
                    <a:pt x="55" y="76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6"/>
                    <a:pt x="56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5"/>
                    <a:pt x="56" y="75"/>
                    <a:pt x="56" y="75"/>
                  </a:cubicBezTo>
                  <a:cubicBezTo>
                    <a:pt x="56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6"/>
                  </a:cubicBezTo>
                  <a:cubicBezTo>
                    <a:pt x="55" y="75"/>
                    <a:pt x="55" y="76"/>
                    <a:pt x="55" y="76"/>
                  </a:cubicBezTo>
                  <a:cubicBezTo>
                    <a:pt x="55" y="76"/>
                    <a:pt x="55" y="76"/>
                    <a:pt x="55" y="75"/>
                  </a:cubicBezTo>
                  <a:cubicBezTo>
                    <a:pt x="55" y="76"/>
                    <a:pt x="55" y="75"/>
                    <a:pt x="54" y="76"/>
                  </a:cubicBezTo>
                  <a:cubicBezTo>
                    <a:pt x="55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2" y="77"/>
                  </a:cubicBezTo>
                  <a:cubicBezTo>
                    <a:pt x="52" y="77"/>
                    <a:pt x="52" y="77"/>
                    <a:pt x="53" y="77"/>
                  </a:cubicBezTo>
                  <a:cubicBezTo>
                    <a:pt x="52" y="77"/>
                    <a:pt x="52" y="77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7"/>
                    <a:pt x="52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4" y="75"/>
                    <a:pt x="54" y="75"/>
                    <a:pt x="54" y="76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5" y="75"/>
                    <a:pt x="54" y="75"/>
                    <a:pt x="55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5"/>
                    <a:pt x="55" y="75"/>
                  </a:cubicBezTo>
                  <a:cubicBezTo>
                    <a:pt x="55" y="75"/>
                    <a:pt x="55" y="74"/>
                    <a:pt x="55" y="74"/>
                  </a:cubicBezTo>
                  <a:cubicBezTo>
                    <a:pt x="55" y="74"/>
                    <a:pt x="56" y="74"/>
                    <a:pt x="55" y="74"/>
                  </a:cubicBezTo>
                  <a:cubicBezTo>
                    <a:pt x="56" y="74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4"/>
                  </a:cubicBezTo>
                  <a:cubicBezTo>
                    <a:pt x="56" y="74"/>
                    <a:pt x="56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8" y="72"/>
                    <a:pt x="58" y="72"/>
                  </a:cubicBezTo>
                  <a:cubicBezTo>
                    <a:pt x="58" y="72"/>
                    <a:pt x="58" y="72"/>
                    <a:pt x="58" y="71"/>
                  </a:cubicBezTo>
                  <a:close/>
                  <a:moveTo>
                    <a:pt x="55" y="75"/>
                  </a:moveTo>
                  <a:cubicBezTo>
                    <a:pt x="55" y="75"/>
                    <a:pt x="54" y="75"/>
                    <a:pt x="54" y="75"/>
                  </a:cubicBezTo>
                  <a:cubicBezTo>
                    <a:pt x="54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7" y="73"/>
                  </a:moveTo>
                  <a:cubicBezTo>
                    <a:pt x="57" y="73"/>
                    <a:pt x="56" y="74"/>
                    <a:pt x="57" y="74"/>
                  </a:cubicBezTo>
                  <a:cubicBezTo>
                    <a:pt x="57" y="74"/>
                    <a:pt x="57" y="74"/>
                    <a:pt x="57" y="73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3"/>
                    <a:pt x="57" y="73"/>
                  </a:cubicBezTo>
                  <a:cubicBezTo>
                    <a:pt x="57" y="73"/>
                    <a:pt x="57" y="74"/>
                    <a:pt x="57" y="74"/>
                  </a:cubicBezTo>
                  <a:close/>
                  <a:moveTo>
                    <a:pt x="61" y="73"/>
                  </a:moveTo>
                  <a:cubicBezTo>
                    <a:pt x="62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3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1"/>
                  </a:cubicBezTo>
                  <a:cubicBezTo>
                    <a:pt x="54" y="71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7" y="78"/>
                  </a:moveTo>
                  <a:cubicBezTo>
                    <a:pt x="58" y="78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8" y="77"/>
                    <a:pt x="58" y="78"/>
                  </a:cubicBezTo>
                  <a:cubicBezTo>
                    <a:pt x="58" y="77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7" y="78"/>
                    <a:pt x="58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8"/>
                  </a:cubicBezTo>
                  <a:close/>
                  <a:moveTo>
                    <a:pt x="59" y="79"/>
                  </a:move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8"/>
                    <a:pt x="59" y="78"/>
                  </a:cubicBezTo>
                  <a:cubicBezTo>
                    <a:pt x="60" y="78"/>
                    <a:pt x="59" y="79"/>
                    <a:pt x="59" y="79"/>
                  </a:cubicBezTo>
                  <a:close/>
                  <a:moveTo>
                    <a:pt x="40" y="115"/>
                  </a:moveTo>
                  <a:cubicBezTo>
                    <a:pt x="39" y="115"/>
                    <a:pt x="39" y="116"/>
                    <a:pt x="39" y="117"/>
                  </a:cubicBezTo>
                  <a:cubicBezTo>
                    <a:pt x="39" y="117"/>
                    <a:pt x="39" y="116"/>
                    <a:pt x="39" y="116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9"/>
                    <a:pt x="37" y="120"/>
                    <a:pt x="36" y="121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8"/>
                    <a:pt x="36" y="120"/>
                    <a:pt x="37" y="120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8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7" y="119"/>
                    <a:pt x="37" y="119"/>
                  </a:cubicBezTo>
                  <a:cubicBezTo>
                    <a:pt x="37" y="119"/>
                    <a:pt x="37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7" y="120"/>
                  </a:cubicBezTo>
                  <a:cubicBezTo>
                    <a:pt x="37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1"/>
                  </a:cubicBezTo>
                  <a:cubicBezTo>
                    <a:pt x="35" y="120"/>
                    <a:pt x="36" y="120"/>
                    <a:pt x="36" y="120"/>
                  </a:cubicBezTo>
                  <a:cubicBezTo>
                    <a:pt x="37" y="119"/>
                    <a:pt x="37" y="118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7" y="116"/>
                    <a:pt x="38" y="116"/>
                  </a:cubicBezTo>
                  <a:cubicBezTo>
                    <a:pt x="38" y="116"/>
                    <a:pt x="37" y="117"/>
                    <a:pt x="37" y="118"/>
                  </a:cubicBezTo>
                  <a:cubicBezTo>
                    <a:pt x="37" y="118"/>
                    <a:pt x="37" y="117"/>
                    <a:pt x="38" y="117"/>
                  </a:cubicBezTo>
                  <a:cubicBezTo>
                    <a:pt x="38" y="117"/>
                    <a:pt x="38" y="117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6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7" y="117"/>
                    <a:pt x="37" y="117"/>
                  </a:cubicBezTo>
                  <a:cubicBezTo>
                    <a:pt x="37" y="117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5"/>
                  </a:cubicBezTo>
                  <a:cubicBezTo>
                    <a:pt x="37" y="116"/>
                    <a:pt x="37" y="117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6" y="118"/>
                    <a:pt x="3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6" y="117"/>
                    <a:pt x="37" y="117"/>
                    <a:pt x="37" y="116"/>
                  </a:cubicBezTo>
                  <a:cubicBezTo>
                    <a:pt x="38" y="115"/>
                    <a:pt x="38" y="115"/>
                    <a:pt x="38" y="114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6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9" y="115"/>
                    <a:pt x="39" y="115"/>
                  </a:cubicBezTo>
                  <a:cubicBezTo>
                    <a:pt x="39" y="114"/>
                    <a:pt x="39" y="115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9" y="116"/>
                  </a:cubicBezTo>
                  <a:cubicBezTo>
                    <a:pt x="38" y="116"/>
                    <a:pt x="38" y="116"/>
                    <a:pt x="38" y="117"/>
                  </a:cubicBezTo>
                  <a:cubicBezTo>
                    <a:pt x="39" y="117"/>
                    <a:pt x="38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6"/>
                    <a:pt x="39" y="115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40" y="113"/>
                  </a:cubicBezTo>
                  <a:cubicBezTo>
                    <a:pt x="40" y="114"/>
                    <a:pt x="40" y="113"/>
                    <a:pt x="41" y="112"/>
                  </a:cubicBezTo>
                  <a:cubicBezTo>
                    <a:pt x="41" y="112"/>
                    <a:pt x="40" y="112"/>
                    <a:pt x="40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1" y="111"/>
                  </a:cubicBezTo>
                  <a:cubicBezTo>
                    <a:pt x="41" y="111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1"/>
                  </a:cubicBezTo>
                  <a:cubicBezTo>
                    <a:pt x="42" y="110"/>
                    <a:pt x="42" y="109"/>
                    <a:pt x="43" y="109"/>
                  </a:cubicBezTo>
                  <a:cubicBezTo>
                    <a:pt x="43" y="109"/>
                    <a:pt x="43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7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4" y="107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5" y="105"/>
                    <a:pt x="45" y="104"/>
                    <a:pt x="46" y="103"/>
                  </a:cubicBezTo>
                  <a:cubicBezTo>
                    <a:pt x="46" y="103"/>
                    <a:pt x="45" y="104"/>
                    <a:pt x="45" y="104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6" y="104"/>
                  </a:cubicBezTo>
                  <a:cubicBezTo>
                    <a:pt x="46" y="104"/>
                    <a:pt x="45" y="104"/>
                    <a:pt x="45" y="105"/>
                  </a:cubicBezTo>
                  <a:cubicBezTo>
                    <a:pt x="45" y="105"/>
                    <a:pt x="44" y="106"/>
                    <a:pt x="44" y="107"/>
                  </a:cubicBezTo>
                  <a:cubicBezTo>
                    <a:pt x="44" y="107"/>
                    <a:pt x="44" y="107"/>
                    <a:pt x="44" y="106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5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6" y="105"/>
                    <a:pt x="45" y="105"/>
                    <a:pt x="45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3"/>
                    <a:pt x="47" y="102"/>
                  </a:cubicBezTo>
                  <a:cubicBezTo>
                    <a:pt x="47" y="102"/>
                    <a:pt x="46" y="103"/>
                    <a:pt x="46" y="102"/>
                  </a:cubicBezTo>
                  <a:cubicBezTo>
                    <a:pt x="46" y="102"/>
                    <a:pt x="46" y="103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3"/>
                    <a:pt x="46" y="103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5" y="103"/>
                    <a:pt x="45" y="103"/>
                  </a:cubicBezTo>
                  <a:cubicBezTo>
                    <a:pt x="45" y="103"/>
                    <a:pt x="46" y="102"/>
                    <a:pt x="46" y="102"/>
                  </a:cubicBezTo>
                  <a:cubicBezTo>
                    <a:pt x="45" y="102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4" y="105"/>
                    <a:pt x="45" y="104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6"/>
                    <a:pt x="44" y="106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2" y="106"/>
                  </a:cubicBezTo>
                  <a:cubicBezTo>
                    <a:pt x="42" y="106"/>
                    <a:pt x="43" y="106"/>
                    <a:pt x="43" y="106"/>
                  </a:cubicBezTo>
                  <a:cubicBezTo>
                    <a:pt x="42" y="106"/>
                    <a:pt x="42" y="106"/>
                    <a:pt x="42" y="107"/>
                  </a:cubicBezTo>
                  <a:cubicBezTo>
                    <a:pt x="42" y="107"/>
                    <a:pt x="43" y="106"/>
                    <a:pt x="42" y="106"/>
                  </a:cubicBezTo>
                  <a:cubicBezTo>
                    <a:pt x="43" y="106"/>
                    <a:pt x="43" y="107"/>
                    <a:pt x="43" y="106"/>
                  </a:cubicBezTo>
                  <a:cubicBezTo>
                    <a:pt x="43" y="107"/>
                    <a:pt x="42" y="107"/>
                    <a:pt x="43" y="107"/>
                  </a:cubicBezTo>
                  <a:cubicBezTo>
                    <a:pt x="43" y="107"/>
                    <a:pt x="43" y="107"/>
                    <a:pt x="42" y="107"/>
                  </a:cubicBezTo>
                  <a:cubicBezTo>
                    <a:pt x="42" y="106"/>
                    <a:pt x="42" y="107"/>
                    <a:pt x="42" y="108"/>
                  </a:cubicBezTo>
                  <a:cubicBezTo>
                    <a:pt x="41" y="108"/>
                    <a:pt x="41" y="109"/>
                    <a:pt x="41" y="109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40" y="110"/>
                    <a:pt x="40" y="110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8"/>
                    <a:pt x="41" y="109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2" y="107"/>
                    <a:pt x="41" y="108"/>
                    <a:pt x="41" y="108"/>
                  </a:cubicBezTo>
                  <a:cubicBezTo>
                    <a:pt x="42" y="108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6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0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0" y="108"/>
                  </a:cubicBezTo>
                  <a:cubicBezTo>
                    <a:pt x="41" y="109"/>
                    <a:pt x="41" y="108"/>
                    <a:pt x="41" y="108"/>
                  </a:cubicBezTo>
                  <a:cubicBezTo>
                    <a:pt x="41" y="109"/>
                    <a:pt x="40" y="109"/>
                    <a:pt x="40" y="108"/>
                  </a:cubicBezTo>
                  <a:cubicBezTo>
                    <a:pt x="40" y="108"/>
                    <a:pt x="40" y="109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9"/>
                  </a:cubicBezTo>
                  <a:cubicBezTo>
                    <a:pt x="40" y="108"/>
                    <a:pt x="40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6"/>
                    <a:pt x="41" y="106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6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4"/>
                    <a:pt x="42" y="104"/>
                    <a:pt x="43" y="104"/>
                  </a:cubicBezTo>
                  <a:cubicBezTo>
                    <a:pt x="43" y="104"/>
                    <a:pt x="43" y="104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2"/>
                  </a:cubicBezTo>
                  <a:cubicBezTo>
                    <a:pt x="44" y="102"/>
                    <a:pt x="43" y="103"/>
                    <a:pt x="43" y="103"/>
                  </a:cubicBezTo>
                  <a:cubicBezTo>
                    <a:pt x="43" y="103"/>
                    <a:pt x="43" y="104"/>
                    <a:pt x="43" y="104"/>
                  </a:cubicBezTo>
                  <a:cubicBezTo>
                    <a:pt x="43" y="104"/>
                    <a:pt x="43" y="105"/>
                    <a:pt x="43" y="105"/>
                  </a:cubicBezTo>
                  <a:cubicBezTo>
                    <a:pt x="43" y="105"/>
                    <a:pt x="43" y="104"/>
                    <a:pt x="43" y="104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3"/>
                    <a:pt x="44" y="104"/>
                    <a:pt x="43" y="104"/>
                  </a:cubicBezTo>
                  <a:cubicBezTo>
                    <a:pt x="43" y="104"/>
                    <a:pt x="43" y="103"/>
                    <a:pt x="43" y="104"/>
                  </a:cubicBezTo>
                  <a:cubicBezTo>
                    <a:pt x="43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2"/>
                    <a:pt x="44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1"/>
                    <a:pt x="45" y="102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2"/>
                    <a:pt x="44" y="102"/>
                  </a:cubicBezTo>
                  <a:cubicBezTo>
                    <a:pt x="44" y="102"/>
                    <a:pt x="44" y="102"/>
                    <a:pt x="45" y="102"/>
                  </a:cubicBezTo>
                  <a:cubicBezTo>
                    <a:pt x="45" y="102"/>
                    <a:pt x="45" y="102"/>
                    <a:pt x="44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6" y="100"/>
                  </a:cubicBezTo>
                  <a:cubicBezTo>
                    <a:pt x="46" y="100"/>
                    <a:pt x="46" y="101"/>
                    <a:pt x="46" y="101"/>
                  </a:cubicBezTo>
                  <a:cubicBezTo>
                    <a:pt x="46" y="101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99"/>
                  </a:cubicBezTo>
                  <a:cubicBezTo>
                    <a:pt x="46" y="100"/>
                    <a:pt x="46" y="101"/>
                    <a:pt x="46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3"/>
                  </a:cubicBezTo>
                  <a:cubicBezTo>
                    <a:pt x="45" y="102"/>
                    <a:pt x="46" y="101"/>
                    <a:pt x="46" y="100"/>
                  </a:cubicBezTo>
                  <a:cubicBezTo>
                    <a:pt x="46" y="100"/>
                    <a:pt x="46" y="101"/>
                    <a:pt x="46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8"/>
                  </a:cubicBezTo>
                  <a:cubicBezTo>
                    <a:pt x="48" y="99"/>
                    <a:pt x="48" y="98"/>
                    <a:pt x="48" y="99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7"/>
                    <a:pt x="48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49" y="97"/>
                    <a:pt x="48" y="97"/>
                    <a:pt x="48" y="98"/>
                  </a:cubicBezTo>
                  <a:cubicBezTo>
                    <a:pt x="48" y="98"/>
                    <a:pt x="48" y="98"/>
                    <a:pt x="49" y="98"/>
                  </a:cubicBezTo>
                  <a:cubicBezTo>
                    <a:pt x="48" y="98"/>
                    <a:pt x="48" y="98"/>
                    <a:pt x="48" y="99"/>
                  </a:cubicBezTo>
                  <a:cubicBezTo>
                    <a:pt x="48" y="99"/>
                    <a:pt x="48" y="98"/>
                    <a:pt x="49" y="98"/>
                  </a:cubicBezTo>
                  <a:cubicBezTo>
                    <a:pt x="49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8" y="99"/>
                    <a:pt x="48" y="100"/>
                  </a:cubicBezTo>
                  <a:cubicBezTo>
                    <a:pt x="48" y="99"/>
                    <a:pt x="48" y="99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ubicBezTo>
                    <a:pt x="49" y="98"/>
                    <a:pt x="49" y="98"/>
                    <a:pt x="50" y="98"/>
                  </a:cubicBezTo>
                  <a:cubicBezTo>
                    <a:pt x="50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9"/>
                  </a:cubicBezTo>
                  <a:cubicBezTo>
                    <a:pt x="49" y="98"/>
                    <a:pt x="50" y="99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1" y="97"/>
                    <a:pt x="51" y="96"/>
                  </a:cubicBezTo>
                  <a:cubicBezTo>
                    <a:pt x="51" y="96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5"/>
                  </a:cubicBezTo>
                  <a:cubicBezTo>
                    <a:pt x="51" y="95"/>
                    <a:pt x="51" y="96"/>
                    <a:pt x="51" y="96"/>
                  </a:cubicBezTo>
                  <a:cubicBezTo>
                    <a:pt x="51" y="96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2" y="93"/>
                    <a:pt x="51" y="93"/>
                  </a:cubicBezTo>
                  <a:cubicBezTo>
                    <a:pt x="52" y="93"/>
                    <a:pt x="52" y="92"/>
                    <a:pt x="52" y="92"/>
                  </a:cubicBezTo>
                  <a:cubicBezTo>
                    <a:pt x="52" y="92"/>
                    <a:pt x="52" y="92"/>
                    <a:pt x="53" y="92"/>
                  </a:cubicBezTo>
                  <a:cubicBezTo>
                    <a:pt x="53" y="92"/>
                    <a:pt x="53" y="92"/>
                    <a:pt x="52" y="93"/>
                  </a:cubicBezTo>
                  <a:cubicBezTo>
                    <a:pt x="52" y="92"/>
                    <a:pt x="52" y="92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4"/>
                    <a:pt x="52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5"/>
                    <a:pt x="52" y="95"/>
                    <a:pt x="52" y="95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4"/>
                    <a:pt x="52" y="95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4"/>
                    <a:pt x="52" y="94"/>
                    <a:pt x="52" y="94"/>
                  </a:cubicBezTo>
                  <a:cubicBezTo>
                    <a:pt x="52" y="93"/>
                    <a:pt x="53" y="93"/>
                    <a:pt x="53" y="93"/>
                  </a:cubicBezTo>
                  <a:cubicBezTo>
                    <a:pt x="53" y="93"/>
                    <a:pt x="53" y="92"/>
                    <a:pt x="53" y="92"/>
                  </a:cubicBezTo>
                  <a:cubicBezTo>
                    <a:pt x="53" y="92"/>
                    <a:pt x="53" y="93"/>
                    <a:pt x="53" y="92"/>
                  </a:cubicBezTo>
                  <a:cubicBezTo>
                    <a:pt x="53" y="92"/>
                    <a:pt x="53" y="92"/>
                    <a:pt x="53" y="93"/>
                  </a:cubicBezTo>
                  <a:cubicBezTo>
                    <a:pt x="53" y="93"/>
                    <a:pt x="53" y="92"/>
                    <a:pt x="54" y="92"/>
                  </a:cubicBezTo>
                  <a:cubicBezTo>
                    <a:pt x="53" y="92"/>
                    <a:pt x="54" y="91"/>
                    <a:pt x="53" y="91"/>
                  </a:cubicBezTo>
                  <a:cubicBezTo>
                    <a:pt x="54" y="91"/>
                    <a:pt x="54" y="91"/>
                    <a:pt x="54" y="90"/>
                  </a:cubicBezTo>
                  <a:cubicBezTo>
                    <a:pt x="54" y="90"/>
                    <a:pt x="54" y="91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0"/>
                    <a:pt x="53" y="90"/>
                    <a:pt x="54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89"/>
                    <a:pt x="54" y="89"/>
                  </a:cubicBezTo>
                  <a:cubicBezTo>
                    <a:pt x="54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89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5" y="89"/>
                    <a:pt x="54" y="89"/>
                    <a:pt x="54" y="90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8"/>
                  </a:cubicBezTo>
                  <a:cubicBezTo>
                    <a:pt x="55" y="88"/>
                    <a:pt x="55" y="89"/>
                    <a:pt x="55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6" y="88"/>
                    <a:pt x="56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5" y="89"/>
                    <a:pt x="56" y="89"/>
                  </a:cubicBezTo>
                  <a:cubicBezTo>
                    <a:pt x="55" y="90"/>
                    <a:pt x="55" y="90"/>
                    <a:pt x="55" y="91"/>
                  </a:cubicBezTo>
                  <a:cubicBezTo>
                    <a:pt x="55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3" y="93"/>
                    <a:pt x="53" y="93"/>
                  </a:cubicBezTo>
                  <a:cubicBezTo>
                    <a:pt x="53" y="93"/>
                    <a:pt x="54" y="92"/>
                    <a:pt x="54" y="92"/>
                  </a:cubicBezTo>
                  <a:cubicBezTo>
                    <a:pt x="54" y="92"/>
                    <a:pt x="54" y="93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5" y="90"/>
                    <a:pt x="56" y="90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8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8"/>
                    <a:pt x="57" y="88"/>
                  </a:cubicBezTo>
                  <a:cubicBezTo>
                    <a:pt x="57" y="88"/>
                    <a:pt x="57" y="88"/>
                    <a:pt x="56" y="88"/>
                  </a:cubicBezTo>
                  <a:cubicBezTo>
                    <a:pt x="56" y="88"/>
                    <a:pt x="57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7"/>
                    <a:pt x="57" y="87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8" y="85"/>
                    <a:pt x="57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9" y="86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9" y="84"/>
                  </a:cubicBezTo>
                  <a:cubicBezTo>
                    <a:pt x="59" y="85"/>
                    <a:pt x="58" y="85"/>
                    <a:pt x="59" y="85"/>
                  </a:cubicBezTo>
                  <a:cubicBezTo>
                    <a:pt x="59" y="85"/>
                    <a:pt x="59" y="85"/>
                    <a:pt x="58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60" y="84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60" y="84"/>
                    <a:pt x="60" y="83"/>
                    <a:pt x="61" y="84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2"/>
                    <a:pt x="61" y="82"/>
                    <a:pt x="62" y="81"/>
                  </a:cubicBezTo>
                  <a:cubicBezTo>
                    <a:pt x="62" y="81"/>
                    <a:pt x="61" y="82"/>
                    <a:pt x="62" y="8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4"/>
                    <a:pt x="61" y="83"/>
                    <a:pt x="61" y="83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6"/>
                    <a:pt x="60" y="86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9"/>
                    <a:pt x="59" y="89"/>
                    <a:pt x="58" y="89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5" y="96"/>
                    <a:pt x="54" y="97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3" y="98"/>
                  </a:cubicBezTo>
                  <a:cubicBezTo>
                    <a:pt x="53" y="98"/>
                    <a:pt x="54" y="98"/>
                    <a:pt x="54" y="98"/>
                  </a:cubicBezTo>
                  <a:cubicBezTo>
                    <a:pt x="54" y="98"/>
                    <a:pt x="54" y="99"/>
                    <a:pt x="54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3" y="100"/>
                    <a:pt x="52" y="100"/>
                    <a:pt x="52" y="100"/>
                  </a:cubicBezTo>
                  <a:cubicBezTo>
                    <a:pt x="52" y="101"/>
                    <a:pt x="52" y="100"/>
                    <a:pt x="52" y="101"/>
                  </a:cubicBezTo>
                  <a:cubicBezTo>
                    <a:pt x="52" y="101"/>
                    <a:pt x="52" y="100"/>
                    <a:pt x="53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5"/>
                    <a:pt x="50" y="105"/>
                  </a:cubicBezTo>
                  <a:cubicBezTo>
                    <a:pt x="50" y="105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1" y="103"/>
                    <a:pt x="51" y="102"/>
                    <a:pt x="52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0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5" y="95"/>
                    <a:pt x="55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4"/>
                    <a:pt x="55" y="95"/>
                    <a:pt x="54" y="95"/>
                  </a:cubicBezTo>
                  <a:cubicBezTo>
                    <a:pt x="54" y="95"/>
                    <a:pt x="55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3" y="97"/>
                    <a:pt x="54" y="96"/>
                  </a:cubicBezTo>
                  <a:cubicBezTo>
                    <a:pt x="54" y="97"/>
                    <a:pt x="53" y="97"/>
                    <a:pt x="53" y="96"/>
                  </a:cubicBezTo>
                  <a:cubicBezTo>
                    <a:pt x="53" y="96"/>
                    <a:pt x="53" y="97"/>
                    <a:pt x="53" y="97"/>
                  </a:cubicBezTo>
                  <a:cubicBezTo>
                    <a:pt x="53" y="97"/>
                    <a:pt x="53" y="97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5"/>
                    <a:pt x="54" y="96"/>
                    <a:pt x="54" y="95"/>
                  </a:cubicBezTo>
                  <a:cubicBezTo>
                    <a:pt x="54" y="95"/>
                    <a:pt x="54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5"/>
                    <a:pt x="53" y="96"/>
                  </a:cubicBezTo>
                  <a:cubicBezTo>
                    <a:pt x="53" y="96"/>
                    <a:pt x="53" y="96"/>
                    <a:pt x="53" y="95"/>
                  </a:cubicBezTo>
                  <a:cubicBezTo>
                    <a:pt x="53" y="95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2" y="96"/>
                    <a:pt x="53" y="96"/>
                    <a:pt x="53" y="96"/>
                  </a:cubicBezTo>
                  <a:cubicBezTo>
                    <a:pt x="53" y="95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8"/>
                    <a:pt x="52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0" y="100"/>
                    <a:pt x="50" y="101"/>
                    <a:pt x="49" y="101"/>
                  </a:cubicBezTo>
                  <a:cubicBezTo>
                    <a:pt x="49" y="101"/>
                    <a:pt x="50" y="101"/>
                    <a:pt x="50" y="101"/>
                  </a:cubicBezTo>
                  <a:cubicBezTo>
                    <a:pt x="50" y="101"/>
                    <a:pt x="50" y="100"/>
                    <a:pt x="51" y="100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100"/>
                    <a:pt x="50" y="100"/>
                  </a:cubicBezTo>
                  <a:cubicBezTo>
                    <a:pt x="50" y="100"/>
                    <a:pt x="50" y="100"/>
                    <a:pt x="50" y="101"/>
                  </a:cubicBezTo>
                  <a:cubicBezTo>
                    <a:pt x="50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0" y="100"/>
                    <a:pt x="51" y="100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49" y="103"/>
                    <a:pt x="49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49" y="103"/>
                    <a:pt x="49" y="104"/>
                  </a:cubicBezTo>
                  <a:cubicBezTo>
                    <a:pt x="49" y="103"/>
                    <a:pt x="49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5"/>
                  </a:cubicBezTo>
                  <a:cubicBezTo>
                    <a:pt x="49" y="105"/>
                    <a:pt x="49" y="104"/>
                    <a:pt x="49" y="104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8" y="107"/>
                  </a:cubicBezTo>
                  <a:cubicBezTo>
                    <a:pt x="48" y="108"/>
                    <a:pt x="47" y="108"/>
                    <a:pt x="47" y="110"/>
                  </a:cubicBezTo>
                  <a:cubicBezTo>
                    <a:pt x="47" y="109"/>
                    <a:pt x="47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8" y="108"/>
                    <a:pt x="47" y="107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8"/>
                  </a:cubicBezTo>
                  <a:cubicBezTo>
                    <a:pt x="47" y="108"/>
                    <a:pt x="47" y="109"/>
                    <a:pt x="47" y="109"/>
                  </a:cubicBezTo>
                  <a:cubicBezTo>
                    <a:pt x="47" y="109"/>
                    <a:pt x="47" y="109"/>
                    <a:pt x="46" y="109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11"/>
                    <a:pt x="46" y="110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2"/>
                    <a:pt x="45" y="111"/>
                    <a:pt x="46" y="111"/>
                  </a:cubicBezTo>
                  <a:cubicBezTo>
                    <a:pt x="46" y="111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2"/>
                  </a:cubicBezTo>
                  <a:cubicBezTo>
                    <a:pt x="46" y="113"/>
                    <a:pt x="45" y="113"/>
                    <a:pt x="45" y="114"/>
                  </a:cubicBezTo>
                  <a:cubicBezTo>
                    <a:pt x="44" y="114"/>
                    <a:pt x="44" y="114"/>
                    <a:pt x="44" y="115"/>
                  </a:cubicBezTo>
                  <a:cubicBezTo>
                    <a:pt x="44" y="115"/>
                    <a:pt x="44" y="116"/>
                    <a:pt x="43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7"/>
                    <a:pt x="43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7"/>
                    <a:pt x="43" y="117"/>
                  </a:cubicBezTo>
                  <a:cubicBezTo>
                    <a:pt x="44" y="117"/>
                    <a:pt x="44" y="116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4"/>
                    <a:pt x="45" y="114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7" y="111"/>
                    <a:pt x="48" y="108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50" y="106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8" y="107"/>
                  </a:cubicBezTo>
                  <a:cubicBezTo>
                    <a:pt x="49" y="108"/>
                    <a:pt x="48" y="108"/>
                    <a:pt x="48" y="108"/>
                  </a:cubicBezTo>
                  <a:cubicBezTo>
                    <a:pt x="48" y="108"/>
                    <a:pt x="49" y="107"/>
                    <a:pt x="49" y="107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9"/>
                    <a:pt x="48" y="109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09"/>
                    <a:pt x="48" y="109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7" y="111"/>
                    <a:pt x="46" y="112"/>
                    <a:pt x="46" y="112"/>
                  </a:cubicBezTo>
                  <a:cubicBezTo>
                    <a:pt x="45" y="113"/>
                    <a:pt x="44" y="116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ubicBezTo>
                    <a:pt x="42" y="119"/>
                    <a:pt x="43" y="119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3" y="118"/>
                    <a:pt x="42" y="118"/>
                  </a:cubicBezTo>
                  <a:cubicBezTo>
                    <a:pt x="42" y="118"/>
                    <a:pt x="43" y="118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19"/>
                    <a:pt x="41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1"/>
                    <a:pt x="41" y="121"/>
                    <a:pt x="40" y="122"/>
                  </a:cubicBezTo>
                  <a:cubicBezTo>
                    <a:pt x="40" y="121"/>
                    <a:pt x="40" y="121"/>
                    <a:pt x="40" y="122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1"/>
                    <a:pt x="40" y="121"/>
                    <a:pt x="41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2"/>
                  </a:cubicBezTo>
                  <a:cubicBezTo>
                    <a:pt x="40" y="121"/>
                    <a:pt x="40" y="121"/>
                    <a:pt x="40" y="120"/>
                  </a:cubicBezTo>
                  <a:cubicBezTo>
                    <a:pt x="40" y="120"/>
                    <a:pt x="40" y="121"/>
                    <a:pt x="41" y="120"/>
                  </a:cubicBezTo>
                  <a:cubicBezTo>
                    <a:pt x="40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19"/>
                    <a:pt x="42" y="118"/>
                  </a:cubicBezTo>
                  <a:cubicBezTo>
                    <a:pt x="42" y="118"/>
                    <a:pt x="41" y="118"/>
                    <a:pt x="41" y="118"/>
                  </a:cubicBezTo>
                  <a:cubicBezTo>
                    <a:pt x="41" y="119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7"/>
                    <a:pt x="42" y="117"/>
                    <a:pt x="43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6"/>
                    <a:pt x="43" y="116"/>
                    <a:pt x="43" y="115"/>
                  </a:cubicBezTo>
                  <a:cubicBezTo>
                    <a:pt x="43" y="115"/>
                    <a:pt x="43" y="115"/>
                    <a:pt x="42" y="115"/>
                  </a:cubicBezTo>
                  <a:cubicBezTo>
                    <a:pt x="42" y="116"/>
                    <a:pt x="43" y="115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6"/>
                    <a:pt x="41" y="117"/>
                  </a:cubicBezTo>
                  <a:cubicBezTo>
                    <a:pt x="41" y="117"/>
                    <a:pt x="41" y="117"/>
                    <a:pt x="42" y="117"/>
                  </a:cubicBezTo>
                  <a:cubicBezTo>
                    <a:pt x="42" y="117"/>
                    <a:pt x="41" y="117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0" y="117"/>
                    <a:pt x="41" y="117"/>
                    <a:pt x="41" y="117"/>
                  </a:cubicBezTo>
                  <a:cubicBezTo>
                    <a:pt x="40" y="117"/>
                    <a:pt x="40" y="118"/>
                    <a:pt x="40" y="118"/>
                  </a:cubicBezTo>
                  <a:cubicBezTo>
                    <a:pt x="40" y="118"/>
                    <a:pt x="40" y="117"/>
                    <a:pt x="40" y="117"/>
                  </a:cubicBezTo>
                  <a:cubicBezTo>
                    <a:pt x="40" y="117"/>
                    <a:pt x="39" y="118"/>
                    <a:pt x="39" y="118"/>
                  </a:cubicBezTo>
                  <a:cubicBezTo>
                    <a:pt x="39" y="118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1" y="116"/>
                    <a:pt x="41" y="117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6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3" y="111"/>
                    <a:pt x="43" y="111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3" y="110"/>
                    <a:pt x="43" y="111"/>
                    <a:pt x="43" y="111"/>
                  </a:cubicBezTo>
                  <a:cubicBezTo>
                    <a:pt x="43" y="111"/>
                    <a:pt x="43" y="112"/>
                    <a:pt x="43" y="112"/>
                  </a:cubicBezTo>
                  <a:cubicBezTo>
                    <a:pt x="43" y="112"/>
                    <a:pt x="43" y="112"/>
                    <a:pt x="42" y="112"/>
                  </a:cubicBezTo>
                  <a:cubicBezTo>
                    <a:pt x="42" y="112"/>
                    <a:pt x="43" y="112"/>
                    <a:pt x="43" y="111"/>
                  </a:cubicBezTo>
                  <a:cubicBezTo>
                    <a:pt x="42" y="112"/>
                    <a:pt x="42" y="113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0" y="115"/>
                  </a:cubicBezTo>
                  <a:cubicBezTo>
                    <a:pt x="40" y="115"/>
                    <a:pt x="40" y="115"/>
                    <a:pt x="40" y="116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1" y="114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0" y="113"/>
                    <a:pt x="40" y="113"/>
                  </a:cubicBezTo>
                  <a:cubicBezTo>
                    <a:pt x="40" y="113"/>
                    <a:pt x="40" y="114"/>
                    <a:pt x="40" y="114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5"/>
                    <a:pt x="40" y="114"/>
                    <a:pt x="40" y="113"/>
                  </a:cubicBezTo>
                  <a:cubicBezTo>
                    <a:pt x="41" y="114"/>
                    <a:pt x="39" y="115"/>
                    <a:pt x="39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40" y="115"/>
                  </a:cubicBezTo>
                  <a:close/>
                  <a:moveTo>
                    <a:pt x="58" y="89"/>
                  </a:moveTo>
                  <a:cubicBezTo>
                    <a:pt x="58" y="90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3" y="100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lose/>
                  <a:moveTo>
                    <a:pt x="53" y="96"/>
                  </a:moveTo>
                  <a:cubicBezTo>
                    <a:pt x="53" y="95"/>
                    <a:pt x="53" y="95"/>
                    <a:pt x="53" y="95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lose/>
                  <a:moveTo>
                    <a:pt x="55" y="93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4" y="93"/>
                    <a:pt x="55" y="94"/>
                    <a:pt x="54" y="94"/>
                  </a:cubicBezTo>
                  <a:cubicBezTo>
                    <a:pt x="55" y="94"/>
                    <a:pt x="55" y="94"/>
                    <a:pt x="55" y="93"/>
                  </a:cubicBezTo>
                  <a:close/>
                  <a:moveTo>
                    <a:pt x="55" y="94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2"/>
                    <a:pt x="56" y="92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9" y="87"/>
                  </a:move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58" y="89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9"/>
                  </a:cubicBezTo>
                  <a:close/>
                  <a:moveTo>
                    <a:pt x="56" y="91"/>
                  </a:moveTo>
                  <a:cubicBezTo>
                    <a:pt x="56" y="92"/>
                    <a:pt x="56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6" y="93"/>
                    <a:pt x="56" y="93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7" y="91"/>
                    <a:pt x="57" y="90"/>
                    <a:pt x="58" y="89"/>
                  </a:cubicBezTo>
                  <a:cubicBezTo>
                    <a:pt x="57" y="90"/>
                    <a:pt x="57" y="91"/>
                    <a:pt x="56" y="92"/>
                  </a:cubicBezTo>
                  <a:cubicBezTo>
                    <a:pt x="56" y="91"/>
                    <a:pt x="56" y="92"/>
                    <a:pt x="56" y="91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6"/>
                    <a:pt x="59" y="87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8" y="87"/>
                    <a:pt x="58" y="87"/>
                  </a:cubicBezTo>
                  <a:cubicBezTo>
                    <a:pt x="58" y="87"/>
                    <a:pt x="59" y="86"/>
                    <a:pt x="59" y="86"/>
                  </a:cubicBezTo>
                  <a:close/>
                  <a:moveTo>
                    <a:pt x="56" y="90"/>
                  </a:moveTo>
                  <a:cubicBezTo>
                    <a:pt x="56" y="90"/>
                    <a:pt x="57" y="89"/>
                    <a:pt x="57" y="89"/>
                  </a:cubicBezTo>
                  <a:cubicBezTo>
                    <a:pt x="56" y="89"/>
                    <a:pt x="56" y="89"/>
                    <a:pt x="56" y="90"/>
                  </a:cubicBezTo>
                  <a:close/>
                  <a:moveTo>
                    <a:pt x="58" y="86"/>
                  </a:moveTo>
                  <a:cubicBezTo>
                    <a:pt x="58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6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8" y="86"/>
                    <a:pt x="58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6"/>
                    <a:pt x="57" y="86"/>
                  </a:cubicBezTo>
                  <a:close/>
                  <a:moveTo>
                    <a:pt x="57" y="87"/>
                  </a:move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6" y="88"/>
                  </a:cubicBezTo>
                  <a:cubicBezTo>
                    <a:pt x="57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7"/>
                  </a:cubicBezTo>
                  <a:close/>
                  <a:moveTo>
                    <a:pt x="57" y="87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lose/>
                  <a:moveTo>
                    <a:pt x="54" y="93"/>
                  </a:moveTo>
                  <a:cubicBezTo>
                    <a:pt x="53" y="94"/>
                    <a:pt x="53" y="94"/>
                    <a:pt x="53" y="95"/>
                  </a:cubicBezTo>
                  <a:cubicBezTo>
                    <a:pt x="53" y="95"/>
                    <a:pt x="53" y="95"/>
                    <a:pt x="54" y="9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2"/>
                    <a:pt x="55" y="92"/>
                  </a:cubicBezTo>
                  <a:cubicBezTo>
                    <a:pt x="55" y="92"/>
                    <a:pt x="56" y="92"/>
                    <a:pt x="55" y="92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3"/>
                    <a:pt x="55" y="93"/>
                  </a:cubicBezTo>
                  <a:cubicBezTo>
                    <a:pt x="55" y="92"/>
                    <a:pt x="55" y="92"/>
                    <a:pt x="56" y="92"/>
                  </a:cubicBezTo>
                  <a:cubicBezTo>
                    <a:pt x="55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5" y="91"/>
                  </a:cubicBezTo>
                  <a:cubicBezTo>
                    <a:pt x="55" y="91"/>
                    <a:pt x="56" y="91"/>
                    <a:pt x="56" y="91"/>
                  </a:cubicBezTo>
                  <a:cubicBezTo>
                    <a:pt x="56" y="91"/>
                    <a:pt x="55" y="91"/>
                    <a:pt x="55" y="92"/>
                  </a:cubicBezTo>
                  <a:cubicBezTo>
                    <a:pt x="55" y="92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5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54" y="93"/>
                  </a:move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42" y="106"/>
                  </a:moveTo>
                  <a:cubicBezTo>
                    <a:pt x="42" y="106"/>
                    <a:pt x="42" y="106"/>
                    <a:pt x="42" y="105"/>
                  </a:cubicBezTo>
                  <a:cubicBezTo>
                    <a:pt x="42" y="106"/>
                    <a:pt x="42" y="106"/>
                    <a:pt x="41" y="106"/>
                  </a:cubicBezTo>
                  <a:cubicBezTo>
                    <a:pt x="42" y="106"/>
                    <a:pt x="42" y="106"/>
                    <a:pt x="42" y="106"/>
                  </a:cubicBezTo>
                  <a:close/>
                  <a:moveTo>
                    <a:pt x="41" y="107"/>
                  </a:moveTo>
                  <a:cubicBezTo>
                    <a:pt x="41" y="107"/>
                    <a:pt x="41" y="108"/>
                    <a:pt x="41" y="108"/>
                  </a:cubicBezTo>
                  <a:cubicBezTo>
                    <a:pt x="41" y="108"/>
                    <a:pt x="41" y="107"/>
                    <a:pt x="41" y="107"/>
                  </a:cubicBezTo>
                  <a:close/>
                  <a:moveTo>
                    <a:pt x="42" y="105"/>
                  </a:move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42" y="105"/>
                    <a:pt x="43" y="105"/>
                    <a:pt x="42" y="105"/>
                  </a:cubicBezTo>
                  <a:close/>
                  <a:moveTo>
                    <a:pt x="42" y="105"/>
                  </a:moveTo>
                  <a:cubicBezTo>
                    <a:pt x="42" y="106"/>
                    <a:pt x="42" y="106"/>
                    <a:pt x="42" y="106"/>
                  </a:cubicBezTo>
                  <a:cubicBezTo>
                    <a:pt x="42" y="106"/>
                    <a:pt x="42" y="106"/>
                    <a:pt x="42" y="105"/>
                  </a:cubicBezTo>
                  <a:close/>
                  <a:moveTo>
                    <a:pt x="44" y="104"/>
                  </a:moveTo>
                  <a:cubicBezTo>
                    <a:pt x="44" y="104"/>
                    <a:pt x="44" y="103"/>
                    <a:pt x="44" y="104"/>
                  </a:cubicBezTo>
                  <a:cubicBezTo>
                    <a:pt x="44" y="104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3"/>
                    <a:pt x="45" y="103"/>
                    <a:pt x="45" y="103"/>
                  </a:cubicBezTo>
                  <a:cubicBezTo>
                    <a:pt x="45" y="103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4" y="105"/>
                    <a:pt x="44" y="104"/>
                    <a:pt x="44" y="104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lose/>
                  <a:moveTo>
                    <a:pt x="48" y="99"/>
                  </a:moveTo>
                  <a:cubicBezTo>
                    <a:pt x="48" y="99"/>
                    <a:pt x="47" y="100"/>
                    <a:pt x="48" y="100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6" y="101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0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2"/>
                    <a:pt x="46" y="102"/>
                  </a:cubicBezTo>
                  <a:cubicBezTo>
                    <a:pt x="47" y="102"/>
                    <a:pt x="47" y="102"/>
                    <a:pt x="47" y="101"/>
                  </a:cubicBezTo>
                  <a:cubicBezTo>
                    <a:pt x="47" y="101"/>
                    <a:pt x="47" y="102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0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100"/>
                    <a:pt x="47" y="101"/>
                    <a:pt x="47" y="101"/>
                  </a:cubicBezTo>
                  <a:close/>
                  <a:moveTo>
                    <a:pt x="41" y="114"/>
                  </a:move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0" y="114"/>
                    <a:pt x="41" y="115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42" y="111"/>
                  </a:moveTo>
                  <a:cubicBezTo>
                    <a:pt x="42" y="111"/>
                    <a:pt x="43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lose/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2" y="110"/>
                    <a:pt x="42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0"/>
                    <a:pt x="43" y="110"/>
                    <a:pt x="43" y="110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4" y="109"/>
                  </a:cubicBezTo>
                  <a:cubicBezTo>
                    <a:pt x="44" y="109"/>
                    <a:pt x="43" y="109"/>
                    <a:pt x="44" y="109"/>
                  </a:cubicBezTo>
                  <a:cubicBezTo>
                    <a:pt x="44" y="109"/>
                    <a:pt x="44" y="108"/>
                    <a:pt x="44" y="108"/>
                  </a:cubicBezTo>
                  <a:close/>
                  <a:moveTo>
                    <a:pt x="46" y="105"/>
                  </a:move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7" y="104"/>
                  </a:cubicBezTo>
                  <a:cubicBezTo>
                    <a:pt x="47" y="105"/>
                    <a:pt x="46" y="104"/>
                    <a:pt x="46" y="104"/>
                  </a:cubicBezTo>
                  <a:cubicBezTo>
                    <a:pt x="46" y="104"/>
                    <a:pt x="47" y="104"/>
                    <a:pt x="47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6" y="104"/>
                    <a:pt x="46" y="105"/>
                    <a:pt x="46" y="105"/>
                  </a:cubicBezTo>
                  <a:close/>
                  <a:moveTo>
                    <a:pt x="45" y="106"/>
                  </a:moveTo>
                  <a:cubicBezTo>
                    <a:pt x="45" y="106"/>
                    <a:pt x="46" y="105"/>
                    <a:pt x="46" y="105"/>
                  </a:cubicBezTo>
                  <a:cubicBezTo>
                    <a:pt x="46" y="106"/>
                    <a:pt x="45" y="106"/>
                    <a:pt x="45" y="106"/>
                  </a:cubicBezTo>
                  <a:close/>
                  <a:moveTo>
                    <a:pt x="45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4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3" y="110"/>
                  </a:cubicBezTo>
                  <a:cubicBezTo>
                    <a:pt x="43" y="110"/>
                    <a:pt x="44" y="110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10"/>
                    <a:pt x="44" y="110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3" y="110"/>
                    <a:pt x="43" y="110"/>
                  </a:cubicBezTo>
                  <a:cubicBezTo>
                    <a:pt x="43" y="110"/>
                    <a:pt x="44" y="110"/>
                    <a:pt x="44" y="110"/>
                  </a:cubicBezTo>
                  <a:close/>
                  <a:moveTo>
                    <a:pt x="45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5" y="108"/>
                  </a:cubicBezTo>
                  <a:close/>
                  <a:moveTo>
                    <a:pt x="44" y="109"/>
                  </a:move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lose/>
                  <a:moveTo>
                    <a:pt x="45" y="107"/>
                  </a:moveTo>
                  <a:cubicBezTo>
                    <a:pt x="45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6"/>
                    <a:pt x="46" y="106"/>
                  </a:cubicBezTo>
                  <a:cubicBezTo>
                    <a:pt x="46" y="106"/>
                    <a:pt x="45" y="107"/>
                    <a:pt x="45" y="107"/>
                  </a:cubicBezTo>
                  <a:cubicBezTo>
                    <a:pt x="45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4" y="107"/>
                    <a:pt x="44" y="108"/>
                  </a:cubicBezTo>
                  <a:cubicBezTo>
                    <a:pt x="44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6" y="105"/>
                  </a:move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6" y="105"/>
                    <a:pt x="47" y="104"/>
                    <a:pt x="47" y="104"/>
                  </a:cubicBezTo>
                  <a:cubicBezTo>
                    <a:pt x="47" y="104"/>
                    <a:pt x="47" y="105"/>
                    <a:pt x="47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lose/>
                  <a:moveTo>
                    <a:pt x="48" y="103"/>
                  </a:moveTo>
                  <a:cubicBezTo>
                    <a:pt x="47" y="103"/>
                    <a:pt x="47" y="104"/>
                    <a:pt x="47" y="104"/>
                  </a:cubicBezTo>
                  <a:cubicBezTo>
                    <a:pt x="48" y="103"/>
                    <a:pt x="48" y="103"/>
                    <a:pt x="48" y="103"/>
                  </a:cubicBezTo>
                  <a:close/>
                  <a:moveTo>
                    <a:pt x="48" y="102"/>
                  </a:move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1"/>
                    <a:pt x="48" y="101"/>
                  </a:cubicBezTo>
                  <a:cubicBezTo>
                    <a:pt x="48" y="102"/>
                    <a:pt x="48" y="102"/>
                    <a:pt x="48" y="102"/>
                  </a:cubicBezTo>
                  <a:close/>
                  <a:moveTo>
                    <a:pt x="49" y="101"/>
                  </a:moveTo>
                  <a:cubicBezTo>
                    <a:pt x="49" y="101"/>
                    <a:pt x="49" y="100"/>
                    <a:pt x="49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0"/>
                    <a:pt x="49" y="101"/>
                    <a:pt x="49" y="101"/>
                  </a:cubicBezTo>
                  <a:close/>
                  <a:moveTo>
                    <a:pt x="45" y="109"/>
                  </a:moveTo>
                  <a:cubicBezTo>
                    <a:pt x="45" y="109"/>
                    <a:pt x="46" y="108"/>
                    <a:pt x="46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4" y="109"/>
                    <a:pt x="44" y="109"/>
                  </a:cubicBezTo>
                  <a:cubicBezTo>
                    <a:pt x="45" y="109"/>
                    <a:pt x="45" y="108"/>
                    <a:pt x="45" y="109"/>
                  </a:cubicBezTo>
                  <a:close/>
                  <a:moveTo>
                    <a:pt x="46" y="106"/>
                  </a:moveTo>
                  <a:cubicBezTo>
                    <a:pt x="46" y="106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6" y="107"/>
                    <a:pt x="46" y="107"/>
                  </a:cubicBezTo>
                  <a:cubicBezTo>
                    <a:pt x="46" y="107"/>
                    <a:pt x="47" y="107"/>
                    <a:pt x="47" y="107"/>
                  </a:cubicBezTo>
                  <a:cubicBezTo>
                    <a:pt x="47" y="107"/>
                    <a:pt x="46" y="107"/>
                    <a:pt x="46" y="107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lose/>
                  <a:moveTo>
                    <a:pt x="44" y="112"/>
                  </a:moveTo>
                  <a:cubicBezTo>
                    <a:pt x="43" y="112"/>
                    <a:pt x="44" y="113"/>
                    <a:pt x="43" y="113"/>
                  </a:cubicBezTo>
                  <a:cubicBezTo>
                    <a:pt x="43" y="113"/>
                    <a:pt x="44" y="113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lose/>
                  <a:moveTo>
                    <a:pt x="43" y="112"/>
                  </a:moveTo>
                  <a:cubicBezTo>
                    <a:pt x="43" y="112"/>
                    <a:pt x="43" y="112"/>
                    <a:pt x="43" y="112"/>
                  </a:cubicBezTo>
                  <a:cubicBezTo>
                    <a:pt x="43" y="112"/>
                    <a:pt x="43" y="112"/>
                    <a:pt x="43" y="112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5"/>
                  </a:cubicBezTo>
                  <a:cubicBezTo>
                    <a:pt x="42" y="115"/>
                    <a:pt x="42" y="114"/>
                    <a:pt x="42" y="114"/>
                  </a:cubicBezTo>
                  <a:close/>
                  <a:moveTo>
                    <a:pt x="41" y="116"/>
                  </a:moveTo>
                  <a:cubicBezTo>
                    <a:pt x="41" y="116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1" y="115"/>
                    <a:pt x="42" y="115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1" y="117"/>
                  </a:move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4"/>
                    <a:pt x="43" y="114"/>
                  </a:cubicBezTo>
                  <a:cubicBezTo>
                    <a:pt x="43" y="114"/>
                    <a:pt x="42" y="114"/>
                    <a:pt x="42" y="114"/>
                  </a:cubicBezTo>
                  <a:cubicBezTo>
                    <a:pt x="43" y="114"/>
                    <a:pt x="43" y="113"/>
                    <a:pt x="43" y="113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4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6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6"/>
                    <a:pt x="43" y="115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1" y="119"/>
                    <a:pt x="41" y="119"/>
                  </a:cubicBezTo>
                  <a:cubicBezTo>
                    <a:pt x="42" y="118"/>
                    <a:pt x="42" y="119"/>
                    <a:pt x="42" y="118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7"/>
                    <a:pt x="42" y="117"/>
                  </a:cubicBezTo>
                  <a:cubicBezTo>
                    <a:pt x="42" y="117"/>
                    <a:pt x="42" y="118"/>
                    <a:pt x="42" y="118"/>
                  </a:cubicBezTo>
                  <a:close/>
                  <a:moveTo>
                    <a:pt x="43" y="117"/>
                  </a:moveTo>
                  <a:cubicBezTo>
                    <a:pt x="43" y="117"/>
                    <a:pt x="42" y="117"/>
                    <a:pt x="42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3" y="117"/>
                    <a:pt x="43" y="117"/>
                  </a:cubicBezTo>
                  <a:cubicBezTo>
                    <a:pt x="43" y="117"/>
                    <a:pt x="43" y="117"/>
                    <a:pt x="42" y="117"/>
                  </a:cubicBezTo>
                  <a:cubicBezTo>
                    <a:pt x="43" y="117"/>
                    <a:pt x="43" y="117"/>
                    <a:pt x="43" y="117"/>
                  </a:cubicBezTo>
                  <a:close/>
                  <a:moveTo>
                    <a:pt x="44" y="114"/>
                  </a:moveTo>
                  <a:cubicBezTo>
                    <a:pt x="44" y="114"/>
                    <a:pt x="44" y="114"/>
                    <a:pt x="43" y="115"/>
                  </a:cubicBezTo>
                  <a:cubicBezTo>
                    <a:pt x="44" y="115"/>
                    <a:pt x="44" y="114"/>
                    <a:pt x="44" y="114"/>
                  </a:cubicBezTo>
                  <a:cubicBezTo>
                    <a:pt x="44" y="114"/>
                    <a:pt x="44" y="114"/>
                    <a:pt x="44" y="114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3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3" y="113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5"/>
                  </a:cubicBezTo>
                  <a:cubicBezTo>
                    <a:pt x="43" y="114"/>
                    <a:pt x="44" y="114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1"/>
                  </a:moveTo>
                  <a:cubicBezTo>
                    <a:pt x="45" y="111"/>
                    <a:pt x="44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2"/>
                    <a:pt x="44" y="112"/>
                  </a:cubicBezTo>
                  <a:cubicBezTo>
                    <a:pt x="44" y="112"/>
                    <a:pt x="44" y="111"/>
                    <a:pt x="45" y="111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1"/>
                    <a:pt x="45" y="111"/>
                    <a:pt x="45" y="111"/>
                  </a:cubicBezTo>
                  <a:close/>
                  <a:moveTo>
                    <a:pt x="45" y="110"/>
                  </a:moveTo>
                  <a:cubicBezTo>
                    <a:pt x="45" y="110"/>
                    <a:pt x="45" y="110"/>
                    <a:pt x="45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6" y="110"/>
                  </a:moveTo>
                  <a:cubicBezTo>
                    <a:pt x="45" y="111"/>
                    <a:pt x="45" y="110"/>
                    <a:pt x="45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0"/>
                    <a:pt x="46" y="110"/>
                    <a:pt x="46" y="110"/>
                  </a:cubicBezTo>
                  <a:close/>
                  <a:moveTo>
                    <a:pt x="47" y="107"/>
                  </a:move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7" y="107"/>
                    <a:pt x="47" y="107"/>
                  </a:cubicBezTo>
                  <a:close/>
                  <a:moveTo>
                    <a:pt x="48" y="107"/>
                  </a:move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6"/>
                  </a:cubicBezTo>
                  <a:cubicBezTo>
                    <a:pt x="47" y="107"/>
                    <a:pt x="48" y="106"/>
                    <a:pt x="48" y="106"/>
                  </a:cubicBezTo>
                  <a:cubicBezTo>
                    <a:pt x="48" y="106"/>
                    <a:pt x="47" y="106"/>
                    <a:pt x="47" y="107"/>
                  </a:cubicBezTo>
                  <a:cubicBezTo>
                    <a:pt x="48" y="106"/>
                    <a:pt x="47" y="107"/>
                    <a:pt x="48" y="107"/>
                  </a:cubicBezTo>
                  <a:close/>
                  <a:moveTo>
                    <a:pt x="48" y="105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7"/>
                  </a:cubicBezTo>
                  <a:cubicBezTo>
                    <a:pt x="48" y="107"/>
                    <a:pt x="48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8" y="107"/>
                    <a:pt x="48" y="107"/>
                  </a:cubicBezTo>
                  <a:cubicBezTo>
                    <a:pt x="47" y="107"/>
                    <a:pt x="48" y="107"/>
                    <a:pt x="48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7"/>
                    <a:pt x="48" y="107"/>
                  </a:cubicBezTo>
                  <a:cubicBezTo>
                    <a:pt x="48" y="106"/>
                    <a:pt x="49" y="106"/>
                    <a:pt x="48" y="105"/>
                  </a:cubicBezTo>
                  <a:close/>
                  <a:moveTo>
                    <a:pt x="48" y="106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lose/>
                  <a:moveTo>
                    <a:pt x="48" y="106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6"/>
                  </a:cubicBezTo>
                  <a:close/>
                  <a:moveTo>
                    <a:pt x="48" y="105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8" y="105"/>
                    <a:pt x="48" y="104"/>
                    <a:pt x="48" y="104"/>
                  </a:cubicBezTo>
                  <a:cubicBezTo>
                    <a:pt x="48" y="103"/>
                    <a:pt x="48" y="104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7" y="104"/>
                  </a:cubicBezTo>
                  <a:cubicBezTo>
                    <a:pt x="47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7" y="105"/>
                    <a:pt x="48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7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7" y="107"/>
                    <a:pt x="47" y="107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8" y="105"/>
                    <a:pt x="48" y="105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9" y="104"/>
                    <a:pt x="49" y="104"/>
                  </a:cubicBezTo>
                  <a:cubicBezTo>
                    <a:pt x="49" y="104"/>
                    <a:pt x="49" y="103"/>
                    <a:pt x="49" y="103"/>
                  </a:cubicBezTo>
                  <a:cubicBezTo>
                    <a:pt x="48" y="104"/>
                    <a:pt x="48" y="104"/>
                    <a:pt x="48" y="105"/>
                  </a:cubicBezTo>
                  <a:close/>
                  <a:moveTo>
                    <a:pt x="50" y="99"/>
                  </a:move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49" y="100"/>
                    <a:pt x="50" y="100"/>
                  </a:cubicBezTo>
                  <a:cubicBezTo>
                    <a:pt x="50" y="99"/>
                    <a:pt x="50" y="99"/>
                    <a:pt x="50" y="99"/>
                  </a:cubicBezTo>
                  <a:close/>
                  <a:moveTo>
                    <a:pt x="49" y="101"/>
                  </a:moveTo>
                  <a:cubicBezTo>
                    <a:pt x="49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49" y="101"/>
                    <a:pt x="49" y="101"/>
                  </a:cubicBezTo>
                  <a:close/>
                  <a:moveTo>
                    <a:pt x="49" y="103"/>
                  </a:moveTo>
                  <a:cubicBezTo>
                    <a:pt x="49" y="102"/>
                    <a:pt x="49" y="102"/>
                    <a:pt x="49" y="101"/>
                  </a:cubicBezTo>
                  <a:cubicBezTo>
                    <a:pt x="49" y="102"/>
                    <a:pt x="49" y="101"/>
                    <a:pt x="49" y="102"/>
                  </a:cubicBezTo>
                  <a:cubicBezTo>
                    <a:pt x="49" y="102"/>
                    <a:pt x="49" y="102"/>
                    <a:pt x="49" y="103"/>
                  </a:cubicBezTo>
                  <a:close/>
                  <a:moveTo>
                    <a:pt x="50" y="101"/>
                  </a:moveTo>
                  <a:cubicBezTo>
                    <a:pt x="50" y="100"/>
                    <a:pt x="50" y="99"/>
                    <a:pt x="51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49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lose/>
                  <a:moveTo>
                    <a:pt x="51" y="99"/>
                  </a:moveTo>
                  <a:cubicBezTo>
                    <a:pt x="51" y="99"/>
                    <a:pt x="51" y="98"/>
                    <a:pt x="51" y="98"/>
                  </a:cubicBezTo>
                  <a:cubicBezTo>
                    <a:pt x="51" y="98"/>
                    <a:pt x="51" y="98"/>
                    <a:pt x="51" y="99"/>
                  </a:cubicBezTo>
                  <a:close/>
                  <a:moveTo>
                    <a:pt x="53" y="94"/>
                  </a:move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3" y="93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4" y="90"/>
                    <a:pt x="55" y="90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5" y="91"/>
                    <a:pt x="54" y="91"/>
                    <a:pt x="55" y="90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4"/>
                    <a:pt x="53" y="94"/>
                  </a:cubicBezTo>
                  <a:cubicBezTo>
                    <a:pt x="53" y="94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4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5" y="90"/>
                  </a:move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2" y="95"/>
                  </a:moveTo>
                  <a:cubicBezTo>
                    <a:pt x="52" y="95"/>
                    <a:pt x="52" y="94"/>
                    <a:pt x="52" y="94"/>
                  </a:cubicBezTo>
                  <a:cubicBezTo>
                    <a:pt x="52" y="94"/>
                    <a:pt x="52" y="95"/>
                    <a:pt x="52" y="95"/>
                  </a:cubicBezTo>
                  <a:close/>
                  <a:moveTo>
                    <a:pt x="50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50" y="99"/>
                    <a:pt x="50" y="99"/>
                    <a:pt x="50" y="98"/>
                  </a:cubicBezTo>
                  <a:cubicBezTo>
                    <a:pt x="50" y="98"/>
                    <a:pt x="50" y="99"/>
                    <a:pt x="50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1" y="98"/>
                    <a:pt x="51" y="98"/>
                    <a:pt x="51" y="97"/>
                  </a:cubicBezTo>
                  <a:cubicBezTo>
                    <a:pt x="51" y="97"/>
                    <a:pt x="51" y="98"/>
                    <a:pt x="51" y="97"/>
                  </a:cubicBezTo>
                  <a:cubicBezTo>
                    <a:pt x="51" y="97"/>
                    <a:pt x="51" y="97"/>
                    <a:pt x="51" y="96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0" y="97"/>
                    <a:pt x="50" y="98"/>
                  </a:cubicBezTo>
                  <a:close/>
                  <a:moveTo>
                    <a:pt x="49" y="100"/>
                  </a:moveTo>
                  <a:cubicBezTo>
                    <a:pt x="49" y="100"/>
                    <a:pt x="49" y="100"/>
                    <a:pt x="49" y="100"/>
                  </a:cubicBezTo>
                  <a:cubicBezTo>
                    <a:pt x="49" y="99"/>
                    <a:pt x="50" y="99"/>
                    <a:pt x="50" y="99"/>
                  </a:cubicBezTo>
                  <a:cubicBezTo>
                    <a:pt x="49" y="99"/>
                    <a:pt x="49" y="99"/>
                    <a:pt x="49" y="100"/>
                  </a:cubicBezTo>
                  <a:cubicBezTo>
                    <a:pt x="49" y="100"/>
                    <a:pt x="49" y="99"/>
                    <a:pt x="49" y="99"/>
                  </a:cubicBezTo>
                  <a:lnTo>
                    <a:pt x="49" y="100"/>
                  </a:lnTo>
                  <a:close/>
                  <a:moveTo>
                    <a:pt x="48" y="101"/>
                  </a:moveTo>
                  <a:cubicBezTo>
                    <a:pt x="49" y="101"/>
                    <a:pt x="49" y="101"/>
                    <a:pt x="49" y="101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1"/>
                    <a:pt x="48" y="101"/>
                    <a:pt x="48" y="101"/>
                  </a:cubicBezTo>
                  <a:close/>
                  <a:moveTo>
                    <a:pt x="47" y="104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lose/>
                  <a:moveTo>
                    <a:pt x="47" y="103"/>
                  </a:move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2"/>
                    <a:pt x="47" y="102"/>
                  </a:cubicBezTo>
                  <a:cubicBezTo>
                    <a:pt x="47" y="103"/>
                    <a:pt x="47" y="103"/>
                    <a:pt x="46" y="103"/>
                  </a:cubicBezTo>
                  <a:cubicBezTo>
                    <a:pt x="46" y="104"/>
                    <a:pt x="46" y="104"/>
                    <a:pt x="47" y="104"/>
                  </a:cubicBezTo>
                  <a:cubicBezTo>
                    <a:pt x="47" y="104"/>
                    <a:pt x="47" y="104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lose/>
                  <a:moveTo>
                    <a:pt x="49" y="99"/>
                  </a:move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8" y="101"/>
                  </a:move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8" y="101"/>
                    <a:pt x="48" y="101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5" y="106"/>
                  </a:move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3" y="108"/>
                    <a:pt x="44" y="108"/>
                    <a:pt x="44" y="108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4" y="108"/>
                    <a:pt x="43" y="108"/>
                  </a:cubicBezTo>
                  <a:cubicBezTo>
                    <a:pt x="43" y="109"/>
                    <a:pt x="43" y="109"/>
                    <a:pt x="43" y="108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10"/>
                    <a:pt x="43" y="110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7"/>
                    <a:pt x="44" y="107"/>
                  </a:cubicBezTo>
                  <a:cubicBezTo>
                    <a:pt x="44" y="107"/>
                    <a:pt x="43" y="108"/>
                    <a:pt x="44" y="108"/>
                  </a:cubicBezTo>
                  <a:close/>
                  <a:moveTo>
                    <a:pt x="41" y="113"/>
                  </a:move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4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2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2" y="112"/>
                    <a:pt x="42" y="112"/>
                    <a:pt x="42" y="111"/>
                  </a:cubicBezTo>
                  <a:cubicBezTo>
                    <a:pt x="42" y="111"/>
                    <a:pt x="42" y="112"/>
                    <a:pt x="42" y="111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1" y="112"/>
                    <a:pt x="41" y="113"/>
                  </a:cubicBezTo>
                  <a:cubicBezTo>
                    <a:pt x="41" y="112"/>
                    <a:pt x="41" y="113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lose/>
                  <a:moveTo>
                    <a:pt x="38" y="117"/>
                  </a:moveTo>
                  <a:cubicBezTo>
                    <a:pt x="38" y="117"/>
                    <a:pt x="38" y="117"/>
                    <a:pt x="38" y="117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6"/>
                    <a:pt x="38" y="117"/>
                  </a:cubicBezTo>
                  <a:close/>
                  <a:moveTo>
                    <a:pt x="47" y="99"/>
                  </a:moveTo>
                  <a:cubicBezTo>
                    <a:pt x="47" y="98"/>
                    <a:pt x="48" y="98"/>
                    <a:pt x="48" y="98"/>
                  </a:cubicBezTo>
                  <a:cubicBezTo>
                    <a:pt x="48" y="98"/>
                    <a:pt x="47" y="99"/>
                    <a:pt x="47" y="99"/>
                  </a:cubicBezTo>
                  <a:close/>
                  <a:moveTo>
                    <a:pt x="56" y="79"/>
                  </a:moveTo>
                  <a:cubicBezTo>
                    <a:pt x="56" y="79"/>
                    <a:pt x="55" y="80"/>
                    <a:pt x="55" y="80"/>
                  </a:cubicBezTo>
                  <a:cubicBezTo>
                    <a:pt x="55" y="80"/>
                    <a:pt x="55" y="79"/>
                    <a:pt x="55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51" y="78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7"/>
                  </a:cubicBezTo>
                  <a:cubicBezTo>
                    <a:pt x="52" y="77"/>
                    <a:pt x="52" y="78"/>
                    <a:pt x="51" y="78"/>
                  </a:cubicBezTo>
                  <a:close/>
                  <a:moveTo>
                    <a:pt x="57" y="81"/>
                  </a:moveTo>
                  <a:cubicBezTo>
                    <a:pt x="56" y="81"/>
                    <a:pt x="57" y="81"/>
                    <a:pt x="56" y="81"/>
                  </a:cubicBezTo>
                  <a:cubicBezTo>
                    <a:pt x="56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1"/>
                  </a:cubicBezTo>
                  <a:close/>
                  <a:moveTo>
                    <a:pt x="55" y="81"/>
                  </a:move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1"/>
                    <a:pt x="56" y="81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ubicBezTo>
                    <a:pt x="55" y="81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4" y="86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7"/>
                    <a:pt x="54" y="87"/>
                    <a:pt x="54" y="86"/>
                  </a:cubicBezTo>
                  <a:cubicBezTo>
                    <a:pt x="54" y="86"/>
                    <a:pt x="54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8" y="81"/>
                    <a:pt x="58" y="81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3"/>
                  </a:cubicBezTo>
                  <a:cubicBezTo>
                    <a:pt x="57" y="82"/>
                    <a:pt x="57" y="82"/>
                    <a:pt x="58" y="82"/>
                  </a:cubicBezTo>
                  <a:cubicBezTo>
                    <a:pt x="58" y="82"/>
                    <a:pt x="57" y="83"/>
                    <a:pt x="57" y="83"/>
                  </a:cubicBezTo>
                  <a:cubicBezTo>
                    <a:pt x="57" y="83"/>
                    <a:pt x="56" y="83"/>
                    <a:pt x="56" y="84"/>
                  </a:cubicBezTo>
                  <a:cubicBezTo>
                    <a:pt x="56" y="84"/>
                    <a:pt x="56" y="84"/>
                    <a:pt x="57" y="83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6"/>
                    <a:pt x="56" y="86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7"/>
                    <a:pt x="55" y="87"/>
                  </a:cubicBezTo>
                  <a:cubicBezTo>
                    <a:pt x="55" y="87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4"/>
                  </a:cubicBezTo>
                  <a:cubicBezTo>
                    <a:pt x="56" y="85"/>
                    <a:pt x="56" y="84"/>
                    <a:pt x="56" y="84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1"/>
                    <a:pt x="53" y="80"/>
                  </a:cubicBezTo>
                  <a:cubicBezTo>
                    <a:pt x="53" y="80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lose/>
                  <a:moveTo>
                    <a:pt x="51" y="80"/>
                  </a:moveTo>
                  <a:cubicBezTo>
                    <a:pt x="51" y="80"/>
                    <a:pt x="51" y="80"/>
                    <a:pt x="51" y="79"/>
                  </a:cubicBezTo>
                  <a:cubicBezTo>
                    <a:pt x="51" y="79"/>
                    <a:pt x="51" y="80"/>
                    <a:pt x="51" y="79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2"/>
                    <a:pt x="52" y="82"/>
                  </a:cubicBezTo>
                  <a:cubicBezTo>
                    <a:pt x="52" y="82"/>
                    <a:pt x="52" y="81"/>
                    <a:pt x="52" y="81"/>
                  </a:cubicBezTo>
                  <a:cubicBezTo>
                    <a:pt x="52" y="82"/>
                    <a:pt x="51" y="82"/>
                    <a:pt x="51" y="83"/>
                  </a:cubicBezTo>
                  <a:cubicBezTo>
                    <a:pt x="51" y="83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2" y="82"/>
                    <a:pt x="52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0" y="83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1" y="82"/>
                    <a:pt x="51" y="81"/>
                  </a:cubicBezTo>
                  <a:cubicBezTo>
                    <a:pt x="51" y="81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2"/>
                    <a:pt x="53" y="82"/>
                  </a:cubicBezTo>
                  <a:close/>
                  <a:moveTo>
                    <a:pt x="53" y="83"/>
                  </a:move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4" y="82"/>
                    <a:pt x="53" y="82"/>
                    <a:pt x="54" y="82"/>
                  </a:cubicBezTo>
                  <a:cubicBezTo>
                    <a:pt x="54" y="82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3"/>
                    <a:pt x="52" y="83"/>
                  </a:cubicBezTo>
                  <a:close/>
                  <a:moveTo>
                    <a:pt x="57" y="87"/>
                  </a:moveTo>
                  <a:cubicBezTo>
                    <a:pt x="56" y="87"/>
                    <a:pt x="57" y="87"/>
                    <a:pt x="57" y="87"/>
                  </a:cubicBezTo>
                  <a:cubicBezTo>
                    <a:pt x="56" y="87"/>
                    <a:pt x="57" y="86"/>
                    <a:pt x="56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3" y="85"/>
                  </a:moveTo>
                  <a:cubicBezTo>
                    <a:pt x="52" y="85"/>
                    <a:pt x="52" y="85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6"/>
                    <a:pt x="52" y="86"/>
                    <a:pt x="52" y="87"/>
                  </a:cubicBezTo>
                  <a:cubicBezTo>
                    <a:pt x="52" y="87"/>
                    <a:pt x="52" y="86"/>
                    <a:pt x="52" y="86"/>
                  </a:cubicBezTo>
                  <a:cubicBezTo>
                    <a:pt x="52" y="86"/>
                    <a:pt x="52" y="86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2" y="85"/>
                    <a:pt x="53" y="85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4"/>
                  </a:cubicBezTo>
                  <a:cubicBezTo>
                    <a:pt x="51" y="85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7" y="87"/>
                  </a:moveTo>
                  <a:cubicBezTo>
                    <a:pt x="47" y="87"/>
                    <a:pt x="47" y="87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4"/>
                  </a:cubicBezTo>
                  <a:cubicBezTo>
                    <a:pt x="49" y="85"/>
                    <a:pt x="48" y="85"/>
                    <a:pt x="49" y="85"/>
                  </a:cubicBezTo>
                  <a:cubicBezTo>
                    <a:pt x="49" y="85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7"/>
                    <a:pt x="48" y="87"/>
                  </a:cubicBezTo>
                  <a:cubicBezTo>
                    <a:pt x="48" y="87"/>
                    <a:pt x="47" y="87"/>
                    <a:pt x="47" y="87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5"/>
                    <a:pt x="48" y="85"/>
                  </a:cubicBezTo>
                  <a:cubicBezTo>
                    <a:pt x="48" y="86"/>
                    <a:pt x="48" y="86"/>
                    <a:pt x="48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0" y="87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1" y="86"/>
                    <a:pt x="50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7"/>
                    <a:pt x="50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8"/>
                    <a:pt x="51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89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0" y="89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50" y="84"/>
                    <a:pt x="50" y="84"/>
                  </a:cubicBezTo>
                  <a:cubicBezTo>
                    <a:pt x="50" y="84"/>
                    <a:pt x="49" y="85"/>
                    <a:pt x="49" y="85"/>
                  </a:cubicBezTo>
                  <a:cubicBezTo>
                    <a:pt x="49" y="85"/>
                    <a:pt x="49" y="85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7"/>
                  </a:cubicBezTo>
                  <a:cubicBezTo>
                    <a:pt x="49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9" y="86"/>
                    <a:pt x="48" y="86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8"/>
                    <a:pt x="53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4" y="88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88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8"/>
                    <a:pt x="52" y="88"/>
                    <a:pt x="51" y="89"/>
                  </a:cubicBezTo>
                  <a:cubicBezTo>
                    <a:pt x="52" y="88"/>
                    <a:pt x="51" y="90"/>
                    <a:pt x="51" y="90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2" y="89"/>
                    <a:pt x="52" y="89"/>
                  </a:cubicBezTo>
                  <a:cubicBezTo>
                    <a:pt x="52" y="89"/>
                    <a:pt x="52" y="89"/>
                    <a:pt x="53" y="89"/>
                  </a:cubicBezTo>
                  <a:close/>
                  <a:moveTo>
                    <a:pt x="55" y="89"/>
                  </a:moveTo>
                  <a:cubicBezTo>
                    <a:pt x="55" y="89"/>
                    <a:pt x="54" y="89"/>
                    <a:pt x="54" y="89"/>
                  </a:cubicBezTo>
                  <a:cubicBezTo>
                    <a:pt x="54" y="89"/>
                    <a:pt x="55" y="89"/>
                    <a:pt x="55" y="89"/>
                  </a:cubicBezTo>
                  <a:cubicBezTo>
                    <a:pt x="55" y="89"/>
                    <a:pt x="54" y="89"/>
                    <a:pt x="55" y="89"/>
                  </a:cubicBezTo>
                  <a:close/>
                  <a:moveTo>
                    <a:pt x="49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lose/>
                  <a:moveTo>
                    <a:pt x="51" y="92"/>
                  </a:move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2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89"/>
                  </a:cubicBezTo>
                  <a:cubicBezTo>
                    <a:pt x="53" y="90"/>
                    <a:pt x="51" y="91"/>
                    <a:pt x="52" y="92"/>
                  </a:cubicBezTo>
                  <a:cubicBezTo>
                    <a:pt x="51" y="92"/>
                    <a:pt x="51" y="92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7" y="89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1"/>
                    <a:pt x="46" y="91"/>
                    <a:pt x="46" y="92"/>
                  </a:cubicBezTo>
                  <a:cubicBezTo>
                    <a:pt x="46" y="92"/>
                    <a:pt x="47" y="91"/>
                    <a:pt x="46" y="91"/>
                  </a:cubicBezTo>
                  <a:cubicBezTo>
                    <a:pt x="47" y="90"/>
                    <a:pt x="47" y="89"/>
                    <a:pt x="48" y="88"/>
                  </a:cubicBezTo>
                  <a:cubicBezTo>
                    <a:pt x="48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7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1" y="92"/>
                    <a:pt x="50" y="92"/>
                  </a:cubicBezTo>
                  <a:cubicBezTo>
                    <a:pt x="51" y="91"/>
                    <a:pt x="51" y="90"/>
                    <a:pt x="52" y="90"/>
                  </a:cubicBezTo>
                  <a:cubicBezTo>
                    <a:pt x="52" y="90"/>
                    <a:pt x="51" y="91"/>
                    <a:pt x="51" y="91"/>
                  </a:cubicBezTo>
                  <a:close/>
                  <a:moveTo>
                    <a:pt x="47" y="89"/>
                  </a:moveTo>
                  <a:cubicBezTo>
                    <a:pt x="47" y="89"/>
                    <a:pt x="47" y="88"/>
                    <a:pt x="47" y="88"/>
                  </a:cubicBezTo>
                  <a:cubicBezTo>
                    <a:pt x="47" y="88"/>
                    <a:pt x="47" y="89"/>
                    <a:pt x="47" y="89"/>
                  </a:cubicBezTo>
                  <a:close/>
                  <a:moveTo>
                    <a:pt x="53" y="93"/>
                  </a:moveTo>
                  <a:cubicBezTo>
                    <a:pt x="53" y="93"/>
                    <a:pt x="52" y="93"/>
                    <a:pt x="53" y="93"/>
                  </a:cubicBezTo>
                  <a:cubicBezTo>
                    <a:pt x="52" y="93"/>
                    <a:pt x="52" y="93"/>
                    <a:pt x="53" y="93"/>
                  </a:cubicBezTo>
                  <a:close/>
                  <a:moveTo>
                    <a:pt x="49" y="92"/>
                  </a:moveTo>
                  <a:cubicBezTo>
                    <a:pt x="48" y="92"/>
                    <a:pt x="48" y="92"/>
                    <a:pt x="48" y="92"/>
                  </a:cubicBezTo>
                  <a:cubicBezTo>
                    <a:pt x="48" y="92"/>
                    <a:pt x="48" y="93"/>
                    <a:pt x="47" y="93"/>
                  </a:cubicBezTo>
                  <a:cubicBezTo>
                    <a:pt x="48" y="93"/>
                    <a:pt x="48" y="92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1"/>
                    <a:pt x="48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53" y="95"/>
                  </a:move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3" y="95"/>
                    <a:pt x="53" y="95"/>
                  </a:cubicBezTo>
                  <a:close/>
                  <a:moveTo>
                    <a:pt x="45" y="91"/>
                  </a:move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5" y="91"/>
                    <a:pt x="45" y="91"/>
                  </a:cubicBezTo>
                  <a:close/>
                  <a:moveTo>
                    <a:pt x="48" y="92"/>
                  </a:moveTo>
                  <a:cubicBezTo>
                    <a:pt x="48" y="93"/>
                    <a:pt x="48" y="93"/>
                    <a:pt x="47" y="93"/>
                  </a:cubicBezTo>
                  <a:cubicBezTo>
                    <a:pt x="47" y="93"/>
                    <a:pt x="48" y="92"/>
                    <a:pt x="48" y="92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8"/>
                    <a:pt x="52" y="98"/>
                  </a:cubicBezTo>
                  <a:cubicBezTo>
                    <a:pt x="52" y="98"/>
                    <a:pt x="53" y="98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7"/>
                    <a:pt x="53" y="97"/>
                  </a:cubicBezTo>
                  <a:cubicBezTo>
                    <a:pt x="53" y="98"/>
                    <a:pt x="52" y="98"/>
                    <a:pt x="52" y="98"/>
                  </a:cubicBezTo>
                  <a:cubicBezTo>
                    <a:pt x="52" y="98"/>
                    <a:pt x="52" y="99"/>
                    <a:pt x="51" y="99"/>
                  </a:cubicBezTo>
                  <a:cubicBezTo>
                    <a:pt x="52" y="99"/>
                    <a:pt x="52" y="98"/>
                    <a:pt x="52" y="98"/>
                  </a:cubicBezTo>
                  <a:cubicBezTo>
                    <a:pt x="52" y="98"/>
                    <a:pt x="52" y="98"/>
                    <a:pt x="52" y="97"/>
                  </a:cubicBezTo>
                  <a:cubicBezTo>
                    <a:pt x="53" y="97"/>
                    <a:pt x="52" y="97"/>
                    <a:pt x="52" y="97"/>
                  </a:cubicBezTo>
                  <a:cubicBezTo>
                    <a:pt x="52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5" y="95"/>
                    <a:pt x="44" y="96"/>
                  </a:cubicBezTo>
                  <a:close/>
                  <a:moveTo>
                    <a:pt x="43" y="94"/>
                  </a:move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lose/>
                  <a:moveTo>
                    <a:pt x="42" y="97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8"/>
                  </a:cubicBezTo>
                  <a:cubicBezTo>
                    <a:pt x="42" y="97"/>
                    <a:pt x="42" y="96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6"/>
                  </a:cubicBezTo>
                  <a:cubicBezTo>
                    <a:pt x="43" y="96"/>
                    <a:pt x="43" y="95"/>
                    <a:pt x="43" y="95"/>
                  </a:cubicBezTo>
                  <a:cubicBezTo>
                    <a:pt x="43" y="96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6"/>
                    <a:pt x="44" y="96"/>
                  </a:cubicBezTo>
                  <a:cubicBezTo>
                    <a:pt x="44" y="96"/>
                    <a:pt x="44" y="96"/>
                    <a:pt x="44" y="95"/>
                  </a:cubicBezTo>
                  <a:cubicBezTo>
                    <a:pt x="44" y="95"/>
                    <a:pt x="44" y="96"/>
                    <a:pt x="44" y="96"/>
                  </a:cubicBezTo>
                  <a:close/>
                  <a:moveTo>
                    <a:pt x="43" y="100"/>
                  </a:moveTo>
                  <a:cubicBezTo>
                    <a:pt x="43" y="99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5" y="97"/>
                    <a:pt x="45" y="96"/>
                  </a:cubicBezTo>
                  <a:cubicBezTo>
                    <a:pt x="45" y="96"/>
                    <a:pt x="45" y="97"/>
                    <a:pt x="45" y="97"/>
                  </a:cubicBezTo>
                  <a:cubicBezTo>
                    <a:pt x="44" y="97"/>
                    <a:pt x="45" y="97"/>
                    <a:pt x="44" y="98"/>
                  </a:cubicBezTo>
                  <a:cubicBezTo>
                    <a:pt x="45" y="98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6"/>
                  </a:cubicBezTo>
                  <a:cubicBezTo>
                    <a:pt x="46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5" y="98"/>
                    <a:pt x="45" y="99"/>
                  </a:cubicBezTo>
                  <a:cubicBezTo>
                    <a:pt x="45" y="99"/>
                    <a:pt x="45" y="98"/>
                    <a:pt x="45" y="98"/>
                  </a:cubicBezTo>
                  <a:cubicBezTo>
                    <a:pt x="45" y="98"/>
                    <a:pt x="44" y="99"/>
                    <a:pt x="44" y="98"/>
                  </a:cubicBezTo>
                  <a:cubicBezTo>
                    <a:pt x="44" y="99"/>
                    <a:pt x="44" y="99"/>
                    <a:pt x="45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100"/>
                  </a:cubicBezTo>
                  <a:cubicBezTo>
                    <a:pt x="44" y="100"/>
                    <a:pt x="44" y="99"/>
                    <a:pt x="44" y="99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3" y="101"/>
                    <a:pt x="43" y="101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3" y="100"/>
                    <a:pt x="43" y="100"/>
                  </a:cubicBezTo>
                  <a:cubicBezTo>
                    <a:pt x="43" y="100"/>
                    <a:pt x="43" y="99"/>
                    <a:pt x="44" y="99"/>
                  </a:cubicBezTo>
                  <a:cubicBezTo>
                    <a:pt x="44" y="99"/>
                    <a:pt x="44" y="99"/>
                    <a:pt x="44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3" y="99"/>
                    <a:pt x="43" y="99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lose/>
                  <a:moveTo>
                    <a:pt x="44" y="97"/>
                  </a:moveTo>
                  <a:cubicBezTo>
                    <a:pt x="44" y="97"/>
                    <a:pt x="43" y="97"/>
                    <a:pt x="44" y="97"/>
                  </a:cubicBezTo>
                  <a:cubicBezTo>
                    <a:pt x="44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6"/>
                    <a:pt x="43" y="96"/>
                  </a:cubicBezTo>
                  <a:cubicBezTo>
                    <a:pt x="43" y="96"/>
                    <a:pt x="43" y="96"/>
                    <a:pt x="44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97"/>
                    <a:pt x="44" y="96"/>
                    <a:pt x="44" y="96"/>
                  </a:cubicBezTo>
                  <a:cubicBezTo>
                    <a:pt x="44" y="97"/>
                    <a:pt x="44" y="97"/>
                    <a:pt x="44" y="97"/>
                  </a:cubicBezTo>
                  <a:close/>
                  <a:moveTo>
                    <a:pt x="44" y="99"/>
                  </a:moveTo>
                  <a:cubicBezTo>
                    <a:pt x="44" y="99"/>
                    <a:pt x="44" y="99"/>
                    <a:pt x="44" y="99"/>
                  </a:cubicBezTo>
                  <a:cubicBezTo>
                    <a:pt x="45" y="99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1"/>
                  </a:cubicBezTo>
                  <a:cubicBezTo>
                    <a:pt x="44" y="100"/>
                    <a:pt x="44" y="100"/>
                    <a:pt x="44" y="99"/>
                  </a:cubicBezTo>
                  <a:close/>
                  <a:moveTo>
                    <a:pt x="45" y="105"/>
                  </a:moveTo>
                  <a:cubicBezTo>
                    <a:pt x="45" y="105"/>
                    <a:pt x="45" y="105"/>
                    <a:pt x="45" y="106"/>
                  </a:cubicBezTo>
                  <a:cubicBezTo>
                    <a:pt x="45" y="106"/>
                    <a:pt x="45" y="105"/>
                    <a:pt x="45" y="106"/>
                  </a:cubicBezTo>
                  <a:cubicBezTo>
                    <a:pt x="45" y="105"/>
                    <a:pt x="45" y="105"/>
                    <a:pt x="45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5"/>
                    <a:pt x="40" y="104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6"/>
                    <a:pt x="38" y="106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40" y="104"/>
                    <a:pt x="40" y="103"/>
                  </a:cubicBezTo>
                  <a:cubicBezTo>
                    <a:pt x="40" y="103"/>
                    <a:pt x="40" y="104"/>
                    <a:pt x="40" y="104"/>
                  </a:cubicBezTo>
                  <a:cubicBezTo>
                    <a:pt x="40" y="104"/>
                    <a:pt x="40" y="105"/>
                    <a:pt x="39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4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lose/>
                  <a:moveTo>
                    <a:pt x="47" y="110"/>
                  </a:moveTo>
                  <a:cubicBezTo>
                    <a:pt x="47" y="110"/>
                    <a:pt x="47" y="109"/>
                    <a:pt x="47" y="109"/>
                  </a:cubicBezTo>
                  <a:cubicBezTo>
                    <a:pt x="47" y="109"/>
                    <a:pt x="47" y="110"/>
                    <a:pt x="47" y="110"/>
                  </a:cubicBezTo>
                  <a:close/>
                  <a:moveTo>
                    <a:pt x="41" y="109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2" y="109"/>
                    <a:pt x="42" y="108"/>
                  </a:cubicBezTo>
                  <a:cubicBezTo>
                    <a:pt x="42" y="108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0" y="111"/>
                    <a:pt x="40" y="111"/>
                  </a:cubicBezTo>
                  <a:cubicBezTo>
                    <a:pt x="40" y="111"/>
                    <a:pt x="40" y="111"/>
                    <a:pt x="41" y="110"/>
                  </a:cubicBezTo>
                  <a:cubicBezTo>
                    <a:pt x="40" y="110"/>
                    <a:pt x="41" y="110"/>
                    <a:pt x="41" y="109"/>
                  </a:cubicBezTo>
                  <a:close/>
                  <a:moveTo>
                    <a:pt x="43" y="107"/>
                  </a:moveTo>
                  <a:cubicBezTo>
                    <a:pt x="43" y="107"/>
                    <a:pt x="43" y="108"/>
                    <a:pt x="42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7"/>
                    <a:pt x="43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3" y="107"/>
                  </a:cubicBezTo>
                  <a:close/>
                  <a:moveTo>
                    <a:pt x="46" y="111"/>
                  </a:move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0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2"/>
                    <a:pt x="46" y="112"/>
                    <a:pt x="45" y="112"/>
                  </a:cubicBezTo>
                  <a:cubicBezTo>
                    <a:pt x="45" y="112"/>
                    <a:pt x="46" y="111"/>
                    <a:pt x="46" y="111"/>
                  </a:cubicBezTo>
                  <a:close/>
                  <a:moveTo>
                    <a:pt x="38" y="107"/>
                  </a:moveTo>
                  <a:cubicBezTo>
                    <a:pt x="38" y="107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9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8" y="107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07"/>
                    <a:pt x="38" y="107"/>
                    <a:pt x="38" y="107"/>
                  </a:cubicBezTo>
                  <a:cubicBezTo>
                    <a:pt x="38" y="107"/>
                    <a:pt x="38" y="107"/>
                    <a:pt x="37" y="108"/>
                  </a:cubicBezTo>
                  <a:cubicBezTo>
                    <a:pt x="38" y="108"/>
                    <a:pt x="38" y="107"/>
                    <a:pt x="38" y="107"/>
                  </a:cubicBezTo>
                  <a:close/>
                  <a:moveTo>
                    <a:pt x="46" y="112"/>
                  </a:move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6" y="112"/>
                  </a:cubicBezTo>
                  <a:close/>
                  <a:moveTo>
                    <a:pt x="41" y="118"/>
                  </a:moveTo>
                  <a:cubicBezTo>
                    <a:pt x="41" y="118"/>
                    <a:pt x="41" y="118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1" y="117"/>
                    <a:pt x="42" y="117"/>
                    <a:pt x="42" y="117"/>
                  </a:cubicBezTo>
                  <a:cubicBezTo>
                    <a:pt x="42" y="117"/>
                    <a:pt x="41" y="117"/>
                    <a:pt x="41" y="118"/>
                  </a:cubicBezTo>
                  <a:close/>
                  <a:moveTo>
                    <a:pt x="38" y="122"/>
                  </a:moveTo>
                  <a:cubicBezTo>
                    <a:pt x="38" y="122"/>
                    <a:pt x="38" y="122"/>
                    <a:pt x="39" y="122"/>
                  </a:cubicBezTo>
                  <a:cubicBezTo>
                    <a:pt x="38" y="122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1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7" y="121"/>
                  </a:moveTo>
                  <a:cubicBezTo>
                    <a:pt x="37" y="121"/>
                    <a:pt x="38" y="121"/>
                    <a:pt x="38" y="120"/>
                  </a:cubicBezTo>
                  <a:cubicBezTo>
                    <a:pt x="38" y="120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7" y="121"/>
                  </a:cubicBezTo>
                  <a:close/>
                  <a:moveTo>
                    <a:pt x="37" y="124"/>
                  </a:move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3"/>
                    <a:pt x="37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6" y="124"/>
                    <a:pt x="36" y="124"/>
                    <a:pt x="37" y="123"/>
                  </a:cubicBezTo>
                  <a:cubicBezTo>
                    <a:pt x="36" y="123"/>
                    <a:pt x="36" y="124"/>
                    <a:pt x="36" y="124"/>
                  </a:cubicBezTo>
                  <a:cubicBezTo>
                    <a:pt x="36" y="124"/>
                    <a:pt x="37" y="123"/>
                    <a:pt x="37" y="123"/>
                  </a:cubicBezTo>
                  <a:cubicBezTo>
                    <a:pt x="37" y="122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2"/>
                    <a:pt x="37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7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1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1"/>
                  </a:cubicBezTo>
                  <a:cubicBezTo>
                    <a:pt x="37" y="122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9" y="120"/>
                    <a:pt x="39" y="120"/>
                  </a:cubicBezTo>
                  <a:cubicBezTo>
                    <a:pt x="39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8"/>
                    <a:pt x="39" y="118"/>
                    <a:pt x="40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40" y="119"/>
                  </a:cubicBezTo>
                  <a:cubicBezTo>
                    <a:pt x="39" y="119"/>
                    <a:pt x="39" y="119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1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3"/>
                    <a:pt x="37" y="123"/>
                  </a:cubicBezTo>
                  <a:cubicBezTo>
                    <a:pt x="37" y="123"/>
                    <a:pt x="37" y="123"/>
                    <a:pt x="37" y="124"/>
                  </a:cubicBezTo>
                  <a:close/>
                  <a:moveTo>
                    <a:pt x="38" y="121"/>
                  </a:moveTo>
                  <a:cubicBezTo>
                    <a:pt x="39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8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7" y="120"/>
                    <a:pt x="38" y="120"/>
                    <a:pt x="38" y="120"/>
                  </a:cubicBezTo>
                  <a:cubicBezTo>
                    <a:pt x="38" y="119"/>
                    <a:pt x="38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8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35" y="119"/>
                  </a:moveTo>
                  <a:cubicBezTo>
                    <a:pt x="35" y="119"/>
                    <a:pt x="35" y="119"/>
                    <a:pt x="35" y="119"/>
                  </a:cubicBezTo>
                  <a:cubicBezTo>
                    <a:pt x="35" y="119"/>
                    <a:pt x="35" y="119"/>
                    <a:pt x="36" y="118"/>
                  </a:cubicBezTo>
                  <a:cubicBezTo>
                    <a:pt x="36" y="119"/>
                    <a:pt x="35" y="120"/>
                    <a:pt x="35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40" y="122"/>
                  </a:move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39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9" y="124"/>
                    <a:pt x="39" y="124"/>
                  </a:cubicBezTo>
                  <a:cubicBezTo>
                    <a:pt x="39" y="124"/>
                    <a:pt x="40" y="123"/>
                    <a:pt x="40" y="123"/>
                  </a:cubicBezTo>
                  <a:cubicBezTo>
                    <a:pt x="40" y="123"/>
                    <a:pt x="40" y="123"/>
                    <a:pt x="39" y="123"/>
                  </a:cubicBezTo>
                  <a:cubicBezTo>
                    <a:pt x="39" y="124"/>
                    <a:pt x="39" y="124"/>
                    <a:pt x="39" y="125"/>
                  </a:cubicBezTo>
                  <a:cubicBezTo>
                    <a:pt x="39" y="125"/>
                    <a:pt x="39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9" y="125"/>
                  </a:cubicBezTo>
                  <a:cubicBezTo>
                    <a:pt x="39" y="126"/>
                    <a:pt x="38" y="126"/>
                    <a:pt x="38" y="126"/>
                  </a:cubicBezTo>
                  <a:cubicBezTo>
                    <a:pt x="38" y="126"/>
                    <a:pt x="37" y="127"/>
                    <a:pt x="38" y="127"/>
                  </a:cubicBezTo>
                  <a:cubicBezTo>
                    <a:pt x="38" y="127"/>
                    <a:pt x="37" y="127"/>
                    <a:pt x="37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7" y="126"/>
                    <a:pt x="37" y="127"/>
                  </a:cubicBezTo>
                  <a:cubicBezTo>
                    <a:pt x="37" y="126"/>
                    <a:pt x="38" y="126"/>
                    <a:pt x="38" y="125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5"/>
                  </a:cubicBezTo>
                  <a:close/>
                  <a:moveTo>
                    <a:pt x="38" y="124"/>
                  </a:moveTo>
                  <a:cubicBezTo>
                    <a:pt x="38" y="123"/>
                    <a:pt x="38" y="124"/>
                    <a:pt x="38" y="124"/>
                  </a:cubicBezTo>
                  <a:cubicBezTo>
                    <a:pt x="38" y="124"/>
                    <a:pt x="38" y="124"/>
                    <a:pt x="38" y="124"/>
                  </a:cubicBezTo>
                  <a:cubicBezTo>
                    <a:pt x="37" y="124"/>
                    <a:pt x="38" y="124"/>
                    <a:pt x="38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7" y="124"/>
                  </a:move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5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lose/>
                  <a:moveTo>
                    <a:pt x="36" y="126"/>
                  </a:moveTo>
                  <a:cubicBezTo>
                    <a:pt x="36" y="126"/>
                    <a:pt x="36" y="127"/>
                    <a:pt x="36" y="127"/>
                  </a:cubicBezTo>
                  <a:cubicBezTo>
                    <a:pt x="35" y="127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5"/>
                    <a:pt x="36" y="126"/>
                    <a:pt x="36" y="126"/>
                  </a:cubicBezTo>
                  <a:close/>
                  <a:moveTo>
                    <a:pt x="37" y="129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9"/>
                    <a:pt x="37" y="129"/>
                    <a:pt x="37" y="129"/>
                  </a:cubicBezTo>
                  <a:close/>
                  <a:moveTo>
                    <a:pt x="37" y="130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30"/>
                    <a:pt x="37" y="129"/>
                    <a:pt x="37" y="130"/>
                  </a:cubicBezTo>
                  <a:close/>
                  <a:moveTo>
                    <a:pt x="33" y="131"/>
                  </a:moveTo>
                  <a:cubicBezTo>
                    <a:pt x="33" y="131"/>
                    <a:pt x="33" y="132"/>
                    <a:pt x="32" y="132"/>
                  </a:cubicBezTo>
                  <a:cubicBezTo>
                    <a:pt x="32" y="131"/>
                    <a:pt x="32" y="132"/>
                    <a:pt x="32" y="132"/>
                  </a:cubicBezTo>
                  <a:cubicBezTo>
                    <a:pt x="32" y="131"/>
                    <a:pt x="33" y="131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lose/>
                  <a:moveTo>
                    <a:pt x="32" y="132"/>
                  </a:moveTo>
                  <a:cubicBezTo>
                    <a:pt x="33" y="132"/>
                    <a:pt x="32" y="132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lose/>
                  <a:moveTo>
                    <a:pt x="32" y="138"/>
                  </a:moveTo>
                  <a:cubicBezTo>
                    <a:pt x="32" y="138"/>
                    <a:pt x="31" y="138"/>
                    <a:pt x="31" y="138"/>
                  </a:cubicBezTo>
                  <a:cubicBezTo>
                    <a:pt x="31" y="139"/>
                    <a:pt x="30" y="140"/>
                    <a:pt x="31" y="139"/>
                  </a:cubicBezTo>
                  <a:cubicBezTo>
                    <a:pt x="31" y="139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ubicBezTo>
                    <a:pt x="32" y="138"/>
                    <a:pt x="31" y="138"/>
                    <a:pt x="31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1" y="138"/>
                    <a:pt x="32" y="138"/>
                  </a:cubicBezTo>
                  <a:close/>
                  <a:moveTo>
                    <a:pt x="31" y="138"/>
                  </a:moveTo>
                  <a:cubicBezTo>
                    <a:pt x="31" y="138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lose/>
                  <a:moveTo>
                    <a:pt x="32" y="139"/>
                  </a:moveTo>
                  <a:cubicBezTo>
                    <a:pt x="32" y="139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9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lose/>
                  <a:moveTo>
                    <a:pt x="31" y="140"/>
                  </a:moveTo>
                  <a:cubicBezTo>
                    <a:pt x="31" y="140"/>
                    <a:pt x="31" y="140"/>
                    <a:pt x="31" y="139"/>
                  </a:cubicBezTo>
                  <a:cubicBezTo>
                    <a:pt x="31" y="140"/>
                    <a:pt x="31" y="140"/>
                    <a:pt x="31" y="140"/>
                  </a:cubicBezTo>
                  <a:cubicBezTo>
                    <a:pt x="31" y="141"/>
                    <a:pt x="31" y="140"/>
                    <a:pt x="31" y="141"/>
                  </a:cubicBezTo>
                  <a:cubicBezTo>
                    <a:pt x="31" y="140"/>
                    <a:pt x="31" y="140"/>
                    <a:pt x="31" y="140"/>
                  </a:cubicBezTo>
                  <a:close/>
                  <a:moveTo>
                    <a:pt x="28" y="145"/>
                  </a:moveTo>
                  <a:cubicBezTo>
                    <a:pt x="28" y="144"/>
                    <a:pt x="28" y="145"/>
                    <a:pt x="28" y="145"/>
                  </a:cubicBezTo>
                  <a:cubicBezTo>
                    <a:pt x="28" y="145"/>
                    <a:pt x="28" y="145"/>
                    <a:pt x="28" y="145"/>
                  </a:cubicBezTo>
                  <a:cubicBezTo>
                    <a:pt x="27" y="146"/>
                    <a:pt x="27" y="147"/>
                    <a:pt x="27" y="148"/>
                  </a:cubicBezTo>
                  <a:cubicBezTo>
                    <a:pt x="27" y="148"/>
                    <a:pt x="26" y="148"/>
                    <a:pt x="26" y="148"/>
                  </a:cubicBezTo>
                  <a:cubicBezTo>
                    <a:pt x="26" y="148"/>
                    <a:pt x="26" y="148"/>
                    <a:pt x="26" y="149"/>
                  </a:cubicBezTo>
                  <a:cubicBezTo>
                    <a:pt x="26" y="149"/>
                    <a:pt x="26" y="148"/>
                    <a:pt x="26" y="148"/>
                  </a:cubicBezTo>
                  <a:cubicBezTo>
                    <a:pt x="26" y="148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50"/>
                    <a:pt x="25" y="150"/>
                    <a:pt x="25" y="150"/>
                  </a:cubicBezTo>
                  <a:cubicBezTo>
                    <a:pt x="25" y="150"/>
                    <a:pt x="25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8"/>
                    <a:pt x="26" y="148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6" y="147"/>
                    <a:pt x="27" y="147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7"/>
                    <a:pt x="27" y="146"/>
                    <a:pt x="27" y="146"/>
                  </a:cubicBezTo>
                  <a:cubicBezTo>
                    <a:pt x="28" y="145"/>
                    <a:pt x="28" y="144"/>
                    <a:pt x="28" y="143"/>
                  </a:cubicBezTo>
                  <a:cubicBezTo>
                    <a:pt x="29" y="143"/>
                    <a:pt x="29" y="143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30" y="141"/>
                    <a:pt x="30" y="140"/>
                    <a:pt x="31" y="139"/>
                  </a:cubicBezTo>
                  <a:cubicBezTo>
                    <a:pt x="31" y="141"/>
                    <a:pt x="29" y="143"/>
                    <a:pt x="29" y="144"/>
                  </a:cubicBezTo>
                  <a:cubicBezTo>
                    <a:pt x="28" y="144"/>
                    <a:pt x="28" y="144"/>
                    <a:pt x="28" y="145"/>
                  </a:cubicBezTo>
                  <a:close/>
                  <a:moveTo>
                    <a:pt x="30" y="139"/>
                  </a:moveTo>
                  <a:cubicBezTo>
                    <a:pt x="30" y="139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39"/>
                  </a:cubicBezTo>
                  <a:cubicBezTo>
                    <a:pt x="30" y="139"/>
                    <a:pt x="30" y="140"/>
                    <a:pt x="30" y="139"/>
                  </a:cubicBezTo>
                  <a:close/>
                  <a:moveTo>
                    <a:pt x="25" y="152"/>
                  </a:moveTo>
                  <a:cubicBezTo>
                    <a:pt x="26" y="150"/>
                    <a:pt x="27" y="149"/>
                    <a:pt x="27" y="148"/>
                  </a:cubicBezTo>
                  <a:cubicBezTo>
                    <a:pt x="27" y="149"/>
                    <a:pt x="26" y="151"/>
                    <a:pt x="25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lose/>
                  <a:moveTo>
                    <a:pt x="20" y="163"/>
                  </a:moveTo>
                  <a:cubicBezTo>
                    <a:pt x="20" y="163"/>
                    <a:pt x="20" y="163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4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0" y="162"/>
                    <a:pt x="20" y="163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lose/>
                  <a:moveTo>
                    <a:pt x="14" y="174"/>
                  </a:moveTo>
                  <a:cubicBezTo>
                    <a:pt x="15" y="173"/>
                    <a:pt x="15" y="173"/>
                    <a:pt x="16" y="172"/>
                  </a:cubicBezTo>
                  <a:cubicBezTo>
                    <a:pt x="16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2"/>
                    <a:pt x="16" y="172"/>
                  </a:cubicBezTo>
                  <a:cubicBezTo>
                    <a:pt x="16" y="171"/>
                    <a:pt x="16" y="170"/>
                    <a:pt x="17" y="169"/>
                  </a:cubicBezTo>
                  <a:cubicBezTo>
                    <a:pt x="17" y="169"/>
                    <a:pt x="17" y="169"/>
                    <a:pt x="16" y="169"/>
                  </a:cubicBezTo>
                  <a:cubicBezTo>
                    <a:pt x="16" y="169"/>
                    <a:pt x="17" y="169"/>
                    <a:pt x="16" y="169"/>
                  </a:cubicBezTo>
                  <a:cubicBezTo>
                    <a:pt x="17" y="169"/>
                    <a:pt x="17" y="169"/>
                    <a:pt x="17" y="168"/>
                  </a:cubicBezTo>
                  <a:cubicBezTo>
                    <a:pt x="18" y="168"/>
                    <a:pt x="17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7" y="168"/>
                    <a:pt x="18" y="169"/>
                  </a:cubicBezTo>
                  <a:cubicBezTo>
                    <a:pt x="17" y="169"/>
                    <a:pt x="17" y="168"/>
                    <a:pt x="17" y="168"/>
                  </a:cubicBezTo>
                  <a:cubicBezTo>
                    <a:pt x="17" y="169"/>
                    <a:pt x="17" y="169"/>
                    <a:pt x="17" y="169"/>
                  </a:cubicBezTo>
                  <a:cubicBezTo>
                    <a:pt x="17" y="169"/>
                    <a:pt x="17" y="170"/>
                    <a:pt x="17" y="169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6" y="171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3"/>
                  </a:cubicBezTo>
                  <a:cubicBezTo>
                    <a:pt x="16" y="172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3"/>
                    <a:pt x="15" y="173"/>
                    <a:pt x="15" y="173"/>
                  </a:cubicBezTo>
                  <a:cubicBezTo>
                    <a:pt x="15" y="174"/>
                    <a:pt x="15" y="173"/>
                    <a:pt x="16" y="173"/>
                  </a:cubicBezTo>
                  <a:cubicBezTo>
                    <a:pt x="15" y="174"/>
                    <a:pt x="15" y="175"/>
                    <a:pt x="14" y="175"/>
                  </a:cubicBezTo>
                  <a:cubicBezTo>
                    <a:pt x="14" y="175"/>
                    <a:pt x="15" y="175"/>
                    <a:pt x="14" y="175"/>
                  </a:cubicBezTo>
                  <a:cubicBezTo>
                    <a:pt x="15" y="175"/>
                    <a:pt x="15" y="174"/>
                    <a:pt x="15" y="174"/>
                  </a:cubicBezTo>
                  <a:cubicBezTo>
                    <a:pt x="15" y="174"/>
                    <a:pt x="15" y="174"/>
                    <a:pt x="15" y="175"/>
                  </a:cubicBezTo>
                  <a:cubicBezTo>
                    <a:pt x="15" y="174"/>
                    <a:pt x="15" y="174"/>
                    <a:pt x="14" y="174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15" y="174"/>
                    <a:pt x="15" y="174"/>
                    <a:pt x="14" y="174"/>
                  </a:cubicBezTo>
                  <a:close/>
                  <a:moveTo>
                    <a:pt x="17" y="168"/>
                  </a:moveTo>
                  <a:cubicBezTo>
                    <a:pt x="17" y="168"/>
                    <a:pt x="16" y="168"/>
                    <a:pt x="16" y="168"/>
                  </a:cubicBezTo>
                  <a:cubicBezTo>
                    <a:pt x="16" y="168"/>
                    <a:pt x="17" y="168"/>
                    <a:pt x="17" y="168"/>
                  </a:cubicBezTo>
                  <a:close/>
                  <a:moveTo>
                    <a:pt x="16" y="169"/>
                  </a:moveTo>
                  <a:cubicBezTo>
                    <a:pt x="16" y="169"/>
                    <a:pt x="16" y="169"/>
                    <a:pt x="16" y="170"/>
                  </a:cubicBezTo>
                  <a:cubicBezTo>
                    <a:pt x="16" y="169"/>
                    <a:pt x="16" y="169"/>
                    <a:pt x="16" y="169"/>
                  </a:cubicBezTo>
                  <a:close/>
                  <a:moveTo>
                    <a:pt x="16" y="169"/>
                  </a:moveTo>
                  <a:cubicBezTo>
                    <a:pt x="15" y="170"/>
                    <a:pt x="15" y="170"/>
                    <a:pt x="15" y="170"/>
                  </a:cubicBezTo>
                  <a:cubicBezTo>
                    <a:pt x="15" y="170"/>
                    <a:pt x="15" y="169"/>
                    <a:pt x="16" y="169"/>
                  </a:cubicBezTo>
                  <a:close/>
                  <a:moveTo>
                    <a:pt x="13" y="178"/>
                  </a:move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3" y="178"/>
                    <a:pt x="13" y="178"/>
                  </a:cubicBezTo>
                  <a:close/>
                  <a:moveTo>
                    <a:pt x="10" y="179"/>
                  </a:moveTo>
                  <a:cubicBezTo>
                    <a:pt x="10" y="179"/>
                    <a:pt x="10" y="179"/>
                    <a:pt x="10" y="179"/>
                  </a:cubicBezTo>
                  <a:cubicBezTo>
                    <a:pt x="10" y="179"/>
                    <a:pt x="10" y="179"/>
                    <a:pt x="11" y="178"/>
                  </a:cubicBezTo>
                  <a:cubicBezTo>
                    <a:pt x="11" y="179"/>
                    <a:pt x="11" y="178"/>
                    <a:pt x="11" y="178"/>
                  </a:cubicBezTo>
                  <a:cubicBezTo>
                    <a:pt x="11" y="178"/>
                    <a:pt x="10" y="179"/>
                    <a:pt x="10" y="179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80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4" y="186"/>
                  </a:moveTo>
                  <a:cubicBezTo>
                    <a:pt x="4" y="186"/>
                    <a:pt x="4" y="186"/>
                    <a:pt x="4" y="186"/>
                  </a:cubicBezTo>
                  <a:cubicBezTo>
                    <a:pt x="4" y="187"/>
                    <a:pt x="4" y="187"/>
                    <a:pt x="3" y="187"/>
                  </a:cubicBezTo>
                  <a:cubicBezTo>
                    <a:pt x="3" y="187"/>
                    <a:pt x="4" y="187"/>
                    <a:pt x="4" y="186"/>
                  </a:cubicBezTo>
                  <a:close/>
                  <a:moveTo>
                    <a:pt x="6" y="190"/>
                  </a:moveTo>
                  <a:cubicBezTo>
                    <a:pt x="6" y="190"/>
                    <a:pt x="5" y="190"/>
                    <a:pt x="5" y="191"/>
                  </a:cubicBezTo>
                  <a:cubicBezTo>
                    <a:pt x="5" y="190"/>
                    <a:pt x="6" y="190"/>
                    <a:pt x="6" y="190"/>
                  </a:cubicBezTo>
                  <a:close/>
                  <a:moveTo>
                    <a:pt x="80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0" y="15"/>
                    <a:pt x="80" y="15"/>
                  </a:cubicBezTo>
                  <a:close/>
                  <a:moveTo>
                    <a:pt x="71" y="41"/>
                  </a:moveTo>
                  <a:cubicBezTo>
                    <a:pt x="71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41"/>
                    <a:pt x="71" y="41"/>
                    <a:pt x="71" y="41"/>
                  </a:cubicBezTo>
                  <a:close/>
                  <a:moveTo>
                    <a:pt x="72" y="41"/>
                  </a:moveTo>
                  <a:cubicBezTo>
                    <a:pt x="72" y="42"/>
                    <a:pt x="73" y="42"/>
                    <a:pt x="73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1"/>
                  </a:cubicBezTo>
                  <a:close/>
                  <a:moveTo>
                    <a:pt x="71" y="43"/>
                  </a:move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4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3" y="55"/>
                  </a:move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5"/>
                    <a:pt x="73" y="55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6"/>
                    <a:pt x="65" y="56"/>
                  </a:cubicBezTo>
                  <a:cubicBezTo>
                    <a:pt x="65" y="55"/>
                    <a:pt x="66" y="55"/>
                    <a:pt x="66" y="54"/>
                  </a:cubicBezTo>
                  <a:cubicBezTo>
                    <a:pt x="66" y="54"/>
                    <a:pt x="66" y="55"/>
                    <a:pt x="66" y="55"/>
                  </a:cubicBezTo>
                  <a:close/>
                  <a:moveTo>
                    <a:pt x="67" y="68"/>
                  </a:move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7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4" y="75"/>
                    <a:pt x="64" y="76"/>
                  </a:cubicBezTo>
                  <a:cubicBezTo>
                    <a:pt x="64" y="75"/>
                    <a:pt x="64" y="74"/>
                    <a:pt x="65" y="74"/>
                  </a:cubicBezTo>
                  <a:close/>
                  <a:moveTo>
                    <a:pt x="59" y="73"/>
                  </a:move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8" y="79"/>
                    <a:pt x="57" y="80"/>
                    <a:pt x="57" y="79"/>
                  </a:cubicBezTo>
                  <a:close/>
                  <a:moveTo>
                    <a:pt x="51" y="82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0"/>
                  </a:cubicBezTo>
                  <a:cubicBezTo>
                    <a:pt x="51" y="81"/>
                    <a:pt x="51" y="81"/>
                    <a:pt x="51" y="82"/>
                  </a:cubicBezTo>
                  <a:close/>
                  <a:moveTo>
                    <a:pt x="53" y="87"/>
                  </a:moveTo>
                  <a:cubicBezTo>
                    <a:pt x="53" y="87"/>
                    <a:pt x="54" y="86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5" y="83"/>
                    <a:pt x="54" y="84"/>
                    <a:pt x="55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7"/>
                    <a:pt x="53" y="87"/>
                    <a:pt x="53" y="87"/>
                  </a:cubicBezTo>
                  <a:close/>
                  <a:moveTo>
                    <a:pt x="52" y="88"/>
                  </a:move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3" y="87"/>
                  </a:cubicBezTo>
                  <a:cubicBezTo>
                    <a:pt x="53" y="87"/>
                    <a:pt x="52" y="87"/>
                    <a:pt x="53" y="87"/>
                  </a:cubicBezTo>
                  <a:cubicBezTo>
                    <a:pt x="53" y="88"/>
                    <a:pt x="52" y="88"/>
                    <a:pt x="52" y="88"/>
                  </a:cubicBezTo>
                  <a:close/>
                  <a:moveTo>
                    <a:pt x="49" y="91"/>
                  </a:moveTo>
                  <a:cubicBezTo>
                    <a:pt x="49" y="91"/>
                    <a:pt x="49" y="91"/>
                    <a:pt x="49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1" y="89"/>
                    <a:pt x="51" y="89"/>
                  </a:cubicBezTo>
                  <a:cubicBezTo>
                    <a:pt x="51" y="89"/>
                    <a:pt x="51" y="89"/>
                    <a:pt x="50" y="90"/>
                  </a:cubicBezTo>
                  <a:cubicBezTo>
                    <a:pt x="50" y="89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lose/>
                  <a:moveTo>
                    <a:pt x="45" y="91"/>
                  </a:moveTo>
                  <a:cubicBezTo>
                    <a:pt x="46" y="90"/>
                    <a:pt x="46" y="90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90"/>
                    <a:pt x="47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1"/>
                    <a:pt x="46" y="91"/>
                    <a:pt x="45" y="91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lose/>
                  <a:moveTo>
                    <a:pt x="39" y="118"/>
                  </a:moveTo>
                  <a:cubicBezTo>
                    <a:pt x="39" y="118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8"/>
                  </a:cubicBezTo>
                  <a:cubicBezTo>
                    <a:pt x="39" y="117"/>
                    <a:pt x="39" y="117"/>
                    <a:pt x="40" y="117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9"/>
                    <a:pt x="39" y="119"/>
                  </a:cubicBezTo>
                  <a:cubicBezTo>
                    <a:pt x="39" y="119"/>
                    <a:pt x="39" y="118"/>
                    <a:pt x="39" y="119"/>
                  </a:cubicBezTo>
                  <a:cubicBezTo>
                    <a:pt x="39" y="118"/>
                    <a:pt x="39" y="118"/>
                    <a:pt x="39" y="118"/>
                  </a:cubicBezTo>
                  <a:close/>
                  <a:moveTo>
                    <a:pt x="36" y="127"/>
                  </a:moveTo>
                  <a:cubicBezTo>
                    <a:pt x="36" y="127"/>
                    <a:pt x="36" y="126"/>
                    <a:pt x="36" y="126"/>
                  </a:cubicBezTo>
                  <a:cubicBezTo>
                    <a:pt x="36" y="126"/>
                    <a:pt x="36" y="126"/>
                    <a:pt x="37" y="126"/>
                  </a:cubicBezTo>
                  <a:cubicBezTo>
                    <a:pt x="37" y="126"/>
                    <a:pt x="36" y="126"/>
                    <a:pt x="36" y="127"/>
                  </a:cubicBezTo>
                  <a:cubicBezTo>
                    <a:pt x="37" y="127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6" y="128"/>
                  </a:cubicBezTo>
                  <a:cubicBezTo>
                    <a:pt x="36" y="127"/>
                    <a:pt x="36" y="127"/>
                    <a:pt x="36" y="127"/>
                  </a:cubicBezTo>
                  <a:cubicBezTo>
                    <a:pt x="36" y="127"/>
                    <a:pt x="36" y="127"/>
                    <a:pt x="36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26D53860-F728-4A32-AC98-8E0A78D6E78F}"/>
                </a:ext>
              </a:extLst>
            </p:cNvPr>
            <p:cNvSpPr/>
            <p:nvPr/>
          </p:nvSpPr>
          <p:spPr bwMode="auto">
            <a:xfrm>
              <a:off x="8161338" y="3481388"/>
              <a:ext cx="620713" cy="165100"/>
            </a:xfrm>
            <a:custGeom>
              <a:avLst/>
              <a:gdLst>
                <a:gd name="T0" fmla="*/ 190 w 251"/>
                <a:gd name="T1" fmla="*/ 13 h 67"/>
                <a:gd name="T2" fmla="*/ 184 w 251"/>
                <a:gd name="T3" fmla="*/ 18 h 67"/>
                <a:gd name="T4" fmla="*/ 176 w 251"/>
                <a:gd name="T5" fmla="*/ 18 h 67"/>
                <a:gd name="T6" fmla="*/ 171 w 251"/>
                <a:gd name="T7" fmla="*/ 19 h 67"/>
                <a:gd name="T8" fmla="*/ 161 w 251"/>
                <a:gd name="T9" fmla="*/ 21 h 67"/>
                <a:gd name="T10" fmla="*/ 156 w 251"/>
                <a:gd name="T11" fmla="*/ 31 h 67"/>
                <a:gd name="T12" fmla="*/ 145 w 251"/>
                <a:gd name="T13" fmla="*/ 33 h 67"/>
                <a:gd name="T14" fmla="*/ 138 w 251"/>
                <a:gd name="T15" fmla="*/ 26 h 67"/>
                <a:gd name="T16" fmla="*/ 134 w 251"/>
                <a:gd name="T17" fmla="*/ 32 h 67"/>
                <a:gd name="T18" fmla="*/ 123 w 251"/>
                <a:gd name="T19" fmla="*/ 30 h 67"/>
                <a:gd name="T20" fmla="*/ 110 w 251"/>
                <a:gd name="T21" fmla="*/ 33 h 67"/>
                <a:gd name="T22" fmla="*/ 102 w 251"/>
                <a:gd name="T23" fmla="*/ 36 h 67"/>
                <a:gd name="T24" fmla="*/ 92 w 251"/>
                <a:gd name="T25" fmla="*/ 45 h 67"/>
                <a:gd name="T26" fmla="*/ 86 w 251"/>
                <a:gd name="T27" fmla="*/ 42 h 67"/>
                <a:gd name="T28" fmla="*/ 71 w 251"/>
                <a:gd name="T29" fmla="*/ 48 h 67"/>
                <a:gd name="T30" fmla="*/ 25 w 251"/>
                <a:gd name="T31" fmla="*/ 61 h 67"/>
                <a:gd name="T32" fmla="*/ 6 w 251"/>
                <a:gd name="T33" fmla="*/ 66 h 67"/>
                <a:gd name="T34" fmla="*/ 190 w 251"/>
                <a:gd name="T35" fmla="*/ 23 h 67"/>
                <a:gd name="T36" fmla="*/ 178 w 251"/>
                <a:gd name="T37" fmla="*/ 24 h 67"/>
                <a:gd name="T38" fmla="*/ 186 w 251"/>
                <a:gd name="T39" fmla="*/ 21 h 67"/>
                <a:gd name="T40" fmla="*/ 179 w 251"/>
                <a:gd name="T41" fmla="*/ 22 h 67"/>
                <a:gd name="T42" fmla="*/ 198 w 251"/>
                <a:gd name="T43" fmla="*/ 15 h 67"/>
                <a:gd name="T44" fmla="*/ 196 w 251"/>
                <a:gd name="T45" fmla="*/ 12 h 67"/>
                <a:gd name="T46" fmla="*/ 213 w 251"/>
                <a:gd name="T47" fmla="*/ 4 h 67"/>
                <a:gd name="T48" fmla="*/ 207 w 251"/>
                <a:gd name="T49" fmla="*/ 7 h 67"/>
                <a:gd name="T50" fmla="*/ 191 w 251"/>
                <a:gd name="T51" fmla="*/ 15 h 67"/>
                <a:gd name="T52" fmla="*/ 178 w 251"/>
                <a:gd name="T53" fmla="*/ 22 h 67"/>
                <a:gd name="T54" fmla="*/ 199 w 251"/>
                <a:gd name="T55" fmla="*/ 19 h 67"/>
                <a:gd name="T56" fmla="*/ 200 w 251"/>
                <a:gd name="T57" fmla="*/ 20 h 67"/>
                <a:gd name="T58" fmla="*/ 187 w 251"/>
                <a:gd name="T59" fmla="*/ 15 h 67"/>
                <a:gd name="T60" fmla="*/ 180 w 251"/>
                <a:gd name="T61" fmla="*/ 18 h 67"/>
                <a:gd name="T62" fmla="*/ 164 w 251"/>
                <a:gd name="T63" fmla="*/ 29 h 67"/>
                <a:gd name="T64" fmla="*/ 153 w 251"/>
                <a:gd name="T65" fmla="*/ 31 h 67"/>
                <a:gd name="T66" fmla="*/ 149 w 251"/>
                <a:gd name="T67" fmla="*/ 31 h 67"/>
                <a:gd name="T68" fmla="*/ 156 w 251"/>
                <a:gd name="T69" fmla="*/ 28 h 67"/>
                <a:gd name="T70" fmla="*/ 152 w 251"/>
                <a:gd name="T71" fmla="*/ 30 h 67"/>
                <a:gd name="T72" fmla="*/ 147 w 251"/>
                <a:gd name="T73" fmla="*/ 23 h 67"/>
                <a:gd name="T74" fmla="*/ 95 w 251"/>
                <a:gd name="T75" fmla="*/ 40 h 67"/>
                <a:gd name="T76" fmla="*/ 107 w 251"/>
                <a:gd name="T77" fmla="*/ 38 h 67"/>
                <a:gd name="T78" fmla="*/ 108 w 251"/>
                <a:gd name="T79" fmla="*/ 36 h 67"/>
                <a:gd name="T80" fmla="*/ 120 w 251"/>
                <a:gd name="T81" fmla="*/ 35 h 67"/>
                <a:gd name="T82" fmla="*/ 137 w 251"/>
                <a:gd name="T83" fmla="*/ 33 h 67"/>
                <a:gd name="T84" fmla="*/ 142 w 251"/>
                <a:gd name="T85" fmla="*/ 35 h 67"/>
                <a:gd name="T86" fmla="*/ 119 w 251"/>
                <a:gd name="T87" fmla="*/ 39 h 67"/>
                <a:gd name="T88" fmla="*/ 98 w 251"/>
                <a:gd name="T89" fmla="*/ 44 h 67"/>
                <a:gd name="T90" fmla="*/ 101 w 251"/>
                <a:gd name="T91" fmla="*/ 40 h 67"/>
                <a:gd name="T92" fmla="*/ 138 w 251"/>
                <a:gd name="T93" fmla="*/ 34 h 67"/>
                <a:gd name="T94" fmla="*/ 119 w 251"/>
                <a:gd name="T95" fmla="*/ 36 h 67"/>
                <a:gd name="T96" fmla="*/ 113 w 251"/>
                <a:gd name="T97" fmla="*/ 38 h 67"/>
                <a:gd name="T98" fmla="*/ 98 w 251"/>
                <a:gd name="T99" fmla="*/ 44 h 67"/>
                <a:gd name="T100" fmla="*/ 114 w 251"/>
                <a:gd name="T101" fmla="*/ 38 h 67"/>
                <a:gd name="T102" fmla="*/ 128 w 251"/>
                <a:gd name="T103" fmla="*/ 35 h 67"/>
                <a:gd name="T104" fmla="*/ 102 w 251"/>
                <a:gd name="T105" fmla="*/ 40 h 67"/>
                <a:gd name="T106" fmla="*/ 140 w 251"/>
                <a:gd name="T107" fmla="*/ 31 h 67"/>
                <a:gd name="T108" fmla="*/ 137 w 251"/>
                <a:gd name="T109" fmla="*/ 29 h 67"/>
                <a:gd name="T110" fmla="*/ 134 w 251"/>
                <a:gd name="T111" fmla="*/ 27 h 67"/>
                <a:gd name="T112" fmla="*/ 126 w 251"/>
                <a:gd name="T113" fmla="*/ 27 h 67"/>
                <a:gd name="T114" fmla="*/ 120 w 251"/>
                <a:gd name="T115" fmla="*/ 30 h 67"/>
                <a:gd name="T116" fmla="*/ 96 w 251"/>
                <a:gd name="T117" fmla="*/ 44 h 67"/>
                <a:gd name="T118" fmla="*/ 93 w 251"/>
                <a:gd name="T119" fmla="*/ 45 h 67"/>
                <a:gd name="T120" fmla="*/ 71 w 251"/>
                <a:gd name="T121" fmla="*/ 51 h 67"/>
                <a:gd name="T122" fmla="*/ 25 w 251"/>
                <a:gd name="T123" fmla="*/ 62 h 67"/>
                <a:gd name="T124" fmla="*/ 140 w 251"/>
                <a:gd name="T125" fmla="*/ 2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67">
                  <a:moveTo>
                    <a:pt x="249" y="8"/>
                  </a:moveTo>
                  <a:cubicBezTo>
                    <a:pt x="249" y="8"/>
                    <a:pt x="249" y="8"/>
                    <a:pt x="249" y="8"/>
                  </a:cubicBezTo>
                  <a:cubicBezTo>
                    <a:pt x="248" y="8"/>
                    <a:pt x="249" y="8"/>
                    <a:pt x="248" y="9"/>
                  </a:cubicBezTo>
                  <a:cubicBezTo>
                    <a:pt x="248" y="8"/>
                    <a:pt x="248" y="8"/>
                    <a:pt x="249" y="8"/>
                  </a:cubicBezTo>
                  <a:close/>
                  <a:moveTo>
                    <a:pt x="227" y="1"/>
                  </a:moveTo>
                  <a:cubicBezTo>
                    <a:pt x="227" y="1"/>
                    <a:pt x="227" y="1"/>
                    <a:pt x="228" y="1"/>
                  </a:cubicBezTo>
                  <a:cubicBezTo>
                    <a:pt x="227" y="1"/>
                    <a:pt x="228" y="1"/>
                    <a:pt x="228" y="2"/>
                  </a:cubicBezTo>
                  <a:cubicBezTo>
                    <a:pt x="227" y="2"/>
                    <a:pt x="227" y="1"/>
                    <a:pt x="227" y="1"/>
                  </a:cubicBezTo>
                  <a:close/>
                  <a:moveTo>
                    <a:pt x="223" y="2"/>
                  </a:move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lose/>
                  <a:moveTo>
                    <a:pt x="221" y="2"/>
                  </a:moveTo>
                  <a:cubicBezTo>
                    <a:pt x="222" y="2"/>
                    <a:pt x="221" y="3"/>
                    <a:pt x="222" y="2"/>
                  </a:cubicBezTo>
                  <a:cubicBezTo>
                    <a:pt x="222" y="2"/>
                    <a:pt x="221" y="2"/>
                    <a:pt x="221" y="3"/>
                  </a:cubicBezTo>
                  <a:cubicBezTo>
                    <a:pt x="221" y="3"/>
                    <a:pt x="221" y="2"/>
                    <a:pt x="221" y="2"/>
                  </a:cubicBezTo>
                  <a:close/>
                  <a:moveTo>
                    <a:pt x="217" y="3"/>
                  </a:moveTo>
                  <a:cubicBezTo>
                    <a:pt x="217" y="3"/>
                    <a:pt x="217" y="3"/>
                    <a:pt x="217" y="3"/>
                  </a:cubicBezTo>
                  <a:cubicBezTo>
                    <a:pt x="216" y="3"/>
                    <a:pt x="216" y="4"/>
                    <a:pt x="216" y="3"/>
                  </a:cubicBezTo>
                  <a:cubicBezTo>
                    <a:pt x="216" y="3"/>
                    <a:pt x="216" y="3"/>
                    <a:pt x="217" y="3"/>
                  </a:cubicBezTo>
                  <a:close/>
                  <a:moveTo>
                    <a:pt x="210" y="5"/>
                  </a:moveTo>
                  <a:cubicBezTo>
                    <a:pt x="210" y="5"/>
                    <a:pt x="210" y="5"/>
                    <a:pt x="209" y="5"/>
                  </a:cubicBezTo>
                  <a:cubicBezTo>
                    <a:pt x="209" y="5"/>
                    <a:pt x="210" y="5"/>
                    <a:pt x="210" y="4"/>
                  </a:cubicBezTo>
                  <a:cubicBezTo>
                    <a:pt x="210" y="5"/>
                    <a:pt x="210" y="4"/>
                    <a:pt x="210" y="5"/>
                  </a:cubicBezTo>
                  <a:close/>
                  <a:moveTo>
                    <a:pt x="209" y="4"/>
                  </a:moveTo>
                  <a:cubicBezTo>
                    <a:pt x="209" y="4"/>
                    <a:pt x="209" y="4"/>
                    <a:pt x="209" y="4"/>
                  </a:cubicBezTo>
                  <a:cubicBezTo>
                    <a:pt x="210" y="5"/>
                    <a:pt x="209" y="5"/>
                    <a:pt x="209" y="4"/>
                  </a:cubicBezTo>
                  <a:close/>
                  <a:moveTo>
                    <a:pt x="207" y="6"/>
                  </a:move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7" y="6"/>
                  </a:cubicBezTo>
                  <a:close/>
                  <a:moveTo>
                    <a:pt x="203" y="9"/>
                  </a:moveTo>
                  <a:cubicBezTo>
                    <a:pt x="203" y="9"/>
                    <a:pt x="203" y="9"/>
                    <a:pt x="204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8"/>
                    <a:pt x="204" y="8"/>
                    <a:pt x="205" y="8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3" y="9"/>
                    <a:pt x="203" y="9"/>
                    <a:pt x="203" y="9"/>
                  </a:cubicBezTo>
                  <a:close/>
                  <a:moveTo>
                    <a:pt x="202" y="8"/>
                  </a:moveTo>
                  <a:cubicBezTo>
                    <a:pt x="202" y="8"/>
                    <a:pt x="202" y="8"/>
                    <a:pt x="202" y="8"/>
                  </a:cubicBezTo>
                  <a:cubicBezTo>
                    <a:pt x="202" y="8"/>
                    <a:pt x="202" y="8"/>
                    <a:pt x="202" y="8"/>
                  </a:cubicBezTo>
                  <a:cubicBezTo>
                    <a:pt x="203" y="8"/>
                    <a:pt x="202" y="8"/>
                    <a:pt x="202" y="8"/>
                  </a:cubicBezTo>
                  <a:close/>
                  <a:moveTo>
                    <a:pt x="200" y="9"/>
                  </a:moveTo>
                  <a:cubicBezTo>
                    <a:pt x="200" y="9"/>
                    <a:pt x="199" y="9"/>
                    <a:pt x="199" y="9"/>
                  </a:cubicBezTo>
                  <a:cubicBezTo>
                    <a:pt x="199" y="9"/>
                    <a:pt x="200" y="9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lose/>
                  <a:moveTo>
                    <a:pt x="198" y="10"/>
                  </a:moveTo>
                  <a:cubicBezTo>
                    <a:pt x="197" y="10"/>
                    <a:pt x="197" y="10"/>
                    <a:pt x="197" y="9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198" y="9"/>
                    <a:pt x="197" y="9"/>
                    <a:pt x="198" y="10"/>
                  </a:cubicBezTo>
                  <a:close/>
                  <a:moveTo>
                    <a:pt x="196" y="9"/>
                  </a:moveTo>
                  <a:cubicBezTo>
                    <a:pt x="196" y="9"/>
                    <a:pt x="197" y="9"/>
                    <a:pt x="198" y="8"/>
                  </a:cubicBezTo>
                  <a:cubicBezTo>
                    <a:pt x="198" y="9"/>
                    <a:pt x="197" y="9"/>
                    <a:pt x="196" y="9"/>
                  </a:cubicBezTo>
                  <a:close/>
                  <a:moveTo>
                    <a:pt x="195" y="9"/>
                  </a:move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5" y="9"/>
                    <a:pt x="195" y="9"/>
                  </a:cubicBezTo>
                  <a:close/>
                  <a:moveTo>
                    <a:pt x="196" y="15"/>
                  </a:move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lose/>
                  <a:moveTo>
                    <a:pt x="194" y="12"/>
                  </a:moveTo>
                  <a:cubicBezTo>
                    <a:pt x="195" y="12"/>
                    <a:pt x="194" y="12"/>
                    <a:pt x="195" y="12"/>
                  </a:cubicBezTo>
                  <a:cubicBezTo>
                    <a:pt x="195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lose/>
                  <a:moveTo>
                    <a:pt x="195" y="14"/>
                  </a:moveTo>
                  <a:cubicBezTo>
                    <a:pt x="196" y="15"/>
                    <a:pt x="195" y="15"/>
                    <a:pt x="196" y="15"/>
                  </a:cubicBezTo>
                  <a:cubicBezTo>
                    <a:pt x="196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4"/>
                  </a:cubicBezTo>
                  <a:close/>
                  <a:moveTo>
                    <a:pt x="196" y="20"/>
                  </a:moveTo>
                  <a:cubicBezTo>
                    <a:pt x="197" y="20"/>
                    <a:pt x="197" y="20"/>
                    <a:pt x="197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193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4" y="16"/>
                  </a:cubicBezTo>
                  <a:cubicBezTo>
                    <a:pt x="193" y="16"/>
                    <a:pt x="193" y="16"/>
                    <a:pt x="193" y="16"/>
                  </a:cubicBezTo>
                  <a:close/>
                  <a:moveTo>
                    <a:pt x="192" y="13"/>
                  </a:move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3" y="13"/>
                    <a:pt x="192" y="13"/>
                  </a:cubicBezTo>
                  <a:cubicBezTo>
                    <a:pt x="192" y="13"/>
                    <a:pt x="191" y="13"/>
                    <a:pt x="191" y="14"/>
                  </a:cubicBez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ubicBezTo>
                    <a:pt x="191" y="13"/>
                    <a:pt x="191" y="13"/>
                    <a:pt x="192" y="13"/>
                  </a:cubicBezTo>
                  <a:close/>
                  <a:moveTo>
                    <a:pt x="193" y="17"/>
                  </a:moveTo>
                  <a:cubicBezTo>
                    <a:pt x="193" y="17"/>
                    <a:pt x="193" y="17"/>
                    <a:pt x="192" y="17"/>
                  </a:cubicBezTo>
                  <a:cubicBezTo>
                    <a:pt x="192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lose/>
                  <a:moveTo>
                    <a:pt x="191" y="12"/>
                  </a:moveTo>
                  <a:cubicBezTo>
                    <a:pt x="191" y="12"/>
                    <a:pt x="191" y="12"/>
                    <a:pt x="191" y="12"/>
                  </a:cubicBezTo>
                  <a:cubicBezTo>
                    <a:pt x="191" y="13"/>
                    <a:pt x="191" y="12"/>
                    <a:pt x="191" y="12"/>
                  </a:cubicBezTo>
                  <a:cubicBezTo>
                    <a:pt x="191" y="12"/>
                    <a:pt x="191" y="12"/>
                    <a:pt x="191" y="12"/>
                  </a:cubicBezTo>
                  <a:close/>
                  <a:moveTo>
                    <a:pt x="192" y="16"/>
                  </a:move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lose/>
                  <a:moveTo>
                    <a:pt x="190" y="13"/>
                  </a:moveTo>
                  <a:cubicBezTo>
                    <a:pt x="190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lose/>
                  <a:moveTo>
                    <a:pt x="193" y="22"/>
                  </a:move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3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2" y="23"/>
                    <a:pt x="193" y="22"/>
                  </a:cubicBezTo>
                  <a:close/>
                  <a:moveTo>
                    <a:pt x="190" y="17"/>
                  </a:moveTo>
                  <a:cubicBezTo>
                    <a:pt x="190" y="17"/>
                    <a:pt x="189" y="17"/>
                    <a:pt x="189" y="17"/>
                  </a:cubicBezTo>
                  <a:cubicBezTo>
                    <a:pt x="189" y="17"/>
                    <a:pt x="190" y="17"/>
                    <a:pt x="190" y="17"/>
                  </a:cubicBezTo>
                  <a:close/>
                  <a:moveTo>
                    <a:pt x="189" y="13"/>
                  </a:moveTo>
                  <a:cubicBezTo>
                    <a:pt x="189" y="13"/>
                    <a:pt x="189" y="13"/>
                    <a:pt x="190" y="13"/>
                  </a:cubicBezTo>
                  <a:cubicBezTo>
                    <a:pt x="190" y="13"/>
                    <a:pt x="190" y="13"/>
                    <a:pt x="190" y="13"/>
                  </a:cubicBezTo>
                  <a:lnTo>
                    <a:pt x="189" y="13"/>
                  </a:lnTo>
                  <a:close/>
                  <a:moveTo>
                    <a:pt x="189" y="11"/>
                  </a:moveTo>
                  <a:cubicBezTo>
                    <a:pt x="189" y="11"/>
                    <a:pt x="189" y="11"/>
                    <a:pt x="189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1"/>
                    <a:pt x="189" y="10"/>
                    <a:pt x="189" y="11"/>
                  </a:cubicBezTo>
                  <a:close/>
                  <a:moveTo>
                    <a:pt x="191" y="23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23"/>
                    <a:pt x="191" y="22"/>
                    <a:pt x="192" y="23"/>
                  </a:cubicBezTo>
                  <a:cubicBezTo>
                    <a:pt x="191" y="23"/>
                    <a:pt x="191" y="22"/>
                    <a:pt x="191" y="23"/>
                  </a:cubicBezTo>
                  <a:close/>
                  <a:moveTo>
                    <a:pt x="190" y="18"/>
                  </a:move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5"/>
                    <a:pt x="189" y="15"/>
                    <a:pt x="189" y="15"/>
                  </a:cubicBezTo>
                  <a:close/>
                  <a:moveTo>
                    <a:pt x="189" y="17"/>
                  </a:moveTo>
                  <a:cubicBezTo>
                    <a:pt x="188" y="18"/>
                    <a:pt x="189" y="17"/>
                    <a:pt x="189" y="17"/>
                  </a:cubicBezTo>
                  <a:cubicBezTo>
                    <a:pt x="189" y="17"/>
                    <a:pt x="188" y="17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7"/>
                    <a:pt x="188" y="18"/>
                    <a:pt x="188" y="17"/>
                  </a:cubicBezTo>
                  <a:cubicBezTo>
                    <a:pt x="188" y="18"/>
                    <a:pt x="188" y="17"/>
                    <a:pt x="189" y="17"/>
                  </a:cubicBezTo>
                  <a:close/>
                  <a:moveTo>
                    <a:pt x="188" y="13"/>
                  </a:moveTo>
                  <a:cubicBezTo>
                    <a:pt x="188" y="13"/>
                    <a:pt x="187" y="14"/>
                    <a:pt x="187" y="13"/>
                  </a:cubicBezTo>
                  <a:cubicBezTo>
                    <a:pt x="187" y="13"/>
                    <a:pt x="187" y="13"/>
                    <a:pt x="188" y="13"/>
                  </a:cubicBezTo>
                  <a:close/>
                  <a:moveTo>
                    <a:pt x="188" y="16"/>
                  </a:moveTo>
                  <a:cubicBezTo>
                    <a:pt x="187" y="15"/>
                    <a:pt x="188" y="15"/>
                    <a:pt x="188" y="15"/>
                  </a:cubicBezTo>
                  <a:cubicBezTo>
                    <a:pt x="188" y="15"/>
                    <a:pt x="188" y="15"/>
                    <a:pt x="188" y="16"/>
                  </a:cubicBezTo>
                  <a:cubicBezTo>
                    <a:pt x="188" y="15"/>
                    <a:pt x="188" y="15"/>
                    <a:pt x="188" y="15"/>
                  </a:cubicBezTo>
                  <a:cubicBezTo>
                    <a:pt x="188" y="16"/>
                    <a:pt x="188" y="16"/>
                    <a:pt x="188" y="16"/>
                  </a:cubicBezTo>
                  <a:close/>
                  <a:moveTo>
                    <a:pt x="187" y="15"/>
                  </a:move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5"/>
                    <a:pt x="187" y="16"/>
                    <a:pt x="187" y="15"/>
                  </a:cubicBezTo>
                  <a:close/>
                  <a:moveTo>
                    <a:pt x="186" y="19"/>
                  </a:moveTo>
                  <a:cubicBezTo>
                    <a:pt x="187" y="18"/>
                    <a:pt x="186" y="18"/>
                    <a:pt x="187" y="18"/>
                  </a:cubicBezTo>
                  <a:cubicBezTo>
                    <a:pt x="187" y="19"/>
                    <a:pt x="187" y="18"/>
                    <a:pt x="188" y="18"/>
                  </a:cubicBezTo>
                  <a:cubicBezTo>
                    <a:pt x="187" y="19"/>
                    <a:pt x="187" y="18"/>
                    <a:pt x="186" y="19"/>
                  </a:cubicBezTo>
                  <a:close/>
                  <a:moveTo>
                    <a:pt x="184" y="12"/>
                  </a:move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1"/>
                    <a:pt x="184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4" y="11"/>
                    <a:pt x="184" y="11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lose/>
                  <a:moveTo>
                    <a:pt x="186" y="19"/>
                  </a:move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5" y="19"/>
                  </a:cubicBezTo>
                  <a:cubicBezTo>
                    <a:pt x="185" y="19"/>
                    <a:pt x="186" y="19"/>
                    <a:pt x="186" y="19"/>
                  </a:cubicBezTo>
                  <a:close/>
                  <a:moveTo>
                    <a:pt x="186" y="22"/>
                  </a:moveTo>
                  <a:cubicBezTo>
                    <a:pt x="186" y="22"/>
                    <a:pt x="186" y="22"/>
                    <a:pt x="185" y="22"/>
                  </a:cubicBezTo>
                  <a:cubicBezTo>
                    <a:pt x="185" y="22"/>
                    <a:pt x="186" y="22"/>
                    <a:pt x="186" y="22"/>
                  </a:cubicBezTo>
                  <a:close/>
                  <a:moveTo>
                    <a:pt x="185" y="19"/>
                  </a:moveTo>
                  <a:cubicBezTo>
                    <a:pt x="185" y="19"/>
                    <a:pt x="184" y="19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9"/>
                    <a:pt x="185" y="19"/>
                    <a:pt x="185" y="19"/>
                  </a:cubicBezTo>
                  <a:cubicBezTo>
                    <a:pt x="185" y="19"/>
                    <a:pt x="185" y="19"/>
                    <a:pt x="185" y="19"/>
                  </a:cubicBezTo>
                  <a:close/>
                  <a:moveTo>
                    <a:pt x="183" y="17"/>
                  </a:moveTo>
                  <a:cubicBezTo>
                    <a:pt x="183" y="16"/>
                    <a:pt x="184" y="16"/>
                    <a:pt x="184" y="16"/>
                  </a:cubicBezTo>
                  <a:cubicBezTo>
                    <a:pt x="184" y="16"/>
                    <a:pt x="183" y="16"/>
                    <a:pt x="184" y="17"/>
                  </a:cubicBezTo>
                  <a:cubicBezTo>
                    <a:pt x="183" y="17"/>
                    <a:pt x="183" y="16"/>
                    <a:pt x="183" y="17"/>
                  </a:cubicBezTo>
                  <a:close/>
                  <a:moveTo>
                    <a:pt x="183" y="14"/>
                  </a:move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4"/>
                    <a:pt x="183" y="14"/>
                  </a:cubicBezTo>
                  <a:close/>
                  <a:moveTo>
                    <a:pt x="183" y="19"/>
                  </a:moveTo>
                  <a:cubicBezTo>
                    <a:pt x="183" y="18"/>
                    <a:pt x="184" y="18"/>
                    <a:pt x="184" y="18"/>
                  </a:cubicBezTo>
                  <a:cubicBezTo>
                    <a:pt x="184" y="19"/>
                    <a:pt x="183" y="19"/>
                    <a:pt x="183" y="19"/>
                  </a:cubicBezTo>
                  <a:close/>
                  <a:moveTo>
                    <a:pt x="184" y="19"/>
                  </a:moveTo>
                  <a:cubicBezTo>
                    <a:pt x="184" y="19"/>
                    <a:pt x="184" y="19"/>
                    <a:pt x="185" y="19"/>
                  </a:cubicBezTo>
                  <a:cubicBezTo>
                    <a:pt x="185" y="19"/>
                    <a:pt x="184" y="20"/>
                    <a:pt x="184" y="20"/>
                  </a:cubicBezTo>
                  <a:cubicBezTo>
                    <a:pt x="184" y="19"/>
                    <a:pt x="184" y="19"/>
                    <a:pt x="184" y="19"/>
                  </a:cubicBezTo>
                  <a:close/>
                  <a:moveTo>
                    <a:pt x="184" y="18"/>
                  </a:move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3" y="18"/>
                    <a:pt x="183" y="18"/>
                    <a:pt x="183" y="18"/>
                  </a:cubicBezTo>
                  <a:cubicBezTo>
                    <a:pt x="183" y="18"/>
                    <a:pt x="184" y="18"/>
                    <a:pt x="184" y="18"/>
                  </a:cubicBezTo>
                  <a:close/>
                  <a:moveTo>
                    <a:pt x="184" y="21"/>
                  </a:moveTo>
                  <a:cubicBezTo>
                    <a:pt x="184" y="21"/>
                    <a:pt x="184" y="21"/>
                    <a:pt x="184" y="21"/>
                  </a:cubicBezTo>
                  <a:cubicBezTo>
                    <a:pt x="185" y="21"/>
                    <a:pt x="184" y="21"/>
                    <a:pt x="184" y="21"/>
                  </a:cubicBezTo>
                  <a:close/>
                  <a:moveTo>
                    <a:pt x="183" y="17"/>
                  </a:moveTo>
                  <a:cubicBezTo>
                    <a:pt x="183" y="17"/>
                    <a:pt x="183" y="17"/>
                    <a:pt x="182" y="17"/>
                  </a:cubicBezTo>
                  <a:cubicBezTo>
                    <a:pt x="182" y="17"/>
                    <a:pt x="182" y="17"/>
                    <a:pt x="182" y="17"/>
                  </a:cubicBezTo>
                  <a:cubicBezTo>
                    <a:pt x="182" y="17"/>
                    <a:pt x="183" y="17"/>
                    <a:pt x="183" y="17"/>
                  </a:cubicBezTo>
                  <a:close/>
                  <a:moveTo>
                    <a:pt x="181" y="20"/>
                  </a:moveTo>
                  <a:cubicBezTo>
                    <a:pt x="181" y="20"/>
                    <a:pt x="183" y="19"/>
                    <a:pt x="183" y="19"/>
                  </a:cubicBezTo>
                  <a:cubicBezTo>
                    <a:pt x="183" y="20"/>
                    <a:pt x="182" y="20"/>
                    <a:pt x="183" y="20"/>
                  </a:cubicBezTo>
                  <a:cubicBezTo>
                    <a:pt x="183" y="20"/>
                    <a:pt x="182" y="20"/>
                    <a:pt x="181" y="20"/>
                  </a:cubicBezTo>
                  <a:close/>
                  <a:moveTo>
                    <a:pt x="182" y="14"/>
                  </a:moveTo>
                  <a:cubicBezTo>
                    <a:pt x="182" y="14"/>
                    <a:pt x="182" y="15"/>
                    <a:pt x="182" y="15"/>
                  </a:cubicBezTo>
                  <a:cubicBezTo>
                    <a:pt x="182" y="15"/>
                    <a:pt x="182" y="15"/>
                    <a:pt x="182" y="15"/>
                  </a:cubicBezTo>
                  <a:cubicBezTo>
                    <a:pt x="181" y="15"/>
                    <a:pt x="182" y="15"/>
                    <a:pt x="182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1" y="15"/>
                    <a:pt x="182" y="14"/>
                    <a:pt x="182" y="14"/>
                  </a:cubicBezTo>
                  <a:close/>
                  <a:moveTo>
                    <a:pt x="182" y="19"/>
                  </a:moveTo>
                  <a:cubicBezTo>
                    <a:pt x="182" y="19"/>
                    <a:pt x="182" y="19"/>
                    <a:pt x="182" y="19"/>
                  </a:cubicBezTo>
                  <a:cubicBezTo>
                    <a:pt x="182" y="19"/>
                    <a:pt x="182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2" y="19"/>
                    <a:pt x="182" y="18"/>
                    <a:pt x="182" y="18"/>
                  </a:cubicBezTo>
                  <a:cubicBezTo>
                    <a:pt x="182" y="18"/>
                    <a:pt x="182" y="19"/>
                    <a:pt x="182" y="19"/>
                  </a:cubicBezTo>
                  <a:close/>
                  <a:moveTo>
                    <a:pt x="181" y="19"/>
                  </a:moveTo>
                  <a:cubicBezTo>
                    <a:pt x="181" y="19"/>
                    <a:pt x="181" y="19"/>
                    <a:pt x="180" y="19"/>
                  </a:cubicBezTo>
                  <a:cubicBezTo>
                    <a:pt x="180" y="19"/>
                    <a:pt x="181" y="19"/>
                    <a:pt x="181" y="19"/>
                  </a:cubicBezTo>
                  <a:close/>
                  <a:moveTo>
                    <a:pt x="180" y="13"/>
                  </a:moveTo>
                  <a:cubicBezTo>
                    <a:pt x="180" y="13"/>
                    <a:pt x="180" y="13"/>
                    <a:pt x="180" y="14"/>
                  </a:cubicBezTo>
                  <a:cubicBezTo>
                    <a:pt x="179" y="14"/>
                    <a:pt x="179" y="14"/>
                    <a:pt x="179" y="13"/>
                  </a:cubicBezTo>
                  <a:cubicBezTo>
                    <a:pt x="179" y="13"/>
                    <a:pt x="180" y="13"/>
                    <a:pt x="180" y="13"/>
                  </a:cubicBezTo>
                  <a:close/>
                  <a:moveTo>
                    <a:pt x="180" y="17"/>
                  </a:moveTo>
                  <a:cubicBezTo>
                    <a:pt x="180" y="17"/>
                    <a:pt x="180" y="17"/>
                    <a:pt x="181" y="17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0" y="17"/>
                    <a:pt x="180" y="17"/>
                    <a:pt x="180" y="17"/>
                  </a:cubicBezTo>
                  <a:close/>
                  <a:moveTo>
                    <a:pt x="180" y="20"/>
                  </a:move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1" y="20"/>
                    <a:pt x="180" y="20"/>
                  </a:cubicBezTo>
                  <a:close/>
                  <a:moveTo>
                    <a:pt x="180" y="15"/>
                  </a:moveTo>
                  <a:cubicBezTo>
                    <a:pt x="180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80" y="15"/>
                  </a:cubicBezTo>
                  <a:close/>
                  <a:moveTo>
                    <a:pt x="179" y="17"/>
                  </a:move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79" y="17"/>
                    <a:pt x="179" y="17"/>
                  </a:cubicBezTo>
                  <a:close/>
                  <a:moveTo>
                    <a:pt x="180" y="19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79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9" y="19"/>
                  </a:cubicBezTo>
                  <a:cubicBezTo>
                    <a:pt x="179" y="19"/>
                    <a:pt x="178" y="19"/>
                    <a:pt x="179" y="19"/>
                  </a:cubicBezTo>
                  <a:cubicBezTo>
                    <a:pt x="179" y="19"/>
                    <a:pt x="180" y="19"/>
                    <a:pt x="180" y="19"/>
                  </a:cubicBezTo>
                  <a:close/>
                  <a:moveTo>
                    <a:pt x="180" y="22"/>
                  </a:move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3"/>
                  </a:cubicBezTo>
                  <a:cubicBezTo>
                    <a:pt x="180" y="23"/>
                    <a:pt x="180" y="22"/>
                    <a:pt x="180" y="22"/>
                  </a:cubicBezTo>
                  <a:close/>
                  <a:moveTo>
                    <a:pt x="178" y="16"/>
                  </a:move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lose/>
                  <a:moveTo>
                    <a:pt x="180" y="25"/>
                  </a:moveTo>
                  <a:cubicBezTo>
                    <a:pt x="180" y="25"/>
                    <a:pt x="180" y="25"/>
                    <a:pt x="179" y="25"/>
                  </a:cubicBezTo>
                  <a:cubicBezTo>
                    <a:pt x="179" y="25"/>
                    <a:pt x="179" y="25"/>
                    <a:pt x="180" y="25"/>
                  </a:cubicBezTo>
                  <a:cubicBezTo>
                    <a:pt x="180" y="25"/>
                    <a:pt x="179" y="25"/>
                    <a:pt x="179" y="25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80" y="24"/>
                    <a:pt x="180" y="25"/>
                    <a:pt x="180" y="25"/>
                  </a:cubicBezTo>
                  <a:close/>
                  <a:moveTo>
                    <a:pt x="178" y="18"/>
                  </a:moveTo>
                  <a:cubicBezTo>
                    <a:pt x="177" y="18"/>
                    <a:pt x="177" y="18"/>
                    <a:pt x="177" y="18"/>
                  </a:cubicBezTo>
                  <a:cubicBezTo>
                    <a:pt x="177" y="18"/>
                    <a:pt x="178" y="18"/>
                    <a:pt x="178" y="18"/>
                  </a:cubicBezTo>
                  <a:cubicBezTo>
                    <a:pt x="178" y="18"/>
                    <a:pt x="177" y="18"/>
                    <a:pt x="178" y="18"/>
                  </a:cubicBezTo>
                  <a:close/>
                  <a:moveTo>
                    <a:pt x="178" y="17"/>
                  </a:moveTo>
                  <a:cubicBezTo>
                    <a:pt x="178" y="17"/>
                    <a:pt x="178" y="17"/>
                    <a:pt x="178" y="17"/>
                  </a:cubicBezTo>
                  <a:cubicBezTo>
                    <a:pt x="178" y="17"/>
                    <a:pt x="177" y="18"/>
                    <a:pt x="177" y="18"/>
                  </a:cubicBezTo>
                  <a:cubicBezTo>
                    <a:pt x="177" y="18"/>
                    <a:pt x="177" y="18"/>
                    <a:pt x="177" y="18"/>
                  </a:cubicBezTo>
                  <a:cubicBezTo>
                    <a:pt x="177" y="17"/>
                    <a:pt x="177" y="17"/>
                    <a:pt x="178" y="17"/>
                  </a:cubicBezTo>
                  <a:close/>
                  <a:moveTo>
                    <a:pt x="177" y="17"/>
                  </a:move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6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lose/>
                  <a:moveTo>
                    <a:pt x="178" y="20"/>
                  </a:moveTo>
                  <a:cubicBezTo>
                    <a:pt x="177" y="20"/>
                    <a:pt x="177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7" y="19"/>
                    <a:pt x="177" y="19"/>
                  </a:cubicBezTo>
                  <a:cubicBezTo>
                    <a:pt x="177" y="19"/>
                    <a:pt x="178" y="19"/>
                    <a:pt x="178" y="19"/>
                  </a:cubicBezTo>
                  <a:cubicBezTo>
                    <a:pt x="178" y="20"/>
                    <a:pt x="178" y="20"/>
                    <a:pt x="178" y="20"/>
                  </a:cubicBezTo>
                  <a:close/>
                  <a:moveTo>
                    <a:pt x="178" y="26"/>
                  </a:moveTo>
                  <a:cubicBezTo>
                    <a:pt x="178" y="26"/>
                    <a:pt x="179" y="25"/>
                    <a:pt x="179" y="26"/>
                  </a:cubicBezTo>
                  <a:cubicBezTo>
                    <a:pt x="179" y="26"/>
                    <a:pt x="178" y="26"/>
                    <a:pt x="178" y="26"/>
                  </a:cubicBezTo>
                  <a:close/>
                  <a:moveTo>
                    <a:pt x="176" y="18"/>
                  </a:moveTo>
                  <a:cubicBezTo>
                    <a:pt x="176" y="18"/>
                    <a:pt x="176" y="18"/>
                    <a:pt x="176" y="18"/>
                  </a:cubicBezTo>
                  <a:cubicBezTo>
                    <a:pt x="175" y="18"/>
                    <a:pt x="176" y="18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lose/>
                  <a:moveTo>
                    <a:pt x="175" y="19"/>
                  </a:moveTo>
                  <a:cubicBezTo>
                    <a:pt x="175" y="19"/>
                    <a:pt x="176" y="19"/>
                    <a:pt x="176" y="19"/>
                  </a:cubicBezTo>
                  <a:cubicBezTo>
                    <a:pt x="176" y="19"/>
                    <a:pt x="175" y="19"/>
                    <a:pt x="175" y="19"/>
                  </a:cubicBezTo>
                  <a:close/>
                  <a:moveTo>
                    <a:pt x="176" y="22"/>
                  </a:moveTo>
                  <a:cubicBezTo>
                    <a:pt x="176" y="22"/>
                    <a:pt x="176" y="21"/>
                    <a:pt x="176" y="21"/>
                  </a:cubicBezTo>
                  <a:cubicBezTo>
                    <a:pt x="177" y="22"/>
                    <a:pt x="176" y="22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5" y="22"/>
                    <a:pt x="176" y="21"/>
                    <a:pt x="176" y="22"/>
                  </a:cubicBezTo>
                  <a:close/>
                  <a:moveTo>
                    <a:pt x="177" y="25"/>
                  </a:move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5"/>
                    <a:pt x="176" y="25"/>
                    <a:pt x="177" y="25"/>
                  </a:cubicBezTo>
                  <a:close/>
                  <a:moveTo>
                    <a:pt x="175" y="18"/>
                  </a:moveTo>
                  <a:cubicBezTo>
                    <a:pt x="175" y="18"/>
                    <a:pt x="174" y="18"/>
                    <a:pt x="173" y="18"/>
                  </a:cubicBezTo>
                  <a:cubicBezTo>
                    <a:pt x="173" y="18"/>
                    <a:pt x="174" y="18"/>
                    <a:pt x="175" y="18"/>
                  </a:cubicBezTo>
                  <a:close/>
                  <a:moveTo>
                    <a:pt x="173" y="14"/>
                  </a:moveTo>
                  <a:cubicBezTo>
                    <a:pt x="173" y="14"/>
                    <a:pt x="173" y="14"/>
                    <a:pt x="174" y="14"/>
                  </a:cubicBezTo>
                  <a:cubicBezTo>
                    <a:pt x="174" y="14"/>
                    <a:pt x="173" y="14"/>
                    <a:pt x="173" y="14"/>
                  </a:cubicBezTo>
                  <a:close/>
                  <a:moveTo>
                    <a:pt x="175" y="21"/>
                  </a:moveTo>
                  <a:cubicBezTo>
                    <a:pt x="175" y="21"/>
                    <a:pt x="175" y="21"/>
                    <a:pt x="175" y="21"/>
                  </a:cubicBezTo>
                  <a:cubicBezTo>
                    <a:pt x="176" y="21"/>
                    <a:pt x="175" y="22"/>
                    <a:pt x="175" y="21"/>
                  </a:cubicBezTo>
                  <a:close/>
                  <a:moveTo>
                    <a:pt x="176" y="26"/>
                  </a:move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lose/>
                  <a:moveTo>
                    <a:pt x="175" y="26"/>
                  </a:move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4" y="26"/>
                    <a:pt x="174" y="26"/>
                  </a:cubicBezTo>
                  <a:cubicBezTo>
                    <a:pt x="174" y="26"/>
                    <a:pt x="175" y="26"/>
                    <a:pt x="175" y="26"/>
                  </a:cubicBezTo>
                  <a:close/>
                  <a:moveTo>
                    <a:pt x="172" y="19"/>
                  </a:moveTo>
                  <a:cubicBezTo>
                    <a:pt x="173" y="19"/>
                    <a:pt x="173" y="18"/>
                    <a:pt x="174" y="18"/>
                  </a:cubicBezTo>
                  <a:cubicBezTo>
                    <a:pt x="173" y="19"/>
                    <a:pt x="173" y="19"/>
                    <a:pt x="172" y="19"/>
                  </a:cubicBezTo>
                  <a:close/>
                  <a:moveTo>
                    <a:pt x="176" y="26"/>
                  </a:move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6" y="26"/>
                  </a:cubicBezTo>
                  <a:close/>
                  <a:moveTo>
                    <a:pt x="172" y="19"/>
                  </a:moveTo>
                  <a:cubicBezTo>
                    <a:pt x="172" y="19"/>
                    <a:pt x="172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2" y="19"/>
                    <a:pt x="172" y="19"/>
                    <a:pt x="172" y="19"/>
                  </a:cubicBezTo>
                  <a:close/>
                  <a:moveTo>
                    <a:pt x="172" y="20"/>
                  </a:moveTo>
                  <a:cubicBezTo>
                    <a:pt x="172" y="20"/>
                    <a:pt x="172" y="20"/>
                    <a:pt x="172" y="21"/>
                  </a:cubicBezTo>
                  <a:cubicBezTo>
                    <a:pt x="172" y="21"/>
                    <a:pt x="172" y="20"/>
                    <a:pt x="173" y="20"/>
                  </a:cubicBezTo>
                  <a:cubicBezTo>
                    <a:pt x="172" y="21"/>
                    <a:pt x="173" y="20"/>
                    <a:pt x="173" y="20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2" y="21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2" y="20"/>
                    <a:pt x="172" y="20"/>
                    <a:pt x="172" y="20"/>
                  </a:cubicBezTo>
                  <a:close/>
                  <a:moveTo>
                    <a:pt x="174" y="26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3" y="27"/>
                    <a:pt x="174" y="26"/>
                    <a:pt x="174" y="26"/>
                  </a:cubicBezTo>
                  <a:close/>
                  <a:moveTo>
                    <a:pt x="172" y="25"/>
                  </a:move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6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1" y="26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4"/>
                    <a:pt x="174" y="25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lose/>
                  <a:moveTo>
                    <a:pt x="173" y="26"/>
                  </a:move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4" y="26"/>
                  </a:cubicBezTo>
                  <a:cubicBezTo>
                    <a:pt x="173" y="26"/>
                    <a:pt x="174" y="26"/>
                    <a:pt x="174" y="26"/>
                  </a:cubicBezTo>
                  <a:cubicBezTo>
                    <a:pt x="174" y="26"/>
                    <a:pt x="173" y="26"/>
                    <a:pt x="173" y="26"/>
                  </a:cubicBezTo>
                  <a:cubicBezTo>
                    <a:pt x="173" y="27"/>
                    <a:pt x="172" y="26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3" y="26"/>
                    <a:pt x="173" y="26"/>
                    <a:pt x="173" y="26"/>
                  </a:cubicBezTo>
                  <a:close/>
                  <a:moveTo>
                    <a:pt x="173" y="27"/>
                  </a:moveTo>
                  <a:cubicBezTo>
                    <a:pt x="173" y="27"/>
                    <a:pt x="173" y="27"/>
                    <a:pt x="172" y="27"/>
                  </a:cubicBezTo>
                  <a:cubicBezTo>
                    <a:pt x="172" y="27"/>
                    <a:pt x="173" y="27"/>
                    <a:pt x="173" y="27"/>
                  </a:cubicBezTo>
                  <a:cubicBezTo>
                    <a:pt x="173" y="27"/>
                    <a:pt x="173" y="27"/>
                    <a:pt x="173" y="27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lose/>
                  <a:moveTo>
                    <a:pt x="169" y="15"/>
                  </a:moveTo>
                  <a:cubicBezTo>
                    <a:pt x="169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69" y="15"/>
                  </a:cubicBezTo>
                  <a:close/>
                  <a:moveTo>
                    <a:pt x="169" y="20"/>
                  </a:moveTo>
                  <a:cubicBezTo>
                    <a:pt x="169" y="20"/>
                    <a:pt x="170" y="19"/>
                    <a:pt x="169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lose/>
                  <a:moveTo>
                    <a:pt x="172" y="25"/>
                  </a:moveTo>
                  <a:cubicBezTo>
                    <a:pt x="171" y="25"/>
                    <a:pt x="171" y="25"/>
                    <a:pt x="172" y="25"/>
                  </a:cubicBezTo>
                  <a:cubicBezTo>
                    <a:pt x="171" y="25"/>
                    <a:pt x="170" y="26"/>
                    <a:pt x="169" y="26"/>
                  </a:cubicBezTo>
                  <a:cubicBezTo>
                    <a:pt x="169" y="26"/>
                    <a:pt x="170" y="26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5"/>
                    <a:pt x="171" y="25"/>
                    <a:pt x="172" y="25"/>
                  </a:cubicBezTo>
                  <a:close/>
                  <a:moveTo>
                    <a:pt x="171" y="26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2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lose/>
                  <a:moveTo>
                    <a:pt x="170" y="21"/>
                  </a:move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lose/>
                  <a:moveTo>
                    <a:pt x="169" y="19"/>
                  </a:move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lose/>
                  <a:moveTo>
                    <a:pt x="171" y="26"/>
                  </a:move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70" y="26"/>
                    <a:pt x="171" y="26"/>
                  </a:cubicBezTo>
                  <a:close/>
                  <a:moveTo>
                    <a:pt x="167" y="20"/>
                  </a:moveTo>
                  <a:cubicBezTo>
                    <a:pt x="168" y="20"/>
                    <a:pt x="170" y="19"/>
                    <a:pt x="168" y="20"/>
                  </a:cubicBezTo>
                  <a:cubicBezTo>
                    <a:pt x="169" y="20"/>
                    <a:pt x="168" y="20"/>
                    <a:pt x="168" y="20"/>
                  </a:cubicBezTo>
                  <a:cubicBezTo>
                    <a:pt x="168" y="20"/>
                    <a:pt x="167" y="20"/>
                    <a:pt x="167" y="20"/>
                  </a:cubicBezTo>
                  <a:close/>
                  <a:moveTo>
                    <a:pt x="167" y="19"/>
                  </a:moveTo>
                  <a:cubicBezTo>
                    <a:pt x="167" y="19"/>
                    <a:pt x="167" y="19"/>
                    <a:pt x="168" y="19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8" y="19"/>
                    <a:pt x="168" y="19"/>
                    <a:pt x="167" y="19"/>
                  </a:cubicBezTo>
                  <a:close/>
                  <a:moveTo>
                    <a:pt x="169" y="24"/>
                  </a:move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lose/>
                  <a:moveTo>
                    <a:pt x="168" y="20"/>
                  </a:moveTo>
                  <a:cubicBezTo>
                    <a:pt x="168" y="20"/>
                    <a:pt x="168" y="20"/>
                    <a:pt x="168" y="21"/>
                  </a:cubicBezTo>
                  <a:cubicBezTo>
                    <a:pt x="168" y="21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lose/>
                  <a:moveTo>
                    <a:pt x="166" y="20"/>
                  </a:moveTo>
                  <a:cubicBezTo>
                    <a:pt x="166" y="19"/>
                    <a:pt x="165" y="20"/>
                    <a:pt x="166" y="20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4" y="20"/>
                    <a:pt x="164" y="20"/>
                    <a:pt x="164" y="20"/>
                  </a:cubicBezTo>
                  <a:cubicBezTo>
                    <a:pt x="164" y="20"/>
                    <a:pt x="163" y="20"/>
                    <a:pt x="163" y="20"/>
                  </a:cubicBezTo>
                  <a:cubicBezTo>
                    <a:pt x="162" y="20"/>
                    <a:pt x="163" y="20"/>
                    <a:pt x="163" y="20"/>
                  </a:cubicBezTo>
                  <a:cubicBezTo>
                    <a:pt x="163" y="20"/>
                    <a:pt x="164" y="20"/>
                    <a:pt x="165" y="20"/>
                  </a:cubicBezTo>
                  <a:cubicBezTo>
                    <a:pt x="165" y="20"/>
                    <a:pt x="166" y="19"/>
                    <a:pt x="166" y="20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7" y="19"/>
                    <a:pt x="167" y="19"/>
                  </a:cubicBezTo>
                  <a:cubicBezTo>
                    <a:pt x="167" y="19"/>
                    <a:pt x="166" y="20"/>
                    <a:pt x="166" y="20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7"/>
                    <a:pt x="168" y="27"/>
                  </a:cubicBezTo>
                  <a:cubicBezTo>
                    <a:pt x="168" y="27"/>
                    <a:pt x="168" y="28"/>
                    <a:pt x="168" y="28"/>
                  </a:cubicBezTo>
                  <a:close/>
                  <a:moveTo>
                    <a:pt x="167" y="22"/>
                  </a:moveTo>
                  <a:cubicBezTo>
                    <a:pt x="167" y="22"/>
                    <a:pt x="166" y="23"/>
                    <a:pt x="166" y="22"/>
                  </a:cubicBezTo>
                  <a:cubicBezTo>
                    <a:pt x="166" y="22"/>
                    <a:pt x="166" y="22"/>
                    <a:pt x="167" y="22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8"/>
                    <a:pt x="167" y="28"/>
                  </a:cubicBezTo>
                  <a:cubicBezTo>
                    <a:pt x="167" y="28"/>
                    <a:pt x="168" y="28"/>
                    <a:pt x="168" y="28"/>
                  </a:cubicBezTo>
                  <a:cubicBezTo>
                    <a:pt x="168" y="28"/>
                    <a:pt x="168" y="28"/>
                    <a:pt x="168" y="28"/>
                  </a:cubicBezTo>
                  <a:close/>
                  <a:moveTo>
                    <a:pt x="166" y="25"/>
                  </a:moveTo>
                  <a:cubicBezTo>
                    <a:pt x="166" y="25"/>
                    <a:pt x="166" y="25"/>
                    <a:pt x="167" y="25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66" y="25"/>
                    <a:pt x="166" y="25"/>
                    <a:pt x="166" y="25"/>
                  </a:cubicBezTo>
                  <a:close/>
                  <a:moveTo>
                    <a:pt x="167" y="28"/>
                  </a:moveTo>
                  <a:cubicBezTo>
                    <a:pt x="167" y="28"/>
                    <a:pt x="167" y="29"/>
                    <a:pt x="167" y="29"/>
                  </a:cubicBezTo>
                  <a:cubicBezTo>
                    <a:pt x="167" y="29"/>
                    <a:pt x="167" y="28"/>
                    <a:pt x="167" y="28"/>
                  </a:cubicBezTo>
                  <a:close/>
                  <a:moveTo>
                    <a:pt x="165" y="24"/>
                  </a:moveTo>
                  <a:cubicBezTo>
                    <a:pt x="165" y="24"/>
                    <a:pt x="165" y="24"/>
                    <a:pt x="166" y="24"/>
                  </a:cubicBezTo>
                  <a:cubicBezTo>
                    <a:pt x="166" y="24"/>
                    <a:pt x="166" y="24"/>
                    <a:pt x="165" y="24"/>
                  </a:cubicBezTo>
                  <a:close/>
                  <a:moveTo>
                    <a:pt x="165" y="29"/>
                  </a:moveTo>
                  <a:cubicBezTo>
                    <a:pt x="165" y="29"/>
                    <a:pt x="165" y="29"/>
                    <a:pt x="165" y="29"/>
                  </a:cubicBezTo>
                  <a:cubicBezTo>
                    <a:pt x="166" y="28"/>
                    <a:pt x="166" y="29"/>
                    <a:pt x="166" y="29"/>
                  </a:cubicBezTo>
                  <a:cubicBezTo>
                    <a:pt x="166" y="29"/>
                    <a:pt x="165" y="29"/>
                    <a:pt x="165" y="29"/>
                  </a:cubicBezTo>
                  <a:close/>
                  <a:moveTo>
                    <a:pt x="163" y="17"/>
                  </a:moveTo>
                  <a:cubicBezTo>
                    <a:pt x="163" y="17"/>
                    <a:pt x="162" y="17"/>
                    <a:pt x="162" y="17"/>
                  </a:cubicBezTo>
                  <a:cubicBezTo>
                    <a:pt x="162" y="17"/>
                    <a:pt x="163" y="17"/>
                    <a:pt x="163" y="17"/>
                  </a:cubicBezTo>
                  <a:close/>
                  <a:moveTo>
                    <a:pt x="162" y="21"/>
                  </a:moveTo>
                  <a:cubicBezTo>
                    <a:pt x="163" y="21"/>
                    <a:pt x="163" y="21"/>
                    <a:pt x="163" y="21"/>
                  </a:cubicBezTo>
                  <a:cubicBezTo>
                    <a:pt x="163" y="21"/>
                    <a:pt x="162" y="21"/>
                    <a:pt x="162" y="21"/>
                  </a:cubicBezTo>
                  <a:close/>
                  <a:moveTo>
                    <a:pt x="162" y="20"/>
                  </a:move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1" y="20"/>
                    <a:pt x="161" y="20"/>
                  </a:cubicBezTo>
                  <a:cubicBezTo>
                    <a:pt x="161" y="21"/>
                    <a:pt x="160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ubicBezTo>
                    <a:pt x="160" y="21"/>
                    <a:pt x="160" y="21"/>
                    <a:pt x="159" y="21"/>
                  </a:cubicBezTo>
                  <a:cubicBezTo>
                    <a:pt x="160" y="21"/>
                    <a:pt x="161" y="20"/>
                    <a:pt x="162" y="20"/>
                  </a:cubicBezTo>
                  <a:close/>
                  <a:moveTo>
                    <a:pt x="163" y="26"/>
                  </a:moveTo>
                  <a:cubicBezTo>
                    <a:pt x="163" y="26"/>
                    <a:pt x="163" y="26"/>
                    <a:pt x="163" y="26"/>
                  </a:cubicBezTo>
                  <a:cubicBezTo>
                    <a:pt x="162" y="26"/>
                    <a:pt x="162" y="26"/>
                    <a:pt x="162" y="26"/>
                  </a:cubicBezTo>
                  <a:cubicBezTo>
                    <a:pt x="162" y="26"/>
                    <a:pt x="163" y="25"/>
                    <a:pt x="163" y="26"/>
                  </a:cubicBezTo>
                  <a:close/>
                  <a:moveTo>
                    <a:pt x="161" y="24"/>
                  </a:moveTo>
                  <a:cubicBezTo>
                    <a:pt x="161" y="24"/>
                    <a:pt x="162" y="24"/>
                    <a:pt x="161" y="24"/>
                  </a:cubicBezTo>
                  <a:cubicBezTo>
                    <a:pt x="161" y="24"/>
                    <a:pt x="162" y="24"/>
                    <a:pt x="162" y="24"/>
                  </a:cubicBezTo>
                  <a:cubicBezTo>
                    <a:pt x="162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lose/>
                  <a:moveTo>
                    <a:pt x="160" y="21"/>
                  </a:moveTo>
                  <a:cubicBezTo>
                    <a:pt x="160" y="21"/>
                    <a:pt x="161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6"/>
                    <a:pt x="162" y="26"/>
                  </a:cubicBezTo>
                  <a:cubicBezTo>
                    <a:pt x="162" y="26"/>
                    <a:pt x="161" y="26"/>
                    <a:pt x="161" y="26"/>
                  </a:cubicBezTo>
                  <a:close/>
                  <a:moveTo>
                    <a:pt x="160" y="20"/>
                  </a:moveTo>
                  <a:cubicBezTo>
                    <a:pt x="160" y="21"/>
                    <a:pt x="159" y="21"/>
                    <a:pt x="159" y="21"/>
                  </a:cubicBezTo>
                  <a:cubicBezTo>
                    <a:pt x="159" y="20"/>
                    <a:pt x="159" y="21"/>
                    <a:pt x="160" y="20"/>
                  </a:cubicBezTo>
                  <a:close/>
                  <a:moveTo>
                    <a:pt x="161" y="25"/>
                  </a:moveTo>
                  <a:cubicBezTo>
                    <a:pt x="161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1" y="25"/>
                  </a:cubicBezTo>
                  <a:close/>
                  <a:moveTo>
                    <a:pt x="160" y="23"/>
                  </a:moveTo>
                  <a:cubicBezTo>
                    <a:pt x="160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60" y="23"/>
                  </a:cubicBezTo>
                  <a:close/>
                  <a:moveTo>
                    <a:pt x="158" y="22"/>
                  </a:moveTo>
                  <a:cubicBezTo>
                    <a:pt x="158" y="22"/>
                    <a:pt x="159" y="22"/>
                    <a:pt x="159" y="22"/>
                  </a:cubicBezTo>
                  <a:cubicBezTo>
                    <a:pt x="159" y="22"/>
                    <a:pt x="159" y="22"/>
                    <a:pt x="158" y="22"/>
                  </a:cubicBezTo>
                  <a:close/>
                  <a:moveTo>
                    <a:pt x="157" y="20"/>
                  </a:moveTo>
                  <a:cubicBezTo>
                    <a:pt x="157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7" y="20"/>
                  </a:cubicBezTo>
                  <a:close/>
                  <a:moveTo>
                    <a:pt x="159" y="27"/>
                  </a:moveTo>
                  <a:cubicBezTo>
                    <a:pt x="159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59" y="27"/>
                  </a:cubicBezTo>
                  <a:close/>
                  <a:moveTo>
                    <a:pt x="160" y="30"/>
                  </a:move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lose/>
                  <a:moveTo>
                    <a:pt x="159" y="25"/>
                  </a:moveTo>
                  <a:cubicBezTo>
                    <a:pt x="158" y="25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6" y="26"/>
                    <a:pt x="156" y="26"/>
                  </a:cubicBezTo>
                  <a:cubicBezTo>
                    <a:pt x="156" y="25"/>
                    <a:pt x="157" y="26"/>
                    <a:pt x="157" y="25"/>
                  </a:cubicBezTo>
                  <a:cubicBezTo>
                    <a:pt x="157" y="25"/>
                    <a:pt x="158" y="25"/>
                    <a:pt x="157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9" y="25"/>
                  </a:cubicBezTo>
                  <a:close/>
                  <a:moveTo>
                    <a:pt x="159" y="27"/>
                  </a:moveTo>
                  <a:cubicBezTo>
                    <a:pt x="159" y="27"/>
                    <a:pt x="159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8"/>
                  </a:cubicBezTo>
                  <a:cubicBezTo>
                    <a:pt x="157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9" y="27"/>
                    <a:pt x="158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lose/>
                  <a:moveTo>
                    <a:pt x="157" y="26"/>
                  </a:moveTo>
                  <a:cubicBezTo>
                    <a:pt x="157" y="26"/>
                    <a:pt x="158" y="26"/>
                    <a:pt x="158" y="26"/>
                  </a:cubicBezTo>
                  <a:cubicBezTo>
                    <a:pt x="158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lose/>
                  <a:moveTo>
                    <a:pt x="158" y="28"/>
                  </a:moveTo>
                  <a:cubicBezTo>
                    <a:pt x="158" y="29"/>
                    <a:pt x="158" y="28"/>
                    <a:pt x="158" y="29"/>
                  </a:cubicBezTo>
                  <a:cubicBezTo>
                    <a:pt x="158" y="29"/>
                    <a:pt x="157" y="29"/>
                    <a:pt x="158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8"/>
                    <a:pt x="157" y="28"/>
                    <a:pt x="156" y="29"/>
                  </a:cubicBezTo>
                  <a:cubicBezTo>
                    <a:pt x="157" y="28"/>
                    <a:pt x="157" y="28"/>
                    <a:pt x="158" y="28"/>
                  </a:cubicBezTo>
                  <a:close/>
                  <a:moveTo>
                    <a:pt x="156" y="22"/>
                  </a:moveTo>
                  <a:cubicBezTo>
                    <a:pt x="156" y="22"/>
                    <a:pt x="156" y="22"/>
                    <a:pt x="155" y="22"/>
                  </a:cubicBezTo>
                  <a:cubicBezTo>
                    <a:pt x="155" y="22"/>
                    <a:pt x="156" y="22"/>
                    <a:pt x="156" y="22"/>
                  </a:cubicBezTo>
                  <a:close/>
                  <a:moveTo>
                    <a:pt x="156" y="25"/>
                  </a:move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lose/>
                  <a:moveTo>
                    <a:pt x="157" y="27"/>
                  </a:moveTo>
                  <a:cubicBezTo>
                    <a:pt x="157" y="27"/>
                    <a:pt x="156" y="27"/>
                    <a:pt x="156" y="27"/>
                  </a:cubicBezTo>
                  <a:cubicBezTo>
                    <a:pt x="156" y="26"/>
                    <a:pt x="156" y="27"/>
                    <a:pt x="157" y="27"/>
                  </a:cubicBezTo>
                  <a:close/>
                  <a:moveTo>
                    <a:pt x="156" y="25"/>
                  </a:moveTo>
                  <a:cubicBezTo>
                    <a:pt x="155" y="25"/>
                    <a:pt x="155" y="25"/>
                    <a:pt x="155" y="25"/>
                  </a:cubicBezTo>
                  <a:cubicBezTo>
                    <a:pt x="155" y="25"/>
                    <a:pt x="154" y="26"/>
                    <a:pt x="154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3" y="26"/>
                    <a:pt x="153" y="25"/>
                  </a:cubicBezTo>
                  <a:cubicBezTo>
                    <a:pt x="154" y="25"/>
                    <a:pt x="155" y="25"/>
                    <a:pt x="156" y="25"/>
                  </a:cubicBezTo>
                  <a:close/>
                  <a:moveTo>
                    <a:pt x="157" y="31"/>
                  </a:moveTo>
                  <a:cubicBezTo>
                    <a:pt x="157" y="31"/>
                    <a:pt x="156" y="31"/>
                    <a:pt x="156" y="31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6" y="31"/>
                    <a:pt x="157" y="30"/>
                    <a:pt x="157" y="31"/>
                  </a:cubicBezTo>
                  <a:close/>
                  <a:moveTo>
                    <a:pt x="156" y="29"/>
                  </a:move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lose/>
                  <a:moveTo>
                    <a:pt x="155" y="32"/>
                  </a:moveTo>
                  <a:cubicBezTo>
                    <a:pt x="154" y="32"/>
                    <a:pt x="153" y="32"/>
                    <a:pt x="152" y="32"/>
                  </a:cubicBezTo>
                  <a:cubicBezTo>
                    <a:pt x="153" y="32"/>
                    <a:pt x="155" y="31"/>
                    <a:pt x="156" y="31"/>
                  </a:cubicBezTo>
                  <a:cubicBezTo>
                    <a:pt x="156" y="31"/>
                    <a:pt x="155" y="32"/>
                    <a:pt x="155" y="32"/>
                  </a:cubicBezTo>
                  <a:close/>
                  <a:moveTo>
                    <a:pt x="152" y="23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23"/>
                    <a:pt x="153" y="23"/>
                    <a:pt x="152" y="23"/>
                  </a:cubicBezTo>
                  <a:close/>
                  <a:moveTo>
                    <a:pt x="154" y="29"/>
                  </a:moveTo>
                  <a:cubicBezTo>
                    <a:pt x="154" y="29"/>
                    <a:pt x="154" y="29"/>
                    <a:pt x="154" y="29"/>
                  </a:cubicBezTo>
                  <a:cubicBezTo>
                    <a:pt x="154" y="28"/>
                    <a:pt x="154" y="29"/>
                    <a:pt x="155" y="28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5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5"/>
                    <a:pt x="151" y="25"/>
                  </a:cubicBezTo>
                  <a:cubicBezTo>
                    <a:pt x="151" y="25"/>
                    <a:pt x="152" y="25"/>
                    <a:pt x="152" y="25"/>
                  </a:cubicBezTo>
                  <a:close/>
                  <a:moveTo>
                    <a:pt x="151" y="25"/>
                  </a:move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lose/>
                  <a:moveTo>
                    <a:pt x="149" y="33"/>
                  </a:moveTo>
                  <a:cubicBezTo>
                    <a:pt x="150" y="33"/>
                    <a:pt x="151" y="33"/>
                    <a:pt x="149" y="33"/>
                  </a:cubicBezTo>
                  <a:close/>
                  <a:moveTo>
                    <a:pt x="149" y="29"/>
                  </a:moveTo>
                  <a:cubicBezTo>
                    <a:pt x="149" y="29"/>
                    <a:pt x="149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lose/>
                  <a:moveTo>
                    <a:pt x="148" y="27"/>
                  </a:moveTo>
                  <a:cubicBezTo>
                    <a:pt x="148" y="26"/>
                    <a:pt x="148" y="27"/>
                    <a:pt x="148" y="26"/>
                  </a:cubicBezTo>
                  <a:cubicBezTo>
                    <a:pt x="148" y="27"/>
                    <a:pt x="148" y="27"/>
                    <a:pt x="148" y="27"/>
                  </a:cubicBezTo>
                  <a:close/>
                  <a:moveTo>
                    <a:pt x="149" y="30"/>
                  </a:moveTo>
                  <a:cubicBezTo>
                    <a:pt x="149" y="30"/>
                    <a:pt x="148" y="31"/>
                    <a:pt x="148" y="30"/>
                  </a:cubicBezTo>
                  <a:cubicBezTo>
                    <a:pt x="148" y="30"/>
                    <a:pt x="149" y="30"/>
                    <a:pt x="149" y="30"/>
                  </a:cubicBezTo>
                  <a:close/>
                  <a:moveTo>
                    <a:pt x="147" y="25"/>
                  </a:moveTo>
                  <a:cubicBezTo>
                    <a:pt x="147" y="25"/>
                    <a:pt x="147" y="25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6" y="27"/>
                    <a:pt x="146" y="27"/>
                    <a:pt x="146" y="27"/>
                  </a:cubicBezTo>
                  <a:cubicBezTo>
                    <a:pt x="147" y="27"/>
                    <a:pt x="147" y="27"/>
                    <a:pt x="148" y="27"/>
                  </a:cubicBezTo>
                  <a:cubicBezTo>
                    <a:pt x="147" y="27"/>
                    <a:pt x="146" y="27"/>
                    <a:pt x="146" y="28"/>
                  </a:cubicBezTo>
                  <a:close/>
                  <a:moveTo>
                    <a:pt x="146" y="26"/>
                  </a:moveTo>
                  <a:cubicBezTo>
                    <a:pt x="146" y="26"/>
                    <a:pt x="146" y="26"/>
                    <a:pt x="146" y="26"/>
                  </a:cubicBezTo>
                  <a:cubicBezTo>
                    <a:pt x="147" y="26"/>
                    <a:pt x="147" y="26"/>
                    <a:pt x="146" y="26"/>
                  </a:cubicBezTo>
                  <a:close/>
                  <a:moveTo>
                    <a:pt x="147" y="29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lose/>
                  <a:moveTo>
                    <a:pt x="146" y="30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30"/>
                    <a:pt x="146" y="30"/>
                    <a:pt x="146" y="30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7" y="28"/>
                    <a:pt x="146" y="28"/>
                    <a:pt x="146" y="28"/>
                  </a:cubicBezTo>
                  <a:close/>
                  <a:moveTo>
                    <a:pt x="146" y="34"/>
                  </a:move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7" y="34"/>
                    <a:pt x="146" y="34"/>
                  </a:cubicBezTo>
                  <a:close/>
                  <a:moveTo>
                    <a:pt x="144" y="23"/>
                  </a:move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lose/>
                  <a:moveTo>
                    <a:pt x="146" y="29"/>
                  </a:move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5" y="29"/>
                  </a:cubicBezTo>
                  <a:cubicBezTo>
                    <a:pt x="145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lose/>
                  <a:moveTo>
                    <a:pt x="144" y="25"/>
                  </a:moveTo>
                  <a:cubicBezTo>
                    <a:pt x="144" y="25"/>
                    <a:pt x="144" y="25"/>
                    <a:pt x="144" y="25"/>
                  </a:cubicBezTo>
                  <a:cubicBezTo>
                    <a:pt x="144" y="25"/>
                    <a:pt x="144" y="25"/>
                    <a:pt x="145" y="25"/>
                  </a:cubicBezTo>
                  <a:cubicBezTo>
                    <a:pt x="145" y="25"/>
                    <a:pt x="145" y="25"/>
                    <a:pt x="144" y="25"/>
                  </a:cubicBezTo>
                  <a:close/>
                  <a:moveTo>
                    <a:pt x="145" y="27"/>
                  </a:moveTo>
                  <a:cubicBezTo>
                    <a:pt x="144" y="27"/>
                    <a:pt x="144" y="27"/>
                    <a:pt x="144" y="27"/>
                  </a:cubicBezTo>
                  <a:cubicBezTo>
                    <a:pt x="144" y="26"/>
                    <a:pt x="145" y="26"/>
                    <a:pt x="145" y="27"/>
                  </a:cubicBezTo>
                  <a:close/>
                  <a:moveTo>
                    <a:pt x="145" y="33"/>
                  </a:moveTo>
                  <a:cubicBezTo>
                    <a:pt x="145" y="33"/>
                    <a:pt x="145" y="33"/>
                    <a:pt x="145" y="33"/>
                  </a:cubicBezTo>
                  <a:cubicBezTo>
                    <a:pt x="145" y="33"/>
                    <a:pt x="145" y="32"/>
                    <a:pt x="145" y="33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8"/>
                    <a:pt x="144" y="28"/>
                    <a:pt x="144" y="29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9"/>
                    <a:pt x="144" y="29"/>
                    <a:pt x="144" y="29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4"/>
                    <a:pt x="143" y="24"/>
                  </a:cubicBezTo>
                  <a:cubicBezTo>
                    <a:pt x="143" y="25"/>
                    <a:pt x="142" y="25"/>
                    <a:pt x="142" y="25"/>
                  </a:cubicBezTo>
                  <a:close/>
                  <a:moveTo>
                    <a:pt x="144" y="33"/>
                  </a:moveTo>
                  <a:cubicBezTo>
                    <a:pt x="144" y="33"/>
                    <a:pt x="144" y="33"/>
                    <a:pt x="143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lose/>
                  <a:moveTo>
                    <a:pt x="143" y="26"/>
                  </a:move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6"/>
                    <a:pt x="143" y="26"/>
                  </a:cubicBezTo>
                  <a:cubicBezTo>
                    <a:pt x="143" y="26"/>
                    <a:pt x="142" y="26"/>
                    <a:pt x="143" y="26"/>
                  </a:cubicBezTo>
                  <a:close/>
                  <a:moveTo>
                    <a:pt x="142" y="23"/>
                  </a:move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2"/>
                    <a:pt x="142" y="22"/>
                  </a:cubicBezTo>
                  <a:cubicBezTo>
                    <a:pt x="142" y="22"/>
                    <a:pt x="142" y="22"/>
                    <a:pt x="142" y="23"/>
                  </a:cubicBezTo>
                  <a:close/>
                  <a:moveTo>
                    <a:pt x="140" y="24"/>
                  </a:moveTo>
                  <a:cubicBezTo>
                    <a:pt x="139" y="24"/>
                    <a:pt x="137" y="24"/>
                    <a:pt x="136" y="24"/>
                  </a:cubicBezTo>
                  <a:cubicBezTo>
                    <a:pt x="138" y="24"/>
                    <a:pt x="139" y="24"/>
                    <a:pt x="141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1" y="24"/>
                    <a:pt x="140" y="23"/>
                    <a:pt x="140" y="24"/>
                  </a:cubicBezTo>
                  <a:close/>
                  <a:moveTo>
                    <a:pt x="142" y="27"/>
                  </a:moveTo>
                  <a:cubicBezTo>
                    <a:pt x="142" y="27"/>
                    <a:pt x="141" y="27"/>
                    <a:pt x="141" y="27"/>
                  </a:cubicBezTo>
                  <a:cubicBezTo>
                    <a:pt x="141" y="27"/>
                    <a:pt x="142" y="27"/>
                    <a:pt x="142" y="27"/>
                  </a:cubicBezTo>
                  <a:close/>
                  <a:moveTo>
                    <a:pt x="142" y="27"/>
                  </a:moveTo>
                  <a:cubicBezTo>
                    <a:pt x="142" y="27"/>
                    <a:pt x="142" y="28"/>
                    <a:pt x="141" y="28"/>
                  </a:cubicBezTo>
                  <a:cubicBezTo>
                    <a:pt x="141" y="28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lose/>
                  <a:moveTo>
                    <a:pt x="141" y="23"/>
                  </a:moveTo>
                  <a:cubicBezTo>
                    <a:pt x="141" y="23"/>
                    <a:pt x="141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lose/>
                  <a:moveTo>
                    <a:pt x="141" y="26"/>
                  </a:moveTo>
                  <a:cubicBezTo>
                    <a:pt x="141" y="26"/>
                    <a:pt x="141" y="25"/>
                    <a:pt x="141" y="25"/>
                  </a:cubicBezTo>
                  <a:cubicBezTo>
                    <a:pt x="142" y="25"/>
                    <a:pt x="141" y="26"/>
                    <a:pt x="142" y="26"/>
                  </a:cubicBezTo>
                  <a:cubicBezTo>
                    <a:pt x="142" y="26"/>
                    <a:pt x="141" y="25"/>
                    <a:pt x="141" y="26"/>
                  </a:cubicBezTo>
                  <a:close/>
                  <a:moveTo>
                    <a:pt x="141" y="26"/>
                  </a:moveTo>
                  <a:cubicBezTo>
                    <a:pt x="141" y="26"/>
                    <a:pt x="142" y="26"/>
                    <a:pt x="141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1" y="26"/>
                    <a:pt x="142" y="26"/>
                  </a:cubicBezTo>
                  <a:cubicBezTo>
                    <a:pt x="142" y="26"/>
                    <a:pt x="142" y="26"/>
                    <a:pt x="142" y="26"/>
                  </a:cubicBezTo>
                  <a:lnTo>
                    <a:pt x="141" y="26"/>
                  </a:lnTo>
                  <a:close/>
                  <a:moveTo>
                    <a:pt x="139" y="24"/>
                  </a:moveTo>
                  <a:cubicBezTo>
                    <a:pt x="140" y="24"/>
                    <a:pt x="140" y="24"/>
                    <a:pt x="141" y="24"/>
                  </a:cubicBezTo>
                  <a:cubicBezTo>
                    <a:pt x="141" y="24"/>
                    <a:pt x="141" y="24"/>
                    <a:pt x="140" y="24"/>
                  </a:cubicBezTo>
                  <a:cubicBezTo>
                    <a:pt x="140" y="24"/>
                    <a:pt x="140" y="24"/>
                    <a:pt x="139" y="24"/>
                  </a:cubicBezTo>
                  <a:close/>
                  <a:moveTo>
                    <a:pt x="140" y="24"/>
                  </a:move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4"/>
                  </a:cubicBezTo>
                  <a:close/>
                  <a:moveTo>
                    <a:pt x="141" y="29"/>
                  </a:moveTo>
                  <a:cubicBezTo>
                    <a:pt x="141" y="29"/>
                    <a:pt x="141" y="28"/>
                    <a:pt x="141" y="29"/>
                  </a:cubicBezTo>
                  <a:cubicBezTo>
                    <a:pt x="141" y="28"/>
                    <a:pt x="141" y="28"/>
                    <a:pt x="142" y="28"/>
                  </a:cubicBezTo>
                  <a:cubicBezTo>
                    <a:pt x="142" y="28"/>
                    <a:pt x="141" y="29"/>
                    <a:pt x="141" y="29"/>
                  </a:cubicBezTo>
                  <a:cubicBezTo>
                    <a:pt x="141" y="29"/>
                    <a:pt x="141" y="29"/>
                    <a:pt x="141" y="29"/>
                  </a:cubicBezTo>
                  <a:close/>
                  <a:moveTo>
                    <a:pt x="142" y="30"/>
                  </a:moveTo>
                  <a:cubicBezTo>
                    <a:pt x="142" y="30"/>
                    <a:pt x="142" y="30"/>
                    <a:pt x="141" y="30"/>
                  </a:cubicBezTo>
                  <a:cubicBezTo>
                    <a:pt x="141" y="30"/>
                    <a:pt x="142" y="30"/>
                    <a:pt x="142" y="30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2" y="30"/>
                    <a:pt x="141" y="30"/>
                    <a:pt x="141" y="30"/>
                  </a:cubicBezTo>
                  <a:close/>
                  <a:moveTo>
                    <a:pt x="141" y="27"/>
                  </a:move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7"/>
                    <a:pt x="140" y="27"/>
                    <a:pt x="141" y="27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lose/>
                  <a:moveTo>
                    <a:pt x="141" y="29"/>
                  </a:moveTo>
                  <a:cubicBezTo>
                    <a:pt x="141" y="30"/>
                    <a:pt x="140" y="30"/>
                    <a:pt x="140" y="30"/>
                  </a:cubicBezTo>
                  <a:cubicBezTo>
                    <a:pt x="140" y="29"/>
                    <a:pt x="140" y="30"/>
                    <a:pt x="141" y="29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1" y="30"/>
                  </a:cubicBezTo>
                  <a:close/>
                  <a:moveTo>
                    <a:pt x="139" y="24"/>
                  </a:move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5"/>
                    <a:pt x="139" y="24"/>
                  </a:cubicBezTo>
                  <a:close/>
                  <a:moveTo>
                    <a:pt x="139" y="25"/>
                  </a:moveTo>
                  <a:cubicBezTo>
                    <a:pt x="139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9" y="25"/>
                  </a:cubicBezTo>
                  <a:close/>
                  <a:moveTo>
                    <a:pt x="139" y="29"/>
                  </a:moveTo>
                  <a:cubicBezTo>
                    <a:pt x="139" y="29"/>
                    <a:pt x="139" y="29"/>
                    <a:pt x="138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9" y="29"/>
                    <a:pt x="139" y="28"/>
                    <a:pt x="139" y="28"/>
                  </a:cubicBezTo>
                  <a:cubicBezTo>
                    <a:pt x="139" y="29"/>
                    <a:pt x="139" y="29"/>
                    <a:pt x="139" y="29"/>
                  </a:cubicBezTo>
                  <a:close/>
                  <a:moveTo>
                    <a:pt x="138" y="26"/>
                  </a:move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7" y="27"/>
                    <a:pt x="136" y="27"/>
                  </a:cubicBezTo>
                  <a:cubicBezTo>
                    <a:pt x="137" y="27"/>
                    <a:pt x="136" y="27"/>
                    <a:pt x="136" y="26"/>
                  </a:cubicBezTo>
                  <a:cubicBezTo>
                    <a:pt x="137" y="26"/>
                    <a:pt x="137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37" y="26"/>
                  </a:moveTo>
                  <a:cubicBezTo>
                    <a:pt x="137" y="26"/>
                    <a:pt x="137" y="26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lose/>
                  <a:moveTo>
                    <a:pt x="138" y="29"/>
                  </a:moveTo>
                  <a:cubicBezTo>
                    <a:pt x="138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lose/>
                  <a:moveTo>
                    <a:pt x="137" y="25"/>
                  </a:move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lose/>
                  <a:moveTo>
                    <a:pt x="138" y="33"/>
                  </a:moveTo>
                  <a:cubicBezTo>
                    <a:pt x="138" y="33"/>
                    <a:pt x="138" y="33"/>
                    <a:pt x="139" y="33"/>
                  </a:cubicBezTo>
                  <a:cubicBezTo>
                    <a:pt x="138" y="33"/>
                    <a:pt x="138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8" y="32"/>
                    <a:pt x="138" y="32"/>
                    <a:pt x="139" y="32"/>
                  </a:cubicBezTo>
                  <a:cubicBezTo>
                    <a:pt x="138" y="32"/>
                    <a:pt x="139" y="33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40" y="32"/>
                    <a:pt x="140" y="32"/>
                    <a:pt x="141" y="32"/>
                  </a:cubicBezTo>
                  <a:cubicBezTo>
                    <a:pt x="140" y="32"/>
                    <a:pt x="142" y="32"/>
                    <a:pt x="142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1" y="32"/>
                    <a:pt x="140" y="32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8" y="33"/>
                    <a:pt x="138" y="33"/>
                  </a:cubicBezTo>
                  <a:cubicBezTo>
                    <a:pt x="138" y="33"/>
                    <a:pt x="138" y="33"/>
                    <a:pt x="138" y="33"/>
                  </a:cubicBezTo>
                  <a:close/>
                  <a:moveTo>
                    <a:pt x="135" y="25"/>
                  </a:move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5"/>
                    <a:pt x="137" y="25"/>
                  </a:cubicBezTo>
                  <a:cubicBezTo>
                    <a:pt x="137" y="26"/>
                    <a:pt x="136" y="26"/>
                    <a:pt x="135" y="26"/>
                  </a:cubicBezTo>
                  <a:cubicBezTo>
                    <a:pt x="136" y="26"/>
                    <a:pt x="136" y="26"/>
                    <a:pt x="135" y="25"/>
                  </a:cubicBezTo>
                  <a:close/>
                  <a:moveTo>
                    <a:pt x="137" y="30"/>
                  </a:moveTo>
                  <a:cubicBezTo>
                    <a:pt x="138" y="30"/>
                    <a:pt x="138" y="30"/>
                    <a:pt x="138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5" y="24"/>
                  </a:move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5" y="25"/>
                    <a:pt x="135" y="24"/>
                  </a:cubicBezTo>
                  <a:close/>
                  <a:moveTo>
                    <a:pt x="136" y="25"/>
                  </a:moveTo>
                  <a:cubicBezTo>
                    <a:pt x="136" y="25"/>
                    <a:pt x="135" y="25"/>
                    <a:pt x="134" y="25"/>
                  </a:cubicBezTo>
                  <a:cubicBezTo>
                    <a:pt x="135" y="25"/>
                    <a:pt x="135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lose/>
                  <a:moveTo>
                    <a:pt x="137" y="30"/>
                  </a:moveTo>
                  <a:cubicBezTo>
                    <a:pt x="137" y="30"/>
                    <a:pt x="137" y="30"/>
                    <a:pt x="137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6" y="29"/>
                  </a:moveTo>
                  <a:cubicBezTo>
                    <a:pt x="135" y="29"/>
                    <a:pt x="136" y="28"/>
                    <a:pt x="136" y="28"/>
                  </a:cubicBezTo>
                  <a:cubicBezTo>
                    <a:pt x="136" y="28"/>
                    <a:pt x="135" y="29"/>
                    <a:pt x="135" y="28"/>
                  </a:cubicBezTo>
                  <a:cubicBezTo>
                    <a:pt x="135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9"/>
                  </a:cubicBezTo>
                  <a:cubicBezTo>
                    <a:pt x="136" y="29"/>
                    <a:pt x="136" y="28"/>
                    <a:pt x="136" y="29"/>
                  </a:cubicBezTo>
                  <a:close/>
                  <a:moveTo>
                    <a:pt x="136" y="32"/>
                  </a:move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6" y="32"/>
                    <a:pt x="135" y="33"/>
                    <a:pt x="135" y="32"/>
                  </a:cubicBezTo>
                  <a:cubicBezTo>
                    <a:pt x="136" y="32"/>
                    <a:pt x="136" y="33"/>
                    <a:pt x="136" y="32"/>
                  </a:cubicBezTo>
                  <a:close/>
                  <a:moveTo>
                    <a:pt x="136" y="30"/>
                  </a:move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lose/>
                  <a:moveTo>
                    <a:pt x="134" y="27"/>
                  </a:moveTo>
                  <a:cubicBezTo>
                    <a:pt x="135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lose/>
                  <a:moveTo>
                    <a:pt x="133" y="25"/>
                  </a:move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3" y="25"/>
                    <a:pt x="133" y="25"/>
                  </a:cubicBezTo>
                  <a:close/>
                  <a:moveTo>
                    <a:pt x="134" y="27"/>
                  </a:move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3" y="27"/>
                    <a:pt x="134" y="27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0"/>
                    <a:pt x="134" y="30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3" y="31"/>
                    <a:pt x="133" y="31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3" y="31"/>
                  </a:cubicBezTo>
                  <a:close/>
                  <a:moveTo>
                    <a:pt x="133" y="26"/>
                  </a:move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3" y="26"/>
                    <a:pt x="133" y="26"/>
                    <a:pt x="133" y="26"/>
                  </a:cubicBezTo>
                  <a:close/>
                  <a:moveTo>
                    <a:pt x="134" y="32"/>
                  </a:moveTo>
                  <a:cubicBezTo>
                    <a:pt x="133" y="32"/>
                    <a:pt x="133" y="32"/>
                    <a:pt x="132" y="32"/>
                  </a:cubicBezTo>
                  <a:cubicBezTo>
                    <a:pt x="132" y="32"/>
                    <a:pt x="133" y="32"/>
                    <a:pt x="134" y="32"/>
                  </a:cubicBezTo>
                  <a:close/>
                  <a:moveTo>
                    <a:pt x="132" y="31"/>
                  </a:moveTo>
                  <a:cubicBezTo>
                    <a:pt x="133" y="31"/>
                    <a:pt x="133" y="31"/>
                    <a:pt x="133" y="31"/>
                  </a:cubicBezTo>
                  <a:cubicBezTo>
                    <a:pt x="132" y="31"/>
                    <a:pt x="131" y="31"/>
                    <a:pt x="131" y="31"/>
                  </a:cubicBezTo>
                  <a:cubicBezTo>
                    <a:pt x="131" y="31"/>
                    <a:pt x="132" y="31"/>
                    <a:pt x="132" y="31"/>
                  </a:cubicBezTo>
                  <a:close/>
                  <a:moveTo>
                    <a:pt x="131" y="28"/>
                  </a:moveTo>
                  <a:cubicBezTo>
                    <a:pt x="131" y="28"/>
                    <a:pt x="131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close/>
                  <a:moveTo>
                    <a:pt x="131" y="33"/>
                  </a:moveTo>
                  <a:cubicBezTo>
                    <a:pt x="131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1" y="33"/>
                  </a:cubicBezTo>
                  <a:close/>
                  <a:moveTo>
                    <a:pt x="132" y="33"/>
                  </a:move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lose/>
                  <a:moveTo>
                    <a:pt x="130" y="27"/>
                  </a:moveTo>
                  <a:cubicBezTo>
                    <a:pt x="130" y="27"/>
                    <a:pt x="131" y="27"/>
                    <a:pt x="131" y="27"/>
                  </a:cubicBezTo>
                  <a:cubicBezTo>
                    <a:pt x="131" y="27"/>
                    <a:pt x="130" y="27"/>
                    <a:pt x="130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27"/>
                    <a:pt x="131" y="27"/>
                    <a:pt x="130" y="27"/>
                  </a:cubicBezTo>
                  <a:close/>
                  <a:moveTo>
                    <a:pt x="130" y="31"/>
                  </a:move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1"/>
                    <a:pt x="130" y="31"/>
                    <a:pt x="130" y="31"/>
                  </a:cubicBezTo>
                  <a:close/>
                  <a:moveTo>
                    <a:pt x="129" y="26"/>
                  </a:moveTo>
                  <a:cubicBezTo>
                    <a:pt x="129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9" y="26"/>
                  </a:cubicBezTo>
                  <a:close/>
                  <a:moveTo>
                    <a:pt x="128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8"/>
                    <a:pt x="129" y="29"/>
                    <a:pt x="129" y="28"/>
                  </a:cubicBezTo>
                  <a:cubicBezTo>
                    <a:pt x="129" y="29"/>
                    <a:pt x="129" y="29"/>
                    <a:pt x="128" y="29"/>
                  </a:cubicBezTo>
                  <a:close/>
                  <a:moveTo>
                    <a:pt x="129" y="32"/>
                  </a:moveTo>
                  <a:cubicBezTo>
                    <a:pt x="129" y="32"/>
                    <a:pt x="128" y="32"/>
                    <a:pt x="128" y="32"/>
                  </a:cubicBezTo>
                  <a:cubicBezTo>
                    <a:pt x="129" y="32"/>
                    <a:pt x="129" y="32"/>
                    <a:pt x="129" y="32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9" y="29"/>
                  </a:cubicBezTo>
                  <a:close/>
                  <a:moveTo>
                    <a:pt x="128" y="31"/>
                  </a:move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8" y="31"/>
                  </a:cubicBezTo>
                  <a:close/>
                  <a:moveTo>
                    <a:pt x="127" y="29"/>
                  </a:moveTo>
                  <a:cubicBezTo>
                    <a:pt x="128" y="29"/>
                    <a:pt x="128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6" y="28"/>
                  </a:cubicBezTo>
                  <a:cubicBezTo>
                    <a:pt x="126" y="28"/>
                    <a:pt x="125" y="28"/>
                    <a:pt x="125" y="28"/>
                  </a:cubicBezTo>
                  <a:close/>
                  <a:moveTo>
                    <a:pt x="125" y="30"/>
                  </a:move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29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9"/>
                    <a:pt x="125" y="29"/>
                    <a:pt x="126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9"/>
                    <a:pt x="126" y="29"/>
                    <a:pt x="126" y="30"/>
                  </a:cubicBez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30"/>
                    <a:pt x="125" y="30"/>
                  </a:cubicBezTo>
                  <a:close/>
                  <a:moveTo>
                    <a:pt x="125" y="35"/>
                  </a:moveTo>
                  <a:cubicBezTo>
                    <a:pt x="125" y="34"/>
                    <a:pt x="126" y="35"/>
                    <a:pt x="126" y="34"/>
                  </a:cubicBezTo>
                  <a:cubicBezTo>
                    <a:pt x="126" y="35"/>
                    <a:pt x="126" y="34"/>
                    <a:pt x="125" y="35"/>
                  </a:cubicBezTo>
                  <a:close/>
                  <a:moveTo>
                    <a:pt x="125" y="31"/>
                  </a:move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0"/>
                  </a:cubicBez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4" y="31"/>
                    <a:pt x="125" y="31"/>
                  </a:cubicBezTo>
                  <a:close/>
                  <a:moveTo>
                    <a:pt x="124" y="28"/>
                  </a:moveTo>
                  <a:cubicBezTo>
                    <a:pt x="124" y="28"/>
                    <a:pt x="124" y="28"/>
                    <a:pt x="124" y="28"/>
                  </a:cubicBezTo>
                  <a:cubicBezTo>
                    <a:pt x="124" y="28"/>
                    <a:pt x="124" y="28"/>
                    <a:pt x="124" y="28"/>
                  </a:cubicBezTo>
                  <a:close/>
                  <a:moveTo>
                    <a:pt x="124" y="29"/>
                  </a:moveTo>
                  <a:cubicBezTo>
                    <a:pt x="124" y="29"/>
                    <a:pt x="124" y="29"/>
                    <a:pt x="124" y="29"/>
                  </a:cubicBezTo>
                  <a:cubicBezTo>
                    <a:pt x="124" y="29"/>
                    <a:pt x="124" y="29"/>
                    <a:pt x="12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4" y="29"/>
                    <a:pt x="124" y="29"/>
                    <a:pt x="124" y="29"/>
                  </a:cubicBezTo>
                  <a:close/>
                  <a:moveTo>
                    <a:pt x="125" y="33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lose/>
                  <a:moveTo>
                    <a:pt x="124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2" y="30"/>
                    <a:pt x="124" y="30"/>
                    <a:pt x="124" y="30"/>
                  </a:cubicBezTo>
                  <a:cubicBezTo>
                    <a:pt x="124" y="30"/>
                    <a:pt x="124" y="30"/>
                    <a:pt x="124" y="30"/>
                  </a:cubicBezTo>
                  <a:close/>
                  <a:moveTo>
                    <a:pt x="121" y="31"/>
                  </a:moveTo>
                  <a:cubicBezTo>
                    <a:pt x="122" y="31"/>
                    <a:pt x="123" y="31"/>
                    <a:pt x="124" y="31"/>
                  </a:cubicBezTo>
                  <a:cubicBezTo>
                    <a:pt x="124" y="31"/>
                    <a:pt x="122" y="32"/>
                    <a:pt x="121" y="31"/>
                  </a:cubicBezTo>
                  <a:close/>
                  <a:moveTo>
                    <a:pt x="124" y="34"/>
                  </a:moveTo>
                  <a:cubicBezTo>
                    <a:pt x="124" y="34"/>
                    <a:pt x="124" y="34"/>
                    <a:pt x="124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23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3" y="28"/>
                    <a:pt x="122" y="28"/>
                  </a:cubicBezTo>
                  <a:cubicBezTo>
                    <a:pt x="122" y="28"/>
                    <a:pt x="123" y="28"/>
                    <a:pt x="123" y="28"/>
                  </a:cubicBezTo>
                  <a:close/>
                  <a:moveTo>
                    <a:pt x="123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123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3" y="33"/>
                    <a:pt x="123" y="34"/>
                  </a:cubicBezTo>
                  <a:close/>
                  <a:moveTo>
                    <a:pt x="120" y="29"/>
                  </a:move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0" y="29"/>
                  </a:cubicBezTo>
                  <a:close/>
                  <a:moveTo>
                    <a:pt x="123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4" y="39"/>
                  </a:cubicBezTo>
                  <a:cubicBezTo>
                    <a:pt x="123" y="39"/>
                    <a:pt x="123" y="40"/>
                    <a:pt x="123" y="39"/>
                  </a:cubicBezTo>
                  <a:close/>
                  <a:moveTo>
                    <a:pt x="122" y="35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1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lose/>
                  <a:moveTo>
                    <a:pt x="122" y="38"/>
                  </a:move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lose/>
                  <a:moveTo>
                    <a:pt x="120" y="32"/>
                  </a:moveTo>
                  <a:cubicBezTo>
                    <a:pt x="120" y="32"/>
                    <a:pt x="120" y="32"/>
                    <a:pt x="120" y="32"/>
                  </a:cubicBezTo>
                  <a:cubicBezTo>
                    <a:pt x="121" y="33"/>
                    <a:pt x="119" y="33"/>
                    <a:pt x="120" y="32"/>
                  </a:cubicBezTo>
                  <a:close/>
                  <a:moveTo>
                    <a:pt x="119" y="30"/>
                  </a:moveTo>
                  <a:cubicBezTo>
                    <a:pt x="119" y="30"/>
                    <a:pt x="119" y="30"/>
                    <a:pt x="120" y="3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9" y="30"/>
                    <a:pt x="119" y="30"/>
                    <a:pt x="119" y="30"/>
                  </a:cubicBezTo>
                  <a:close/>
                  <a:moveTo>
                    <a:pt x="120" y="39"/>
                  </a:moveTo>
                  <a:cubicBezTo>
                    <a:pt x="120" y="39"/>
                    <a:pt x="120" y="39"/>
                    <a:pt x="120" y="39"/>
                  </a:cubicBezTo>
                  <a:cubicBezTo>
                    <a:pt x="121" y="39"/>
                    <a:pt x="120" y="39"/>
                    <a:pt x="121" y="39"/>
                  </a:cubicBezTo>
                  <a:cubicBezTo>
                    <a:pt x="121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lose/>
                  <a:moveTo>
                    <a:pt x="116" y="30"/>
                  </a:moveTo>
                  <a:cubicBezTo>
                    <a:pt x="117" y="30"/>
                    <a:pt x="117" y="30"/>
                    <a:pt x="118" y="30"/>
                  </a:cubicBezTo>
                  <a:cubicBezTo>
                    <a:pt x="118" y="30"/>
                    <a:pt x="117" y="30"/>
                    <a:pt x="116" y="30"/>
                  </a:cubicBezTo>
                  <a:close/>
                  <a:moveTo>
                    <a:pt x="116" y="31"/>
                  </a:moveTo>
                  <a:cubicBezTo>
                    <a:pt x="116" y="31"/>
                    <a:pt x="116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7" y="31"/>
                    <a:pt x="116" y="31"/>
                    <a:pt x="116" y="31"/>
                  </a:cubicBezTo>
                  <a:close/>
                  <a:moveTo>
                    <a:pt x="117" y="31"/>
                  </a:moveTo>
                  <a:cubicBezTo>
                    <a:pt x="117" y="31"/>
                    <a:pt x="116" y="31"/>
                    <a:pt x="117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lose/>
                  <a:moveTo>
                    <a:pt x="115" y="31"/>
                  </a:move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4" y="31"/>
                    <a:pt x="115" y="31"/>
                    <a:pt x="115" y="31"/>
                  </a:cubicBezTo>
                  <a:close/>
                  <a:moveTo>
                    <a:pt x="114" y="34"/>
                  </a:moveTo>
                  <a:cubicBezTo>
                    <a:pt x="114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lose/>
                  <a:moveTo>
                    <a:pt x="114" y="31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lose/>
                  <a:moveTo>
                    <a:pt x="115" y="36"/>
                  </a:moveTo>
                  <a:cubicBezTo>
                    <a:pt x="114" y="36"/>
                    <a:pt x="114" y="36"/>
                    <a:pt x="115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lose/>
                  <a:moveTo>
                    <a:pt x="111" y="42"/>
                  </a:moveTo>
                  <a:cubicBezTo>
                    <a:pt x="110" y="42"/>
                    <a:pt x="110" y="43"/>
                    <a:pt x="109" y="42"/>
                  </a:cubicBezTo>
                  <a:cubicBezTo>
                    <a:pt x="111" y="42"/>
                    <a:pt x="114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3" y="41"/>
                    <a:pt x="112" y="42"/>
                    <a:pt x="110" y="42"/>
                  </a:cubicBezTo>
                  <a:cubicBezTo>
                    <a:pt x="110" y="42"/>
                    <a:pt x="111" y="42"/>
                    <a:pt x="111" y="42"/>
                  </a:cubicBezTo>
                  <a:close/>
                  <a:moveTo>
                    <a:pt x="111" y="33"/>
                  </a:moveTo>
                  <a:cubicBezTo>
                    <a:pt x="111" y="33"/>
                    <a:pt x="112" y="33"/>
                    <a:pt x="112" y="33"/>
                  </a:cubicBezTo>
                  <a:cubicBezTo>
                    <a:pt x="112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3" y="33"/>
                    <a:pt x="111" y="34"/>
                    <a:pt x="111" y="33"/>
                  </a:cubicBezTo>
                  <a:close/>
                  <a:moveTo>
                    <a:pt x="110" y="34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109" y="34"/>
                    <a:pt x="109" y="34"/>
                    <a:pt x="108" y="34"/>
                  </a:cubicBezTo>
                  <a:cubicBezTo>
                    <a:pt x="108" y="34"/>
                    <a:pt x="109" y="34"/>
                    <a:pt x="108" y="33"/>
                  </a:cubicBezTo>
                  <a:cubicBezTo>
                    <a:pt x="108" y="34"/>
                    <a:pt x="109" y="33"/>
                    <a:pt x="109" y="34"/>
                  </a:cubicBezTo>
                  <a:cubicBezTo>
                    <a:pt x="109" y="34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11" y="36"/>
                  </a:moveTo>
                  <a:cubicBezTo>
                    <a:pt x="111" y="36"/>
                    <a:pt x="111" y="37"/>
                    <a:pt x="110" y="37"/>
                  </a:cubicBezTo>
                  <a:cubicBezTo>
                    <a:pt x="110" y="37"/>
                    <a:pt x="110" y="37"/>
                    <a:pt x="109" y="37"/>
                  </a:cubicBezTo>
                  <a:cubicBezTo>
                    <a:pt x="110" y="36"/>
                    <a:pt x="110" y="36"/>
                    <a:pt x="111" y="36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9" y="33"/>
                  </a:moveTo>
                  <a:cubicBezTo>
                    <a:pt x="108" y="33"/>
                    <a:pt x="109" y="33"/>
                    <a:pt x="109" y="33"/>
                  </a:cubicBezTo>
                  <a:cubicBezTo>
                    <a:pt x="110" y="33"/>
                    <a:pt x="109" y="33"/>
                    <a:pt x="109" y="33"/>
                  </a:cubicBezTo>
                  <a:close/>
                  <a:moveTo>
                    <a:pt x="108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8" y="33"/>
                    <a:pt x="108" y="33"/>
                  </a:cubicBezTo>
                  <a:close/>
                  <a:moveTo>
                    <a:pt x="108" y="37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6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lose/>
                  <a:moveTo>
                    <a:pt x="107" y="35"/>
                  </a:move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lose/>
                  <a:moveTo>
                    <a:pt x="106" y="33"/>
                  </a:moveTo>
                  <a:cubicBezTo>
                    <a:pt x="106" y="33"/>
                    <a:pt x="105" y="34"/>
                    <a:pt x="105" y="34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6" y="34"/>
                  </a:moveTo>
                  <a:cubicBezTo>
                    <a:pt x="106" y="34"/>
                    <a:pt x="106" y="34"/>
                    <a:pt x="107" y="33"/>
                  </a:cubicBezTo>
                  <a:cubicBezTo>
                    <a:pt x="107" y="34"/>
                    <a:pt x="106" y="34"/>
                    <a:pt x="106" y="34"/>
                  </a:cubicBezTo>
                  <a:close/>
                  <a:moveTo>
                    <a:pt x="107" y="38"/>
                  </a:moveTo>
                  <a:cubicBezTo>
                    <a:pt x="106" y="38"/>
                    <a:pt x="105" y="38"/>
                    <a:pt x="104" y="38"/>
                  </a:cubicBezTo>
                  <a:cubicBezTo>
                    <a:pt x="105" y="38"/>
                    <a:pt x="106" y="38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lose/>
                  <a:moveTo>
                    <a:pt x="105" y="36"/>
                  </a:moveTo>
                  <a:cubicBezTo>
                    <a:pt x="105" y="36"/>
                    <a:pt x="106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5" y="37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6"/>
                  </a:moveTo>
                  <a:cubicBezTo>
                    <a:pt x="105" y="36"/>
                    <a:pt x="105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5"/>
                  </a:moveTo>
                  <a:cubicBezTo>
                    <a:pt x="105" y="36"/>
                    <a:pt x="104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lose/>
                  <a:moveTo>
                    <a:pt x="103" y="36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4" y="36"/>
                  </a:cubicBezTo>
                  <a:cubicBezTo>
                    <a:pt x="104" y="36"/>
                    <a:pt x="104" y="36"/>
                    <a:pt x="103" y="36"/>
                  </a:cubicBezTo>
                  <a:close/>
                  <a:moveTo>
                    <a:pt x="104" y="37"/>
                  </a:moveTo>
                  <a:cubicBezTo>
                    <a:pt x="103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1" y="38"/>
                    <a:pt x="101" y="38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100" y="38"/>
                    <a:pt x="102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3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3" y="37"/>
                  </a:moveTo>
                  <a:cubicBezTo>
                    <a:pt x="103" y="37"/>
                    <a:pt x="103" y="36"/>
                    <a:pt x="104" y="36"/>
                  </a:cubicBezTo>
                  <a:cubicBezTo>
                    <a:pt x="104" y="36"/>
                    <a:pt x="103" y="37"/>
                    <a:pt x="103" y="37"/>
                  </a:cubicBezTo>
                  <a:close/>
                  <a:moveTo>
                    <a:pt x="103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2" y="35"/>
                  </a:cubicBezTo>
                  <a:cubicBezTo>
                    <a:pt x="103" y="34"/>
                    <a:pt x="103" y="35"/>
                    <a:pt x="103" y="35"/>
                  </a:cubicBezTo>
                  <a:close/>
                  <a:moveTo>
                    <a:pt x="102" y="34"/>
                  </a:moveTo>
                  <a:cubicBezTo>
                    <a:pt x="102" y="34"/>
                    <a:pt x="102" y="34"/>
                    <a:pt x="103" y="34"/>
                  </a:cubicBezTo>
                  <a:cubicBezTo>
                    <a:pt x="103" y="34"/>
                    <a:pt x="102" y="34"/>
                    <a:pt x="102" y="34"/>
                  </a:cubicBezTo>
                  <a:close/>
                  <a:moveTo>
                    <a:pt x="104" y="40"/>
                  </a:moveTo>
                  <a:cubicBezTo>
                    <a:pt x="104" y="40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4" y="40"/>
                    <a:pt x="104" y="40"/>
                    <a:pt x="104" y="40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4" y="38"/>
                    <a:pt x="103" y="38"/>
                    <a:pt x="103" y="38"/>
                  </a:cubicBezTo>
                  <a:close/>
                  <a:moveTo>
                    <a:pt x="101" y="34"/>
                  </a:move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1" y="34"/>
                    <a:pt x="101" y="34"/>
                  </a:cubicBezTo>
                  <a:close/>
                  <a:moveTo>
                    <a:pt x="102" y="36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1" y="37"/>
                    <a:pt x="101" y="37"/>
                  </a:cubicBezTo>
                  <a:cubicBezTo>
                    <a:pt x="102" y="36"/>
                    <a:pt x="102" y="36"/>
                    <a:pt x="102" y="36"/>
                  </a:cubicBezTo>
                  <a:close/>
                  <a:moveTo>
                    <a:pt x="100" y="36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1" y="35"/>
                    <a:pt x="100" y="36"/>
                    <a:pt x="100" y="36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39"/>
                  </a:cubicBezTo>
                  <a:cubicBezTo>
                    <a:pt x="102" y="39"/>
                    <a:pt x="101" y="39"/>
                    <a:pt x="101" y="39"/>
                  </a:cubicBezTo>
                  <a:cubicBezTo>
                    <a:pt x="101" y="39"/>
                    <a:pt x="102" y="39"/>
                    <a:pt x="102" y="39"/>
                  </a:cubicBezTo>
                  <a:close/>
                  <a:moveTo>
                    <a:pt x="102" y="40"/>
                  </a:moveTo>
                  <a:cubicBezTo>
                    <a:pt x="102" y="40"/>
                    <a:pt x="102" y="40"/>
                    <a:pt x="102" y="41"/>
                  </a:cubicBezTo>
                  <a:cubicBezTo>
                    <a:pt x="101" y="41"/>
                    <a:pt x="101" y="40"/>
                    <a:pt x="102" y="40"/>
                  </a:cubicBezTo>
                  <a:close/>
                  <a:moveTo>
                    <a:pt x="98" y="37"/>
                  </a:moveTo>
                  <a:cubicBezTo>
                    <a:pt x="98" y="37"/>
                    <a:pt x="98" y="37"/>
                    <a:pt x="98" y="37"/>
                  </a:cubicBezTo>
                  <a:cubicBezTo>
                    <a:pt x="98" y="37"/>
                    <a:pt x="98" y="37"/>
                    <a:pt x="98" y="37"/>
                  </a:cubicBezTo>
                  <a:close/>
                  <a:moveTo>
                    <a:pt x="99" y="41"/>
                  </a:moveTo>
                  <a:cubicBezTo>
                    <a:pt x="99" y="41"/>
                    <a:pt x="99" y="41"/>
                    <a:pt x="99" y="41"/>
                  </a:cubicBezTo>
                  <a:cubicBezTo>
                    <a:pt x="99" y="41"/>
                    <a:pt x="99" y="42"/>
                    <a:pt x="99" y="41"/>
                  </a:cubicBezTo>
                  <a:close/>
                  <a:moveTo>
                    <a:pt x="98" y="41"/>
                  </a:moveTo>
                  <a:cubicBezTo>
                    <a:pt x="98" y="41"/>
                    <a:pt x="98" y="41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lose/>
                  <a:moveTo>
                    <a:pt x="96" y="41"/>
                  </a:moveTo>
                  <a:cubicBezTo>
                    <a:pt x="96" y="41"/>
                    <a:pt x="96" y="41"/>
                    <a:pt x="97" y="41"/>
                  </a:cubicBezTo>
                  <a:cubicBezTo>
                    <a:pt x="96" y="41"/>
                    <a:pt x="96" y="41"/>
                    <a:pt x="96" y="41"/>
                  </a:cubicBezTo>
                  <a:close/>
                  <a:moveTo>
                    <a:pt x="95" y="38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lose/>
                  <a:moveTo>
                    <a:pt x="94" y="43"/>
                  </a:moveTo>
                  <a:cubicBezTo>
                    <a:pt x="94" y="44"/>
                    <a:pt x="95" y="43"/>
                    <a:pt x="95" y="43"/>
                  </a:cubicBezTo>
                  <a:cubicBezTo>
                    <a:pt x="96" y="43"/>
                    <a:pt x="95" y="43"/>
                    <a:pt x="94" y="43"/>
                  </a:cubicBezTo>
                  <a:cubicBezTo>
                    <a:pt x="94" y="44"/>
                    <a:pt x="96" y="43"/>
                    <a:pt x="96" y="43"/>
                  </a:cubicBezTo>
                  <a:cubicBezTo>
                    <a:pt x="96" y="43"/>
                    <a:pt x="96" y="43"/>
                    <a:pt x="97" y="43"/>
                  </a:cubicBezTo>
                  <a:cubicBezTo>
                    <a:pt x="96" y="43"/>
                    <a:pt x="96" y="43"/>
                    <a:pt x="95" y="43"/>
                  </a:cubicBezTo>
                  <a:cubicBezTo>
                    <a:pt x="95" y="43"/>
                    <a:pt x="95" y="43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4" y="44"/>
                    <a:pt x="94" y="44"/>
                  </a:cubicBezTo>
                  <a:cubicBezTo>
                    <a:pt x="94" y="44"/>
                    <a:pt x="93" y="44"/>
                    <a:pt x="93" y="44"/>
                  </a:cubicBezTo>
                  <a:cubicBezTo>
                    <a:pt x="93" y="44"/>
                    <a:pt x="93" y="44"/>
                    <a:pt x="92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lose/>
                  <a:moveTo>
                    <a:pt x="96" y="41"/>
                  </a:moveTo>
                  <a:cubicBezTo>
                    <a:pt x="96" y="41"/>
                    <a:pt x="95" y="41"/>
                    <a:pt x="95" y="41"/>
                  </a:cubicBezTo>
                  <a:lnTo>
                    <a:pt x="96" y="41"/>
                  </a:ln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5" y="45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5"/>
                  </a:cubicBezTo>
                  <a:cubicBezTo>
                    <a:pt x="96" y="45"/>
                    <a:pt x="96" y="44"/>
                    <a:pt x="95" y="45"/>
                  </a:cubicBezTo>
                  <a:close/>
                  <a:moveTo>
                    <a:pt x="96" y="45"/>
                  </a:moveTo>
                  <a:cubicBezTo>
                    <a:pt x="96" y="45"/>
                    <a:pt x="96" y="45"/>
                    <a:pt x="96" y="45"/>
                  </a:cubicBezTo>
                  <a:cubicBezTo>
                    <a:pt x="96" y="45"/>
                    <a:pt x="95" y="45"/>
                    <a:pt x="95" y="45"/>
                  </a:cubicBezTo>
                  <a:cubicBezTo>
                    <a:pt x="95" y="45"/>
                    <a:pt x="96" y="45"/>
                    <a:pt x="96" y="45"/>
                  </a:cubicBezTo>
                  <a:cubicBezTo>
                    <a:pt x="96" y="45"/>
                    <a:pt x="96" y="45"/>
                    <a:pt x="96" y="45"/>
                  </a:cubicBezTo>
                  <a:close/>
                  <a:moveTo>
                    <a:pt x="93" y="39"/>
                  </a:moveTo>
                  <a:cubicBezTo>
                    <a:pt x="93" y="39"/>
                    <a:pt x="94" y="39"/>
                    <a:pt x="94" y="39"/>
                  </a:cubicBezTo>
                  <a:cubicBezTo>
                    <a:pt x="94" y="39"/>
                    <a:pt x="93" y="39"/>
                    <a:pt x="93" y="39"/>
                  </a:cubicBezTo>
                  <a:close/>
                  <a:moveTo>
                    <a:pt x="95" y="43"/>
                  </a:move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5" y="43"/>
                    <a:pt x="95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4" y="42"/>
                    <a:pt x="94" y="42"/>
                  </a:cubicBezTo>
                  <a:close/>
                  <a:moveTo>
                    <a:pt x="92" y="36"/>
                  </a:moveTo>
                  <a:cubicBezTo>
                    <a:pt x="91" y="36"/>
                    <a:pt x="91" y="36"/>
                    <a:pt x="92" y="36"/>
                  </a:cubicBezTo>
                  <a:cubicBezTo>
                    <a:pt x="92" y="36"/>
                    <a:pt x="92" y="36"/>
                    <a:pt x="92" y="36"/>
                  </a:cubicBezTo>
                  <a:close/>
                  <a:moveTo>
                    <a:pt x="92" y="40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0"/>
                    <a:pt x="92" y="40"/>
                    <a:pt x="92" y="40"/>
                  </a:cubicBezTo>
                  <a:close/>
                  <a:moveTo>
                    <a:pt x="90" y="36"/>
                  </a:moveTo>
                  <a:cubicBezTo>
                    <a:pt x="90" y="36"/>
                    <a:pt x="91" y="36"/>
                    <a:pt x="91" y="36"/>
                  </a:cubicBezTo>
                  <a:cubicBezTo>
                    <a:pt x="91" y="36"/>
                    <a:pt x="91" y="36"/>
                    <a:pt x="90" y="36"/>
                  </a:cubicBezTo>
                  <a:close/>
                  <a:moveTo>
                    <a:pt x="91" y="42"/>
                  </a:move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close/>
                  <a:moveTo>
                    <a:pt x="92" y="45"/>
                  </a:move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lose/>
                  <a:moveTo>
                    <a:pt x="91" y="42"/>
                  </a:moveTo>
                  <a:cubicBezTo>
                    <a:pt x="91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1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1" y="41"/>
                    <a:pt x="91" y="42"/>
                    <a:pt x="91" y="42"/>
                  </a:cubicBezTo>
                  <a:close/>
                  <a:moveTo>
                    <a:pt x="91" y="45"/>
                  </a:moveTo>
                  <a:cubicBezTo>
                    <a:pt x="91" y="45"/>
                    <a:pt x="91" y="45"/>
                    <a:pt x="91" y="45"/>
                  </a:cubicBezTo>
                  <a:cubicBezTo>
                    <a:pt x="91" y="45"/>
                    <a:pt x="91" y="45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5"/>
                    <a:pt x="91" y="45"/>
                    <a:pt x="91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lose/>
                  <a:moveTo>
                    <a:pt x="92" y="46"/>
                  </a:moveTo>
                  <a:cubicBezTo>
                    <a:pt x="91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lose/>
                  <a:moveTo>
                    <a:pt x="91" y="44"/>
                  </a:moveTo>
                  <a:cubicBezTo>
                    <a:pt x="92" y="44"/>
                    <a:pt x="91" y="44"/>
                    <a:pt x="92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89" y="41"/>
                  </a:moveTo>
                  <a:cubicBezTo>
                    <a:pt x="89" y="40"/>
                    <a:pt x="89" y="40"/>
                    <a:pt x="89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1" y="40"/>
                    <a:pt x="90" y="40"/>
                    <a:pt x="89" y="41"/>
                  </a:cubicBezTo>
                  <a:close/>
                  <a:moveTo>
                    <a:pt x="91" y="44"/>
                  </a:moveTo>
                  <a:cubicBezTo>
                    <a:pt x="91" y="44"/>
                    <a:pt x="90" y="44"/>
                    <a:pt x="90" y="44"/>
                  </a:cubicBezTo>
                  <a:cubicBezTo>
                    <a:pt x="90" y="44"/>
                    <a:pt x="91" y="44"/>
                    <a:pt x="91" y="44"/>
                  </a:cubicBezTo>
                  <a:close/>
                  <a:moveTo>
                    <a:pt x="91" y="44"/>
                  </a:moveTo>
                  <a:cubicBezTo>
                    <a:pt x="90" y="45"/>
                    <a:pt x="90" y="44"/>
                    <a:pt x="89" y="45"/>
                  </a:cubicBezTo>
                  <a:cubicBezTo>
                    <a:pt x="90" y="44"/>
                    <a:pt x="90" y="44"/>
                    <a:pt x="91" y="44"/>
                  </a:cubicBezTo>
                  <a:close/>
                  <a:moveTo>
                    <a:pt x="89" y="42"/>
                  </a:move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7" y="42"/>
                  </a:cubicBezTo>
                  <a:cubicBezTo>
                    <a:pt x="87" y="42"/>
                    <a:pt x="87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9" y="42"/>
                    <a:pt x="88" y="42"/>
                  </a:cubicBezTo>
                  <a:cubicBezTo>
                    <a:pt x="88" y="42"/>
                    <a:pt x="89" y="42"/>
                    <a:pt x="89" y="42"/>
                  </a:cubicBezTo>
                  <a:cubicBezTo>
                    <a:pt x="89" y="42"/>
                    <a:pt x="90" y="42"/>
                    <a:pt x="90" y="42"/>
                  </a:cubicBezTo>
                  <a:cubicBezTo>
                    <a:pt x="90" y="42"/>
                    <a:pt x="89" y="42"/>
                    <a:pt x="89" y="42"/>
                  </a:cubicBezTo>
                  <a:close/>
                  <a:moveTo>
                    <a:pt x="88" y="45"/>
                  </a:moveTo>
                  <a:cubicBezTo>
                    <a:pt x="88" y="45"/>
                    <a:pt x="89" y="45"/>
                    <a:pt x="90" y="45"/>
                  </a:cubicBezTo>
                  <a:cubicBezTo>
                    <a:pt x="89" y="45"/>
                    <a:pt x="88" y="45"/>
                    <a:pt x="88" y="45"/>
                  </a:cubicBezTo>
                  <a:close/>
                  <a:moveTo>
                    <a:pt x="89" y="43"/>
                  </a:moveTo>
                  <a:cubicBezTo>
                    <a:pt x="89" y="43"/>
                    <a:pt x="89" y="43"/>
                    <a:pt x="90" y="43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89" y="47"/>
                  </a:moveTo>
                  <a:cubicBezTo>
                    <a:pt x="89" y="46"/>
                    <a:pt x="89" y="46"/>
                    <a:pt x="90" y="46"/>
                  </a:cubicBezTo>
                  <a:cubicBezTo>
                    <a:pt x="90" y="47"/>
                    <a:pt x="89" y="47"/>
                    <a:pt x="89" y="47"/>
                  </a:cubicBezTo>
                  <a:close/>
                  <a:moveTo>
                    <a:pt x="87" y="42"/>
                  </a:moveTo>
                  <a:cubicBezTo>
                    <a:pt x="87" y="42"/>
                    <a:pt x="88" y="42"/>
                    <a:pt x="88" y="42"/>
                  </a:cubicBezTo>
                  <a:cubicBezTo>
                    <a:pt x="88" y="42"/>
                    <a:pt x="87" y="42"/>
                    <a:pt x="87" y="42"/>
                  </a:cubicBezTo>
                  <a:close/>
                  <a:moveTo>
                    <a:pt x="88" y="44"/>
                  </a:moveTo>
                  <a:cubicBezTo>
                    <a:pt x="88" y="44"/>
                    <a:pt x="88" y="44"/>
                    <a:pt x="87" y="44"/>
                  </a:cubicBezTo>
                  <a:cubicBezTo>
                    <a:pt x="87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4"/>
                    <a:pt x="88" y="44"/>
                    <a:pt x="88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8" y="44"/>
                    <a:pt x="88" y="44"/>
                    <a:pt x="87" y="45"/>
                  </a:cubicBezTo>
                  <a:cubicBezTo>
                    <a:pt x="87" y="44"/>
                    <a:pt x="88" y="44"/>
                    <a:pt x="88" y="44"/>
                  </a:cubicBezTo>
                  <a:cubicBezTo>
                    <a:pt x="88" y="45"/>
                    <a:pt x="88" y="44"/>
                    <a:pt x="88" y="45"/>
                  </a:cubicBezTo>
                  <a:close/>
                  <a:moveTo>
                    <a:pt x="88" y="47"/>
                  </a:move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5" y="41"/>
                  </a:moveTo>
                  <a:cubicBezTo>
                    <a:pt x="85" y="41"/>
                    <a:pt x="86" y="41"/>
                    <a:pt x="86" y="41"/>
                  </a:cubicBezTo>
                  <a:cubicBezTo>
                    <a:pt x="86" y="41"/>
                    <a:pt x="85" y="41"/>
                    <a:pt x="85" y="41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ubicBezTo>
                    <a:pt x="85" y="42"/>
                    <a:pt x="86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lose/>
                  <a:moveTo>
                    <a:pt x="84" y="42"/>
                  </a:moveTo>
                  <a:cubicBezTo>
                    <a:pt x="84" y="42"/>
                    <a:pt x="86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4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lose/>
                  <a:moveTo>
                    <a:pt x="84" y="39"/>
                  </a:move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4" y="39"/>
                  </a:cubicBezTo>
                  <a:close/>
                  <a:moveTo>
                    <a:pt x="86" y="46"/>
                  </a:moveTo>
                  <a:cubicBezTo>
                    <a:pt x="86" y="46"/>
                    <a:pt x="85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6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lose/>
                  <a:moveTo>
                    <a:pt x="86" y="48"/>
                  </a:moveTo>
                  <a:cubicBezTo>
                    <a:pt x="86" y="48"/>
                    <a:pt x="85" y="48"/>
                    <a:pt x="85" y="48"/>
                  </a:cubicBezTo>
                  <a:cubicBezTo>
                    <a:pt x="85" y="48"/>
                    <a:pt x="86" y="48"/>
                    <a:pt x="86" y="47"/>
                  </a:cubicBezTo>
                  <a:lnTo>
                    <a:pt x="86" y="48"/>
                  </a:lnTo>
                  <a:close/>
                  <a:moveTo>
                    <a:pt x="86" y="47"/>
                  </a:moveTo>
                  <a:cubicBezTo>
                    <a:pt x="86" y="47"/>
                    <a:pt x="85" y="48"/>
                    <a:pt x="85" y="48"/>
                  </a:cubicBezTo>
                  <a:cubicBezTo>
                    <a:pt x="85" y="47"/>
                    <a:pt x="86" y="47"/>
                    <a:pt x="86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4" y="46"/>
                  </a:cubicBezTo>
                  <a:cubicBezTo>
                    <a:pt x="84" y="46"/>
                    <a:pt x="85" y="46"/>
                    <a:pt x="85" y="46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4" y="47"/>
                  </a:cubicBezTo>
                  <a:cubicBezTo>
                    <a:pt x="85" y="47"/>
                    <a:pt x="85" y="47"/>
                    <a:pt x="86" y="47"/>
                  </a:cubicBezTo>
                  <a:cubicBezTo>
                    <a:pt x="85" y="47"/>
                    <a:pt x="86" y="47"/>
                    <a:pt x="85" y="47"/>
                  </a:cubicBezTo>
                  <a:close/>
                  <a:moveTo>
                    <a:pt x="82" y="43"/>
                  </a:moveTo>
                  <a:cubicBezTo>
                    <a:pt x="82" y="43"/>
                    <a:pt x="81" y="43"/>
                    <a:pt x="81" y="43"/>
                  </a:cubicBezTo>
                  <a:cubicBezTo>
                    <a:pt x="82" y="43"/>
                    <a:pt x="82" y="42"/>
                    <a:pt x="83" y="42"/>
                  </a:cubicBezTo>
                  <a:cubicBezTo>
                    <a:pt x="83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lose/>
                  <a:moveTo>
                    <a:pt x="81" y="43"/>
                  </a:move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2" y="43"/>
                  </a:cubicBezTo>
                  <a:cubicBezTo>
                    <a:pt x="82" y="43"/>
                    <a:pt x="81" y="43"/>
                    <a:pt x="81" y="43"/>
                  </a:cubicBezTo>
                  <a:close/>
                  <a:moveTo>
                    <a:pt x="80" y="46"/>
                  </a:move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0" y="46"/>
                  </a:cubicBezTo>
                  <a:close/>
                  <a:moveTo>
                    <a:pt x="79" y="40"/>
                  </a:moveTo>
                  <a:cubicBezTo>
                    <a:pt x="79" y="40"/>
                    <a:pt x="79" y="40"/>
                    <a:pt x="79" y="40"/>
                  </a:cubicBezTo>
                  <a:cubicBezTo>
                    <a:pt x="80" y="40"/>
                    <a:pt x="79" y="40"/>
                    <a:pt x="79" y="40"/>
                  </a:cubicBezTo>
                  <a:close/>
                  <a:moveTo>
                    <a:pt x="80" y="43"/>
                  </a:move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4"/>
                    <a:pt x="79" y="43"/>
                  </a:cubicBezTo>
                  <a:lnTo>
                    <a:pt x="80" y="43"/>
                  </a:lnTo>
                  <a:close/>
                  <a:moveTo>
                    <a:pt x="78" y="44"/>
                  </a:move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1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1"/>
                    <a:pt x="77" y="40"/>
                  </a:cubicBezTo>
                  <a:cubicBezTo>
                    <a:pt x="77" y="40"/>
                    <a:pt x="76" y="41"/>
                    <a:pt x="76" y="41"/>
                  </a:cubicBezTo>
                  <a:close/>
                  <a:moveTo>
                    <a:pt x="78" y="44"/>
                  </a:move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lose/>
                  <a:moveTo>
                    <a:pt x="78" y="43"/>
                  </a:moveTo>
                  <a:cubicBezTo>
                    <a:pt x="77" y="43"/>
                    <a:pt x="77" y="44"/>
                    <a:pt x="77" y="44"/>
                  </a:cubicBezTo>
                  <a:cubicBezTo>
                    <a:pt x="77" y="43"/>
                    <a:pt x="77" y="43"/>
                    <a:pt x="78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7" y="44"/>
                  </a:cubicBezTo>
                  <a:close/>
                  <a:moveTo>
                    <a:pt x="75" y="40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6" y="40"/>
                    <a:pt x="74" y="40"/>
                    <a:pt x="75" y="40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3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4"/>
                    <a:pt x="72" y="43"/>
                  </a:cubicBezTo>
                  <a:close/>
                  <a:moveTo>
                    <a:pt x="71" y="45"/>
                  </a:moveTo>
                  <a:cubicBezTo>
                    <a:pt x="71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lose/>
                  <a:moveTo>
                    <a:pt x="72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2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1" y="48"/>
                  </a:cubicBezTo>
                  <a:cubicBezTo>
                    <a:pt x="71" y="48"/>
                    <a:pt x="72" y="48"/>
                    <a:pt x="72" y="48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4"/>
                    <a:pt x="69" y="44"/>
                  </a:cubicBezTo>
                  <a:close/>
                  <a:moveTo>
                    <a:pt x="70" y="51"/>
                  </a:moveTo>
                  <a:cubicBezTo>
                    <a:pt x="70" y="52"/>
                    <a:pt x="71" y="51"/>
                    <a:pt x="71" y="51"/>
                  </a:cubicBezTo>
                  <a:cubicBezTo>
                    <a:pt x="71" y="51"/>
                    <a:pt x="70" y="52"/>
                    <a:pt x="70" y="51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63" y="46"/>
                  </a:moveTo>
                  <a:cubicBezTo>
                    <a:pt x="63" y="47"/>
                    <a:pt x="62" y="47"/>
                    <a:pt x="62" y="47"/>
                  </a:cubicBezTo>
                  <a:cubicBezTo>
                    <a:pt x="62" y="46"/>
                    <a:pt x="63" y="46"/>
                    <a:pt x="63" y="46"/>
                  </a:cubicBezTo>
                  <a:close/>
                  <a:moveTo>
                    <a:pt x="56" y="53"/>
                  </a:moveTo>
                  <a:cubicBezTo>
                    <a:pt x="56" y="53"/>
                    <a:pt x="55" y="53"/>
                    <a:pt x="55" y="53"/>
                  </a:cubicBezTo>
                  <a:cubicBezTo>
                    <a:pt x="55" y="53"/>
                    <a:pt x="55" y="53"/>
                    <a:pt x="56" y="53"/>
                  </a:cubicBezTo>
                  <a:close/>
                  <a:moveTo>
                    <a:pt x="54" y="49"/>
                  </a:moveTo>
                  <a:cubicBezTo>
                    <a:pt x="54" y="49"/>
                    <a:pt x="53" y="49"/>
                    <a:pt x="53" y="49"/>
                  </a:cubicBezTo>
                  <a:cubicBezTo>
                    <a:pt x="53" y="49"/>
                    <a:pt x="53" y="49"/>
                    <a:pt x="54" y="49"/>
                  </a:cubicBezTo>
                  <a:close/>
                  <a:moveTo>
                    <a:pt x="53" y="54"/>
                  </a:move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3"/>
                  </a:cubicBezTo>
                  <a:cubicBezTo>
                    <a:pt x="53" y="53"/>
                    <a:pt x="53" y="54"/>
                    <a:pt x="53" y="53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6" y="55"/>
                    <a:pt x="46" y="55"/>
                  </a:cubicBezTo>
                  <a:cubicBezTo>
                    <a:pt x="46" y="55"/>
                    <a:pt x="47" y="55"/>
                    <a:pt x="47" y="55"/>
                  </a:cubicBezTo>
                  <a:close/>
                  <a:moveTo>
                    <a:pt x="45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5" y="57"/>
                  </a:cubicBezTo>
                  <a:close/>
                  <a:moveTo>
                    <a:pt x="42" y="57"/>
                  </a:moveTo>
                  <a:cubicBezTo>
                    <a:pt x="42" y="57"/>
                    <a:pt x="42" y="57"/>
                    <a:pt x="42" y="58"/>
                  </a:cubicBezTo>
                  <a:cubicBezTo>
                    <a:pt x="41" y="58"/>
                    <a:pt x="41" y="57"/>
                    <a:pt x="42" y="57"/>
                  </a:cubicBezTo>
                  <a:close/>
                  <a:moveTo>
                    <a:pt x="41" y="57"/>
                  </a:move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1" y="57"/>
                    <a:pt x="41" y="57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1" y="57"/>
                  </a:cubicBezTo>
                  <a:cubicBezTo>
                    <a:pt x="41" y="57"/>
                    <a:pt x="40" y="57"/>
                    <a:pt x="40" y="57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5" y="59"/>
                  </a:moveTo>
                  <a:cubicBezTo>
                    <a:pt x="34" y="59"/>
                    <a:pt x="34" y="59"/>
                    <a:pt x="35" y="59"/>
                  </a:cubicBezTo>
                  <a:cubicBezTo>
                    <a:pt x="36" y="59"/>
                    <a:pt x="37" y="58"/>
                    <a:pt x="38" y="58"/>
                  </a:cubicBezTo>
                  <a:cubicBezTo>
                    <a:pt x="37" y="59"/>
                    <a:pt x="36" y="59"/>
                    <a:pt x="35" y="59"/>
                  </a:cubicBezTo>
                  <a:close/>
                  <a:moveTo>
                    <a:pt x="35" y="56"/>
                  </a:moveTo>
                  <a:cubicBezTo>
                    <a:pt x="36" y="56"/>
                    <a:pt x="36" y="55"/>
                    <a:pt x="36" y="56"/>
                  </a:cubicBezTo>
                  <a:cubicBezTo>
                    <a:pt x="36" y="56"/>
                    <a:pt x="36" y="56"/>
                    <a:pt x="35" y="56"/>
                  </a:cubicBezTo>
                  <a:close/>
                  <a:moveTo>
                    <a:pt x="34" y="59"/>
                  </a:moveTo>
                  <a:cubicBezTo>
                    <a:pt x="34" y="60"/>
                    <a:pt x="33" y="59"/>
                    <a:pt x="32" y="60"/>
                  </a:cubicBezTo>
                  <a:cubicBezTo>
                    <a:pt x="32" y="59"/>
                    <a:pt x="34" y="59"/>
                    <a:pt x="34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29" y="61"/>
                    <a:pt x="29" y="61"/>
                  </a:cubicBezTo>
                  <a:close/>
                  <a:moveTo>
                    <a:pt x="29" y="61"/>
                  </a:move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9" y="61"/>
                    <a:pt x="29" y="61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27" y="56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7" y="56"/>
                  </a:cubicBezTo>
                  <a:close/>
                  <a:moveTo>
                    <a:pt x="26" y="60"/>
                  </a:moveTo>
                  <a:cubicBezTo>
                    <a:pt x="26" y="59"/>
                    <a:pt x="27" y="59"/>
                    <a:pt x="27" y="59"/>
                  </a:cubicBezTo>
                  <a:cubicBezTo>
                    <a:pt x="27" y="59"/>
                    <a:pt x="27" y="60"/>
                    <a:pt x="26" y="60"/>
                  </a:cubicBezTo>
                  <a:close/>
                  <a:moveTo>
                    <a:pt x="28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0"/>
                    <a:pt x="27" y="61"/>
                    <a:pt x="27" y="60"/>
                  </a:cubicBezTo>
                  <a:close/>
                  <a:moveTo>
                    <a:pt x="24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4" y="60"/>
                  </a:cubicBezTo>
                  <a:close/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lose/>
                  <a:moveTo>
                    <a:pt x="25" y="61"/>
                  </a:moveTo>
                  <a:cubicBezTo>
                    <a:pt x="24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lose/>
                  <a:moveTo>
                    <a:pt x="24" y="62"/>
                  </a:move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lose/>
                  <a:moveTo>
                    <a:pt x="22" y="57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7"/>
                  </a:cubicBezTo>
                  <a:close/>
                  <a:moveTo>
                    <a:pt x="19" y="57"/>
                  </a:moveTo>
                  <a:cubicBezTo>
                    <a:pt x="19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lose/>
                  <a:moveTo>
                    <a:pt x="20" y="62"/>
                  </a:moveTo>
                  <a:cubicBezTo>
                    <a:pt x="19" y="63"/>
                    <a:pt x="17" y="63"/>
                    <a:pt x="16" y="63"/>
                  </a:cubicBezTo>
                  <a:cubicBezTo>
                    <a:pt x="15" y="63"/>
                    <a:pt x="13" y="64"/>
                    <a:pt x="12" y="64"/>
                  </a:cubicBezTo>
                  <a:cubicBezTo>
                    <a:pt x="14" y="63"/>
                    <a:pt x="17" y="63"/>
                    <a:pt x="20" y="62"/>
                  </a:cubicBezTo>
                  <a:close/>
                  <a:moveTo>
                    <a:pt x="19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9" y="63"/>
                    <a:pt x="19" y="64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2"/>
                    <a:pt x="18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lose/>
                  <a:moveTo>
                    <a:pt x="16" y="64"/>
                  </a:moveTo>
                  <a:cubicBezTo>
                    <a:pt x="17" y="64"/>
                    <a:pt x="17" y="64"/>
                    <a:pt x="18" y="63"/>
                  </a:cubicBezTo>
                  <a:cubicBezTo>
                    <a:pt x="17" y="64"/>
                    <a:pt x="17" y="64"/>
                    <a:pt x="16" y="64"/>
                  </a:cubicBezTo>
                  <a:close/>
                  <a:moveTo>
                    <a:pt x="17" y="64"/>
                  </a:moveTo>
                  <a:cubicBezTo>
                    <a:pt x="17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lose/>
                  <a:moveTo>
                    <a:pt x="15" y="62"/>
                  </a:moveTo>
                  <a:cubicBezTo>
                    <a:pt x="15" y="62"/>
                    <a:pt x="16" y="62"/>
                    <a:pt x="16" y="62"/>
                  </a:cubicBezTo>
                  <a:cubicBezTo>
                    <a:pt x="16" y="62"/>
                    <a:pt x="16" y="62"/>
                    <a:pt x="15" y="62"/>
                  </a:cubicBezTo>
                  <a:close/>
                  <a:moveTo>
                    <a:pt x="13" y="57"/>
                  </a:moveTo>
                  <a:cubicBezTo>
                    <a:pt x="13" y="58"/>
                    <a:pt x="13" y="58"/>
                    <a:pt x="12" y="58"/>
                  </a:cubicBezTo>
                  <a:cubicBezTo>
                    <a:pt x="12" y="58"/>
                    <a:pt x="13" y="58"/>
                    <a:pt x="13" y="57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3" y="62"/>
                    <a:pt x="13" y="62"/>
                  </a:cubicBezTo>
                  <a:cubicBezTo>
                    <a:pt x="13" y="62"/>
                    <a:pt x="13" y="62"/>
                    <a:pt x="12" y="62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1" y="63"/>
                  </a:cubicBezTo>
                  <a:cubicBezTo>
                    <a:pt x="11" y="63"/>
                    <a:pt x="12" y="63"/>
                    <a:pt x="12" y="62"/>
                  </a:cubicBezTo>
                  <a:close/>
                  <a:moveTo>
                    <a:pt x="11" y="63"/>
                  </a:move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lose/>
                  <a:moveTo>
                    <a:pt x="11" y="66"/>
                  </a:moveTo>
                  <a:cubicBezTo>
                    <a:pt x="11" y="66"/>
                    <a:pt x="12" y="65"/>
                    <a:pt x="12" y="65"/>
                  </a:cubicBezTo>
                  <a:cubicBezTo>
                    <a:pt x="12" y="66"/>
                    <a:pt x="11" y="66"/>
                    <a:pt x="11" y="66"/>
                  </a:cubicBezTo>
                  <a:close/>
                  <a:moveTo>
                    <a:pt x="8" y="59"/>
                  </a:moveTo>
                  <a:cubicBezTo>
                    <a:pt x="8" y="59"/>
                    <a:pt x="9" y="58"/>
                    <a:pt x="9" y="58"/>
                  </a:cubicBezTo>
                  <a:cubicBezTo>
                    <a:pt x="9" y="59"/>
                    <a:pt x="9" y="59"/>
                    <a:pt x="8" y="59"/>
                  </a:cubicBezTo>
                  <a:close/>
                  <a:moveTo>
                    <a:pt x="10" y="63"/>
                  </a:moveTo>
                  <a:cubicBezTo>
                    <a:pt x="10" y="64"/>
                    <a:pt x="10" y="64"/>
                    <a:pt x="9" y="64"/>
                  </a:cubicBezTo>
                  <a:cubicBezTo>
                    <a:pt x="9" y="64"/>
                    <a:pt x="9" y="64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lose/>
                  <a:moveTo>
                    <a:pt x="11" y="66"/>
                  </a:moveTo>
                  <a:cubicBezTo>
                    <a:pt x="10" y="66"/>
                    <a:pt x="9" y="66"/>
                    <a:pt x="9" y="66"/>
                  </a:cubicBezTo>
                  <a:cubicBezTo>
                    <a:pt x="9" y="66"/>
                    <a:pt x="10" y="66"/>
                    <a:pt x="11" y="66"/>
                  </a:cubicBezTo>
                  <a:close/>
                  <a:moveTo>
                    <a:pt x="10" y="64"/>
                  </a:moveTo>
                  <a:cubicBezTo>
                    <a:pt x="10" y="64"/>
                    <a:pt x="10" y="65"/>
                    <a:pt x="9" y="64"/>
                  </a:cubicBezTo>
                  <a:cubicBezTo>
                    <a:pt x="9" y="64"/>
                    <a:pt x="10" y="64"/>
                    <a:pt x="10" y="64"/>
                  </a:cubicBezTo>
                  <a:close/>
                  <a:moveTo>
                    <a:pt x="8" y="59"/>
                  </a:moveTo>
                  <a:cubicBezTo>
                    <a:pt x="8" y="59"/>
                    <a:pt x="7" y="59"/>
                    <a:pt x="7" y="59"/>
                  </a:cubicBezTo>
                  <a:cubicBezTo>
                    <a:pt x="7" y="59"/>
                    <a:pt x="8" y="59"/>
                    <a:pt x="8" y="59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9" y="62"/>
                  </a:cubicBezTo>
                  <a:cubicBezTo>
                    <a:pt x="9" y="62"/>
                    <a:pt x="8" y="62"/>
                    <a:pt x="8" y="62"/>
                  </a:cubicBezTo>
                  <a:close/>
                  <a:moveTo>
                    <a:pt x="9" y="63"/>
                  </a:moveTo>
                  <a:cubicBezTo>
                    <a:pt x="8" y="64"/>
                    <a:pt x="8" y="64"/>
                    <a:pt x="7" y="64"/>
                  </a:cubicBezTo>
                  <a:cubicBezTo>
                    <a:pt x="8" y="64"/>
                    <a:pt x="8" y="63"/>
                    <a:pt x="9" y="6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6" y="62"/>
                  </a:moveTo>
                  <a:cubicBezTo>
                    <a:pt x="6" y="62"/>
                    <a:pt x="7" y="62"/>
                    <a:pt x="7" y="62"/>
                  </a:cubicBezTo>
                  <a:cubicBezTo>
                    <a:pt x="7" y="62"/>
                    <a:pt x="6" y="62"/>
                    <a:pt x="6" y="62"/>
                  </a:cubicBezTo>
                  <a:close/>
                  <a:moveTo>
                    <a:pt x="6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lose/>
                  <a:moveTo>
                    <a:pt x="5" y="67"/>
                  </a:moveTo>
                  <a:cubicBezTo>
                    <a:pt x="5" y="67"/>
                    <a:pt x="6" y="6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6"/>
                    <a:pt x="7" y="66"/>
                    <a:pt x="8" y="66"/>
                  </a:cubicBezTo>
                  <a:cubicBezTo>
                    <a:pt x="7" y="66"/>
                    <a:pt x="6" y="67"/>
                    <a:pt x="5" y="67"/>
                  </a:cubicBezTo>
                  <a:close/>
                  <a:moveTo>
                    <a:pt x="3" y="59"/>
                  </a:move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5" y="59"/>
                    <a:pt x="4" y="59"/>
                    <a:pt x="4" y="59"/>
                  </a:cubicBezTo>
                  <a:cubicBezTo>
                    <a:pt x="4" y="59"/>
                    <a:pt x="4" y="59"/>
                    <a:pt x="3" y="59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6" y="64"/>
                    <a:pt x="5" y="64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lose/>
                  <a:moveTo>
                    <a:pt x="3" y="60"/>
                  </a:moveTo>
                  <a:cubicBezTo>
                    <a:pt x="3" y="60"/>
                    <a:pt x="4" y="59"/>
                    <a:pt x="4" y="59"/>
                  </a:cubicBezTo>
                  <a:cubicBezTo>
                    <a:pt x="4" y="60"/>
                    <a:pt x="3" y="60"/>
                    <a:pt x="3" y="60"/>
                  </a:cubicBezTo>
                  <a:close/>
                  <a:moveTo>
                    <a:pt x="3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59"/>
                    <a:pt x="3" y="59"/>
                  </a:cubicBezTo>
                  <a:close/>
                  <a:moveTo>
                    <a:pt x="2" y="63"/>
                  </a:moveTo>
                  <a:cubicBezTo>
                    <a:pt x="2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lose/>
                  <a:moveTo>
                    <a:pt x="1" y="60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lose/>
                  <a:moveTo>
                    <a:pt x="2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3" y="67"/>
                  </a:cubicBezTo>
                  <a:cubicBezTo>
                    <a:pt x="3" y="67"/>
                    <a:pt x="2" y="67"/>
                    <a:pt x="2" y="67"/>
                  </a:cubicBezTo>
                  <a:close/>
                  <a:moveTo>
                    <a:pt x="0" y="67"/>
                  </a:moveTo>
                  <a:cubicBezTo>
                    <a:pt x="0" y="66"/>
                    <a:pt x="1" y="67"/>
                    <a:pt x="1" y="66"/>
                  </a:cubicBezTo>
                  <a:cubicBezTo>
                    <a:pt x="1" y="67"/>
                    <a:pt x="0" y="67"/>
                    <a:pt x="0" y="67"/>
                  </a:cubicBezTo>
                  <a:close/>
                  <a:moveTo>
                    <a:pt x="179" y="22"/>
                  </a:move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lose/>
                  <a:moveTo>
                    <a:pt x="226" y="17"/>
                  </a:moveTo>
                  <a:cubicBezTo>
                    <a:pt x="225" y="18"/>
                    <a:pt x="224" y="18"/>
                    <a:pt x="223" y="18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2" y="18"/>
                    <a:pt x="222" y="18"/>
                  </a:cubicBezTo>
                  <a:cubicBezTo>
                    <a:pt x="221" y="19"/>
                    <a:pt x="220" y="19"/>
                    <a:pt x="218" y="19"/>
                  </a:cubicBezTo>
                  <a:cubicBezTo>
                    <a:pt x="218" y="19"/>
                    <a:pt x="219" y="19"/>
                    <a:pt x="219" y="19"/>
                  </a:cubicBezTo>
                  <a:cubicBezTo>
                    <a:pt x="218" y="19"/>
                    <a:pt x="217" y="20"/>
                    <a:pt x="216" y="19"/>
                  </a:cubicBezTo>
                  <a:cubicBezTo>
                    <a:pt x="215" y="19"/>
                    <a:pt x="215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19"/>
                    <a:pt x="215" y="19"/>
                    <a:pt x="216" y="19"/>
                  </a:cubicBezTo>
                  <a:cubicBezTo>
                    <a:pt x="215" y="19"/>
                    <a:pt x="214" y="19"/>
                    <a:pt x="213" y="20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2" y="20"/>
                    <a:pt x="213" y="20"/>
                    <a:pt x="213" y="20"/>
                  </a:cubicBezTo>
                  <a:cubicBezTo>
                    <a:pt x="213" y="20"/>
                    <a:pt x="212" y="20"/>
                    <a:pt x="213" y="20"/>
                  </a:cubicBezTo>
                  <a:cubicBezTo>
                    <a:pt x="212" y="19"/>
                    <a:pt x="212" y="20"/>
                    <a:pt x="211" y="20"/>
                  </a:cubicBezTo>
                  <a:cubicBezTo>
                    <a:pt x="211" y="20"/>
                    <a:pt x="211" y="20"/>
                    <a:pt x="211" y="20"/>
                  </a:cubicBezTo>
                  <a:cubicBezTo>
                    <a:pt x="210" y="20"/>
                    <a:pt x="211" y="20"/>
                    <a:pt x="211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09" y="20"/>
                  </a:cubicBezTo>
                  <a:cubicBezTo>
                    <a:pt x="209" y="20"/>
                    <a:pt x="210" y="20"/>
                    <a:pt x="210" y="20"/>
                  </a:cubicBezTo>
                  <a:cubicBezTo>
                    <a:pt x="209" y="20"/>
                    <a:pt x="208" y="20"/>
                    <a:pt x="207" y="20"/>
                  </a:cubicBezTo>
                  <a:cubicBezTo>
                    <a:pt x="207" y="20"/>
                    <a:pt x="207" y="20"/>
                    <a:pt x="207" y="20"/>
                  </a:cubicBezTo>
                  <a:cubicBezTo>
                    <a:pt x="206" y="20"/>
                    <a:pt x="206" y="20"/>
                    <a:pt x="206" y="20"/>
                  </a:cubicBezTo>
                  <a:cubicBezTo>
                    <a:pt x="205" y="20"/>
                    <a:pt x="204" y="21"/>
                    <a:pt x="204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2" y="21"/>
                    <a:pt x="202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0" y="21"/>
                    <a:pt x="201" y="21"/>
                    <a:pt x="201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199" y="21"/>
                    <a:pt x="200" y="21"/>
                    <a:pt x="200" y="21"/>
                  </a:cubicBezTo>
                  <a:cubicBezTo>
                    <a:pt x="200" y="21"/>
                    <a:pt x="199" y="21"/>
                    <a:pt x="199" y="21"/>
                  </a:cubicBezTo>
                  <a:cubicBezTo>
                    <a:pt x="198" y="21"/>
                    <a:pt x="197" y="22"/>
                    <a:pt x="196" y="22"/>
                  </a:cubicBezTo>
                  <a:cubicBezTo>
                    <a:pt x="196" y="22"/>
                    <a:pt x="197" y="22"/>
                    <a:pt x="197" y="22"/>
                  </a:cubicBezTo>
                  <a:cubicBezTo>
                    <a:pt x="197" y="22"/>
                    <a:pt x="196" y="22"/>
                    <a:pt x="196" y="22"/>
                  </a:cubicBezTo>
                  <a:cubicBezTo>
                    <a:pt x="196" y="22"/>
                    <a:pt x="196" y="22"/>
                    <a:pt x="196" y="21"/>
                  </a:cubicBezTo>
                  <a:cubicBezTo>
                    <a:pt x="196" y="22"/>
                    <a:pt x="196" y="22"/>
                    <a:pt x="195" y="22"/>
                  </a:cubicBezTo>
                  <a:cubicBezTo>
                    <a:pt x="195" y="22"/>
                    <a:pt x="194" y="22"/>
                    <a:pt x="195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4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1" y="22"/>
                  </a:cubicBezTo>
                  <a:cubicBezTo>
                    <a:pt x="191" y="22"/>
                    <a:pt x="192" y="22"/>
                    <a:pt x="192" y="22"/>
                  </a:cubicBezTo>
                  <a:cubicBezTo>
                    <a:pt x="191" y="22"/>
                    <a:pt x="191" y="23"/>
                    <a:pt x="190" y="23"/>
                  </a:cubicBezTo>
                  <a:cubicBezTo>
                    <a:pt x="191" y="23"/>
                    <a:pt x="190" y="23"/>
                    <a:pt x="190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8" y="23"/>
                    <a:pt x="188" y="23"/>
                  </a:cubicBezTo>
                  <a:cubicBezTo>
                    <a:pt x="190" y="23"/>
                    <a:pt x="192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1" y="22"/>
                    <a:pt x="192" y="22"/>
                    <a:pt x="191" y="22"/>
                  </a:cubicBezTo>
                  <a:cubicBezTo>
                    <a:pt x="191" y="22"/>
                    <a:pt x="191" y="22"/>
                    <a:pt x="191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22"/>
                    <a:pt x="190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2"/>
                    <a:pt x="188" y="22"/>
                    <a:pt x="188" y="23"/>
                  </a:cubicBezTo>
                  <a:cubicBezTo>
                    <a:pt x="188" y="23"/>
                    <a:pt x="188" y="22"/>
                    <a:pt x="188" y="23"/>
                  </a:cubicBezTo>
                  <a:cubicBezTo>
                    <a:pt x="188" y="23"/>
                    <a:pt x="188" y="23"/>
                    <a:pt x="188" y="22"/>
                  </a:cubicBezTo>
                  <a:cubicBezTo>
                    <a:pt x="187" y="22"/>
                    <a:pt x="187" y="23"/>
                    <a:pt x="187" y="23"/>
                  </a:cubicBezTo>
                  <a:cubicBezTo>
                    <a:pt x="187" y="23"/>
                    <a:pt x="188" y="23"/>
                    <a:pt x="188" y="23"/>
                  </a:cubicBezTo>
                  <a:cubicBezTo>
                    <a:pt x="188" y="23"/>
                    <a:pt x="187" y="23"/>
                    <a:pt x="188" y="23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3"/>
                    <a:pt x="187" y="23"/>
                    <a:pt x="186" y="23"/>
                  </a:cubicBezTo>
                  <a:cubicBezTo>
                    <a:pt x="186" y="23"/>
                    <a:pt x="187" y="23"/>
                    <a:pt x="186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3"/>
                    <a:pt x="186" y="23"/>
                    <a:pt x="185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4"/>
                    <a:pt x="188" y="23"/>
                    <a:pt x="188" y="23"/>
                  </a:cubicBezTo>
                  <a:cubicBezTo>
                    <a:pt x="186" y="23"/>
                    <a:pt x="185" y="24"/>
                    <a:pt x="184" y="24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4" y="24"/>
                    <a:pt x="184" y="24"/>
                    <a:pt x="183" y="24"/>
                  </a:cubicBezTo>
                  <a:cubicBezTo>
                    <a:pt x="184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1" y="24"/>
                    <a:pt x="181" y="25"/>
                  </a:cubicBezTo>
                  <a:cubicBezTo>
                    <a:pt x="181" y="25"/>
                    <a:pt x="182" y="24"/>
                    <a:pt x="182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4"/>
                    <a:pt x="181" y="25"/>
                    <a:pt x="181" y="24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0" y="25"/>
                    <a:pt x="180" y="25"/>
                    <a:pt x="180" y="24"/>
                  </a:cubicBezTo>
                  <a:cubicBezTo>
                    <a:pt x="181" y="25"/>
                    <a:pt x="181" y="24"/>
                    <a:pt x="181" y="24"/>
                  </a:cubicBezTo>
                  <a:cubicBezTo>
                    <a:pt x="182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79" y="24"/>
                    <a:pt x="179" y="25"/>
                  </a:cubicBezTo>
                  <a:cubicBezTo>
                    <a:pt x="179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7" y="25"/>
                    <a:pt x="178" y="25"/>
                    <a:pt x="177" y="25"/>
                  </a:cubicBezTo>
                  <a:cubicBezTo>
                    <a:pt x="177" y="25"/>
                    <a:pt x="176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6"/>
                    <a:pt x="175" y="25"/>
                    <a:pt x="175" y="26"/>
                  </a:cubicBezTo>
                  <a:cubicBezTo>
                    <a:pt x="175" y="25"/>
                    <a:pt x="174" y="26"/>
                    <a:pt x="174" y="25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0" y="27"/>
                    <a:pt x="171" y="27"/>
                    <a:pt x="171" y="27"/>
                  </a:cubicBezTo>
                  <a:cubicBezTo>
                    <a:pt x="169" y="27"/>
                    <a:pt x="168" y="27"/>
                    <a:pt x="167" y="27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6" y="27"/>
                    <a:pt x="166" y="27"/>
                    <a:pt x="166" y="28"/>
                  </a:cubicBezTo>
                  <a:cubicBezTo>
                    <a:pt x="166" y="27"/>
                    <a:pt x="167" y="27"/>
                    <a:pt x="167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1" y="26"/>
                    <a:pt x="172" y="26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6" y="25"/>
                    <a:pt x="175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4"/>
                    <a:pt x="178" y="25"/>
                    <a:pt x="177" y="25"/>
                  </a:cubicBezTo>
                  <a:cubicBezTo>
                    <a:pt x="178" y="24"/>
                    <a:pt x="178" y="25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9" y="25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79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5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6" y="24"/>
                    <a:pt x="177" y="24"/>
                    <a:pt x="177" y="25"/>
                  </a:cubicBezTo>
                  <a:cubicBezTo>
                    <a:pt x="176" y="25"/>
                    <a:pt x="176" y="25"/>
                    <a:pt x="175" y="25"/>
                  </a:cubicBezTo>
                  <a:cubicBezTo>
                    <a:pt x="176" y="24"/>
                    <a:pt x="176" y="25"/>
                    <a:pt x="176" y="25"/>
                  </a:cubicBezTo>
                  <a:cubicBezTo>
                    <a:pt x="176" y="25"/>
                    <a:pt x="176" y="24"/>
                    <a:pt x="17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6" y="24"/>
                    <a:pt x="176" y="24"/>
                    <a:pt x="175" y="25"/>
                  </a:cubicBezTo>
                  <a:cubicBezTo>
                    <a:pt x="175" y="25"/>
                    <a:pt x="175" y="24"/>
                    <a:pt x="175" y="24"/>
                  </a:cubicBezTo>
                  <a:cubicBezTo>
                    <a:pt x="175" y="24"/>
                    <a:pt x="174" y="24"/>
                    <a:pt x="173" y="25"/>
                  </a:cubicBezTo>
                  <a:cubicBezTo>
                    <a:pt x="173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5" y="24"/>
                    <a:pt x="176" y="24"/>
                    <a:pt x="178" y="23"/>
                  </a:cubicBezTo>
                  <a:cubicBezTo>
                    <a:pt x="178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8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1" y="23"/>
                    <a:pt x="182" y="23"/>
                    <a:pt x="183" y="22"/>
                  </a:cubicBezTo>
                  <a:cubicBezTo>
                    <a:pt x="182" y="23"/>
                    <a:pt x="181" y="23"/>
                    <a:pt x="180" y="23"/>
                  </a:cubicBezTo>
                  <a:cubicBezTo>
                    <a:pt x="180" y="23"/>
                    <a:pt x="179" y="23"/>
                    <a:pt x="178" y="24"/>
                  </a:cubicBezTo>
                  <a:cubicBezTo>
                    <a:pt x="179" y="24"/>
                    <a:pt x="180" y="23"/>
                    <a:pt x="181" y="23"/>
                  </a:cubicBezTo>
                  <a:cubicBezTo>
                    <a:pt x="181" y="23"/>
                    <a:pt x="181" y="24"/>
                    <a:pt x="181" y="24"/>
                  </a:cubicBezTo>
                  <a:cubicBezTo>
                    <a:pt x="181" y="24"/>
                    <a:pt x="180" y="24"/>
                    <a:pt x="180" y="24"/>
                  </a:cubicBezTo>
                  <a:cubicBezTo>
                    <a:pt x="180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1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3" y="23"/>
                    <a:pt x="183" y="23"/>
                    <a:pt x="183" y="23"/>
                  </a:cubicBezTo>
                  <a:cubicBezTo>
                    <a:pt x="182" y="23"/>
                    <a:pt x="183" y="23"/>
                    <a:pt x="182" y="23"/>
                  </a:cubicBezTo>
                  <a:cubicBezTo>
                    <a:pt x="182" y="23"/>
                    <a:pt x="183" y="23"/>
                    <a:pt x="183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2"/>
                    <a:pt x="184" y="23"/>
                  </a:cubicBezTo>
                  <a:cubicBezTo>
                    <a:pt x="186" y="23"/>
                    <a:pt x="187" y="22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ubicBezTo>
                    <a:pt x="188" y="22"/>
                    <a:pt x="189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1"/>
                    <a:pt x="189" y="22"/>
                    <a:pt x="190" y="21"/>
                  </a:cubicBezTo>
                  <a:cubicBezTo>
                    <a:pt x="190" y="22"/>
                    <a:pt x="189" y="22"/>
                    <a:pt x="189" y="22"/>
                  </a:cubicBezTo>
                  <a:cubicBezTo>
                    <a:pt x="189" y="22"/>
                    <a:pt x="190" y="22"/>
                    <a:pt x="190" y="22"/>
                  </a:cubicBezTo>
                  <a:cubicBezTo>
                    <a:pt x="190" y="21"/>
                    <a:pt x="191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3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3" y="21"/>
                    <a:pt x="192" y="21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5" y="21"/>
                    <a:pt x="195" y="21"/>
                    <a:pt x="196" y="20"/>
                  </a:cubicBezTo>
                  <a:cubicBezTo>
                    <a:pt x="196" y="21"/>
                    <a:pt x="197" y="20"/>
                    <a:pt x="197" y="20"/>
                  </a:cubicBezTo>
                  <a:cubicBezTo>
                    <a:pt x="198" y="20"/>
                    <a:pt x="199" y="20"/>
                    <a:pt x="199" y="19"/>
                  </a:cubicBezTo>
                  <a:cubicBezTo>
                    <a:pt x="200" y="19"/>
                    <a:pt x="201" y="19"/>
                    <a:pt x="201" y="19"/>
                  </a:cubicBezTo>
                  <a:cubicBezTo>
                    <a:pt x="201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20"/>
                    <a:pt x="199" y="19"/>
                    <a:pt x="199" y="19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8" y="20"/>
                  </a:cubicBezTo>
                  <a:cubicBezTo>
                    <a:pt x="199" y="19"/>
                    <a:pt x="198" y="20"/>
                    <a:pt x="198" y="20"/>
                  </a:cubicBezTo>
                  <a:cubicBezTo>
                    <a:pt x="197" y="20"/>
                    <a:pt x="197" y="20"/>
                    <a:pt x="196" y="20"/>
                  </a:cubicBezTo>
                  <a:cubicBezTo>
                    <a:pt x="196" y="20"/>
                    <a:pt x="195" y="20"/>
                    <a:pt x="194" y="21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90" y="21"/>
                    <a:pt x="189" y="21"/>
                    <a:pt x="190" y="21"/>
                  </a:cubicBezTo>
                  <a:cubicBezTo>
                    <a:pt x="190" y="21"/>
                    <a:pt x="189" y="21"/>
                    <a:pt x="189" y="21"/>
                  </a:cubicBezTo>
                  <a:cubicBezTo>
                    <a:pt x="189" y="21"/>
                    <a:pt x="189" y="21"/>
                    <a:pt x="188" y="21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8" y="21"/>
                    <a:pt x="188" y="21"/>
                    <a:pt x="187" y="21"/>
                  </a:cubicBezTo>
                  <a:cubicBezTo>
                    <a:pt x="187" y="21"/>
                    <a:pt x="187" y="21"/>
                    <a:pt x="188" y="21"/>
                  </a:cubicBezTo>
                  <a:cubicBezTo>
                    <a:pt x="188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8" y="20"/>
                    <a:pt x="188" y="21"/>
                  </a:cubicBezTo>
                  <a:cubicBezTo>
                    <a:pt x="189" y="21"/>
                    <a:pt x="188" y="20"/>
                    <a:pt x="188" y="20"/>
                  </a:cubicBezTo>
                  <a:cubicBezTo>
                    <a:pt x="189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88" y="20"/>
                    <a:pt x="188" y="21"/>
                  </a:cubicBezTo>
                  <a:cubicBezTo>
                    <a:pt x="187" y="21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1"/>
                    <a:pt x="187" y="20"/>
                    <a:pt x="187" y="21"/>
                  </a:cubicBezTo>
                  <a:cubicBezTo>
                    <a:pt x="187" y="20"/>
                    <a:pt x="187" y="21"/>
                    <a:pt x="186" y="21"/>
                  </a:cubicBezTo>
                  <a:cubicBezTo>
                    <a:pt x="186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6" y="20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1"/>
                    <a:pt x="185" y="21"/>
                  </a:cubicBezTo>
                  <a:cubicBezTo>
                    <a:pt x="185" y="20"/>
                    <a:pt x="184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4" y="20"/>
                  </a:cubicBezTo>
                  <a:cubicBezTo>
                    <a:pt x="184" y="21"/>
                    <a:pt x="184" y="20"/>
                    <a:pt x="184" y="21"/>
                  </a:cubicBezTo>
                  <a:cubicBezTo>
                    <a:pt x="184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0"/>
                    <a:pt x="182" y="20"/>
                    <a:pt x="183" y="20"/>
                  </a:cubicBezTo>
                  <a:cubicBezTo>
                    <a:pt x="183" y="20"/>
                    <a:pt x="182" y="21"/>
                    <a:pt x="181" y="20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79" y="21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2"/>
                    <a:pt x="180" y="21"/>
                    <a:pt x="181" y="21"/>
                  </a:cubicBezTo>
                  <a:cubicBezTo>
                    <a:pt x="181" y="22"/>
                    <a:pt x="180" y="22"/>
                    <a:pt x="180" y="22"/>
                  </a:cubicBezTo>
                  <a:cubicBezTo>
                    <a:pt x="181" y="22"/>
                    <a:pt x="181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2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79" y="22"/>
                    <a:pt x="179" y="22"/>
                  </a:cubicBezTo>
                  <a:cubicBezTo>
                    <a:pt x="179" y="22"/>
                    <a:pt x="180" y="22"/>
                    <a:pt x="180" y="22"/>
                  </a:cubicBezTo>
                  <a:cubicBezTo>
                    <a:pt x="179" y="22"/>
                    <a:pt x="179" y="22"/>
                    <a:pt x="179" y="23"/>
                  </a:cubicBezTo>
                  <a:cubicBezTo>
                    <a:pt x="179" y="22"/>
                    <a:pt x="178" y="22"/>
                    <a:pt x="179" y="22"/>
                  </a:cubicBezTo>
                  <a:cubicBezTo>
                    <a:pt x="178" y="22"/>
                    <a:pt x="178" y="23"/>
                    <a:pt x="177" y="23"/>
                  </a:cubicBezTo>
                  <a:cubicBezTo>
                    <a:pt x="177" y="23"/>
                    <a:pt x="176" y="23"/>
                    <a:pt x="177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4"/>
                    <a:pt x="173" y="24"/>
                  </a:cubicBezTo>
                  <a:cubicBezTo>
                    <a:pt x="173" y="24"/>
                    <a:pt x="173" y="24"/>
                    <a:pt x="173" y="24"/>
                  </a:cubicBezTo>
                  <a:cubicBezTo>
                    <a:pt x="173" y="24"/>
                    <a:pt x="173" y="24"/>
                    <a:pt x="172" y="24"/>
                  </a:cubicBezTo>
                  <a:cubicBezTo>
                    <a:pt x="172" y="24"/>
                    <a:pt x="172" y="24"/>
                    <a:pt x="172" y="23"/>
                  </a:cubicBezTo>
                  <a:cubicBezTo>
                    <a:pt x="172" y="23"/>
                    <a:pt x="172" y="24"/>
                    <a:pt x="172" y="24"/>
                  </a:cubicBezTo>
                  <a:cubicBezTo>
                    <a:pt x="172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0" y="24"/>
                    <a:pt x="170" y="24"/>
                  </a:cubicBezTo>
                  <a:cubicBezTo>
                    <a:pt x="170" y="24"/>
                    <a:pt x="171" y="24"/>
                    <a:pt x="171" y="23"/>
                  </a:cubicBezTo>
                  <a:cubicBezTo>
                    <a:pt x="171" y="23"/>
                    <a:pt x="171" y="24"/>
                    <a:pt x="171" y="24"/>
                  </a:cubicBezTo>
                  <a:cubicBezTo>
                    <a:pt x="171" y="24"/>
                    <a:pt x="172" y="23"/>
                    <a:pt x="172" y="23"/>
                  </a:cubicBezTo>
                  <a:cubicBezTo>
                    <a:pt x="172" y="23"/>
                    <a:pt x="172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4" y="23"/>
                    <a:pt x="174" y="23"/>
                  </a:cubicBezTo>
                  <a:cubicBezTo>
                    <a:pt x="174" y="23"/>
                    <a:pt x="175" y="23"/>
                    <a:pt x="174" y="23"/>
                  </a:cubicBezTo>
                  <a:cubicBezTo>
                    <a:pt x="174" y="22"/>
                    <a:pt x="175" y="23"/>
                    <a:pt x="175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75" y="23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2"/>
                    <a:pt x="176" y="23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7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7" y="22"/>
                    <a:pt x="177" y="22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8" y="22"/>
                    <a:pt x="179" y="22"/>
                  </a:cubicBezTo>
                  <a:cubicBezTo>
                    <a:pt x="179" y="22"/>
                    <a:pt x="179" y="22"/>
                    <a:pt x="180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8" y="21"/>
                    <a:pt x="178" y="22"/>
                  </a:cubicBezTo>
                  <a:cubicBezTo>
                    <a:pt x="178" y="22"/>
                    <a:pt x="179" y="21"/>
                    <a:pt x="179" y="21"/>
                  </a:cubicBezTo>
                  <a:cubicBezTo>
                    <a:pt x="179" y="21"/>
                    <a:pt x="179" y="21"/>
                    <a:pt x="178" y="21"/>
                  </a:cubicBezTo>
                  <a:cubicBezTo>
                    <a:pt x="178" y="21"/>
                    <a:pt x="178" y="21"/>
                    <a:pt x="178" y="22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8" y="21"/>
                    <a:pt x="177" y="21"/>
                    <a:pt x="177" y="21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9" y="21"/>
                    <a:pt x="178" y="21"/>
                    <a:pt x="178" y="21"/>
                  </a:cubicBezTo>
                  <a:cubicBezTo>
                    <a:pt x="179" y="20"/>
                    <a:pt x="179" y="20"/>
                    <a:pt x="180" y="20"/>
                  </a:cubicBezTo>
                  <a:cubicBezTo>
                    <a:pt x="180" y="20"/>
                    <a:pt x="180" y="21"/>
                    <a:pt x="180" y="20"/>
                  </a:cubicBez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2" y="20"/>
                    <a:pt x="182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82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4" y="20"/>
                    <a:pt x="184" y="20"/>
                  </a:cubicBezTo>
                  <a:cubicBezTo>
                    <a:pt x="184" y="20"/>
                    <a:pt x="184" y="20"/>
                    <a:pt x="185" y="20"/>
                  </a:cubicBezTo>
                  <a:cubicBezTo>
                    <a:pt x="184" y="20"/>
                    <a:pt x="185" y="20"/>
                    <a:pt x="185" y="20"/>
                  </a:cubicBezTo>
                  <a:cubicBezTo>
                    <a:pt x="185" y="20"/>
                    <a:pt x="185" y="19"/>
                    <a:pt x="184" y="20"/>
                  </a:cubicBezTo>
                  <a:cubicBezTo>
                    <a:pt x="184" y="20"/>
                    <a:pt x="185" y="20"/>
                    <a:pt x="185" y="19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5" y="19"/>
                    <a:pt x="185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5" y="19"/>
                    <a:pt x="185" y="19"/>
                  </a:cubicBezTo>
                  <a:cubicBezTo>
                    <a:pt x="185" y="19"/>
                    <a:pt x="187" y="19"/>
                    <a:pt x="187" y="19"/>
                  </a:cubicBezTo>
                  <a:cubicBezTo>
                    <a:pt x="187" y="19"/>
                    <a:pt x="187" y="19"/>
                    <a:pt x="187" y="18"/>
                  </a:cubicBezTo>
                  <a:cubicBezTo>
                    <a:pt x="188" y="18"/>
                    <a:pt x="188" y="19"/>
                    <a:pt x="188" y="19"/>
                  </a:cubicBezTo>
                  <a:cubicBezTo>
                    <a:pt x="188" y="18"/>
                    <a:pt x="189" y="18"/>
                    <a:pt x="189" y="18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1" y="18"/>
                    <a:pt x="191" y="18"/>
                  </a:cubicBezTo>
                  <a:cubicBezTo>
                    <a:pt x="191" y="18"/>
                    <a:pt x="191" y="18"/>
                    <a:pt x="192" y="18"/>
                  </a:cubicBezTo>
                  <a:cubicBezTo>
                    <a:pt x="192" y="18"/>
                    <a:pt x="190" y="18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1" y="18"/>
                    <a:pt x="192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3" y="17"/>
                  </a:cubicBezTo>
                  <a:cubicBezTo>
                    <a:pt x="193" y="17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7"/>
                    <a:pt x="193" y="18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4" y="16"/>
                    <a:pt x="193" y="16"/>
                  </a:cubicBezTo>
                  <a:cubicBezTo>
                    <a:pt x="193" y="16"/>
                    <a:pt x="194" y="16"/>
                    <a:pt x="194" y="16"/>
                  </a:cubicBezTo>
                  <a:cubicBezTo>
                    <a:pt x="194" y="15"/>
                    <a:pt x="194" y="16"/>
                    <a:pt x="194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4" y="15"/>
                  </a:cubicBezTo>
                  <a:cubicBezTo>
                    <a:pt x="195" y="16"/>
                    <a:pt x="195" y="15"/>
                    <a:pt x="195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5" y="15"/>
                    <a:pt x="195" y="16"/>
                    <a:pt x="196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4" y="16"/>
                  </a:cubicBezTo>
                  <a:cubicBezTo>
                    <a:pt x="195" y="17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7" y="16"/>
                    <a:pt x="196" y="16"/>
                    <a:pt x="196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8" y="16"/>
                    <a:pt x="197" y="15"/>
                    <a:pt x="197" y="15"/>
                  </a:cubicBezTo>
                  <a:cubicBezTo>
                    <a:pt x="198" y="15"/>
                    <a:pt x="197" y="16"/>
                    <a:pt x="198" y="16"/>
                  </a:cubicBezTo>
                  <a:cubicBezTo>
                    <a:pt x="198" y="16"/>
                    <a:pt x="197" y="16"/>
                    <a:pt x="197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6"/>
                    <a:pt x="198" y="15"/>
                    <a:pt x="198" y="16"/>
                  </a:cubicBezTo>
                  <a:cubicBezTo>
                    <a:pt x="198" y="16"/>
                    <a:pt x="198" y="15"/>
                    <a:pt x="198" y="15"/>
                  </a:cubicBezTo>
                  <a:cubicBezTo>
                    <a:pt x="199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7" y="15"/>
                  </a:cubicBezTo>
                  <a:cubicBezTo>
                    <a:pt x="197" y="15"/>
                    <a:pt x="197" y="15"/>
                    <a:pt x="197" y="16"/>
                  </a:cubicBezTo>
                  <a:cubicBezTo>
                    <a:pt x="197" y="15"/>
                    <a:pt x="197" y="16"/>
                    <a:pt x="196" y="15"/>
                  </a:cubicBezTo>
                  <a:cubicBezTo>
                    <a:pt x="196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6" y="15"/>
                    <a:pt x="196" y="14"/>
                    <a:pt x="196" y="14"/>
                  </a:cubicBezTo>
                  <a:cubicBezTo>
                    <a:pt x="196" y="14"/>
                    <a:pt x="196" y="14"/>
                    <a:pt x="195" y="14"/>
                  </a:cubicBezTo>
                  <a:cubicBezTo>
                    <a:pt x="195" y="14"/>
                    <a:pt x="196" y="14"/>
                    <a:pt x="196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6" y="14"/>
                    <a:pt x="195" y="14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4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4" y="15"/>
                    <a:pt x="194" y="15"/>
                    <a:pt x="193" y="15"/>
                  </a:cubicBezTo>
                  <a:cubicBezTo>
                    <a:pt x="193" y="15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2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1" y="16"/>
                  </a:cubicBezTo>
                  <a:cubicBezTo>
                    <a:pt x="192" y="16"/>
                    <a:pt x="191" y="16"/>
                    <a:pt x="190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7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8" y="17"/>
                    <a:pt x="188" y="17"/>
                    <a:pt x="187" y="17"/>
                  </a:cubicBezTo>
                  <a:cubicBezTo>
                    <a:pt x="187" y="17"/>
                    <a:pt x="187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6" y="17"/>
                    <a:pt x="187" y="17"/>
                    <a:pt x="186" y="17"/>
                  </a:cubicBezTo>
                  <a:cubicBezTo>
                    <a:pt x="186" y="17"/>
                    <a:pt x="186" y="17"/>
                    <a:pt x="187" y="17"/>
                  </a:cubicBezTo>
                  <a:cubicBezTo>
                    <a:pt x="186" y="17"/>
                    <a:pt x="186" y="17"/>
                    <a:pt x="185" y="18"/>
                  </a:cubicBezTo>
                  <a:cubicBezTo>
                    <a:pt x="185" y="17"/>
                    <a:pt x="186" y="17"/>
                    <a:pt x="186" y="17"/>
                  </a:cubicBezTo>
                  <a:cubicBezTo>
                    <a:pt x="186" y="17"/>
                    <a:pt x="185" y="17"/>
                    <a:pt x="185" y="17"/>
                  </a:cubicBezTo>
                  <a:cubicBezTo>
                    <a:pt x="185" y="17"/>
                    <a:pt x="185" y="17"/>
                    <a:pt x="185" y="17"/>
                  </a:cubicBezTo>
                  <a:cubicBezTo>
                    <a:pt x="184" y="17"/>
                    <a:pt x="185" y="17"/>
                    <a:pt x="185" y="17"/>
                  </a:cubicBezTo>
                  <a:cubicBezTo>
                    <a:pt x="184" y="17"/>
                    <a:pt x="184" y="18"/>
                    <a:pt x="183" y="17"/>
                  </a:cubicBezTo>
                  <a:cubicBezTo>
                    <a:pt x="183" y="18"/>
                    <a:pt x="182" y="18"/>
                    <a:pt x="183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82" y="17"/>
                    <a:pt x="181" y="18"/>
                    <a:pt x="181" y="18"/>
                  </a:cubicBezTo>
                  <a:cubicBezTo>
                    <a:pt x="181" y="18"/>
                    <a:pt x="181" y="18"/>
                    <a:pt x="181" y="17"/>
                  </a:cubicBezTo>
                  <a:cubicBezTo>
                    <a:pt x="183" y="17"/>
                    <a:pt x="186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7"/>
                    <a:pt x="187" y="16"/>
                  </a:cubicBezTo>
                  <a:cubicBezTo>
                    <a:pt x="187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90" y="16"/>
                  </a:cubicBezTo>
                  <a:cubicBezTo>
                    <a:pt x="190" y="16"/>
                    <a:pt x="190" y="15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3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3" y="15"/>
                    <a:pt x="194" y="14"/>
                    <a:pt x="194" y="15"/>
                  </a:cubicBezTo>
                  <a:cubicBezTo>
                    <a:pt x="194" y="14"/>
                    <a:pt x="193" y="14"/>
                    <a:pt x="193" y="15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5" y="13"/>
                    <a:pt x="193" y="14"/>
                    <a:pt x="193" y="13"/>
                  </a:cubicBezTo>
                  <a:cubicBezTo>
                    <a:pt x="193" y="14"/>
                    <a:pt x="193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1" y="14"/>
                  </a:cubicBezTo>
                  <a:cubicBezTo>
                    <a:pt x="192" y="13"/>
                    <a:pt x="193" y="14"/>
                    <a:pt x="193" y="13"/>
                  </a:cubicBezTo>
                  <a:cubicBezTo>
                    <a:pt x="193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2"/>
                    <a:pt x="195" y="12"/>
                  </a:cubicBezTo>
                  <a:cubicBezTo>
                    <a:pt x="196" y="12"/>
                    <a:pt x="196" y="13"/>
                    <a:pt x="196" y="12"/>
                  </a:cubicBezTo>
                  <a:cubicBezTo>
                    <a:pt x="196" y="12"/>
                    <a:pt x="196" y="12"/>
                    <a:pt x="196" y="12"/>
                  </a:cubicBezTo>
                  <a:cubicBezTo>
                    <a:pt x="196" y="12"/>
                    <a:pt x="196" y="12"/>
                    <a:pt x="197" y="12"/>
                  </a:cubicBezTo>
                  <a:cubicBezTo>
                    <a:pt x="197" y="12"/>
                    <a:pt x="196" y="12"/>
                    <a:pt x="196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6" y="12"/>
                    <a:pt x="195" y="12"/>
                  </a:cubicBezTo>
                  <a:cubicBezTo>
                    <a:pt x="195" y="12"/>
                    <a:pt x="195" y="12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2"/>
                  </a:cubicBezTo>
                  <a:cubicBezTo>
                    <a:pt x="195" y="12"/>
                    <a:pt x="194" y="13"/>
                    <a:pt x="194" y="12"/>
                  </a:cubicBezTo>
                  <a:cubicBezTo>
                    <a:pt x="194" y="12"/>
                    <a:pt x="193" y="13"/>
                    <a:pt x="193" y="13"/>
                  </a:cubicBezTo>
                  <a:cubicBezTo>
                    <a:pt x="193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6" y="12"/>
                    <a:pt x="196" y="12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7" y="11"/>
                    <a:pt x="196" y="11"/>
                  </a:cubicBezTo>
                  <a:cubicBezTo>
                    <a:pt x="196" y="11"/>
                    <a:pt x="196" y="11"/>
                    <a:pt x="197" y="11"/>
                  </a:cubicBezTo>
                  <a:cubicBezTo>
                    <a:pt x="196" y="11"/>
                    <a:pt x="196" y="12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7" y="11"/>
                  </a:cubicBezTo>
                  <a:cubicBezTo>
                    <a:pt x="197" y="11"/>
                    <a:pt x="198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ubicBezTo>
                    <a:pt x="199" y="10"/>
                    <a:pt x="198" y="11"/>
                    <a:pt x="199" y="10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9" y="10"/>
                    <a:pt x="199" y="10"/>
                    <a:pt x="200" y="10"/>
                  </a:cubicBezTo>
                  <a:cubicBezTo>
                    <a:pt x="200" y="10"/>
                    <a:pt x="200" y="10"/>
                    <a:pt x="201" y="10"/>
                  </a:cubicBezTo>
                  <a:cubicBezTo>
                    <a:pt x="201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1"/>
                  </a:cubicBezTo>
                  <a:cubicBezTo>
                    <a:pt x="200" y="11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1" y="10"/>
                    <a:pt x="200" y="10"/>
                    <a:pt x="201" y="10"/>
                  </a:cubicBezTo>
                  <a:cubicBezTo>
                    <a:pt x="201" y="10"/>
                    <a:pt x="201" y="10"/>
                    <a:pt x="202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2" y="9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3" y="10"/>
                    <a:pt x="202" y="9"/>
                  </a:cubicBezTo>
                  <a:cubicBezTo>
                    <a:pt x="203" y="9"/>
                    <a:pt x="203" y="9"/>
                    <a:pt x="204" y="9"/>
                  </a:cubicBezTo>
                  <a:cubicBezTo>
                    <a:pt x="204" y="9"/>
                    <a:pt x="203" y="9"/>
                    <a:pt x="204" y="9"/>
                  </a:cubicBezTo>
                  <a:cubicBezTo>
                    <a:pt x="204" y="9"/>
                    <a:pt x="205" y="9"/>
                    <a:pt x="205" y="9"/>
                  </a:cubicBezTo>
                  <a:cubicBezTo>
                    <a:pt x="205" y="9"/>
                    <a:pt x="205" y="9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7"/>
                  </a:cubicBezTo>
                  <a:cubicBezTo>
                    <a:pt x="206" y="8"/>
                    <a:pt x="206" y="8"/>
                    <a:pt x="205" y="8"/>
                  </a:cubicBezTo>
                  <a:cubicBezTo>
                    <a:pt x="205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4" y="8"/>
                  </a:cubicBezTo>
                  <a:cubicBezTo>
                    <a:pt x="204" y="8"/>
                    <a:pt x="203" y="8"/>
                    <a:pt x="203" y="8"/>
                  </a:cubicBezTo>
                  <a:cubicBezTo>
                    <a:pt x="203" y="8"/>
                    <a:pt x="204" y="7"/>
                    <a:pt x="204" y="7"/>
                  </a:cubicBezTo>
                  <a:cubicBezTo>
                    <a:pt x="204" y="8"/>
                    <a:pt x="204" y="7"/>
                    <a:pt x="204" y="8"/>
                  </a:cubicBezTo>
                  <a:cubicBezTo>
                    <a:pt x="204" y="8"/>
                    <a:pt x="204" y="7"/>
                    <a:pt x="204" y="7"/>
                  </a:cubicBezTo>
                  <a:cubicBezTo>
                    <a:pt x="204" y="7"/>
                    <a:pt x="204" y="7"/>
                    <a:pt x="204" y="8"/>
                  </a:cubicBezTo>
                  <a:cubicBezTo>
                    <a:pt x="204" y="8"/>
                    <a:pt x="204" y="7"/>
                    <a:pt x="20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06" y="7"/>
                    <a:pt x="207" y="7"/>
                  </a:cubicBezTo>
                  <a:cubicBezTo>
                    <a:pt x="207" y="7"/>
                    <a:pt x="206" y="7"/>
                    <a:pt x="207" y="7"/>
                  </a:cubicBezTo>
                  <a:cubicBezTo>
                    <a:pt x="207" y="7"/>
                    <a:pt x="207" y="7"/>
                    <a:pt x="207" y="7"/>
                  </a:cubicBezTo>
                  <a:cubicBezTo>
                    <a:pt x="207" y="6"/>
                    <a:pt x="207" y="7"/>
                    <a:pt x="207" y="7"/>
                  </a:cubicBezTo>
                  <a:cubicBezTo>
                    <a:pt x="207" y="7"/>
                    <a:pt x="207" y="6"/>
                    <a:pt x="208" y="6"/>
                  </a:cubicBezTo>
                  <a:cubicBezTo>
                    <a:pt x="207" y="6"/>
                    <a:pt x="207" y="7"/>
                    <a:pt x="207" y="6"/>
                  </a:cubicBez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8" y="6"/>
                  </a:cubicBezTo>
                  <a:cubicBezTo>
                    <a:pt x="208" y="6"/>
                    <a:pt x="208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10" y="5"/>
                    <a:pt x="210" y="5"/>
                    <a:pt x="211" y="5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11" y="5"/>
                    <a:pt x="211" y="5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3" y="4"/>
                    <a:pt x="213" y="4"/>
                  </a:cubicBezTo>
                  <a:cubicBezTo>
                    <a:pt x="213" y="4"/>
                    <a:pt x="212" y="4"/>
                    <a:pt x="212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4" y="4"/>
                  </a:cubicBezTo>
                  <a:cubicBezTo>
                    <a:pt x="214" y="4"/>
                    <a:pt x="215" y="3"/>
                    <a:pt x="216" y="4"/>
                  </a:cubicBezTo>
                  <a:cubicBezTo>
                    <a:pt x="216" y="4"/>
                    <a:pt x="217" y="4"/>
                    <a:pt x="217" y="4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3"/>
                    <a:pt x="217" y="4"/>
                    <a:pt x="217" y="4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8" y="4"/>
                    <a:pt x="219" y="3"/>
                  </a:cubicBezTo>
                  <a:cubicBezTo>
                    <a:pt x="219" y="3"/>
                    <a:pt x="218" y="3"/>
                    <a:pt x="218" y="3"/>
                  </a:cubicBezTo>
                  <a:cubicBezTo>
                    <a:pt x="219" y="3"/>
                    <a:pt x="219" y="3"/>
                    <a:pt x="219" y="3"/>
                  </a:cubicBezTo>
                  <a:cubicBezTo>
                    <a:pt x="219" y="3"/>
                    <a:pt x="220" y="3"/>
                    <a:pt x="220" y="3"/>
                  </a:cubicBezTo>
                  <a:cubicBezTo>
                    <a:pt x="220" y="3"/>
                    <a:pt x="220" y="3"/>
                    <a:pt x="220" y="4"/>
                  </a:cubicBezTo>
                  <a:cubicBezTo>
                    <a:pt x="221" y="4"/>
                    <a:pt x="222" y="4"/>
                    <a:pt x="222" y="3"/>
                  </a:cubicBezTo>
                  <a:cubicBezTo>
                    <a:pt x="222" y="4"/>
                    <a:pt x="222" y="3"/>
                    <a:pt x="223" y="4"/>
                  </a:cubicBezTo>
                  <a:cubicBezTo>
                    <a:pt x="223" y="3"/>
                    <a:pt x="223" y="3"/>
                    <a:pt x="223" y="3"/>
                  </a:cubicBezTo>
                  <a:cubicBezTo>
                    <a:pt x="222" y="3"/>
                    <a:pt x="222" y="3"/>
                    <a:pt x="221" y="3"/>
                  </a:cubicBezTo>
                  <a:cubicBezTo>
                    <a:pt x="221" y="3"/>
                    <a:pt x="221" y="4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2" y="3"/>
                    <a:pt x="221" y="3"/>
                    <a:pt x="222" y="3"/>
                  </a:cubicBezTo>
                  <a:cubicBezTo>
                    <a:pt x="221" y="3"/>
                    <a:pt x="222" y="3"/>
                    <a:pt x="222" y="3"/>
                  </a:cubicBezTo>
                  <a:cubicBezTo>
                    <a:pt x="223" y="3"/>
                    <a:pt x="223" y="3"/>
                    <a:pt x="224" y="3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3" y="3"/>
                    <a:pt x="224" y="2"/>
                  </a:cubicBezTo>
                  <a:cubicBezTo>
                    <a:pt x="224" y="2"/>
                    <a:pt x="225" y="2"/>
                    <a:pt x="225" y="2"/>
                  </a:cubicBezTo>
                  <a:cubicBezTo>
                    <a:pt x="226" y="2"/>
                    <a:pt x="228" y="2"/>
                    <a:pt x="228" y="2"/>
                  </a:cubicBezTo>
                  <a:cubicBezTo>
                    <a:pt x="229" y="2"/>
                    <a:pt x="228" y="2"/>
                    <a:pt x="229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28" y="1"/>
                    <a:pt x="229" y="1"/>
                    <a:pt x="229" y="1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9" y="1"/>
                    <a:pt x="230" y="1"/>
                    <a:pt x="230" y="1"/>
                  </a:cubicBezTo>
                  <a:cubicBezTo>
                    <a:pt x="230" y="1"/>
                    <a:pt x="230" y="1"/>
                    <a:pt x="230" y="1"/>
                  </a:cubicBezTo>
                  <a:cubicBezTo>
                    <a:pt x="229" y="1"/>
                    <a:pt x="230" y="1"/>
                    <a:pt x="230" y="2"/>
                  </a:cubicBezTo>
                  <a:cubicBezTo>
                    <a:pt x="230" y="1"/>
                    <a:pt x="231" y="2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0"/>
                    <a:pt x="232" y="0"/>
                    <a:pt x="232" y="1"/>
                  </a:cubicBezTo>
                  <a:cubicBezTo>
                    <a:pt x="232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0"/>
                    <a:pt x="233" y="0"/>
                  </a:cubicBezTo>
                  <a:cubicBezTo>
                    <a:pt x="233" y="0"/>
                    <a:pt x="233" y="0"/>
                    <a:pt x="234" y="0"/>
                  </a:cubicBezTo>
                  <a:cubicBezTo>
                    <a:pt x="233" y="1"/>
                    <a:pt x="234" y="0"/>
                    <a:pt x="234" y="0"/>
                  </a:cubicBezTo>
                  <a:cubicBezTo>
                    <a:pt x="234" y="1"/>
                    <a:pt x="234" y="0"/>
                    <a:pt x="23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5" y="0"/>
                    <a:pt x="236" y="0"/>
                    <a:pt x="237" y="0"/>
                  </a:cubicBezTo>
                  <a:cubicBezTo>
                    <a:pt x="237" y="0"/>
                    <a:pt x="238" y="0"/>
                    <a:pt x="238" y="0"/>
                  </a:cubicBezTo>
                  <a:cubicBezTo>
                    <a:pt x="238" y="0"/>
                    <a:pt x="238" y="0"/>
                    <a:pt x="239" y="0"/>
                  </a:cubicBezTo>
                  <a:cubicBezTo>
                    <a:pt x="240" y="0"/>
                    <a:pt x="241" y="0"/>
                    <a:pt x="242" y="0"/>
                  </a:cubicBezTo>
                  <a:cubicBezTo>
                    <a:pt x="242" y="0"/>
                    <a:pt x="242" y="0"/>
                    <a:pt x="243" y="0"/>
                  </a:cubicBezTo>
                  <a:cubicBezTo>
                    <a:pt x="245" y="0"/>
                    <a:pt x="247" y="0"/>
                    <a:pt x="248" y="2"/>
                  </a:cubicBezTo>
                  <a:cubicBezTo>
                    <a:pt x="248" y="2"/>
                    <a:pt x="248" y="2"/>
                    <a:pt x="249" y="2"/>
                  </a:cubicBezTo>
                  <a:cubicBezTo>
                    <a:pt x="249" y="2"/>
                    <a:pt x="249" y="2"/>
                    <a:pt x="249" y="2"/>
                  </a:cubicBezTo>
                  <a:cubicBezTo>
                    <a:pt x="250" y="2"/>
                    <a:pt x="250" y="2"/>
                    <a:pt x="250" y="3"/>
                  </a:cubicBezTo>
                  <a:cubicBezTo>
                    <a:pt x="250" y="3"/>
                    <a:pt x="250" y="4"/>
                    <a:pt x="250" y="4"/>
                  </a:cubicBezTo>
                  <a:cubicBezTo>
                    <a:pt x="250" y="4"/>
                    <a:pt x="250" y="5"/>
                    <a:pt x="250" y="5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51" y="5"/>
                    <a:pt x="249" y="6"/>
                    <a:pt x="249" y="7"/>
                  </a:cubicBezTo>
                  <a:cubicBezTo>
                    <a:pt x="249" y="7"/>
                    <a:pt x="249" y="7"/>
                    <a:pt x="248" y="7"/>
                  </a:cubicBezTo>
                  <a:cubicBezTo>
                    <a:pt x="248" y="8"/>
                    <a:pt x="246" y="9"/>
                    <a:pt x="245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6" y="10"/>
                    <a:pt x="246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2" y="12"/>
                    <a:pt x="242" y="13"/>
                    <a:pt x="239" y="13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8" y="14"/>
                    <a:pt x="237" y="14"/>
                    <a:pt x="236" y="15"/>
                  </a:cubicBezTo>
                  <a:cubicBezTo>
                    <a:pt x="236" y="15"/>
                    <a:pt x="235" y="15"/>
                    <a:pt x="234" y="15"/>
                  </a:cubicBezTo>
                  <a:cubicBezTo>
                    <a:pt x="233" y="15"/>
                    <a:pt x="233" y="15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0" y="16"/>
                    <a:pt x="228" y="17"/>
                    <a:pt x="226" y="17"/>
                  </a:cubicBezTo>
                  <a:cubicBezTo>
                    <a:pt x="226" y="17"/>
                    <a:pt x="226" y="17"/>
                    <a:pt x="226" y="17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5"/>
                    <a:pt x="209" y="6"/>
                  </a:cubicBezTo>
                  <a:cubicBezTo>
                    <a:pt x="209" y="6"/>
                    <a:pt x="210" y="6"/>
                    <a:pt x="210" y="6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6"/>
                    <a:pt x="210" y="6"/>
                  </a:cubicBezTo>
                  <a:cubicBezTo>
                    <a:pt x="210" y="6"/>
                    <a:pt x="210" y="6"/>
                    <a:pt x="210" y="6"/>
                  </a:cubicBezTo>
                  <a:close/>
                  <a:moveTo>
                    <a:pt x="204" y="8"/>
                  </a:move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lose/>
                  <a:moveTo>
                    <a:pt x="209" y="7"/>
                  </a:move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lose/>
                  <a:moveTo>
                    <a:pt x="207" y="7"/>
                  </a:moveTo>
                  <a:cubicBezTo>
                    <a:pt x="208" y="7"/>
                    <a:pt x="208" y="7"/>
                    <a:pt x="207" y="8"/>
                  </a:cubicBezTo>
                  <a:cubicBezTo>
                    <a:pt x="208" y="8"/>
                    <a:pt x="208" y="7"/>
                    <a:pt x="208" y="7"/>
                  </a:cubicBezTo>
                  <a:cubicBezTo>
                    <a:pt x="208" y="7"/>
                    <a:pt x="208" y="7"/>
                    <a:pt x="208" y="7"/>
                  </a:cubicBezTo>
                  <a:cubicBezTo>
                    <a:pt x="208" y="7"/>
                    <a:pt x="207" y="7"/>
                    <a:pt x="207" y="7"/>
                  </a:cubicBezTo>
                  <a:cubicBezTo>
                    <a:pt x="208" y="7"/>
                    <a:pt x="207" y="7"/>
                    <a:pt x="207" y="7"/>
                  </a:cubicBezTo>
                  <a:close/>
                  <a:moveTo>
                    <a:pt x="207" y="8"/>
                  </a:moveTo>
                  <a:cubicBezTo>
                    <a:pt x="207" y="8"/>
                    <a:pt x="208" y="7"/>
                    <a:pt x="207" y="7"/>
                  </a:cubicBezTo>
                  <a:cubicBezTo>
                    <a:pt x="207" y="8"/>
                    <a:pt x="206" y="8"/>
                    <a:pt x="207" y="8"/>
                  </a:cubicBezTo>
                  <a:close/>
                  <a:moveTo>
                    <a:pt x="206" y="8"/>
                  </a:move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lose/>
                  <a:moveTo>
                    <a:pt x="208" y="8"/>
                  </a:moveTo>
                  <a:cubicBezTo>
                    <a:pt x="209" y="8"/>
                    <a:pt x="209" y="8"/>
                    <a:pt x="209" y="8"/>
                  </a:cubicBezTo>
                  <a:cubicBezTo>
                    <a:pt x="209" y="7"/>
                    <a:pt x="209" y="8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8" y="7"/>
                    <a:pt x="209" y="7"/>
                    <a:pt x="208" y="8"/>
                  </a:cubicBezTo>
                  <a:close/>
                  <a:moveTo>
                    <a:pt x="20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9"/>
                  </a:cubicBezTo>
                  <a:close/>
                  <a:moveTo>
                    <a:pt x="208" y="8"/>
                  </a:move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lose/>
                  <a:moveTo>
                    <a:pt x="204" y="9"/>
                  </a:move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5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lose/>
                  <a:moveTo>
                    <a:pt x="203" y="10"/>
                  </a:moveTo>
                  <a:cubicBezTo>
                    <a:pt x="203" y="10"/>
                    <a:pt x="203" y="9"/>
                    <a:pt x="202" y="10"/>
                  </a:cubicBezTo>
                  <a:cubicBezTo>
                    <a:pt x="203" y="10"/>
                    <a:pt x="203" y="10"/>
                    <a:pt x="203" y="10"/>
                  </a:cubicBezTo>
                  <a:close/>
                  <a:moveTo>
                    <a:pt x="201" y="10"/>
                  </a:move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lose/>
                  <a:moveTo>
                    <a:pt x="199" y="11"/>
                  </a:moveTo>
                  <a:cubicBezTo>
                    <a:pt x="199" y="11"/>
                    <a:pt x="199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lose/>
                  <a:moveTo>
                    <a:pt x="201" y="11"/>
                  </a:move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1" y="11"/>
                  </a:moveTo>
                  <a:cubicBezTo>
                    <a:pt x="202" y="11"/>
                    <a:pt x="201" y="11"/>
                    <a:pt x="201" y="11"/>
                  </a:cubicBez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1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200" y="11"/>
                    <a:pt x="200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199" y="11"/>
                    <a:pt x="199" y="11"/>
                  </a:cubicBezTo>
                  <a:cubicBezTo>
                    <a:pt x="199" y="11"/>
                    <a:pt x="200" y="11"/>
                    <a:pt x="200" y="11"/>
                  </a:cubicBezTo>
                  <a:cubicBezTo>
                    <a:pt x="200" y="11"/>
                    <a:pt x="199" y="12"/>
                    <a:pt x="199" y="12"/>
                  </a:cubicBezTo>
                  <a:cubicBezTo>
                    <a:pt x="200" y="12"/>
                    <a:pt x="200" y="11"/>
                    <a:pt x="200" y="11"/>
                  </a:cubicBezTo>
                  <a:close/>
                  <a:moveTo>
                    <a:pt x="198" y="12"/>
                  </a:moveTo>
                  <a:cubicBezTo>
                    <a:pt x="198" y="12"/>
                    <a:pt x="198" y="12"/>
                    <a:pt x="199" y="12"/>
                  </a:cubicBezTo>
                  <a:cubicBezTo>
                    <a:pt x="198" y="12"/>
                    <a:pt x="198" y="12"/>
                    <a:pt x="198" y="12"/>
                  </a:cubicBezTo>
                  <a:cubicBezTo>
                    <a:pt x="198" y="12"/>
                    <a:pt x="198" y="12"/>
                    <a:pt x="198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5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lose/>
                  <a:moveTo>
                    <a:pt x="195" y="14"/>
                  </a:moveTo>
                  <a:cubicBezTo>
                    <a:pt x="195" y="14"/>
                    <a:pt x="195" y="14"/>
                    <a:pt x="196" y="14"/>
                  </a:cubicBezTo>
                  <a:cubicBezTo>
                    <a:pt x="195" y="14"/>
                    <a:pt x="195" y="13"/>
                    <a:pt x="195" y="13"/>
                  </a:cubicBezTo>
                  <a:cubicBezTo>
                    <a:pt x="195" y="14"/>
                    <a:pt x="195" y="13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lose/>
                  <a:moveTo>
                    <a:pt x="191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5"/>
                    <a:pt x="191" y="15"/>
                  </a:cubicBezTo>
                  <a:cubicBezTo>
                    <a:pt x="191" y="16"/>
                    <a:pt x="191" y="15"/>
                    <a:pt x="191" y="16"/>
                  </a:cubicBezTo>
                  <a:close/>
                  <a:moveTo>
                    <a:pt x="190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0" y="16"/>
                    <a:pt x="190" y="16"/>
                  </a:cubicBezTo>
                  <a:close/>
                  <a:moveTo>
                    <a:pt x="188" y="16"/>
                  </a:move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7"/>
                    <a:pt x="188" y="16"/>
                  </a:cubicBezTo>
                  <a:close/>
                  <a:moveTo>
                    <a:pt x="192" y="15"/>
                  </a:moveTo>
                  <a:cubicBezTo>
                    <a:pt x="192" y="15"/>
                    <a:pt x="192" y="16"/>
                    <a:pt x="193" y="16"/>
                  </a:cubicBezTo>
                  <a:cubicBezTo>
                    <a:pt x="193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9" y="13"/>
                  </a:moveTo>
                  <a:cubicBezTo>
                    <a:pt x="199" y="13"/>
                    <a:pt x="198" y="14"/>
                    <a:pt x="198" y="14"/>
                  </a:cubicBezTo>
                  <a:cubicBezTo>
                    <a:pt x="198" y="14"/>
                    <a:pt x="199" y="14"/>
                    <a:pt x="199" y="13"/>
                  </a:cubicBezTo>
                  <a:close/>
                  <a:moveTo>
                    <a:pt x="215" y="10"/>
                  </a:moveTo>
                  <a:cubicBezTo>
                    <a:pt x="214" y="10"/>
                    <a:pt x="214" y="10"/>
                    <a:pt x="214" y="11"/>
                  </a:cubicBezTo>
                  <a:cubicBezTo>
                    <a:pt x="214" y="10"/>
                    <a:pt x="215" y="10"/>
                    <a:pt x="215" y="10"/>
                  </a:cubicBezTo>
                  <a:close/>
                  <a:moveTo>
                    <a:pt x="200" y="15"/>
                  </a:moveTo>
                  <a:cubicBezTo>
                    <a:pt x="200" y="15"/>
                    <a:pt x="201" y="15"/>
                    <a:pt x="200" y="15"/>
                  </a:cubicBezTo>
                  <a:cubicBezTo>
                    <a:pt x="200" y="15"/>
                    <a:pt x="201" y="15"/>
                    <a:pt x="201" y="15"/>
                  </a:cubicBezTo>
                  <a:cubicBezTo>
                    <a:pt x="200" y="14"/>
                    <a:pt x="201" y="15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lose/>
                  <a:moveTo>
                    <a:pt x="201" y="14"/>
                  </a:moveTo>
                  <a:cubicBezTo>
                    <a:pt x="202" y="14"/>
                    <a:pt x="201" y="14"/>
                    <a:pt x="201" y="15"/>
                  </a:cubicBezTo>
                  <a:cubicBezTo>
                    <a:pt x="201" y="14"/>
                    <a:pt x="202" y="15"/>
                    <a:pt x="202" y="14"/>
                  </a:cubicBezTo>
                  <a:cubicBezTo>
                    <a:pt x="201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lose/>
                  <a:moveTo>
                    <a:pt x="200" y="14"/>
                  </a:moveTo>
                  <a:cubicBezTo>
                    <a:pt x="200" y="14"/>
                    <a:pt x="200" y="14"/>
                    <a:pt x="199" y="15"/>
                  </a:cubicBezTo>
                  <a:cubicBezTo>
                    <a:pt x="199" y="15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1" y="14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lose/>
                  <a:moveTo>
                    <a:pt x="199" y="14"/>
                  </a:moveTo>
                  <a:cubicBezTo>
                    <a:pt x="199" y="14"/>
                    <a:pt x="199" y="14"/>
                    <a:pt x="199" y="1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4"/>
                    <a:pt x="199" y="14"/>
                  </a:cubicBezTo>
                  <a:close/>
                  <a:moveTo>
                    <a:pt x="203" y="13"/>
                  </a:move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4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lose/>
                  <a:moveTo>
                    <a:pt x="198" y="15"/>
                  </a:moveTo>
                  <a:cubicBezTo>
                    <a:pt x="198" y="15"/>
                    <a:pt x="198" y="15"/>
                    <a:pt x="199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4"/>
                    <a:pt x="199" y="14"/>
                    <a:pt x="199" y="14"/>
                  </a:cubicBezTo>
                  <a:cubicBezTo>
                    <a:pt x="198" y="14"/>
                    <a:pt x="198" y="14"/>
                    <a:pt x="198" y="15"/>
                  </a:cubicBezTo>
                  <a:cubicBezTo>
                    <a:pt x="198" y="14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8" y="15"/>
                    <a:pt x="198" y="15"/>
                  </a:cubicBezTo>
                  <a:cubicBezTo>
                    <a:pt x="198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198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199" y="15"/>
                    <a:pt x="200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00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6"/>
                    <a:pt x="200" y="16"/>
                  </a:cubicBezTo>
                  <a:cubicBezTo>
                    <a:pt x="200" y="16"/>
                    <a:pt x="200" y="15"/>
                    <a:pt x="200" y="15"/>
                  </a:cubicBezTo>
                  <a:close/>
                  <a:moveTo>
                    <a:pt x="203" y="15"/>
                  </a:moveTo>
                  <a:cubicBezTo>
                    <a:pt x="204" y="14"/>
                    <a:pt x="204" y="15"/>
                    <a:pt x="204" y="14"/>
                  </a:cubicBezTo>
                  <a:cubicBezTo>
                    <a:pt x="204" y="14"/>
                    <a:pt x="204" y="14"/>
                    <a:pt x="204" y="14"/>
                  </a:cubicBezTo>
                  <a:cubicBezTo>
                    <a:pt x="204" y="15"/>
                    <a:pt x="203" y="15"/>
                    <a:pt x="203" y="15"/>
                  </a:cubicBezTo>
                  <a:close/>
                  <a:moveTo>
                    <a:pt x="197" y="16"/>
                  </a:moveTo>
                  <a:cubicBezTo>
                    <a:pt x="198" y="16"/>
                    <a:pt x="197" y="16"/>
                    <a:pt x="197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7" y="16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4" y="17"/>
                  </a:cubicBezTo>
                  <a:cubicBezTo>
                    <a:pt x="194" y="17"/>
                    <a:pt x="195" y="17"/>
                    <a:pt x="195" y="17"/>
                  </a:cubicBezTo>
                  <a:close/>
                  <a:moveTo>
                    <a:pt x="194" y="17"/>
                  </a:move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lose/>
                  <a:moveTo>
                    <a:pt x="196" y="17"/>
                  </a:moveTo>
                  <a:cubicBezTo>
                    <a:pt x="196" y="17"/>
                    <a:pt x="196" y="17"/>
                    <a:pt x="196" y="16"/>
                  </a:cubicBezTo>
                  <a:cubicBezTo>
                    <a:pt x="196" y="16"/>
                    <a:pt x="196" y="17"/>
                    <a:pt x="196" y="17"/>
                  </a:cubicBezTo>
                  <a:close/>
                  <a:moveTo>
                    <a:pt x="173" y="23"/>
                  </a:moveTo>
                  <a:cubicBezTo>
                    <a:pt x="173" y="23"/>
                    <a:pt x="174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lose/>
                  <a:moveTo>
                    <a:pt x="178" y="22"/>
                  </a:move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7" y="22"/>
                    <a:pt x="178" y="22"/>
                  </a:cubicBezTo>
                  <a:close/>
                  <a:moveTo>
                    <a:pt x="180" y="21"/>
                  </a:moveTo>
                  <a:cubicBezTo>
                    <a:pt x="181" y="21"/>
                    <a:pt x="181" y="20"/>
                    <a:pt x="181" y="20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lose/>
                  <a:moveTo>
                    <a:pt x="189" y="18"/>
                  </a:move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90" y="18"/>
                    <a:pt x="189" y="18"/>
                  </a:cubicBezTo>
                  <a:close/>
                  <a:moveTo>
                    <a:pt x="187" y="19"/>
                  </a:moveTo>
                  <a:cubicBezTo>
                    <a:pt x="187" y="19"/>
                    <a:pt x="186" y="19"/>
                    <a:pt x="186" y="19"/>
                  </a:cubicBezTo>
                  <a:cubicBezTo>
                    <a:pt x="186" y="20"/>
                    <a:pt x="187" y="19"/>
                    <a:pt x="187" y="19"/>
                  </a:cubicBezTo>
                  <a:close/>
                  <a:moveTo>
                    <a:pt x="186" y="20"/>
                  </a:move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0"/>
                    <a:pt x="185" y="20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6" y="20"/>
                    <a:pt x="186" y="20"/>
                    <a:pt x="186" y="20"/>
                  </a:cubicBezTo>
                  <a:close/>
                  <a:moveTo>
                    <a:pt x="187" y="20"/>
                  </a:move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9" y="19"/>
                    <a:pt x="188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7" y="19"/>
                    <a:pt x="187" y="19"/>
                  </a:cubicBezTo>
                  <a:cubicBezTo>
                    <a:pt x="187" y="20"/>
                    <a:pt x="187" y="20"/>
                    <a:pt x="187" y="20"/>
                  </a:cubicBezTo>
                  <a:close/>
                  <a:moveTo>
                    <a:pt x="192" y="19"/>
                  </a:move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2" y="19"/>
                    <a:pt x="192" y="19"/>
                  </a:cubicBezTo>
                  <a:close/>
                  <a:moveTo>
                    <a:pt x="193" y="19"/>
                  </a:moveTo>
                  <a:cubicBezTo>
                    <a:pt x="193" y="19"/>
                    <a:pt x="193" y="19"/>
                    <a:pt x="193" y="19"/>
                  </a:cubicBezTo>
                  <a:cubicBezTo>
                    <a:pt x="193" y="19"/>
                    <a:pt x="193" y="19"/>
                    <a:pt x="193" y="19"/>
                  </a:cubicBezTo>
                  <a:close/>
                  <a:moveTo>
                    <a:pt x="191" y="20"/>
                  </a:move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0" y="20"/>
                  </a:cubicBezTo>
                  <a:cubicBezTo>
                    <a:pt x="190" y="20"/>
                    <a:pt x="191" y="20"/>
                    <a:pt x="191" y="20"/>
                  </a:cubicBezTo>
                  <a:close/>
                  <a:moveTo>
                    <a:pt x="204" y="18"/>
                  </a:moveTo>
                  <a:cubicBezTo>
                    <a:pt x="204" y="18"/>
                    <a:pt x="204" y="18"/>
                    <a:pt x="204" y="18"/>
                  </a:cubicBezTo>
                  <a:cubicBezTo>
                    <a:pt x="204" y="18"/>
                    <a:pt x="204" y="18"/>
                    <a:pt x="204" y="18"/>
                  </a:cubicBezTo>
                  <a:close/>
                  <a:moveTo>
                    <a:pt x="200" y="19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8" y="19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8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202" y="18"/>
                  </a:move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3" y="18"/>
                    <a:pt x="203" y="18"/>
                  </a:cubicBezTo>
                  <a:cubicBezTo>
                    <a:pt x="203" y="18"/>
                    <a:pt x="202" y="18"/>
                    <a:pt x="202" y="18"/>
                  </a:cubicBezTo>
                  <a:close/>
                  <a:moveTo>
                    <a:pt x="201" y="18"/>
                  </a:moveTo>
                  <a:cubicBezTo>
                    <a:pt x="201" y="18"/>
                    <a:pt x="201" y="19"/>
                    <a:pt x="201" y="19"/>
                  </a:cubicBezTo>
                  <a:cubicBezTo>
                    <a:pt x="202" y="18"/>
                    <a:pt x="201" y="18"/>
                    <a:pt x="201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1" y="18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8"/>
                    <a:pt x="201" y="18"/>
                    <a:pt x="200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8"/>
                    <a:pt x="200" y="18"/>
                  </a:cubicBezTo>
                  <a:close/>
                  <a:moveTo>
                    <a:pt x="194" y="20"/>
                  </a:moveTo>
                  <a:cubicBezTo>
                    <a:pt x="194" y="20"/>
                    <a:pt x="195" y="20"/>
                    <a:pt x="195" y="20"/>
                  </a:cubicBezTo>
                  <a:cubicBezTo>
                    <a:pt x="195" y="20"/>
                    <a:pt x="194" y="20"/>
                    <a:pt x="194" y="20"/>
                  </a:cubicBezTo>
                  <a:close/>
                  <a:moveTo>
                    <a:pt x="191" y="20"/>
                  </a:moveTo>
                  <a:cubicBezTo>
                    <a:pt x="191" y="21"/>
                    <a:pt x="193" y="20"/>
                    <a:pt x="193" y="20"/>
                  </a:cubicBezTo>
                  <a:cubicBezTo>
                    <a:pt x="192" y="20"/>
                    <a:pt x="192" y="20"/>
                    <a:pt x="191" y="20"/>
                  </a:cubicBezTo>
                  <a:close/>
                  <a:moveTo>
                    <a:pt x="191" y="20"/>
                  </a:moveTo>
                  <a:cubicBezTo>
                    <a:pt x="191" y="20"/>
                    <a:pt x="192" y="20"/>
                    <a:pt x="192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lose/>
                  <a:moveTo>
                    <a:pt x="190" y="21"/>
                  </a:moveTo>
                  <a:cubicBezTo>
                    <a:pt x="191" y="21"/>
                    <a:pt x="190" y="21"/>
                    <a:pt x="190" y="21"/>
                  </a:cubicBezTo>
                  <a:cubicBezTo>
                    <a:pt x="190" y="21"/>
                    <a:pt x="190" y="21"/>
                    <a:pt x="190" y="21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198" y="19"/>
                  </a:moveTo>
                  <a:cubicBezTo>
                    <a:pt x="198" y="19"/>
                    <a:pt x="198" y="19"/>
                    <a:pt x="199" y="19"/>
                  </a:cubicBezTo>
                  <a:cubicBezTo>
                    <a:pt x="198" y="19"/>
                    <a:pt x="198" y="19"/>
                    <a:pt x="198" y="19"/>
                  </a:cubicBezTo>
                  <a:close/>
                  <a:moveTo>
                    <a:pt x="195" y="20"/>
                  </a:moveTo>
                  <a:cubicBezTo>
                    <a:pt x="195" y="20"/>
                    <a:pt x="195" y="20"/>
                    <a:pt x="195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5" y="20"/>
                  </a:cubicBezTo>
                  <a:close/>
                  <a:moveTo>
                    <a:pt x="196" y="20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205" y="18"/>
                  </a:moveTo>
                  <a:cubicBezTo>
                    <a:pt x="205" y="18"/>
                    <a:pt x="205" y="18"/>
                    <a:pt x="205" y="18"/>
                  </a:cubicBezTo>
                  <a:cubicBezTo>
                    <a:pt x="205" y="18"/>
                    <a:pt x="205" y="18"/>
                    <a:pt x="205" y="18"/>
                  </a:cubicBezTo>
                  <a:close/>
                  <a:moveTo>
                    <a:pt x="203" y="18"/>
                  </a:moveTo>
                  <a:cubicBezTo>
                    <a:pt x="203" y="19"/>
                    <a:pt x="203" y="19"/>
                    <a:pt x="203" y="19"/>
                  </a:cubicBezTo>
                  <a:cubicBezTo>
                    <a:pt x="204" y="19"/>
                    <a:pt x="204" y="18"/>
                    <a:pt x="204" y="18"/>
                  </a:cubicBezTo>
                  <a:lnTo>
                    <a:pt x="203" y="18"/>
                  </a:lnTo>
                  <a:close/>
                  <a:moveTo>
                    <a:pt x="202" y="19"/>
                  </a:moveTo>
                  <a:cubicBezTo>
                    <a:pt x="202" y="19"/>
                    <a:pt x="201" y="19"/>
                    <a:pt x="201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2" y="19"/>
                    <a:pt x="202" y="19"/>
                  </a:cubicBezTo>
                  <a:close/>
                  <a:moveTo>
                    <a:pt x="177" y="24"/>
                  </a:moveTo>
                  <a:cubicBezTo>
                    <a:pt x="177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7" y="24"/>
                    <a:pt x="177" y="24"/>
                    <a:pt x="176" y="24"/>
                  </a:cubicBezTo>
                  <a:cubicBezTo>
                    <a:pt x="177" y="24"/>
                    <a:pt x="177" y="24"/>
                    <a:pt x="177" y="24"/>
                  </a:cubicBezTo>
                  <a:close/>
                  <a:moveTo>
                    <a:pt x="184" y="23"/>
                  </a:move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lose/>
                  <a:moveTo>
                    <a:pt x="183" y="24"/>
                  </a:moveTo>
                  <a:cubicBezTo>
                    <a:pt x="183" y="24"/>
                    <a:pt x="183" y="23"/>
                    <a:pt x="183" y="23"/>
                  </a:cubicBezTo>
                  <a:cubicBezTo>
                    <a:pt x="183" y="23"/>
                    <a:pt x="183" y="23"/>
                    <a:pt x="183" y="24"/>
                  </a:cubicBezTo>
                  <a:close/>
                  <a:moveTo>
                    <a:pt x="184" y="24"/>
                  </a:move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4" y="24"/>
                    <a:pt x="184" y="24"/>
                  </a:cubicBezTo>
                  <a:cubicBezTo>
                    <a:pt x="185" y="24"/>
                    <a:pt x="185" y="24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4" y="24"/>
                    <a:pt x="184" y="23"/>
                  </a:cubicBezTo>
                  <a:cubicBezTo>
                    <a:pt x="184" y="23"/>
                    <a:pt x="184" y="24"/>
                    <a:pt x="184" y="24"/>
                  </a:cubicBezTo>
                  <a:close/>
                  <a:moveTo>
                    <a:pt x="185" y="23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lose/>
                  <a:moveTo>
                    <a:pt x="197" y="20"/>
                  </a:moveTo>
                  <a:cubicBezTo>
                    <a:pt x="197" y="21"/>
                    <a:pt x="198" y="20"/>
                    <a:pt x="198" y="20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7" y="21"/>
                    <a:pt x="198" y="20"/>
                    <a:pt x="198" y="20"/>
                  </a:cubicBezTo>
                  <a:cubicBezTo>
                    <a:pt x="198" y="20"/>
                    <a:pt x="198" y="20"/>
                    <a:pt x="197" y="20"/>
                  </a:cubicBezTo>
                  <a:close/>
                  <a:moveTo>
                    <a:pt x="197" y="20"/>
                  </a:moveTo>
                  <a:cubicBezTo>
                    <a:pt x="197" y="21"/>
                    <a:pt x="196" y="21"/>
                    <a:pt x="196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0"/>
                    <a:pt x="197" y="21"/>
                    <a:pt x="197" y="20"/>
                  </a:cubicBezTo>
                  <a:cubicBezTo>
                    <a:pt x="197" y="20"/>
                    <a:pt x="197" y="20"/>
                    <a:pt x="197" y="20"/>
                  </a:cubicBezTo>
                  <a:close/>
                  <a:moveTo>
                    <a:pt x="195" y="21"/>
                  </a:moveTo>
                  <a:cubicBezTo>
                    <a:pt x="195" y="21"/>
                    <a:pt x="195" y="21"/>
                    <a:pt x="195" y="21"/>
                  </a:cubicBezTo>
                  <a:cubicBezTo>
                    <a:pt x="195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5" y="21"/>
                  </a:cubicBezTo>
                  <a:close/>
                  <a:moveTo>
                    <a:pt x="194" y="21"/>
                  </a:moveTo>
                  <a:cubicBezTo>
                    <a:pt x="194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4" y="21"/>
                  </a:cubicBezTo>
                  <a:close/>
                  <a:moveTo>
                    <a:pt x="197" y="21"/>
                  </a:moveTo>
                  <a:cubicBezTo>
                    <a:pt x="197" y="21"/>
                    <a:pt x="197" y="21"/>
                    <a:pt x="197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5" y="21"/>
                    <a:pt x="195" y="21"/>
                  </a:cubicBezTo>
                  <a:cubicBezTo>
                    <a:pt x="195" y="21"/>
                    <a:pt x="197" y="21"/>
                    <a:pt x="197" y="21"/>
                  </a:cubicBezTo>
                  <a:close/>
                  <a:moveTo>
                    <a:pt x="195" y="21"/>
                  </a:moveTo>
                  <a:cubicBezTo>
                    <a:pt x="194" y="21"/>
                    <a:pt x="195" y="21"/>
                    <a:pt x="195" y="21"/>
                  </a:cubicBezTo>
                  <a:cubicBezTo>
                    <a:pt x="195" y="21"/>
                    <a:pt x="195" y="21"/>
                    <a:pt x="194" y="21"/>
                  </a:cubicBezTo>
                  <a:cubicBezTo>
                    <a:pt x="194" y="21"/>
                    <a:pt x="194" y="22"/>
                    <a:pt x="194" y="22"/>
                  </a:cubicBezTo>
                  <a:cubicBezTo>
                    <a:pt x="194" y="21"/>
                    <a:pt x="195" y="22"/>
                    <a:pt x="195" y="21"/>
                  </a:cubicBezTo>
                  <a:close/>
                  <a:moveTo>
                    <a:pt x="199" y="20"/>
                  </a:moveTo>
                  <a:cubicBezTo>
                    <a:pt x="199" y="20"/>
                    <a:pt x="199" y="20"/>
                    <a:pt x="199" y="20"/>
                  </a:cubicBezTo>
                  <a:cubicBezTo>
                    <a:pt x="199" y="21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199" y="20"/>
                    <a:pt x="199" y="20"/>
                  </a:cubicBezTo>
                  <a:cubicBezTo>
                    <a:pt x="199" y="20"/>
                    <a:pt x="200" y="20"/>
                    <a:pt x="200" y="20"/>
                  </a:cubicBezTo>
                  <a:cubicBezTo>
                    <a:pt x="199" y="20"/>
                    <a:pt x="199" y="20"/>
                    <a:pt x="198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9" y="21"/>
                    <a:pt x="199" y="20"/>
                    <a:pt x="199" y="20"/>
                  </a:cubicBezTo>
                  <a:close/>
                  <a:moveTo>
                    <a:pt x="196" y="21"/>
                  </a:moveTo>
                  <a:cubicBezTo>
                    <a:pt x="195" y="21"/>
                    <a:pt x="195" y="21"/>
                    <a:pt x="195" y="22"/>
                  </a:cubicBezTo>
                  <a:cubicBezTo>
                    <a:pt x="195" y="22"/>
                    <a:pt x="196" y="22"/>
                    <a:pt x="196" y="21"/>
                  </a:cubicBezTo>
                  <a:close/>
                  <a:moveTo>
                    <a:pt x="197" y="21"/>
                  </a:move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lose/>
                  <a:moveTo>
                    <a:pt x="204" y="20"/>
                  </a:moveTo>
                  <a:cubicBezTo>
                    <a:pt x="203" y="20"/>
                    <a:pt x="203" y="20"/>
                    <a:pt x="203" y="20"/>
                  </a:cubicBezTo>
                  <a:cubicBezTo>
                    <a:pt x="203" y="20"/>
                    <a:pt x="204" y="20"/>
                    <a:pt x="204" y="20"/>
                  </a:cubicBezTo>
                  <a:close/>
                  <a:moveTo>
                    <a:pt x="211" y="20"/>
                  </a:moveTo>
                  <a:cubicBezTo>
                    <a:pt x="211" y="19"/>
                    <a:pt x="213" y="20"/>
                    <a:pt x="212" y="19"/>
                  </a:cubicBezTo>
                  <a:cubicBezTo>
                    <a:pt x="212" y="20"/>
                    <a:pt x="212" y="19"/>
                    <a:pt x="212" y="19"/>
                  </a:cubicBezTo>
                  <a:cubicBezTo>
                    <a:pt x="212" y="19"/>
                    <a:pt x="211" y="20"/>
                    <a:pt x="211" y="20"/>
                  </a:cubicBezTo>
                  <a:close/>
                  <a:moveTo>
                    <a:pt x="215" y="19"/>
                  </a:move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8"/>
                    <a:pt x="215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lose/>
                  <a:moveTo>
                    <a:pt x="193" y="13"/>
                  </a:move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2" y="13"/>
                  </a:cubicBezTo>
                  <a:cubicBezTo>
                    <a:pt x="192" y="13"/>
                    <a:pt x="193" y="13"/>
                    <a:pt x="193" y="13"/>
                  </a:cubicBezTo>
                  <a:close/>
                  <a:moveTo>
                    <a:pt x="191" y="21"/>
                  </a:moveTo>
                  <a:cubicBezTo>
                    <a:pt x="192" y="21"/>
                    <a:pt x="191" y="21"/>
                    <a:pt x="192" y="21"/>
                  </a:cubicBezTo>
                  <a:cubicBezTo>
                    <a:pt x="191" y="21"/>
                    <a:pt x="193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lose/>
                  <a:moveTo>
                    <a:pt x="249" y="8"/>
                  </a:moveTo>
                  <a:cubicBezTo>
                    <a:pt x="249" y="8"/>
                    <a:pt x="249" y="7"/>
                    <a:pt x="249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49" y="7"/>
                    <a:pt x="249" y="7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49" y="8"/>
                    <a:pt x="249" y="8"/>
                  </a:cubicBezTo>
                  <a:close/>
                  <a:moveTo>
                    <a:pt x="196" y="9"/>
                  </a:moveTo>
                  <a:cubicBezTo>
                    <a:pt x="196" y="9"/>
                    <a:pt x="195" y="9"/>
                    <a:pt x="195" y="9"/>
                  </a:cubicBez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lose/>
                  <a:moveTo>
                    <a:pt x="192" y="13"/>
                  </a:move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lose/>
                  <a:moveTo>
                    <a:pt x="192" y="14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lose/>
                  <a:moveTo>
                    <a:pt x="190" y="14"/>
                  </a:moveTo>
                  <a:cubicBezTo>
                    <a:pt x="190" y="15"/>
                    <a:pt x="190" y="14"/>
                    <a:pt x="190" y="14"/>
                  </a:cubicBezTo>
                  <a:cubicBezTo>
                    <a:pt x="189" y="15"/>
                    <a:pt x="188" y="15"/>
                    <a:pt x="187" y="15"/>
                  </a:cubicBezTo>
                  <a:cubicBezTo>
                    <a:pt x="187" y="15"/>
                    <a:pt x="188" y="14"/>
                    <a:pt x="188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89" y="14"/>
                    <a:pt x="190" y="14"/>
                  </a:cubicBezTo>
                  <a:cubicBezTo>
                    <a:pt x="190" y="14"/>
                    <a:pt x="189" y="14"/>
                    <a:pt x="189" y="14"/>
                  </a:cubicBezTo>
                  <a:cubicBezTo>
                    <a:pt x="189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lose/>
                  <a:moveTo>
                    <a:pt x="190" y="15"/>
                  </a:moveTo>
                  <a:cubicBezTo>
                    <a:pt x="190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90" y="15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8" y="15"/>
                  </a:cubicBezTo>
                  <a:cubicBezTo>
                    <a:pt x="188" y="15"/>
                    <a:pt x="189" y="15"/>
                    <a:pt x="189" y="15"/>
                  </a:cubicBezTo>
                  <a:close/>
                  <a:moveTo>
                    <a:pt x="189" y="14"/>
                  </a:moveTo>
                  <a:cubicBezTo>
                    <a:pt x="188" y="14"/>
                    <a:pt x="188" y="14"/>
                    <a:pt x="188" y="14"/>
                  </a:cubicBezTo>
                  <a:cubicBezTo>
                    <a:pt x="188" y="14"/>
                    <a:pt x="189" y="13"/>
                    <a:pt x="188" y="13"/>
                  </a:cubicBezTo>
                  <a:cubicBezTo>
                    <a:pt x="189" y="13"/>
                    <a:pt x="188" y="13"/>
                    <a:pt x="189" y="14"/>
                  </a:cubicBezTo>
                  <a:close/>
                  <a:moveTo>
                    <a:pt x="187" y="14"/>
                  </a:moveTo>
                  <a:cubicBezTo>
                    <a:pt x="187" y="14"/>
                    <a:pt x="187" y="15"/>
                    <a:pt x="187" y="15"/>
                  </a:cubicBezTo>
                  <a:cubicBezTo>
                    <a:pt x="186" y="15"/>
                    <a:pt x="186" y="15"/>
                    <a:pt x="185" y="15"/>
                  </a:cubicBezTo>
                  <a:cubicBezTo>
                    <a:pt x="185" y="15"/>
                    <a:pt x="187" y="14"/>
                    <a:pt x="187" y="14"/>
                  </a:cubicBezTo>
                  <a:cubicBezTo>
                    <a:pt x="187" y="14"/>
                    <a:pt x="187" y="15"/>
                    <a:pt x="187" y="14"/>
                  </a:cubicBezTo>
                  <a:close/>
                  <a:moveTo>
                    <a:pt x="187" y="15"/>
                  </a:move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lose/>
                  <a:moveTo>
                    <a:pt x="185" y="18"/>
                  </a:moveTo>
                  <a:cubicBezTo>
                    <a:pt x="186" y="18"/>
                    <a:pt x="186" y="18"/>
                    <a:pt x="187" y="18"/>
                  </a:cubicBezTo>
                  <a:cubicBezTo>
                    <a:pt x="187" y="18"/>
                    <a:pt x="187" y="17"/>
                    <a:pt x="188" y="17"/>
                  </a:cubicBezTo>
                  <a:cubicBezTo>
                    <a:pt x="188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7" y="18"/>
                  </a:cubicBezTo>
                  <a:cubicBezTo>
                    <a:pt x="186" y="18"/>
                    <a:pt x="185" y="18"/>
                    <a:pt x="185" y="18"/>
                  </a:cubicBezTo>
                  <a:cubicBezTo>
                    <a:pt x="185" y="18"/>
                    <a:pt x="185" y="18"/>
                    <a:pt x="185" y="18"/>
                  </a:cubicBezTo>
                  <a:close/>
                  <a:moveTo>
                    <a:pt x="188" y="18"/>
                  </a:moveTo>
                  <a:cubicBezTo>
                    <a:pt x="188" y="18"/>
                    <a:pt x="188" y="18"/>
                    <a:pt x="187" y="18"/>
                  </a:cubicBezTo>
                  <a:cubicBezTo>
                    <a:pt x="187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7" y="18"/>
                    <a:pt x="188" y="18"/>
                  </a:cubicBezTo>
                  <a:close/>
                  <a:moveTo>
                    <a:pt x="187" y="16"/>
                  </a:move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7" y="16"/>
                    <a:pt x="187" y="16"/>
                  </a:cubicBezTo>
                  <a:close/>
                  <a:moveTo>
                    <a:pt x="186" y="18"/>
                  </a:moveTo>
                  <a:cubicBezTo>
                    <a:pt x="187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6" y="18"/>
                  </a:cubicBezTo>
                  <a:close/>
                  <a:moveTo>
                    <a:pt x="188" y="22"/>
                  </a:moveTo>
                  <a:cubicBezTo>
                    <a:pt x="187" y="21"/>
                    <a:pt x="187" y="22"/>
                    <a:pt x="187" y="22"/>
                  </a:cubicBezTo>
                  <a:cubicBezTo>
                    <a:pt x="186" y="22"/>
                    <a:pt x="187" y="22"/>
                    <a:pt x="187" y="22"/>
                  </a:cubicBezTo>
                  <a:cubicBezTo>
                    <a:pt x="186" y="22"/>
                    <a:pt x="185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4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4" y="22"/>
                    <a:pt x="185" y="22"/>
                    <a:pt x="184" y="22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5" y="22"/>
                    <a:pt x="186" y="22"/>
                    <a:pt x="185" y="22"/>
                  </a:cubicBezTo>
                  <a:cubicBezTo>
                    <a:pt x="186" y="22"/>
                    <a:pt x="186" y="22"/>
                    <a:pt x="186" y="22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5" y="21"/>
                  </a:cubicBezTo>
                  <a:cubicBezTo>
                    <a:pt x="185" y="21"/>
                    <a:pt x="186" y="21"/>
                    <a:pt x="186" y="21"/>
                  </a:cubicBezTo>
                  <a:cubicBezTo>
                    <a:pt x="186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lose/>
                  <a:moveTo>
                    <a:pt x="186" y="18"/>
                  </a:moveTo>
                  <a:cubicBezTo>
                    <a:pt x="186" y="18"/>
                    <a:pt x="186" y="18"/>
                    <a:pt x="186" y="18"/>
                  </a:cubicBezTo>
                  <a:cubicBezTo>
                    <a:pt x="186" y="18"/>
                    <a:pt x="186" y="18"/>
                    <a:pt x="186" y="18"/>
                  </a:cubicBezTo>
                  <a:cubicBezTo>
                    <a:pt x="185" y="18"/>
                    <a:pt x="186" y="18"/>
                    <a:pt x="186" y="18"/>
                  </a:cubicBezTo>
                  <a:close/>
                  <a:moveTo>
                    <a:pt x="184" y="16"/>
                  </a:moveTo>
                  <a:cubicBezTo>
                    <a:pt x="182" y="16"/>
                    <a:pt x="181" y="17"/>
                    <a:pt x="179" y="17"/>
                  </a:cubicBezTo>
                  <a:cubicBezTo>
                    <a:pt x="179" y="17"/>
                    <a:pt x="181" y="17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3" y="16"/>
                    <a:pt x="184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4" y="16"/>
                    <a:pt x="184" y="16"/>
                    <a:pt x="184" y="16"/>
                  </a:cubicBezTo>
                  <a:close/>
                  <a:moveTo>
                    <a:pt x="185" y="16"/>
                  </a:moveTo>
                  <a:cubicBezTo>
                    <a:pt x="185" y="16"/>
                    <a:pt x="185" y="16"/>
                    <a:pt x="185" y="15"/>
                  </a:cubicBezTo>
                  <a:cubicBezTo>
                    <a:pt x="185" y="16"/>
                    <a:pt x="185" y="16"/>
                    <a:pt x="184" y="16"/>
                  </a:cubicBezTo>
                  <a:cubicBezTo>
                    <a:pt x="185" y="16"/>
                    <a:pt x="184" y="15"/>
                    <a:pt x="185" y="15"/>
                  </a:cubicBezTo>
                  <a:cubicBezTo>
                    <a:pt x="185" y="15"/>
                    <a:pt x="185" y="15"/>
                    <a:pt x="185" y="16"/>
                  </a:cubicBezTo>
                  <a:close/>
                  <a:moveTo>
                    <a:pt x="183" y="21"/>
                  </a:move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4" y="21"/>
                    <a:pt x="185" y="21"/>
                    <a:pt x="186" y="21"/>
                  </a:cubicBezTo>
                  <a:cubicBezTo>
                    <a:pt x="186" y="21"/>
                    <a:pt x="185" y="21"/>
                    <a:pt x="185" y="21"/>
                  </a:cubicBezTo>
                  <a:cubicBezTo>
                    <a:pt x="185" y="21"/>
                    <a:pt x="185" y="22"/>
                    <a:pt x="185" y="21"/>
                  </a:cubicBezTo>
                  <a:cubicBezTo>
                    <a:pt x="184" y="21"/>
                    <a:pt x="185" y="22"/>
                    <a:pt x="184" y="22"/>
                  </a:cubicBezTo>
                  <a:cubicBezTo>
                    <a:pt x="184" y="21"/>
                    <a:pt x="184" y="22"/>
                    <a:pt x="184" y="21"/>
                  </a:cubicBezTo>
                  <a:cubicBezTo>
                    <a:pt x="183" y="22"/>
                    <a:pt x="183" y="22"/>
                    <a:pt x="182" y="22"/>
                  </a:cubicBezTo>
                  <a:cubicBezTo>
                    <a:pt x="182" y="22"/>
                    <a:pt x="183" y="22"/>
                    <a:pt x="182" y="21"/>
                  </a:cubicBezTo>
                  <a:cubicBezTo>
                    <a:pt x="182" y="21"/>
                    <a:pt x="183" y="21"/>
                    <a:pt x="183" y="21"/>
                  </a:cubicBezTo>
                  <a:close/>
                  <a:moveTo>
                    <a:pt x="182" y="14"/>
                  </a:moveTo>
                  <a:cubicBezTo>
                    <a:pt x="182" y="13"/>
                    <a:pt x="183" y="13"/>
                    <a:pt x="183" y="13"/>
                  </a:cubicBezTo>
                  <a:cubicBezTo>
                    <a:pt x="183" y="13"/>
                    <a:pt x="182" y="13"/>
                    <a:pt x="182" y="14"/>
                  </a:cubicBezTo>
                  <a:close/>
                  <a:moveTo>
                    <a:pt x="183" y="15"/>
                  </a:moveTo>
                  <a:cubicBezTo>
                    <a:pt x="183" y="15"/>
                    <a:pt x="183" y="15"/>
                    <a:pt x="183" y="15"/>
                  </a:cubicBezTo>
                  <a:cubicBezTo>
                    <a:pt x="182" y="15"/>
                    <a:pt x="183" y="15"/>
                    <a:pt x="183" y="14"/>
                  </a:cubicBezTo>
                  <a:cubicBezTo>
                    <a:pt x="183" y="15"/>
                    <a:pt x="183" y="15"/>
                    <a:pt x="183" y="15"/>
                  </a:cubicBezTo>
                  <a:close/>
                  <a:moveTo>
                    <a:pt x="181" y="18"/>
                  </a:moveTo>
                  <a:cubicBezTo>
                    <a:pt x="181" y="18"/>
                    <a:pt x="180" y="18"/>
                    <a:pt x="180" y="18"/>
                  </a:cubicBezTo>
                  <a:cubicBezTo>
                    <a:pt x="180" y="18"/>
                    <a:pt x="180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8" y="19"/>
                    <a:pt x="178" y="19"/>
                    <a:pt x="177" y="19"/>
                  </a:cubicBezTo>
                  <a:cubicBezTo>
                    <a:pt x="177" y="19"/>
                    <a:pt x="178" y="19"/>
                    <a:pt x="177" y="18"/>
                  </a:cubicBezTo>
                  <a:cubicBezTo>
                    <a:pt x="179" y="18"/>
                    <a:pt x="180" y="18"/>
                    <a:pt x="181" y="18"/>
                  </a:cubicBezTo>
                  <a:cubicBezTo>
                    <a:pt x="181" y="18"/>
                    <a:pt x="181" y="18"/>
                    <a:pt x="181" y="18"/>
                  </a:cubicBezTo>
                  <a:close/>
                  <a:moveTo>
                    <a:pt x="176" y="20"/>
                  </a:moveTo>
                  <a:cubicBezTo>
                    <a:pt x="175" y="20"/>
                    <a:pt x="175" y="20"/>
                    <a:pt x="174" y="20"/>
                  </a:cubicBezTo>
                  <a:cubicBezTo>
                    <a:pt x="174" y="20"/>
                    <a:pt x="174" y="20"/>
                    <a:pt x="175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74" y="20"/>
                    <a:pt x="173" y="20"/>
                    <a:pt x="173" y="20"/>
                  </a:cubicBezTo>
                  <a:cubicBezTo>
                    <a:pt x="174" y="20"/>
                    <a:pt x="176" y="20"/>
                    <a:pt x="176" y="20"/>
                  </a:cubicBezTo>
                  <a:close/>
                  <a:moveTo>
                    <a:pt x="173" y="19"/>
                  </a:moveTo>
                  <a:cubicBezTo>
                    <a:pt x="173" y="19"/>
                    <a:pt x="173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4" y="19"/>
                    <a:pt x="174" y="19"/>
                    <a:pt x="174" y="19"/>
                  </a:cubicBezTo>
                  <a:cubicBezTo>
                    <a:pt x="175" y="19"/>
                    <a:pt x="174" y="19"/>
                    <a:pt x="174" y="19"/>
                  </a:cubicBezTo>
                  <a:cubicBezTo>
                    <a:pt x="174" y="19"/>
                    <a:pt x="173" y="19"/>
                    <a:pt x="173" y="19"/>
                  </a:cubicBezTo>
                  <a:close/>
                  <a:moveTo>
                    <a:pt x="172" y="18"/>
                  </a:moveTo>
                  <a:cubicBezTo>
                    <a:pt x="170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8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71" y="18"/>
                    <a:pt x="172" y="18"/>
                    <a:pt x="173" y="18"/>
                  </a:cubicBezTo>
                  <a:cubicBezTo>
                    <a:pt x="173" y="18"/>
                    <a:pt x="172" y="18"/>
                    <a:pt x="172" y="18"/>
                  </a:cubicBezTo>
                  <a:close/>
                  <a:moveTo>
                    <a:pt x="172" y="19"/>
                  </a:moveTo>
                  <a:cubicBezTo>
                    <a:pt x="171" y="19"/>
                    <a:pt x="171" y="20"/>
                    <a:pt x="171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9"/>
                    <a:pt x="171" y="20"/>
                    <a:pt x="170" y="20"/>
                  </a:cubicBezTo>
                  <a:cubicBezTo>
                    <a:pt x="170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1" y="19"/>
                    <a:pt x="171" y="19"/>
                  </a:cubicBezTo>
                  <a:cubicBezTo>
                    <a:pt x="171" y="20"/>
                    <a:pt x="171" y="19"/>
                    <a:pt x="172" y="19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1" y="19"/>
                    <a:pt x="171" y="19"/>
                  </a:cubicBezTo>
                  <a:close/>
                  <a:moveTo>
                    <a:pt x="171" y="21"/>
                  </a:moveTo>
                  <a:cubicBezTo>
                    <a:pt x="171" y="21"/>
                    <a:pt x="170" y="21"/>
                    <a:pt x="170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0" y="21"/>
                    <a:pt x="170" y="21"/>
                  </a:cubicBezTo>
                  <a:cubicBezTo>
                    <a:pt x="169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0"/>
                    <a:pt x="171" y="20"/>
                  </a:cubicBezTo>
                  <a:cubicBezTo>
                    <a:pt x="170" y="21"/>
                    <a:pt x="171" y="21"/>
                    <a:pt x="171" y="21"/>
                  </a:cubicBezTo>
                  <a:close/>
                  <a:moveTo>
                    <a:pt x="169" y="28"/>
                  </a:moveTo>
                  <a:cubicBezTo>
                    <a:pt x="169" y="28"/>
                    <a:pt x="171" y="27"/>
                    <a:pt x="171" y="28"/>
                  </a:cubicBezTo>
                  <a:cubicBezTo>
                    <a:pt x="170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lose/>
                  <a:moveTo>
                    <a:pt x="168" y="26"/>
                  </a:moveTo>
                  <a:cubicBezTo>
                    <a:pt x="168" y="26"/>
                    <a:pt x="168" y="26"/>
                    <a:pt x="167" y="27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7" y="27"/>
                    <a:pt x="166" y="27"/>
                    <a:pt x="166" y="27"/>
                  </a:cubicBezTo>
                  <a:cubicBezTo>
                    <a:pt x="166" y="26"/>
                    <a:pt x="167" y="26"/>
                    <a:pt x="168" y="26"/>
                  </a:cubicBezTo>
                  <a:close/>
                  <a:moveTo>
                    <a:pt x="166" y="21"/>
                  </a:move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7" y="21"/>
                  </a:cubicBezTo>
                  <a:cubicBezTo>
                    <a:pt x="166" y="21"/>
                    <a:pt x="166" y="21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6" y="21"/>
                    <a:pt x="166" y="21"/>
                    <a:pt x="166" y="21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9"/>
                    <a:pt x="159" y="28"/>
                    <a:pt x="158" y="29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9" y="28"/>
                    <a:pt x="161" y="27"/>
                    <a:pt x="163" y="27"/>
                  </a:cubicBezTo>
                  <a:cubicBezTo>
                    <a:pt x="163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3" y="28"/>
                    <a:pt x="162" y="28"/>
                    <a:pt x="161" y="28"/>
                  </a:cubicBezTo>
                  <a:cubicBezTo>
                    <a:pt x="160" y="28"/>
                    <a:pt x="161" y="28"/>
                    <a:pt x="160" y="28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8"/>
                    <a:pt x="159" y="28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lose/>
                  <a:moveTo>
                    <a:pt x="164" y="27"/>
                  </a:move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4" y="27"/>
                  </a:cubicBezTo>
                  <a:close/>
                  <a:moveTo>
                    <a:pt x="164" y="29"/>
                  </a:move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4" y="29"/>
                  </a:moveTo>
                  <a:cubicBezTo>
                    <a:pt x="164" y="29"/>
                    <a:pt x="163" y="30"/>
                    <a:pt x="163" y="30"/>
                  </a:cubicBezTo>
                  <a:cubicBezTo>
                    <a:pt x="163" y="30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1" y="30"/>
                  </a:moveTo>
                  <a:cubicBezTo>
                    <a:pt x="161" y="30"/>
                    <a:pt x="161" y="29"/>
                    <a:pt x="161" y="30"/>
                  </a:cubicBezTo>
                  <a:cubicBezTo>
                    <a:pt x="161" y="29"/>
                    <a:pt x="161" y="30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1" y="29"/>
                    <a:pt x="161" y="29"/>
                  </a:cubicBezTo>
                  <a:cubicBezTo>
                    <a:pt x="161" y="30"/>
                    <a:pt x="161" y="29"/>
                    <a:pt x="161" y="29"/>
                  </a:cubicBezTo>
                  <a:cubicBezTo>
                    <a:pt x="161" y="29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lose/>
                  <a:moveTo>
                    <a:pt x="160" y="26"/>
                  </a:moveTo>
                  <a:cubicBezTo>
                    <a:pt x="159" y="26"/>
                    <a:pt x="160" y="26"/>
                    <a:pt x="159" y="26"/>
                  </a:cubicBezTo>
                  <a:cubicBezTo>
                    <a:pt x="159" y="27"/>
                    <a:pt x="159" y="26"/>
                    <a:pt x="159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1" y="26"/>
                  </a:cubicBezTo>
                  <a:cubicBezTo>
                    <a:pt x="161" y="26"/>
                    <a:pt x="160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9" y="27"/>
                  </a:cubicBezTo>
                  <a:cubicBezTo>
                    <a:pt x="158" y="27"/>
                    <a:pt x="158" y="27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9" y="26"/>
                    <a:pt x="158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lose/>
                  <a:moveTo>
                    <a:pt x="159" y="26"/>
                  </a:moveTo>
                  <a:cubicBezTo>
                    <a:pt x="159" y="26"/>
                    <a:pt x="159" y="27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7"/>
                    <a:pt x="160" y="27"/>
                  </a:cubicBezTo>
                  <a:cubicBezTo>
                    <a:pt x="160" y="27"/>
                    <a:pt x="161" y="26"/>
                    <a:pt x="161" y="26"/>
                  </a:cubicBezTo>
                  <a:close/>
                  <a:moveTo>
                    <a:pt x="158" y="27"/>
                  </a:moveTo>
                  <a:cubicBezTo>
                    <a:pt x="158" y="27"/>
                    <a:pt x="158" y="27"/>
                    <a:pt x="157" y="27"/>
                  </a:cubicBezTo>
                  <a:cubicBezTo>
                    <a:pt x="158" y="27"/>
                    <a:pt x="157" y="27"/>
                    <a:pt x="158" y="27"/>
                  </a:cubicBezTo>
                  <a:close/>
                  <a:moveTo>
                    <a:pt x="157" y="27"/>
                  </a:moveTo>
                  <a:cubicBezTo>
                    <a:pt x="157" y="27"/>
                    <a:pt x="157" y="28"/>
                    <a:pt x="156" y="28"/>
                  </a:cubicBezTo>
                  <a:cubicBezTo>
                    <a:pt x="156" y="28"/>
                    <a:pt x="157" y="28"/>
                    <a:pt x="157" y="28"/>
                  </a:cubicBezTo>
                  <a:cubicBezTo>
                    <a:pt x="157" y="28"/>
                    <a:pt x="157" y="28"/>
                    <a:pt x="157" y="28"/>
                  </a:cubicBezTo>
                  <a:cubicBezTo>
                    <a:pt x="158" y="28"/>
                    <a:pt x="158" y="27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8"/>
                    <a:pt x="157" y="28"/>
                    <a:pt x="156" y="28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7" y="28"/>
                    <a:pt x="156" y="28"/>
                    <a:pt x="156" y="28"/>
                  </a:cubicBezTo>
                  <a:cubicBezTo>
                    <a:pt x="157" y="28"/>
                    <a:pt x="157" y="27"/>
                    <a:pt x="157" y="27"/>
                  </a:cubicBezTo>
                  <a:close/>
                  <a:moveTo>
                    <a:pt x="153" y="29"/>
                  </a:moveTo>
                  <a:cubicBezTo>
                    <a:pt x="153" y="29"/>
                    <a:pt x="154" y="29"/>
                    <a:pt x="154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29"/>
                    <a:pt x="155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30"/>
                    <a:pt x="158" y="29"/>
                    <a:pt x="158" y="29"/>
                  </a:cubicBezTo>
                  <a:cubicBezTo>
                    <a:pt x="158" y="29"/>
                    <a:pt x="157" y="29"/>
                    <a:pt x="157" y="29"/>
                  </a:cubicBezTo>
                  <a:cubicBezTo>
                    <a:pt x="157" y="29"/>
                    <a:pt x="156" y="30"/>
                    <a:pt x="156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4" y="30"/>
                    <a:pt x="153" y="30"/>
                    <a:pt x="153" y="31"/>
                  </a:cubicBezTo>
                  <a:cubicBezTo>
                    <a:pt x="153" y="30"/>
                    <a:pt x="152" y="31"/>
                    <a:pt x="151" y="31"/>
                  </a:cubicBezTo>
                  <a:cubicBezTo>
                    <a:pt x="152" y="31"/>
                    <a:pt x="153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3" y="31"/>
                    <a:pt x="153" y="31"/>
                  </a:cubicBezTo>
                  <a:cubicBezTo>
                    <a:pt x="153" y="31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1"/>
                  </a:cubicBezTo>
                  <a:cubicBezTo>
                    <a:pt x="152" y="31"/>
                    <a:pt x="152" y="32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1" y="31"/>
                    <a:pt x="151" y="31"/>
                    <a:pt x="150" y="31"/>
                  </a:cubicBezTo>
                  <a:cubicBezTo>
                    <a:pt x="150" y="32"/>
                    <a:pt x="151" y="31"/>
                    <a:pt x="151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1" y="32"/>
                    <a:pt x="150" y="32"/>
                  </a:cubicBezTo>
                  <a:cubicBezTo>
                    <a:pt x="151" y="32"/>
                    <a:pt x="151" y="32"/>
                    <a:pt x="151" y="31"/>
                  </a:cubicBezTo>
                  <a:cubicBezTo>
                    <a:pt x="151" y="32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49" y="33"/>
                    <a:pt x="150" y="33"/>
                    <a:pt x="150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1" y="32"/>
                  </a:cubicBezTo>
                  <a:cubicBezTo>
                    <a:pt x="151" y="32"/>
                    <a:pt x="151" y="32"/>
                    <a:pt x="151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50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7" y="33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2"/>
                    <a:pt x="146" y="33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6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2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32"/>
                    <a:pt x="143" y="32"/>
                    <a:pt x="144" y="32"/>
                  </a:cubicBezTo>
                  <a:cubicBezTo>
                    <a:pt x="144" y="32"/>
                    <a:pt x="143" y="32"/>
                    <a:pt x="143" y="32"/>
                  </a:cubicBezTo>
                  <a:cubicBezTo>
                    <a:pt x="143" y="33"/>
                    <a:pt x="144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5" y="32"/>
                    <a:pt x="145" y="32"/>
                  </a:cubicBezTo>
                  <a:cubicBezTo>
                    <a:pt x="145" y="31"/>
                    <a:pt x="146" y="32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7" y="31"/>
                    <a:pt x="147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7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9" y="31"/>
                  </a:cubicBezTo>
                  <a:cubicBezTo>
                    <a:pt x="148" y="31"/>
                    <a:pt x="149" y="31"/>
                    <a:pt x="150" y="31"/>
                  </a:cubicBezTo>
                  <a:cubicBezTo>
                    <a:pt x="150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8" y="31"/>
                  </a:cubicBezTo>
                  <a:cubicBezTo>
                    <a:pt x="148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50" y="30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49" y="30"/>
                    <a:pt x="150" y="30"/>
                    <a:pt x="150" y="30"/>
                  </a:cubicBezTo>
                  <a:cubicBezTo>
                    <a:pt x="149" y="31"/>
                    <a:pt x="150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7" y="30"/>
                    <a:pt x="147" y="31"/>
                    <a:pt x="145" y="31"/>
                  </a:cubicBezTo>
                  <a:cubicBezTo>
                    <a:pt x="145" y="31"/>
                    <a:pt x="145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2" y="31"/>
                  </a:cubicBezTo>
                  <a:cubicBezTo>
                    <a:pt x="143" y="31"/>
                    <a:pt x="143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0"/>
                  </a:cubicBezTo>
                  <a:cubicBezTo>
                    <a:pt x="147" y="30"/>
                    <a:pt x="149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9"/>
                    <a:pt x="151" y="29"/>
                    <a:pt x="151" y="29"/>
                  </a:cubicBezTo>
                  <a:cubicBezTo>
                    <a:pt x="150" y="29"/>
                    <a:pt x="150" y="29"/>
                    <a:pt x="150" y="29"/>
                  </a:cubicBezTo>
                  <a:cubicBezTo>
                    <a:pt x="150" y="29"/>
                    <a:pt x="151" y="28"/>
                    <a:pt x="151" y="29"/>
                  </a:cubicBezTo>
                  <a:cubicBezTo>
                    <a:pt x="151" y="29"/>
                    <a:pt x="151" y="28"/>
                    <a:pt x="151" y="28"/>
                  </a:cubicBezTo>
                  <a:cubicBezTo>
                    <a:pt x="150" y="29"/>
                    <a:pt x="150" y="29"/>
                    <a:pt x="149" y="29"/>
                  </a:cubicBezTo>
                  <a:cubicBezTo>
                    <a:pt x="149" y="29"/>
                    <a:pt x="148" y="29"/>
                    <a:pt x="149" y="29"/>
                  </a:cubicBezTo>
                  <a:cubicBezTo>
                    <a:pt x="149" y="29"/>
                    <a:pt x="148" y="28"/>
                    <a:pt x="148" y="29"/>
                  </a:cubicBezTo>
                  <a:cubicBezTo>
                    <a:pt x="148" y="29"/>
                    <a:pt x="149" y="28"/>
                    <a:pt x="149" y="29"/>
                  </a:cubicBezTo>
                  <a:cubicBezTo>
                    <a:pt x="149" y="28"/>
                    <a:pt x="150" y="28"/>
                    <a:pt x="149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0" y="28"/>
                  </a:cubicBezTo>
                  <a:cubicBezTo>
                    <a:pt x="151" y="28"/>
                    <a:pt x="151" y="27"/>
                    <a:pt x="152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6"/>
                    <a:pt x="151" y="26"/>
                    <a:pt x="151" y="26"/>
                  </a:cubicBezTo>
                  <a:cubicBezTo>
                    <a:pt x="152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5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4" y="26"/>
                    <a:pt x="152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4" y="26"/>
                  </a:cubicBezTo>
                  <a:cubicBezTo>
                    <a:pt x="153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5" y="26"/>
                    <a:pt x="155" y="26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6" y="26"/>
                    <a:pt x="156" y="27"/>
                  </a:cubicBezTo>
                  <a:cubicBezTo>
                    <a:pt x="155" y="27"/>
                    <a:pt x="156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4" y="28"/>
                  </a:cubicBezTo>
                  <a:cubicBezTo>
                    <a:pt x="154" y="28"/>
                    <a:pt x="153" y="28"/>
                    <a:pt x="153" y="28"/>
                  </a:cubicBezTo>
                  <a:cubicBezTo>
                    <a:pt x="153" y="28"/>
                    <a:pt x="155" y="28"/>
                    <a:pt x="154" y="28"/>
                  </a:cubicBezTo>
                  <a:cubicBezTo>
                    <a:pt x="155" y="28"/>
                    <a:pt x="155" y="28"/>
                    <a:pt x="156" y="28"/>
                  </a:cubicBezTo>
                  <a:cubicBezTo>
                    <a:pt x="156" y="28"/>
                    <a:pt x="156" y="28"/>
                    <a:pt x="155" y="28"/>
                  </a:cubicBezTo>
                  <a:cubicBezTo>
                    <a:pt x="155" y="28"/>
                    <a:pt x="155" y="27"/>
                    <a:pt x="156" y="27"/>
                  </a:cubicBezTo>
                  <a:cubicBezTo>
                    <a:pt x="155" y="27"/>
                    <a:pt x="156" y="28"/>
                    <a:pt x="156" y="27"/>
                  </a:cubicBezTo>
                  <a:cubicBezTo>
                    <a:pt x="156" y="27"/>
                    <a:pt x="156" y="28"/>
                    <a:pt x="156" y="28"/>
                  </a:cubicBezTo>
                  <a:cubicBezTo>
                    <a:pt x="156" y="28"/>
                    <a:pt x="155" y="28"/>
                    <a:pt x="155" y="28"/>
                  </a:cubicBezTo>
                  <a:cubicBezTo>
                    <a:pt x="155" y="28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4" y="28"/>
                    <a:pt x="153" y="28"/>
                  </a:cubicBezTo>
                  <a:cubicBezTo>
                    <a:pt x="153" y="29"/>
                    <a:pt x="154" y="28"/>
                    <a:pt x="154" y="28"/>
                  </a:cubicBezTo>
                  <a:cubicBezTo>
                    <a:pt x="154" y="28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2" y="26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6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lose/>
                  <a:moveTo>
                    <a:pt x="153" y="26"/>
                  </a:moveTo>
                  <a:cubicBezTo>
                    <a:pt x="152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0" y="26"/>
                  </a:cubicBezTo>
                  <a:cubicBezTo>
                    <a:pt x="150" y="27"/>
                    <a:pt x="151" y="26"/>
                    <a:pt x="151" y="27"/>
                  </a:cubicBezTo>
                  <a:cubicBezTo>
                    <a:pt x="151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3" y="26"/>
                    <a:pt x="152" y="26"/>
                    <a:pt x="153" y="26"/>
                  </a:cubicBezTo>
                  <a:close/>
                  <a:moveTo>
                    <a:pt x="152" y="27"/>
                  </a:move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lose/>
                  <a:moveTo>
                    <a:pt x="152" y="28"/>
                  </a:moveTo>
                  <a:cubicBezTo>
                    <a:pt x="153" y="28"/>
                    <a:pt x="152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45" y="32"/>
                  </a:moveTo>
                  <a:cubicBezTo>
                    <a:pt x="144" y="32"/>
                    <a:pt x="144" y="32"/>
                    <a:pt x="143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5" y="32"/>
                  </a:cubicBezTo>
                  <a:cubicBezTo>
                    <a:pt x="144" y="32"/>
                    <a:pt x="145" y="32"/>
                    <a:pt x="145" y="32"/>
                  </a:cubicBezTo>
                  <a:close/>
                  <a:moveTo>
                    <a:pt x="148" y="31"/>
                  </a:move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lose/>
                  <a:moveTo>
                    <a:pt x="147" y="31"/>
                  </a:move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lose/>
                  <a:moveTo>
                    <a:pt x="146" y="32"/>
                  </a:moveTo>
                  <a:cubicBezTo>
                    <a:pt x="147" y="32"/>
                    <a:pt x="147" y="31"/>
                    <a:pt x="148" y="31"/>
                  </a:cubicBezTo>
                  <a:cubicBezTo>
                    <a:pt x="148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6" y="32"/>
                    <a:pt x="146" y="32"/>
                  </a:cubicBezTo>
                  <a:close/>
                  <a:moveTo>
                    <a:pt x="153" y="31"/>
                  </a:moveTo>
                  <a:cubicBezTo>
                    <a:pt x="153" y="31"/>
                    <a:pt x="154" y="31"/>
                    <a:pt x="154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lose/>
                  <a:moveTo>
                    <a:pt x="148" y="32"/>
                  </a:moveTo>
                  <a:cubicBezTo>
                    <a:pt x="148" y="32"/>
                    <a:pt x="148" y="32"/>
                    <a:pt x="149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8" y="32"/>
                    <a:pt x="148" y="32"/>
                    <a:pt x="147" y="32"/>
                  </a:cubicBezTo>
                  <a:cubicBezTo>
                    <a:pt x="147" y="32"/>
                    <a:pt x="147" y="32"/>
                    <a:pt x="148" y="32"/>
                  </a:cubicBezTo>
                  <a:cubicBezTo>
                    <a:pt x="148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lose/>
                  <a:moveTo>
                    <a:pt x="149" y="31"/>
                  </a:moveTo>
                  <a:cubicBezTo>
                    <a:pt x="149" y="32"/>
                    <a:pt x="149" y="32"/>
                    <a:pt x="149" y="32"/>
                  </a:cubicBezTo>
                  <a:cubicBezTo>
                    <a:pt x="148" y="32"/>
                    <a:pt x="149" y="32"/>
                    <a:pt x="148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49" y="32"/>
                    <a:pt x="149" y="32"/>
                    <a:pt x="150" y="31"/>
                  </a:cubicBezTo>
                  <a:cubicBezTo>
                    <a:pt x="149" y="32"/>
                    <a:pt x="150" y="31"/>
                    <a:pt x="149" y="31"/>
                  </a:cubicBezTo>
                  <a:close/>
                  <a:moveTo>
                    <a:pt x="152" y="31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2" y="31"/>
                  </a:cubicBezTo>
                  <a:close/>
                  <a:moveTo>
                    <a:pt x="150" y="30"/>
                  </a:move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0" y="30"/>
                  </a:moveTo>
                  <a:cubicBezTo>
                    <a:pt x="151" y="30"/>
                    <a:pt x="151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0" y="30"/>
                    <a:pt x="150" y="30"/>
                  </a:cubicBezTo>
                  <a:cubicBezTo>
                    <a:pt x="150" y="30"/>
                    <a:pt x="151" y="29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3" y="29"/>
                  </a:moveTo>
                  <a:cubicBezTo>
                    <a:pt x="153" y="29"/>
                    <a:pt x="153" y="29"/>
                    <a:pt x="154" y="29"/>
                  </a:cubicBezTo>
                  <a:cubicBezTo>
                    <a:pt x="154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3" y="30"/>
                  </a:moveTo>
                  <a:cubicBezTo>
                    <a:pt x="152" y="30"/>
                    <a:pt x="153" y="30"/>
                    <a:pt x="153" y="29"/>
                  </a:cubicBezTo>
                  <a:cubicBezTo>
                    <a:pt x="153" y="29"/>
                    <a:pt x="153" y="30"/>
                    <a:pt x="152" y="30"/>
                  </a:cubicBezTo>
                  <a:cubicBezTo>
                    <a:pt x="152" y="29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ubicBezTo>
                    <a:pt x="153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2" y="30"/>
                    <a:pt x="153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5" y="29"/>
                    <a:pt x="154" y="29"/>
                    <a:pt x="154" y="29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3" y="30"/>
                  </a:cubicBezTo>
                  <a:close/>
                  <a:moveTo>
                    <a:pt x="154" y="29"/>
                  </a:moveTo>
                  <a:cubicBezTo>
                    <a:pt x="153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9"/>
                  </a:moveTo>
                  <a:cubicBezTo>
                    <a:pt x="152" y="29"/>
                    <a:pt x="152" y="29"/>
                    <a:pt x="152" y="29"/>
                  </a:cubicBezTo>
                  <a:cubicBezTo>
                    <a:pt x="151" y="29"/>
                    <a:pt x="152" y="29"/>
                    <a:pt x="151" y="29"/>
                  </a:cubicBezTo>
                  <a:cubicBezTo>
                    <a:pt x="151" y="29"/>
                    <a:pt x="152" y="29"/>
                    <a:pt x="152" y="30"/>
                  </a:cubicBezTo>
                  <a:cubicBezTo>
                    <a:pt x="152" y="29"/>
                    <a:pt x="152" y="29"/>
                    <a:pt x="152" y="29"/>
                  </a:cubicBezTo>
                  <a:close/>
                  <a:moveTo>
                    <a:pt x="146" y="31"/>
                  </a:moveTo>
                  <a:cubicBezTo>
                    <a:pt x="145" y="31"/>
                    <a:pt x="145" y="31"/>
                    <a:pt x="145" y="31"/>
                  </a:cubicBezTo>
                  <a:cubicBezTo>
                    <a:pt x="144" y="31"/>
                    <a:pt x="144" y="31"/>
                    <a:pt x="143" y="32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5" y="31"/>
                    <a:pt x="146" y="31"/>
                  </a:cubicBezTo>
                  <a:close/>
                  <a:moveTo>
                    <a:pt x="151" y="32"/>
                  </a:move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1"/>
                    <a:pt x="151" y="32"/>
                  </a:cubicBezTo>
                  <a:close/>
                  <a:moveTo>
                    <a:pt x="157" y="26"/>
                  </a:moveTo>
                  <a:cubicBezTo>
                    <a:pt x="158" y="26"/>
                    <a:pt x="157" y="26"/>
                    <a:pt x="158" y="26"/>
                  </a:cubicBezTo>
                  <a:cubicBezTo>
                    <a:pt x="157" y="27"/>
                    <a:pt x="156" y="27"/>
                    <a:pt x="157" y="26"/>
                  </a:cubicBezTo>
                  <a:close/>
                  <a:moveTo>
                    <a:pt x="157" y="25"/>
                  </a:moveTo>
                  <a:cubicBezTo>
                    <a:pt x="157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7" y="25"/>
                    <a:pt x="157" y="25"/>
                  </a:cubicBezTo>
                  <a:cubicBezTo>
                    <a:pt x="157" y="25"/>
                    <a:pt x="157" y="25"/>
                    <a:pt x="157" y="25"/>
                  </a:cubicBezTo>
                  <a:close/>
                  <a:moveTo>
                    <a:pt x="156" y="26"/>
                  </a:move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lose/>
                  <a:moveTo>
                    <a:pt x="153" y="21"/>
                  </a:move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4" y="21"/>
                    <a:pt x="153" y="21"/>
                  </a:cubicBezTo>
                  <a:close/>
                  <a:moveTo>
                    <a:pt x="155" y="24"/>
                  </a:moveTo>
                  <a:cubicBezTo>
                    <a:pt x="154" y="24"/>
                    <a:pt x="153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4" y="24"/>
                    <a:pt x="153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0" y="25"/>
                    <a:pt x="149" y="25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49" y="25"/>
                    <a:pt x="150" y="25"/>
                    <a:pt x="149" y="25"/>
                  </a:cubicBezTo>
                  <a:cubicBezTo>
                    <a:pt x="150" y="25"/>
                    <a:pt x="151" y="25"/>
                    <a:pt x="151" y="24"/>
                  </a:cubicBezTo>
                  <a:cubicBezTo>
                    <a:pt x="150" y="24"/>
                    <a:pt x="149" y="24"/>
                    <a:pt x="150" y="25"/>
                  </a:cubicBezTo>
                  <a:cubicBezTo>
                    <a:pt x="149" y="25"/>
                    <a:pt x="149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7" y="25"/>
                  </a:cubicBezTo>
                  <a:cubicBezTo>
                    <a:pt x="148" y="25"/>
                    <a:pt x="148" y="25"/>
                    <a:pt x="149" y="25"/>
                  </a:cubicBezTo>
                  <a:cubicBezTo>
                    <a:pt x="148" y="25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50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3"/>
                    <a:pt x="148" y="24"/>
                  </a:cubicBezTo>
                  <a:cubicBezTo>
                    <a:pt x="149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4"/>
                  </a:cubicBezTo>
                  <a:cubicBezTo>
                    <a:pt x="147" y="23"/>
                    <a:pt x="147" y="23"/>
                    <a:pt x="146" y="24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7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5" y="23"/>
                    <a:pt x="146" y="23"/>
                  </a:cubicBezTo>
                  <a:cubicBezTo>
                    <a:pt x="145" y="23"/>
                    <a:pt x="146" y="23"/>
                    <a:pt x="145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23"/>
                    <a:pt x="145" y="23"/>
                    <a:pt x="144" y="23"/>
                  </a:cubicBezTo>
                  <a:cubicBezTo>
                    <a:pt x="144" y="23"/>
                    <a:pt x="145" y="23"/>
                    <a:pt x="145" y="23"/>
                  </a:cubicBezTo>
                  <a:cubicBezTo>
                    <a:pt x="145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5" y="23"/>
                  </a:cubicBezTo>
                  <a:cubicBezTo>
                    <a:pt x="145" y="23"/>
                    <a:pt x="147" y="22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9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49" y="23"/>
                    <a:pt x="149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50" y="23"/>
                    <a:pt x="150" y="24"/>
                  </a:cubicBezTo>
                  <a:cubicBezTo>
                    <a:pt x="151" y="24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4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3"/>
                    <a:pt x="152" y="23"/>
                    <a:pt x="153" y="23"/>
                  </a:cubicBezTo>
                  <a:cubicBezTo>
                    <a:pt x="153" y="23"/>
                    <a:pt x="153" y="23"/>
                    <a:pt x="153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3" y="24"/>
                    <a:pt x="153" y="24"/>
                  </a:cubicBezTo>
                  <a:cubicBezTo>
                    <a:pt x="154" y="24"/>
                    <a:pt x="154" y="24"/>
                    <a:pt x="155" y="24"/>
                  </a:cubicBezTo>
                  <a:close/>
                  <a:moveTo>
                    <a:pt x="149" y="23"/>
                  </a:moveTo>
                  <a:cubicBezTo>
                    <a:pt x="148" y="24"/>
                    <a:pt x="148" y="23"/>
                    <a:pt x="148" y="23"/>
                  </a:cubicBezTo>
                  <a:cubicBezTo>
                    <a:pt x="148" y="23"/>
                    <a:pt x="148" y="24"/>
                    <a:pt x="148" y="24"/>
                  </a:cubicBezTo>
                  <a:cubicBezTo>
                    <a:pt x="149" y="24"/>
                    <a:pt x="149" y="23"/>
                    <a:pt x="149" y="23"/>
                  </a:cubicBezTo>
                  <a:close/>
                  <a:moveTo>
                    <a:pt x="149" y="24"/>
                  </a:move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1" y="24"/>
                    <a:pt x="152" y="24"/>
                  </a:cubicBezTo>
                  <a:close/>
                  <a:moveTo>
                    <a:pt x="155" y="27"/>
                  </a:moveTo>
                  <a:cubicBezTo>
                    <a:pt x="155" y="28"/>
                    <a:pt x="155" y="27"/>
                    <a:pt x="154" y="28"/>
                  </a:cubicBezTo>
                  <a:cubicBezTo>
                    <a:pt x="154" y="27"/>
                    <a:pt x="155" y="28"/>
                    <a:pt x="155" y="27"/>
                  </a:cubicBezTo>
                  <a:close/>
                  <a:moveTo>
                    <a:pt x="153" y="20"/>
                  </a:moveTo>
                  <a:cubicBezTo>
                    <a:pt x="152" y="20"/>
                    <a:pt x="153" y="20"/>
                    <a:pt x="153" y="20"/>
                  </a:cubicBezTo>
                  <a:cubicBezTo>
                    <a:pt x="153" y="20"/>
                    <a:pt x="152" y="20"/>
                    <a:pt x="152" y="20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53" y="20"/>
                    <a:pt x="153" y="20"/>
                    <a:pt x="153" y="20"/>
                  </a:cubicBezTo>
                  <a:close/>
                  <a:moveTo>
                    <a:pt x="147" y="28"/>
                  </a:moveTo>
                  <a:cubicBezTo>
                    <a:pt x="148" y="28"/>
                    <a:pt x="149" y="28"/>
                    <a:pt x="150" y="27"/>
                  </a:cubicBezTo>
                  <a:cubicBezTo>
                    <a:pt x="150" y="27"/>
                    <a:pt x="150" y="28"/>
                    <a:pt x="150" y="27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lose/>
                  <a:moveTo>
                    <a:pt x="148" y="29"/>
                  </a:move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ubicBezTo>
                    <a:pt x="149" y="29"/>
                    <a:pt x="148" y="29"/>
                    <a:pt x="148" y="29"/>
                  </a:cubicBezTo>
                  <a:close/>
                  <a:moveTo>
                    <a:pt x="99" y="40"/>
                  </a:moveTo>
                  <a:cubicBezTo>
                    <a:pt x="99" y="40"/>
                    <a:pt x="98" y="40"/>
                    <a:pt x="97" y="40"/>
                  </a:cubicBezTo>
                  <a:cubicBezTo>
                    <a:pt x="97" y="40"/>
                    <a:pt x="97" y="40"/>
                    <a:pt x="98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1"/>
                    <a:pt x="95" y="41"/>
                    <a:pt x="95" y="41"/>
                  </a:cubicBezTo>
                  <a:cubicBezTo>
                    <a:pt x="95" y="41"/>
                    <a:pt x="96" y="41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1"/>
                    <a:pt x="93" y="41"/>
                    <a:pt x="91" y="41"/>
                  </a:cubicBezTo>
                  <a:cubicBezTo>
                    <a:pt x="92" y="41"/>
                    <a:pt x="94" y="41"/>
                    <a:pt x="94" y="40"/>
                  </a:cubicBezTo>
                  <a:cubicBezTo>
                    <a:pt x="94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2" y="40"/>
                    <a:pt x="93" y="41"/>
                  </a:cubicBezTo>
                  <a:cubicBezTo>
                    <a:pt x="93" y="41"/>
                    <a:pt x="93" y="40"/>
                    <a:pt x="94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3" y="40"/>
                    <a:pt x="93" y="41"/>
                  </a:cubicBezTo>
                  <a:cubicBezTo>
                    <a:pt x="93" y="41"/>
                    <a:pt x="93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3" y="41"/>
                    <a:pt x="92" y="41"/>
                    <a:pt x="92" y="41"/>
                  </a:cubicBezTo>
                  <a:cubicBezTo>
                    <a:pt x="92" y="40"/>
                    <a:pt x="92" y="41"/>
                    <a:pt x="92" y="40"/>
                  </a:cubicBezTo>
                  <a:cubicBezTo>
                    <a:pt x="92" y="41"/>
                    <a:pt x="92" y="41"/>
                    <a:pt x="91" y="41"/>
                  </a:cubicBezTo>
                  <a:cubicBezTo>
                    <a:pt x="92" y="40"/>
                    <a:pt x="91" y="41"/>
                    <a:pt x="91" y="41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3" y="40"/>
                    <a:pt x="94" y="40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39"/>
                    <a:pt x="96" y="39"/>
                    <a:pt x="97" y="39"/>
                  </a:cubicBezTo>
                  <a:cubicBezTo>
                    <a:pt x="97" y="39"/>
                    <a:pt x="95" y="39"/>
                    <a:pt x="95" y="40"/>
                  </a:cubicBezTo>
                  <a:cubicBezTo>
                    <a:pt x="95" y="40"/>
                    <a:pt x="95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5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7" y="40"/>
                  </a:cubicBezTo>
                  <a:cubicBezTo>
                    <a:pt x="97" y="40"/>
                    <a:pt x="97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6" y="39"/>
                    <a:pt x="97" y="4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8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5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4" y="40"/>
                    <a:pt x="94" y="40"/>
                  </a:cubicBezTo>
                  <a:cubicBezTo>
                    <a:pt x="94" y="40"/>
                    <a:pt x="94" y="39"/>
                    <a:pt x="94" y="39"/>
                  </a:cubicBezTo>
                  <a:cubicBezTo>
                    <a:pt x="95" y="39"/>
                    <a:pt x="96" y="39"/>
                    <a:pt x="97" y="39"/>
                  </a:cubicBezTo>
                  <a:cubicBezTo>
                    <a:pt x="97" y="39"/>
                    <a:pt x="98" y="38"/>
                    <a:pt x="99" y="38"/>
                  </a:cubicBezTo>
                  <a:cubicBezTo>
                    <a:pt x="99" y="38"/>
                    <a:pt x="98" y="38"/>
                    <a:pt x="98" y="39"/>
                  </a:cubicBezTo>
                  <a:cubicBezTo>
                    <a:pt x="98" y="39"/>
                    <a:pt x="98" y="38"/>
                    <a:pt x="99" y="38"/>
                  </a:cubicBezTo>
                  <a:cubicBezTo>
                    <a:pt x="99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9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8" y="39"/>
                    <a:pt x="98" y="39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9" y="40"/>
                  </a:cubicBezTo>
                  <a:cubicBezTo>
                    <a:pt x="99" y="39"/>
                    <a:pt x="98" y="40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1" y="39"/>
                    <a:pt x="103" y="39"/>
                  </a:cubicBezTo>
                  <a:cubicBezTo>
                    <a:pt x="103" y="39"/>
                    <a:pt x="102" y="39"/>
                    <a:pt x="102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8"/>
                    <a:pt x="103" y="39"/>
                    <a:pt x="103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9"/>
                    <a:pt x="104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5" y="39"/>
                    <a:pt x="105" y="38"/>
                  </a:cubicBezTo>
                  <a:cubicBezTo>
                    <a:pt x="105" y="38"/>
                    <a:pt x="104" y="39"/>
                    <a:pt x="104" y="39"/>
                  </a:cubicBezTo>
                  <a:cubicBezTo>
                    <a:pt x="105" y="38"/>
                    <a:pt x="106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6" y="38"/>
                    <a:pt x="107" y="38"/>
                    <a:pt x="108" y="38"/>
                  </a:cubicBezTo>
                  <a:cubicBezTo>
                    <a:pt x="108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8" y="38"/>
                    <a:pt x="109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2" y="37"/>
                  </a:cubicBezTo>
                  <a:cubicBezTo>
                    <a:pt x="113" y="37"/>
                    <a:pt x="114" y="36"/>
                    <a:pt x="115" y="36"/>
                  </a:cubicBezTo>
                  <a:cubicBezTo>
                    <a:pt x="115" y="36"/>
                    <a:pt x="114" y="36"/>
                    <a:pt x="114" y="36"/>
                  </a:cubicBezTo>
                  <a:cubicBezTo>
                    <a:pt x="115" y="36"/>
                    <a:pt x="115" y="36"/>
                    <a:pt x="116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5" y="36"/>
                    <a:pt x="115" y="37"/>
                    <a:pt x="115" y="37"/>
                  </a:cubicBezTo>
                  <a:cubicBezTo>
                    <a:pt x="115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6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3" y="37"/>
                  </a:cubicBezTo>
                  <a:cubicBezTo>
                    <a:pt x="113" y="37"/>
                    <a:pt x="111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8"/>
                    <a:pt x="110" y="38"/>
                    <a:pt x="110" y="38"/>
                  </a:cubicBezTo>
                  <a:cubicBezTo>
                    <a:pt x="110" y="38"/>
                    <a:pt x="111" y="38"/>
                    <a:pt x="110" y="38"/>
                  </a:cubicBezTo>
                  <a:cubicBezTo>
                    <a:pt x="111" y="38"/>
                    <a:pt x="111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8"/>
                    <a:pt x="112" y="37"/>
                    <a:pt x="111" y="38"/>
                  </a:cubicBezTo>
                  <a:cubicBezTo>
                    <a:pt x="112" y="38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3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6" y="37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5"/>
                    <a:pt x="115" y="36"/>
                    <a:pt x="115" y="35"/>
                  </a:cubicBezTo>
                  <a:cubicBezTo>
                    <a:pt x="115" y="36"/>
                    <a:pt x="116" y="36"/>
                    <a:pt x="116" y="35"/>
                  </a:cubicBezTo>
                  <a:cubicBezTo>
                    <a:pt x="116" y="35"/>
                    <a:pt x="115" y="35"/>
                    <a:pt x="115" y="36"/>
                  </a:cubicBezTo>
                  <a:cubicBezTo>
                    <a:pt x="115" y="36"/>
                    <a:pt x="115" y="35"/>
                    <a:pt x="115" y="35"/>
                  </a:cubicBezTo>
                  <a:cubicBezTo>
                    <a:pt x="114" y="35"/>
                    <a:pt x="115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7"/>
                    <a:pt x="111" y="36"/>
                  </a:cubicBezTo>
                  <a:cubicBezTo>
                    <a:pt x="111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2" y="36"/>
                  </a:cubicBezTo>
                  <a:cubicBezTo>
                    <a:pt x="112" y="36"/>
                    <a:pt x="111" y="36"/>
                    <a:pt x="111" y="35"/>
                  </a:cubicBezTo>
                  <a:cubicBezTo>
                    <a:pt x="111" y="36"/>
                    <a:pt x="110" y="35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08" y="36"/>
                    <a:pt x="108" y="36"/>
                  </a:cubicBezTo>
                  <a:cubicBezTo>
                    <a:pt x="107" y="36"/>
                    <a:pt x="106" y="37"/>
                    <a:pt x="106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6"/>
                  </a:cubicBezTo>
                  <a:cubicBezTo>
                    <a:pt x="106" y="36"/>
                    <a:pt x="106" y="37"/>
                    <a:pt x="106" y="37"/>
                  </a:cubicBezTo>
                  <a:cubicBezTo>
                    <a:pt x="106" y="37"/>
                    <a:pt x="106" y="36"/>
                    <a:pt x="106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6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09" y="36"/>
                    <a:pt x="109" y="35"/>
                  </a:cubicBezTo>
                  <a:cubicBezTo>
                    <a:pt x="109" y="35"/>
                    <a:pt x="109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5"/>
                    <a:pt x="109" y="35"/>
                  </a:cubicBezTo>
                  <a:cubicBezTo>
                    <a:pt x="108" y="35"/>
                    <a:pt x="107" y="35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6" y="36"/>
                    <a:pt x="107" y="36"/>
                    <a:pt x="107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5" y="35"/>
                  </a:cubicBezTo>
                  <a:cubicBezTo>
                    <a:pt x="106" y="35"/>
                    <a:pt x="107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5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2" y="35"/>
                    <a:pt x="111" y="34"/>
                    <a:pt x="112" y="34"/>
                  </a:cubicBezTo>
                  <a:cubicBezTo>
                    <a:pt x="112" y="34"/>
                    <a:pt x="112" y="35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4" y="34"/>
                  </a:cubicBezTo>
                  <a:cubicBezTo>
                    <a:pt x="114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4"/>
                    <a:pt x="112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1" y="35"/>
                    <a:pt x="112" y="35"/>
                    <a:pt x="112" y="35"/>
                  </a:cubicBezTo>
                  <a:cubicBezTo>
                    <a:pt x="112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2" y="35"/>
                    <a:pt x="113" y="35"/>
                  </a:cubicBezTo>
                  <a:cubicBezTo>
                    <a:pt x="113" y="35"/>
                    <a:pt x="113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4"/>
                    <a:pt x="115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7" y="34"/>
                    <a:pt x="118" y="34"/>
                    <a:pt x="118" y="33"/>
                  </a:cubicBezTo>
                  <a:cubicBezTo>
                    <a:pt x="118" y="34"/>
                    <a:pt x="118" y="33"/>
                    <a:pt x="117" y="34"/>
                  </a:cubicBezTo>
                  <a:cubicBezTo>
                    <a:pt x="117" y="34"/>
                    <a:pt x="118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6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6" y="34"/>
                    <a:pt x="115" y="34"/>
                  </a:cubicBezTo>
                  <a:cubicBezTo>
                    <a:pt x="115" y="34"/>
                    <a:pt x="115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5"/>
                    <a:pt x="115" y="35"/>
                    <a:pt x="115" y="34"/>
                  </a:cubicBezTo>
                  <a:cubicBezTo>
                    <a:pt x="115" y="35"/>
                    <a:pt x="115" y="34"/>
                    <a:pt x="116" y="34"/>
                  </a:cubicBezTo>
                  <a:cubicBezTo>
                    <a:pt x="116" y="34"/>
                    <a:pt x="115" y="35"/>
                    <a:pt x="115" y="35"/>
                  </a:cubicBezTo>
                  <a:cubicBezTo>
                    <a:pt x="115" y="35"/>
                    <a:pt x="116" y="34"/>
                    <a:pt x="116" y="35"/>
                  </a:cubicBezTo>
                  <a:cubicBezTo>
                    <a:pt x="116" y="35"/>
                    <a:pt x="116" y="35"/>
                    <a:pt x="117" y="35"/>
                  </a:cubicBezTo>
                  <a:cubicBezTo>
                    <a:pt x="117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8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7" y="35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ubicBezTo>
                    <a:pt x="118" y="34"/>
                    <a:pt x="119" y="34"/>
                    <a:pt x="119" y="34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5" y="35"/>
                    <a:pt x="115" y="35"/>
                  </a:cubicBezTo>
                  <a:cubicBezTo>
                    <a:pt x="116" y="35"/>
                    <a:pt x="117" y="35"/>
                    <a:pt x="118" y="35"/>
                  </a:cubicBezTo>
                  <a:cubicBezTo>
                    <a:pt x="118" y="34"/>
                    <a:pt x="118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4"/>
                  </a:cubicBezTo>
                  <a:cubicBezTo>
                    <a:pt x="121" y="34"/>
                    <a:pt x="121" y="34"/>
                    <a:pt x="121" y="35"/>
                  </a:cubicBezTo>
                  <a:cubicBezTo>
                    <a:pt x="121" y="35"/>
                    <a:pt x="121" y="34"/>
                    <a:pt x="121" y="34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2" y="35"/>
                    <a:pt x="122" y="35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5"/>
                    <a:pt x="122" y="35"/>
                    <a:pt x="121" y="35"/>
                  </a:cubicBezTo>
                  <a:cubicBezTo>
                    <a:pt x="121" y="35"/>
                    <a:pt x="122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6"/>
                    <a:pt x="120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0" y="36"/>
                    <a:pt x="120" y="35"/>
                    <a:pt x="120" y="36"/>
                  </a:cubicBezTo>
                  <a:cubicBezTo>
                    <a:pt x="120" y="35"/>
                    <a:pt x="121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2" y="36"/>
                    <a:pt x="122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5"/>
                    <a:pt x="122" y="35"/>
                    <a:pt x="122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3" y="35"/>
                    <a:pt x="123" y="35"/>
                  </a:cubicBezTo>
                  <a:cubicBezTo>
                    <a:pt x="123" y="35"/>
                    <a:pt x="124" y="35"/>
                    <a:pt x="124" y="35"/>
                  </a:cubicBezTo>
                  <a:cubicBezTo>
                    <a:pt x="123" y="35"/>
                    <a:pt x="124" y="35"/>
                    <a:pt x="123" y="36"/>
                  </a:cubicBezTo>
                  <a:cubicBezTo>
                    <a:pt x="123" y="36"/>
                    <a:pt x="124" y="36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6" y="35"/>
                  </a:cubicBezTo>
                  <a:cubicBezTo>
                    <a:pt x="126" y="35"/>
                    <a:pt x="125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6" y="35"/>
                    <a:pt x="127" y="35"/>
                    <a:pt x="126" y="35"/>
                  </a:cubicBezTo>
                  <a:cubicBezTo>
                    <a:pt x="127" y="35"/>
                    <a:pt x="127" y="34"/>
                    <a:pt x="127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4"/>
                    <a:pt x="127" y="34"/>
                    <a:pt x="128" y="34"/>
                  </a:cubicBezTo>
                  <a:cubicBezTo>
                    <a:pt x="128" y="34"/>
                    <a:pt x="127" y="34"/>
                    <a:pt x="127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9" y="34"/>
                    <a:pt x="129" y="34"/>
                  </a:cubicBezTo>
                  <a:cubicBezTo>
                    <a:pt x="130" y="33"/>
                    <a:pt x="130" y="34"/>
                    <a:pt x="131" y="33"/>
                  </a:cubicBezTo>
                  <a:cubicBezTo>
                    <a:pt x="131" y="33"/>
                    <a:pt x="131" y="34"/>
                    <a:pt x="131" y="34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29" y="34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34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8" y="35"/>
                    <a:pt x="128" y="34"/>
                    <a:pt x="129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9" y="35"/>
                    <a:pt x="129" y="35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29" y="34"/>
                    <a:pt x="130" y="35"/>
                    <a:pt x="130" y="35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0" y="34"/>
                  </a:cubicBezTo>
                  <a:cubicBezTo>
                    <a:pt x="131" y="35"/>
                    <a:pt x="131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3" y="34"/>
                    <a:pt x="133" y="33"/>
                    <a:pt x="133" y="33"/>
                  </a:cubicBezTo>
                  <a:cubicBezTo>
                    <a:pt x="133" y="33"/>
                    <a:pt x="133" y="34"/>
                    <a:pt x="133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3" y="34"/>
                    <a:pt x="134" y="34"/>
                    <a:pt x="134" y="33"/>
                  </a:cubicBezTo>
                  <a:cubicBezTo>
                    <a:pt x="134" y="33"/>
                    <a:pt x="134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4" y="33"/>
                    <a:pt x="133" y="33"/>
                  </a:cubicBezTo>
                  <a:cubicBezTo>
                    <a:pt x="133" y="33"/>
                    <a:pt x="134" y="33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5" y="33"/>
                  </a:cubicBezTo>
                  <a:cubicBezTo>
                    <a:pt x="135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4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7" y="33"/>
                    <a:pt x="137" y="33"/>
                  </a:cubicBezTo>
                  <a:cubicBezTo>
                    <a:pt x="136" y="33"/>
                    <a:pt x="137" y="33"/>
                    <a:pt x="138" y="33"/>
                  </a:cubicBezTo>
                  <a:cubicBezTo>
                    <a:pt x="138" y="33"/>
                    <a:pt x="137" y="33"/>
                    <a:pt x="138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4"/>
                    <a:pt x="136" y="34"/>
                  </a:cubicBezTo>
                  <a:cubicBezTo>
                    <a:pt x="135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1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1" y="35"/>
                  </a:cubicBezTo>
                  <a:cubicBezTo>
                    <a:pt x="132" y="35"/>
                    <a:pt x="132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3" y="35"/>
                    <a:pt x="134" y="35"/>
                    <a:pt x="134" y="34"/>
                  </a:cubicBezTo>
                  <a:cubicBezTo>
                    <a:pt x="134" y="34"/>
                    <a:pt x="134" y="34"/>
                    <a:pt x="135" y="34"/>
                  </a:cubicBezTo>
                  <a:cubicBezTo>
                    <a:pt x="135" y="34"/>
                    <a:pt x="135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5" y="34"/>
                    <a:pt x="136" y="35"/>
                  </a:cubicBezTo>
                  <a:cubicBezTo>
                    <a:pt x="136" y="35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8" y="34"/>
                  </a:cubicBezTo>
                  <a:cubicBezTo>
                    <a:pt x="138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3"/>
                  </a:cubicBezTo>
                  <a:cubicBezTo>
                    <a:pt x="138" y="33"/>
                    <a:pt x="137" y="34"/>
                    <a:pt x="138" y="34"/>
                  </a:cubicBezTo>
                  <a:cubicBezTo>
                    <a:pt x="138" y="33"/>
                    <a:pt x="139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1" y="33"/>
                    <a:pt x="140" y="33"/>
                    <a:pt x="140" y="33"/>
                  </a:cubicBezTo>
                  <a:cubicBezTo>
                    <a:pt x="140" y="33"/>
                    <a:pt x="141" y="33"/>
                    <a:pt x="140" y="33"/>
                  </a:cubicBezTo>
                  <a:cubicBezTo>
                    <a:pt x="140" y="33"/>
                    <a:pt x="140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4"/>
                    <a:pt x="141" y="33"/>
                    <a:pt x="141" y="33"/>
                  </a:cubicBezTo>
                  <a:cubicBezTo>
                    <a:pt x="140" y="34"/>
                    <a:pt x="141" y="34"/>
                    <a:pt x="142" y="34"/>
                  </a:cubicBezTo>
                  <a:cubicBezTo>
                    <a:pt x="142" y="34"/>
                    <a:pt x="142" y="34"/>
                    <a:pt x="142" y="33"/>
                  </a:cubicBezTo>
                  <a:cubicBezTo>
                    <a:pt x="142" y="33"/>
                    <a:pt x="141" y="33"/>
                    <a:pt x="142" y="33"/>
                  </a:cubicBezTo>
                  <a:cubicBezTo>
                    <a:pt x="142" y="33"/>
                    <a:pt x="141" y="33"/>
                    <a:pt x="141" y="34"/>
                  </a:cubicBezTo>
                  <a:cubicBezTo>
                    <a:pt x="141" y="34"/>
                    <a:pt x="141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3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4"/>
                  </a:cubicBezTo>
                  <a:cubicBezTo>
                    <a:pt x="142" y="34"/>
                    <a:pt x="143" y="34"/>
                    <a:pt x="143" y="34"/>
                  </a:cubicBezTo>
                  <a:cubicBezTo>
                    <a:pt x="143" y="34"/>
                    <a:pt x="143" y="34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4" y="33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4"/>
                  </a:cubicBezTo>
                  <a:cubicBezTo>
                    <a:pt x="144" y="34"/>
                    <a:pt x="145" y="33"/>
                    <a:pt x="145" y="34"/>
                  </a:cubicBezTo>
                  <a:cubicBezTo>
                    <a:pt x="145" y="34"/>
                    <a:pt x="145" y="33"/>
                    <a:pt x="146" y="33"/>
                  </a:cubicBezTo>
                  <a:cubicBezTo>
                    <a:pt x="146" y="33"/>
                    <a:pt x="146" y="33"/>
                    <a:pt x="145" y="33"/>
                  </a:cubicBezTo>
                  <a:cubicBezTo>
                    <a:pt x="145" y="33"/>
                    <a:pt x="146" y="33"/>
                    <a:pt x="146" y="33"/>
                  </a:cubicBezTo>
                  <a:cubicBezTo>
                    <a:pt x="147" y="33"/>
                    <a:pt x="147" y="33"/>
                    <a:pt x="148" y="33"/>
                  </a:cubicBezTo>
                  <a:cubicBezTo>
                    <a:pt x="148" y="33"/>
                    <a:pt x="147" y="33"/>
                    <a:pt x="147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3" y="35"/>
                    <a:pt x="142" y="35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2" y="35"/>
                    <a:pt x="142" y="35"/>
                    <a:pt x="141" y="35"/>
                  </a:cubicBezTo>
                  <a:cubicBezTo>
                    <a:pt x="141" y="35"/>
                    <a:pt x="141" y="35"/>
                    <a:pt x="141" y="35"/>
                  </a:cubicBezTo>
                  <a:cubicBezTo>
                    <a:pt x="141" y="35"/>
                    <a:pt x="141" y="35"/>
                    <a:pt x="141" y="36"/>
                  </a:cubicBezTo>
                  <a:cubicBezTo>
                    <a:pt x="141" y="36"/>
                    <a:pt x="141" y="35"/>
                    <a:pt x="141" y="35"/>
                  </a:cubicBezTo>
                  <a:cubicBezTo>
                    <a:pt x="140" y="36"/>
                    <a:pt x="140" y="36"/>
                    <a:pt x="139" y="36"/>
                  </a:cubicBezTo>
                  <a:cubicBezTo>
                    <a:pt x="139" y="36"/>
                    <a:pt x="138" y="36"/>
                    <a:pt x="138" y="36"/>
                  </a:cubicBezTo>
                  <a:cubicBezTo>
                    <a:pt x="137" y="36"/>
                    <a:pt x="136" y="37"/>
                    <a:pt x="136" y="36"/>
                  </a:cubicBezTo>
                  <a:cubicBezTo>
                    <a:pt x="136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6" y="36"/>
                  </a:cubicBezTo>
                  <a:cubicBezTo>
                    <a:pt x="137" y="36"/>
                    <a:pt x="134" y="37"/>
                    <a:pt x="134" y="36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3" y="37"/>
                    <a:pt x="133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ubicBezTo>
                    <a:pt x="131" y="37"/>
                    <a:pt x="129" y="38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8"/>
                    <a:pt x="126" y="39"/>
                  </a:cubicBezTo>
                  <a:cubicBezTo>
                    <a:pt x="126" y="39"/>
                    <a:pt x="126" y="39"/>
                    <a:pt x="126" y="38"/>
                  </a:cubicBezTo>
                  <a:cubicBezTo>
                    <a:pt x="125" y="39"/>
                    <a:pt x="126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2" y="39"/>
                    <a:pt x="123" y="39"/>
                    <a:pt x="122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2" y="39"/>
                    <a:pt x="122" y="40"/>
                    <a:pt x="121" y="40"/>
                  </a:cubicBezTo>
                  <a:cubicBezTo>
                    <a:pt x="121" y="40"/>
                    <a:pt x="121" y="40"/>
                    <a:pt x="120" y="40"/>
                  </a:cubicBezTo>
                  <a:cubicBezTo>
                    <a:pt x="120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8" y="40"/>
                  </a:cubicBezTo>
                  <a:cubicBezTo>
                    <a:pt x="118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8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6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20" y="40"/>
                    <a:pt x="120" y="40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6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9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1" y="37"/>
                    <a:pt x="130" y="37"/>
                    <a:pt x="129" y="37"/>
                  </a:cubicBezTo>
                  <a:cubicBezTo>
                    <a:pt x="129" y="37"/>
                    <a:pt x="130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7" y="37"/>
                    <a:pt x="127" y="37"/>
                  </a:cubicBezTo>
                  <a:cubicBezTo>
                    <a:pt x="127" y="38"/>
                    <a:pt x="127" y="37"/>
                    <a:pt x="127" y="37"/>
                  </a:cubicBezTo>
                  <a:cubicBezTo>
                    <a:pt x="127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6"/>
                  </a:cubicBezTo>
                  <a:cubicBezTo>
                    <a:pt x="128" y="36"/>
                    <a:pt x="127" y="37"/>
                    <a:pt x="127" y="37"/>
                  </a:cubicBezTo>
                  <a:cubicBezTo>
                    <a:pt x="127" y="37"/>
                    <a:pt x="127" y="36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7"/>
                    <a:pt x="125" y="36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5" y="37"/>
                    <a:pt x="125" y="37"/>
                    <a:pt x="124" y="37"/>
                  </a:cubicBezTo>
                  <a:cubicBezTo>
                    <a:pt x="124" y="37"/>
                    <a:pt x="124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1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1" y="38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39"/>
                  </a:cubicBezTo>
                  <a:cubicBezTo>
                    <a:pt x="116" y="40"/>
                    <a:pt x="116" y="40"/>
                    <a:pt x="115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4" y="40"/>
                    <a:pt x="113" y="41"/>
                  </a:cubicBezTo>
                  <a:cubicBezTo>
                    <a:pt x="112" y="41"/>
                    <a:pt x="111" y="41"/>
                    <a:pt x="110" y="41"/>
                  </a:cubicBezTo>
                  <a:cubicBezTo>
                    <a:pt x="110" y="41"/>
                    <a:pt x="110" y="41"/>
                    <a:pt x="109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1" y="41"/>
                    <a:pt x="112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1" y="41"/>
                    <a:pt x="111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09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6" y="42"/>
                    <a:pt x="107" y="41"/>
                    <a:pt x="108" y="41"/>
                  </a:cubicBezTo>
                  <a:cubicBezTo>
                    <a:pt x="108" y="42"/>
                    <a:pt x="107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5" y="42"/>
                    <a:pt x="106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3"/>
                    <a:pt x="105" y="43"/>
                    <a:pt x="104" y="43"/>
                  </a:cubicBezTo>
                  <a:cubicBezTo>
                    <a:pt x="104" y="43"/>
                    <a:pt x="103" y="43"/>
                    <a:pt x="103" y="43"/>
                  </a:cubicBezTo>
                  <a:cubicBezTo>
                    <a:pt x="103" y="43"/>
                    <a:pt x="101" y="44"/>
                    <a:pt x="101" y="4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3"/>
                    <a:pt x="100" y="44"/>
                    <a:pt x="101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0" y="44"/>
                    <a:pt x="99" y="44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2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12" y="41"/>
                    <a:pt x="115" y="40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2"/>
                    <a:pt x="112" y="41"/>
                  </a:cubicBez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8" y="42"/>
                    <a:pt x="107" y="42"/>
                    <a:pt x="108" y="42"/>
                  </a:cubicBezTo>
                  <a:cubicBezTo>
                    <a:pt x="105" y="43"/>
                    <a:pt x="102" y="44"/>
                    <a:pt x="100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99" y="44"/>
                    <a:pt x="98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6" y="45"/>
                  </a:cubicBezTo>
                  <a:cubicBezTo>
                    <a:pt x="96" y="45"/>
                    <a:pt x="97" y="45"/>
                    <a:pt x="96" y="45"/>
                  </a:cubicBezTo>
                  <a:cubicBezTo>
                    <a:pt x="97" y="44"/>
                    <a:pt x="98" y="45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6" y="45"/>
                    <a:pt x="96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6" y="44"/>
                    <a:pt x="95" y="44"/>
                    <a:pt x="95" y="44"/>
                  </a:cubicBezTo>
                  <a:cubicBezTo>
                    <a:pt x="95" y="45"/>
                    <a:pt x="94" y="45"/>
                    <a:pt x="94" y="45"/>
                  </a:cubicBezTo>
                  <a:cubicBezTo>
                    <a:pt x="94" y="45"/>
                    <a:pt x="94" y="45"/>
                    <a:pt x="93" y="45"/>
                  </a:cubicBezTo>
                  <a:cubicBezTo>
                    <a:pt x="93" y="45"/>
                    <a:pt x="94" y="45"/>
                    <a:pt x="94" y="45"/>
                  </a:cubicBezTo>
                  <a:cubicBezTo>
                    <a:pt x="94" y="45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5"/>
                    <a:pt x="94" y="44"/>
                    <a:pt x="94" y="44"/>
                  </a:cubicBezTo>
                  <a:cubicBezTo>
                    <a:pt x="93" y="45"/>
                    <a:pt x="93" y="44"/>
                    <a:pt x="93" y="44"/>
                  </a:cubicBezTo>
                  <a:cubicBezTo>
                    <a:pt x="94" y="44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6" y="44"/>
                    <a:pt x="95" y="44"/>
                  </a:cubicBezTo>
                  <a:cubicBezTo>
                    <a:pt x="95" y="44"/>
                    <a:pt x="96" y="44"/>
                    <a:pt x="96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3"/>
                  </a:cubicBezTo>
                  <a:cubicBezTo>
                    <a:pt x="98" y="43"/>
                    <a:pt x="97" y="44"/>
                    <a:pt x="97" y="43"/>
                  </a:cubicBezTo>
                  <a:cubicBezTo>
                    <a:pt x="97" y="44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100" y="43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100" y="42"/>
                    <a:pt x="101" y="43"/>
                    <a:pt x="102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0" y="42"/>
                  </a:cubicBezTo>
                  <a:cubicBezTo>
                    <a:pt x="100" y="43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3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99" y="42"/>
                    <a:pt x="99" y="42"/>
                    <a:pt x="99" y="43"/>
                  </a:cubicBezTo>
                  <a:cubicBezTo>
                    <a:pt x="99" y="42"/>
                    <a:pt x="100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3"/>
                    <a:pt x="98" y="42"/>
                    <a:pt x="98" y="43"/>
                  </a:cubicBez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2"/>
                    <a:pt x="97" y="42"/>
                  </a:cubicBezTo>
                  <a:cubicBezTo>
                    <a:pt x="98" y="42"/>
                    <a:pt x="98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8" y="42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8" y="42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7" y="42"/>
                    <a:pt x="98" y="41"/>
                  </a:cubicBezTo>
                  <a:cubicBezTo>
                    <a:pt x="98" y="41"/>
                    <a:pt x="98" y="42"/>
                    <a:pt x="97" y="42"/>
                  </a:cubicBezTo>
                  <a:cubicBezTo>
                    <a:pt x="98" y="42"/>
                    <a:pt x="98" y="41"/>
                    <a:pt x="98" y="41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1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3" y="41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7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39"/>
                    <a:pt x="106" y="39"/>
                    <a:pt x="105" y="40"/>
                  </a:cubicBezTo>
                  <a:cubicBezTo>
                    <a:pt x="106" y="40"/>
                    <a:pt x="105" y="40"/>
                    <a:pt x="105" y="40"/>
                  </a:cubicBezTo>
                  <a:cubicBezTo>
                    <a:pt x="104" y="40"/>
                    <a:pt x="105" y="40"/>
                    <a:pt x="104" y="40"/>
                  </a:cubicBezTo>
                  <a:cubicBezTo>
                    <a:pt x="104" y="40"/>
                    <a:pt x="105" y="40"/>
                    <a:pt x="105" y="40"/>
                  </a:cubicBezTo>
                  <a:cubicBezTo>
                    <a:pt x="104" y="40"/>
                    <a:pt x="103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1"/>
                    <a:pt x="101" y="40"/>
                    <a:pt x="101" y="40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1"/>
                    <a:pt x="101" y="41"/>
                    <a:pt x="101" y="4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99" y="41"/>
                    <a:pt x="99" y="41"/>
                  </a:cubicBezTo>
                  <a:cubicBezTo>
                    <a:pt x="99" y="41"/>
                    <a:pt x="100" y="40"/>
                    <a:pt x="99" y="40"/>
                  </a:cubicBezTo>
                  <a:cubicBezTo>
                    <a:pt x="100" y="40"/>
                    <a:pt x="101" y="40"/>
                    <a:pt x="102" y="40"/>
                  </a:cubicBezTo>
                  <a:cubicBezTo>
                    <a:pt x="102" y="39"/>
                    <a:pt x="102" y="40"/>
                    <a:pt x="101" y="40"/>
                  </a:cubicBezTo>
                  <a:cubicBezTo>
                    <a:pt x="101" y="39"/>
                    <a:pt x="102" y="39"/>
                    <a:pt x="102" y="39"/>
                  </a:cubicBezTo>
                  <a:cubicBezTo>
                    <a:pt x="102" y="39"/>
                    <a:pt x="102" y="39"/>
                    <a:pt x="103" y="39"/>
                  </a:cubicBezTo>
                  <a:cubicBezTo>
                    <a:pt x="102" y="39"/>
                    <a:pt x="102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0" y="39"/>
                    <a:pt x="99" y="40"/>
                    <a:pt x="98" y="40"/>
                  </a:cubicBezTo>
                  <a:cubicBezTo>
                    <a:pt x="99" y="40"/>
                    <a:pt x="101" y="39"/>
                    <a:pt x="101" y="39"/>
                  </a:cubicBezTo>
                  <a:cubicBezTo>
                    <a:pt x="101" y="40"/>
                    <a:pt x="99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9" y="40"/>
                    <a:pt x="99" y="40"/>
                  </a:cubicBezTo>
                  <a:close/>
                  <a:moveTo>
                    <a:pt x="137" y="36"/>
                  </a:moveTo>
                  <a:cubicBezTo>
                    <a:pt x="137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7" y="36"/>
                  </a:cubicBezTo>
                  <a:close/>
                  <a:moveTo>
                    <a:pt x="124" y="39"/>
                  </a:move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31" y="36"/>
                  </a:move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1" y="36"/>
                    <a:pt x="130" y="36"/>
                  </a:cubicBezTo>
                  <a:cubicBezTo>
                    <a:pt x="130" y="37"/>
                    <a:pt x="131" y="36"/>
                    <a:pt x="131" y="36"/>
                  </a:cubicBezTo>
                  <a:close/>
                  <a:moveTo>
                    <a:pt x="131" y="37"/>
                  </a:move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1" y="37"/>
                    <a:pt x="131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1" y="36"/>
                  </a:cubicBezTo>
                  <a:cubicBezTo>
                    <a:pt x="131" y="37"/>
                    <a:pt x="131" y="37"/>
                    <a:pt x="132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6"/>
                  </a:cubicBezTo>
                  <a:cubicBezTo>
                    <a:pt x="133" y="36"/>
                    <a:pt x="132" y="37"/>
                    <a:pt x="132" y="37"/>
                  </a:cubicBezTo>
                  <a:close/>
                  <a:moveTo>
                    <a:pt x="140" y="35"/>
                  </a:moveTo>
                  <a:cubicBezTo>
                    <a:pt x="140" y="35"/>
                    <a:pt x="140" y="35"/>
                    <a:pt x="139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lose/>
                  <a:moveTo>
                    <a:pt x="138" y="35"/>
                  </a:moveTo>
                  <a:cubicBezTo>
                    <a:pt x="138" y="35"/>
                    <a:pt x="139" y="35"/>
                    <a:pt x="139" y="35"/>
                  </a:cubicBezTo>
                  <a:cubicBezTo>
                    <a:pt x="139" y="35"/>
                    <a:pt x="138" y="35"/>
                    <a:pt x="138" y="35"/>
                  </a:cubicBezTo>
                  <a:close/>
                  <a:moveTo>
                    <a:pt x="134" y="36"/>
                  </a:moveTo>
                  <a:cubicBezTo>
                    <a:pt x="133" y="36"/>
                    <a:pt x="133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6" y="36"/>
                    <a:pt x="138" y="35"/>
                  </a:cubicBezTo>
                  <a:cubicBezTo>
                    <a:pt x="136" y="35"/>
                    <a:pt x="135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0" y="34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41" y="34"/>
                    <a:pt x="141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0" y="34"/>
                    <a:pt x="140" y="34"/>
                  </a:cubicBezTo>
                  <a:cubicBezTo>
                    <a:pt x="140" y="34"/>
                    <a:pt x="141" y="34"/>
                    <a:pt x="141" y="34"/>
                  </a:cubicBezTo>
                  <a:close/>
                  <a:moveTo>
                    <a:pt x="136" y="35"/>
                  </a:moveTo>
                  <a:cubicBezTo>
                    <a:pt x="136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40" y="34"/>
                  </a:moveTo>
                  <a:cubicBezTo>
                    <a:pt x="140" y="34"/>
                    <a:pt x="140" y="34"/>
                    <a:pt x="140" y="34"/>
                  </a:cubicBezTo>
                  <a:cubicBezTo>
                    <a:pt x="140" y="34"/>
                    <a:pt x="140" y="33"/>
                    <a:pt x="140" y="34"/>
                  </a:cubicBezTo>
                  <a:close/>
                  <a:moveTo>
                    <a:pt x="140" y="33"/>
                  </a:moveTo>
                  <a:cubicBezTo>
                    <a:pt x="139" y="33"/>
                    <a:pt x="139" y="33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39" y="33"/>
                    <a:pt x="140" y="33"/>
                    <a:pt x="140" y="33"/>
                  </a:cubicBezTo>
                  <a:close/>
                  <a:moveTo>
                    <a:pt x="138" y="34"/>
                  </a:moveTo>
                  <a:cubicBezTo>
                    <a:pt x="138" y="34"/>
                    <a:pt x="138" y="34"/>
                    <a:pt x="139" y="34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8" y="34"/>
                    <a:pt x="138" y="33"/>
                    <a:pt x="138" y="33"/>
                  </a:cubicBezTo>
                  <a:cubicBezTo>
                    <a:pt x="138" y="34"/>
                    <a:pt x="137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lose/>
                  <a:moveTo>
                    <a:pt x="139" y="34"/>
                  </a:moveTo>
                  <a:cubicBezTo>
                    <a:pt x="139" y="34"/>
                    <a:pt x="139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lose/>
                  <a:moveTo>
                    <a:pt x="130" y="36"/>
                  </a:moveTo>
                  <a:cubicBezTo>
                    <a:pt x="130" y="35"/>
                    <a:pt x="129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3" y="36"/>
                    <a:pt x="133" y="35"/>
                  </a:cubicBezTo>
                  <a:cubicBezTo>
                    <a:pt x="133" y="35"/>
                    <a:pt x="133" y="36"/>
                    <a:pt x="133" y="36"/>
                  </a:cubicBezTo>
                  <a:cubicBezTo>
                    <a:pt x="133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6"/>
                    <a:pt x="133" y="35"/>
                  </a:cubicBezTo>
                  <a:cubicBezTo>
                    <a:pt x="134" y="35"/>
                    <a:pt x="135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2" y="36"/>
                    <a:pt x="132" y="35"/>
                    <a:pt x="132" y="36"/>
                  </a:cubicBezTo>
                  <a:cubicBezTo>
                    <a:pt x="131" y="36"/>
                    <a:pt x="131" y="36"/>
                    <a:pt x="131" y="35"/>
                  </a:cubicBezTo>
                  <a:cubicBezTo>
                    <a:pt x="131" y="35"/>
                    <a:pt x="132" y="35"/>
                    <a:pt x="132" y="35"/>
                  </a:cubicBezTo>
                  <a:cubicBezTo>
                    <a:pt x="131" y="35"/>
                    <a:pt x="130" y="35"/>
                    <a:pt x="130" y="36"/>
                  </a:cubicBezTo>
                  <a:close/>
                  <a:moveTo>
                    <a:pt x="131" y="35"/>
                  </a:moveTo>
                  <a:cubicBezTo>
                    <a:pt x="131" y="35"/>
                    <a:pt x="130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lose/>
                  <a:moveTo>
                    <a:pt x="108" y="35"/>
                  </a:moveTo>
                  <a:cubicBezTo>
                    <a:pt x="107" y="35"/>
                    <a:pt x="107" y="36"/>
                    <a:pt x="107" y="36"/>
                  </a:cubicBezTo>
                  <a:cubicBezTo>
                    <a:pt x="107" y="36"/>
                    <a:pt x="108" y="36"/>
                    <a:pt x="108" y="35"/>
                  </a:cubicBezTo>
                  <a:close/>
                  <a:moveTo>
                    <a:pt x="111" y="35"/>
                  </a:move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1" y="35"/>
                    <a:pt x="110" y="35"/>
                    <a:pt x="111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1" y="35"/>
                    <a:pt x="11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09" y="35"/>
                    <a:pt x="109" y="36"/>
                  </a:cubicBezTo>
                  <a:cubicBezTo>
                    <a:pt x="110" y="36"/>
                    <a:pt x="110" y="35"/>
                    <a:pt x="110" y="35"/>
                  </a:cubicBezTo>
                  <a:close/>
                  <a:moveTo>
                    <a:pt x="113" y="36"/>
                  </a:moveTo>
                  <a:cubicBezTo>
                    <a:pt x="114" y="36"/>
                    <a:pt x="114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3" y="36"/>
                    <a:pt x="114" y="35"/>
                  </a:cubicBezTo>
                  <a:cubicBezTo>
                    <a:pt x="114" y="35"/>
                    <a:pt x="114" y="35"/>
                    <a:pt x="115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6"/>
                  </a:cubicBezTo>
                  <a:cubicBezTo>
                    <a:pt x="113" y="35"/>
                    <a:pt x="112" y="36"/>
                    <a:pt x="113" y="35"/>
                  </a:cubicBezTo>
                  <a:cubicBezTo>
                    <a:pt x="112" y="35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2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1" y="35"/>
                    <a:pt x="120" y="35"/>
                    <a:pt x="120" y="35"/>
                  </a:cubicBezTo>
                  <a:close/>
                  <a:moveTo>
                    <a:pt x="117" y="36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7" y="35"/>
                    <a:pt x="117" y="36"/>
                  </a:cubicBezTo>
                  <a:close/>
                  <a:moveTo>
                    <a:pt x="119" y="36"/>
                  </a:moveTo>
                  <a:cubicBezTo>
                    <a:pt x="118" y="36"/>
                    <a:pt x="118" y="35"/>
                    <a:pt x="118" y="36"/>
                  </a:cubicBezTo>
                  <a:cubicBezTo>
                    <a:pt x="118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ubicBezTo>
                    <a:pt x="118" y="36"/>
                    <a:pt x="117" y="36"/>
                    <a:pt x="118" y="36"/>
                  </a:cubicBezTo>
                  <a:close/>
                  <a:moveTo>
                    <a:pt x="118" y="36"/>
                  </a:moveTo>
                  <a:cubicBezTo>
                    <a:pt x="119" y="36"/>
                    <a:pt x="119" y="36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19" y="36"/>
                    <a:pt x="119" y="36"/>
                    <a:pt x="118" y="36"/>
                  </a:cubicBezTo>
                  <a:close/>
                  <a:moveTo>
                    <a:pt x="101" y="40"/>
                  </a:moveTo>
                  <a:cubicBezTo>
                    <a:pt x="102" y="40"/>
                    <a:pt x="101" y="40"/>
                    <a:pt x="101" y="40"/>
                  </a:cubicBezTo>
                  <a:cubicBezTo>
                    <a:pt x="102" y="40"/>
                    <a:pt x="100" y="40"/>
                    <a:pt x="100" y="40"/>
                  </a:cubicBezTo>
                  <a:cubicBezTo>
                    <a:pt x="101" y="40"/>
                    <a:pt x="101" y="40"/>
                    <a:pt x="101" y="40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07" y="39"/>
                  </a:moveTo>
                  <a:cubicBezTo>
                    <a:pt x="106" y="39"/>
                    <a:pt x="107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ubicBezTo>
                    <a:pt x="106" y="38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5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lose/>
                  <a:moveTo>
                    <a:pt x="109" y="38"/>
                  </a:moveTo>
                  <a:cubicBezTo>
                    <a:pt x="109" y="38"/>
                    <a:pt x="108" y="38"/>
                    <a:pt x="108" y="38"/>
                  </a:cubicBezTo>
                  <a:cubicBezTo>
                    <a:pt x="108" y="38"/>
                    <a:pt x="107" y="38"/>
                    <a:pt x="107" y="39"/>
                  </a:cubicBezTo>
                  <a:cubicBezTo>
                    <a:pt x="108" y="39"/>
                    <a:pt x="108" y="38"/>
                    <a:pt x="108" y="38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8"/>
                    <a:pt x="109" y="39"/>
                    <a:pt x="109" y="38"/>
                  </a:cubicBezTo>
                  <a:close/>
                  <a:moveTo>
                    <a:pt x="113" y="38"/>
                  </a:move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4" y="38"/>
                  </a:cubicBezTo>
                  <a:cubicBezTo>
                    <a:pt x="114" y="38"/>
                    <a:pt x="113" y="38"/>
                    <a:pt x="114" y="38"/>
                  </a:cubicBezTo>
                  <a:cubicBezTo>
                    <a:pt x="114" y="38"/>
                    <a:pt x="114" y="38"/>
                    <a:pt x="115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5" y="37"/>
                    <a:pt x="115" y="37"/>
                    <a:pt x="114" y="37"/>
                  </a:cubicBezTo>
                  <a:cubicBezTo>
                    <a:pt x="114" y="37"/>
                    <a:pt x="113" y="37"/>
                    <a:pt x="113" y="38"/>
                  </a:cubicBezTo>
                  <a:close/>
                  <a:moveTo>
                    <a:pt x="112" y="38"/>
                  </a:moveTo>
                  <a:cubicBezTo>
                    <a:pt x="112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07" y="40"/>
                  </a:moveTo>
                  <a:cubicBezTo>
                    <a:pt x="107" y="40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8" y="40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40"/>
                  </a:cubicBezTo>
                  <a:close/>
                  <a:moveTo>
                    <a:pt x="110" y="39"/>
                  </a:moveTo>
                  <a:cubicBezTo>
                    <a:pt x="110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10" y="39"/>
                  </a:cubicBezTo>
                  <a:close/>
                  <a:moveTo>
                    <a:pt x="108" y="39"/>
                  </a:move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9" y="39"/>
                    <a:pt x="108" y="39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3" y="39"/>
                    <a:pt x="113" y="38"/>
                  </a:cubicBez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8"/>
                    <a:pt x="110" y="39"/>
                    <a:pt x="111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09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8"/>
                  </a:move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4" y="39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3" y="38"/>
                    <a:pt x="113" y="38"/>
                  </a:cubicBezTo>
                  <a:close/>
                  <a:moveTo>
                    <a:pt x="117" y="37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7" y="38"/>
                    <a:pt x="117" y="37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8" y="37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10" y="39"/>
                  </a:moveTo>
                  <a:cubicBezTo>
                    <a:pt x="110" y="40"/>
                    <a:pt x="110" y="40"/>
                    <a:pt x="111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8" y="39"/>
                  </a:cubicBezTo>
                  <a:cubicBezTo>
                    <a:pt x="109" y="39"/>
                    <a:pt x="110" y="39"/>
                    <a:pt x="110" y="39"/>
                  </a:cubicBezTo>
                  <a:close/>
                  <a:moveTo>
                    <a:pt x="113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lose/>
                  <a:moveTo>
                    <a:pt x="106" y="41"/>
                  </a:moveTo>
                  <a:cubicBezTo>
                    <a:pt x="106" y="41"/>
                    <a:pt x="105" y="41"/>
                    <a:pt x="106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6" y="41"/>
                  </a:cubicBezTo>
                  <a:close/>
                  <a:moveTo>
                    <a:pt x="108" y="40"/>
                  </a:move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8" y="40"/>
                    <a:pt x="108" y="40"/>
                  </a:cubicBezTo>
                  <a:close/>
                  <a:moveTo>
                    <a:pt x="107" y="40"/>
                  </a:moveTo>
                  <a:cubicBezTo>
                    <a:pt x="107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2" y="41"/>
                    <a:pt x="102" y="41"/>
                  </a:cubicBezTo>
                  <a:close/>
                  <a:moveTo>
                    <a:pt x="104" y="40"/>
                  </a:moveTo>
                  <a:cubicBezTo>
                    <a:pt x="104" y="41"/>
                    <a:pt x="105" y="40"/>
                    <a:pt x="105" y="40"/>
                  </a:cubicBezTo>
                  <a:cubicBezTo>
                    <a:pt x="105" y="40"/>
                    <a:pt x="105" y="40"/>
                    <a:pt x="104" y="40"/>
                  </a:cubicBezTo>
                  <a:close/>
                  <a:moveTo>
                    <a:pt x="103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3" y="41"/>
                    <a:pt x="103" y="41"/>
                  </a:cubicBezTo>
                  <a:close/>
                  <a:moveTo>
                    <a:pt x="107" y="40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1" y="41"/>
                    <a:pt x="102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lose/>
                  <a:moveTo>
                    <a:pt x="99" y="42"/>
                  </a:move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2"/>
                    <a:pt x="101" y="41"/>
                    <a:pt x="101" y="41"/>
                  </a:cubicBezTo>
                  <a:cubicBezTo>
                    <a:pt x="100" y="41"/>
                    <a:pt x="101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lose/>
                  <a:moveTo>
                    <a:pt x="99" y="42"/>
                  </a:moveTo>
                  <a:cubicBezTo>
                    <a:pt x="98" y="42"/>
                    <a:pt x="98" y="42"/>
                    <a:pt x="98" y="43"/>
                  </a:cubicBezTo>
                  <a:cubicBezTo>
                    <a:pt x="98" y="42"/>
                    <a:pt x="98" y="43"/>
                    <a:pt x="99" y="42"/>
                  </a:cubicBezTo>
                  <a:close/>
                  <a:moveTo>
                    <a:pt x="104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4" y="41"/>
                  </a:cubicBezTo>
                  <a:close/>
                  <a:moveTo>
                    <a:pt x="102" y="42"/>
                  </a:move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lose/>
                  <a:moveTo>
                    <a:pt x="102" y="42"/>
                  </a:moveTo>
                  <a:cubicBezTo>
                    <a:pt x="102" y="42"/>
                    <a:pt x="101" y="42"/>
                    <a:pt x="101" y="43"/>
                  </a:cubicBezTo>
                  <a:cubicBezTo>
                    <a:pt x="102" y="42"/>
                    <a:pt x="102" y="43"/>
                    <a:pt x="102" y="42"/>
                  </a:cubicBezTo>
                  <a:close/>
                  <a:moveTo>
                    <a:pt x="101" y="43"/>
                  </a:moveTo>
                  <a:cubicBezTo>
                    <a:pt x="101" y="43"/>
                    <a:pt x="100" y="43"/>
                    <a:pt x="101" y="43"/>
                  </a:cubicBezTo>
                  <a:cubicBezTo>
                    <a:pt x="101" y="43"/>
                    <a:pt x="101" y="43"/>
                    <a:pt x="101" y="43"/>
                  </a:cubicBezTo>
                  <a:close/>
                  <a:moveTo>
                    <a:pt x="98" y="44"/>
                  </a:move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7" y="44"/>
                    <a:pt x="97" y="44"/>
                  </a:cubicBezTo>
                  <a:cubicBezTo>
                    <a:pt x="98" y="44"/>
                    <a:pt x="98" y="44"/>
                    <a:pt x="98" y="44"/>
                  </a:cubicBezTo>
                  <a:close/>
                  <a:moveTo>
                    <a:pt x="98" y="44"/>
                  </a:moveTo>
                  <a:cubicBezTo>
                    <a:pt x="98" y="44"/>
                    <a:pt x="99" y="43"/>
                    <a:pt x="99" y="43"/>
                  </a:cubicBezTo>
                  <a:cubicBezTo>
                    <a:pt x="99" y="43"/>
                    <a:pt x="98" y="43"/>
                    <a:pt x="98" y="44"/>
                  </a:cubicBezTo>
                  <a:close/>
                  <a:moveTo>
                    <a:pt x="100" y="43"/>
                  </a:moveTo>
                  <a:cubicBezTo>
                    <a:pt x="100" y="43"/>
                    <a:pt x="100" y="43"/>
                    <a:pt x="99" y="43"/>
                  </a:cubicBezTo>
                  <a:cubicBezTo>
                    <a:pt x="99" y="43"/>
                    <a:pt x="99" y="43"/>
                    <a:pt x="99" y="44"/>
                  </a:cubicBezTo>
                  <a:cubicBezTo>
                    <a:pt x="99" y="44"/>
                    <a:pt x="98" y="44"/>
                    <a:pt x="98" y="44"/>
                  </a:cubicBezTo>
                  <a:cubicBezTo>
                    <a:pt x="98" y="44"/>
                    <a:pt x="99" y="44"/>
                    <a:pt x="100" y="43"/>
                  </a:cubicBezTo>
                  <a:cubicBezTo>
                    <a:pt x="99" y="44"/>
                    <a:pt x="99" y="44"/>
                    <a:pt x="99" y="43"/>
                  </a:cubicBezTo>
                  <a:cubicBezTo>
                    <a:pt x="100" y="43"/>
                    <a:pt x="100" y="43"/>
                    <a:pt x="100" y="43"/>
                  </a:cubicBezTo>
                  <a:close/>
                  <a:moveTo>
                    <a:pt x="104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3"/>
                    <a:pt x="103" y="42"/>
                    <a:pt x="103" y="43"/>
                  </a:cubicBezTo>
                  <a:cubicBezTo>
                    <a:pt x="103" y="42"/>
                    <a:pt x="103" y="42"/>
                    <a:pt x="104" y="42"/>
                  </a:cubicBezTo>
                  <a:close/>
                  <a:moveTo>
                    <a:pt x="105" y="42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4" y="41"/>
                  </a:cubicBezTo>
                  <a:cubicBezTo>
                    <a:pt x="104" y="41"/>
                    <a:pt x="103" y="41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2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3" y="42"/>
                    <a:pt x="103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1"/>
                    <a:pt x="106" y="41"/>
                    <a:pt x="105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6" y="41"/>
                    <a:pt x="107" y="41"/>
                  </a:cubicBezTo>
                  <a:cubicBezTo>
                    <a:pt x="107" y="41"/>
                    <a:pt x="106" y="41"/>
                    <a:pt x="107" y="41"/>
                  </a:cubicBezTo>
                  <a:cubicBezTo>
                    <a:pt x="106" y="41"/>
                    <a:pt x="106" y="41"/>
                    <a:pt x="105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7" y="41"/>
                    <a:pt x="107" y="41"/>
                  </a:cubicBezTo>
                  <a:close/>
                  <a:moveTo>
                    <a:pt x="107" y="41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7" y="41"/>
                  </a:cubicBezTo>
                  <a:close/>
                  <a:moveTo>
                    <a:pt x="108" y="41"/>
                  </a:move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13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3" y="40"/>
                    <a:pt x="113" y="40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4" y="40"/>
                    <a:pt x="114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3" y="40"/>
                    <a:pt x="113" y="40"/>
                  </a:cubicBezTo>
                  <a:cubicBezTo>
                    <a:pt x="112" y="40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5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4" y="41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4" y="40"/>
                  </a:move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lose/>
                  <a:moveTo>
                    <a:pt x="114" y="39"/>
                  </a:moveTo>
                  <a:cubicBezTo>
                    <a:pt x="114" y="39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7" y="38"/>
                    <a:pt x="116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5" y="38"/>
                  </a:cubicBezTo>
                  <a:cubicBezTo>
                    <a:pt x="115" y="38"/>
                    <a:pt x="115" y="38"/>
                    <a:pt x="114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4" y="39"/>
                    <a:pt x="115" y="38"/>
                    <a:pt x="115" y="39"/>
                  </a:cubicBezTo>
                  <a:cubicBezTo>
                    <a:pt x="114" y="39"/>
                    <a:pt x="113" y="39"/>
                    <a:pt x="114" y="39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2" y="40"/>
                  </a:cubicBezTo>
                  <a:cubicBezTo>
                    <a:pt x="112" y="40"/>
                    <a:pt x="112" y="40"/>
                    <a:pt x="112" y="39"/>
                  </a:cubicBezTo>
                  <a:cubicBezTo>
                    <a:pt x="112" y="40"/>
                    <a:pt x="111" y="40"/>
                    <a:pt x="110" y="40"/>
                  </a:cubicBezTo>
                  <a:cubicBezTo>
                    <a:pt x="111" y="40"/>
                    <a:pt x="112" y="40"/>
                    <a:pt x="113" y="40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5" y="39"/>
                    <a:pt x="115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8" y="39"/>
                    <a:pt x="117" y="39"/>
                  </a:cubicBezTo>
                  <a:cubicBezTo>
                    <a:pt x="116" y="39"/>
                    <a:pt x="115" y="39"/>
                    <a:pt x="115" y="39"/>
                  </a:cubicBezTo>
                  <a:close/>
                  <a:moveTo>
                    <a:pt x="122" y="37"/>
                  </a:moveTo>
                  <a:cubicBezTo>
                    <a:pt x="122" y="37"/>
                    <a:pt x="122" y="37"/>
                    <a:pt x="122" y="36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7"/>
                  </a:cubicBezTo>
                  <a:cubicBezTo>
                    <a:pt x="122" y="37"/>
                    <a:pt x="122" y="37"/>
                    <a:pt x="122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8" y="37"/>
                    <a:pt x="118" y="38"/>
                  </a:cubicBezTo>
                  <a:cubicBezTo>
                    <a:pt x="118" y="38"/>
                    <a:pt x="118" y="38"/>
                    <a:pt x="117" y="38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8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8" y="38"/>
                    <a:pt x="118" y="38"/>
                  </a:cubicBezTo>
                  <a:close/>
                  <a:moveTo>
                    <a:pt x="120" y="37"/>
                  </a:moveTo>
                  <a:cubicBezTo>
                    <a:pt x="121" y="37"/>
                    <a:pt x="122" y="37"/>
                    <a:pt x="123" y="37"/>
                  </a:cubicBezTo>
                  <a:cubicBezTo>
                    <a:pt x="123" y="37"/>
                    <a:pt x="123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3" y="37"/>
                  </a:moveTo>
                  <a:cubicBezTo>
                    <a:pt x="123" y="37"/>
                    <a:pt x="124" y="37"/>
                    <a:pt x="124" y="36"/>
                  </a:cubicBezTo>
                  <a:cubicBezTo>
                    <a:pt x="124" y="37"/>
                    <a:pt x="123" y="37"/>
                    <a:pt x="123" y="37"/>
                  </a:cubicBezTo>
                  <a:close/>
                  <a:moveTo>
                    <a:pt x="129" y="36"/>
                  </a:moveTo>
                  <a:cubicBezTo>
                    <a:pt x="129" y="35"/>
                    <a:pt x="129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29" y="35"/>
                    <a:pt x="130" y="35"/>
                    <a:pt x="129" y="35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30" y="35"/>
                  </a:moveTo>
                  <a:cubicBezTo>
                    <a:pt x="130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4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4" y="34"/>
                  </a:cubicBezTo>
                  <a:close/>
                  <a:moveTo>
                    <a:pt x="130" y="35"/>
                  </a:moveTo>
                  <a:cubicBezTo>
                    <a:pt x="130" y="35"/>
                    <a:pt x="129" y="35"/>
                    <a:pt x="129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5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lose/>
                  <a:moveTo>
                    <a:pt x="135" y="34"/>
                  </a:move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5" y="34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5" y="34"/>
                    <a:pt x="135" y="34"/>
                  </a:cubicBezTo>
                  <a:close/>
                  <a:moveTo>
                    <a:pt x="133" y="34"/>
                  </a:move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2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6"/>
                    <a:pt x="124" y="36"/>
                    <a:pt x="125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5" y="36"/>
                    <a:pt x="126" y="36"/>
                  </a:cubicBezTo>
                  <a:cubicBezTo>
                    <a:pt x="125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8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7" y="35"/>
                    <a:pt x="126" y="35"/>
                    <a:pt x="126" y="35"/>
                  </a:cubicBezTo>
                  <a:cubicBezTo>
                    <a:pt x="126" y="36"/>
                    <a:pt x="124" y="35"/>
                    <a:pt x="123" y="36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7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1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7"/>
                    <a:pt x="120" y="37"/>
                  </a:cubicBezTo>
                  <a:cubicBezTo>
                    <a:pt x="120" y="37"/>
                    <a:pt x="120" y="37"/>
                    <a:pt x="120" y="36"/>
                  </a:cubicBezTo>
                  <a:cubicBezTo>
                    <a:pt x="120" y="37"/>
                    <a:pt x="119" y="36"/>
                    <a:pt x="119" y="37"/>
                  </a:cubicBezTo>
                  <a:close/>
                  <a:moveTo>
                    <a:pt x="116" y="37"/>
                  </a:moveTo>
                  <a:cubicBezTo>
                    <a:pt x="115" y="37"/>
                    <a:pt x="115" y="37"/>
                    <a:pt x="115" y="38"/>
                  </a:cubicBezTo>
                  <a:cubicBezTo>
                    <a:pt x="115" y="38"/>
                    <a:pt x="116" y="38"/>
                    <a:pt x="116" y="37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ubicBezTo>
                    <a:pt x="116" y="37"/>
                    <a:pt x="116" y="37"/>
                    <a:pt x="115" y="37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lose/>
                  <a:moveTo>
                    <a:pt x="122" y="36"/>
                  </a:moveTo>
                  <a:cubicBezTo>
                    <a:pt x="122" y="36"/>
                    <a:pt x="121" y="36"/>
                    <a:pt x="121" y="36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lose/>
                  <a:moveTo>
                    <a:pt x="117" y="36"/>
                  </a:move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8" y="36"/>
                    <a:pt x="117" y="36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1" y="38"/>
                  </a:cubicBezTo>
                  <a:cubicBezTo>
                    <a:pt x="111" y="38"/>
                    <a:pt x="113" y="38"/>
                    <a:pt x="112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lose/>
                  <a:moveTo>
                    <a:pt x="108" y="38"/>
                  </a:move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lose/>
                  <a:moveTo>
                    <a:pt x="107" y="38"/>
                  </a:moveTo>
                  <a:cubicBezTo>
                    <a:pt x="107" y="38"/>
                    <a:pt x="107" y="38"/>
                    <a:pt x="107" y="39"/>
                  </a:cubicBezTo>
                  <a:cubicBezTo>
                    <a:pt x="107" y="38"/>
                    <a:pt x="107" y="38"/>
                    <a:pt x="108" y="38"/>
                  </a:cubicBezTo>
                  <a:cubicBezTo>
                    <a:pt x="107" y="38"/>
                    <a:pt x="107" y="38"/>
                    <a:pt x="107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10" y="38"/>
                    <a:pt x="110" y="37"/>
                  </a:cubicBezTo>
                  <a:cubicBezTo>
                    <a:pt x="110" y="37"/>
                    <a:pt x="109" y="38"/>
                    <a:pt x="109" y="38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40"/>
                  </a:cubicBezTo>
                  <a:cubicBezTo>
                    <a:pt x="102" y="40"/>
                    <a:pt x="102" y="39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3" y="39"/>
                    <a:pt x="103" y="39"/>
                  </a:cubicBezTo>
                  <a:cubicBezTo>
                    <a:pt x="103" y="39"/>
                    <a:pt x="103" y="40"/>
                    <a:pt x="103" y="40"/>
                  </a:cubicBezTo>
                  <a:cubicBezTo>
                    <a:pt x="103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lose/>
                  <a:moveTo>
                    <a:pt x="97" y="40"/>
                  </a:move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7" y="40"/>
                    <a:pt x="96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lose/>
                  <a:moveTo>
                    <a:pt x="120" y="34"/>
                  </a:moveTo>
                  <a:cubicBezTo>
                    <a:pt x="121" y="34"/>
                    <a:pt x="121" y="34"/>
                    <a:pt x="122" y="34"/>
                  </a:cubicBezTo>
                  <a:cubicBezTo>
                    <a:pt x="121" y="34"/>
                    <a:pt x="121" y="34"/>
                    <a:pt x="120" y="34"/>
                  </a:cubicBezTo>
                  <a:close/>
                  <a:moveTo>
                    <a:pt x="145" y="27"/>
                  </a:moveTo>
                  <a:cubicBezTo>
                    <a:pt x="146" y="27"/>
                    <a:pt x="144" y="27"/>
                    <a:pt x="144" y="27"/>
                  </a:cubicBezTo>
                  <a:cubicBezTo>
                    <a:pt x="144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6" y="27"/>
                  </a:cubicBezTo>
                  <a:cubicBezTo>
                    <a:pt x="146" y="27"/>
                    <a:pt x="145" y="27"/>
                    <a:pt x="145" y="27"/>
                  </a:cubicBezTo>
                  <a:close/>
                  <a:moveTo>
                    <a:pt x="143" y="23"/>
                  </a:moveTo>
                  <a:cubicBezTo>
                    <a:pt x="143" y="23"/>
                    <a:pt x="144" y="23"/>
                    <a:pt x="144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3" y="23"/>
                  </a:cubicBezTo>
                  <a:close/>
                  <a:moveTo>
                    <a:pt x="145" y="29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8"/>
                  </a:cubicBezTo>
                  <a:cubicBezTo>
                    <a:pt x="145" y="28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lose/>
                  <a:moveTo>
                    <a:pt x="143" y="28"/>
                  </a:moveTo>
                  <a:cubicBezTo>
                    <a:pt x="144" y="28"/>
                    <a:pt x="144" y="28"/>
                    <a:pt x="145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9"/>
                    <a:pt x="144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2" y="29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8"/>
                    <a:pt x="143" y="28"/>
                    <a:pt x="143" y="28"/>
                  </a:cubicBezTo>
                  <a:close/>
                  <a:moveTo>
                    <a:pt x="145" y="30"/>
                  </a:move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6" y="30"/>
                    <a:pt x="145" y="30"/>
                    <a:pt x="145" y="30"/>
                  </a:cubicBezTo>
                  <a:close/>
                  <a:moveTo>
                    <a:pt x="143" y="23"/>
                  </a:move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2"/>
                    <a:pt x="138" y="32"/>
                  </a:cubicBezTo>
                  <a:cubicBezTo>
                    <a:pt x="139" y="31"/>
                    <a:pt x="139" y="32"/>
                    <a:pt x="139" y="31"/>
                  </a:cubicBezTo>
                  <a:cubicBezTo>
                    <a:pt x="138" y="32"/>
                    <a:pt x="139" y="31"/>
                    <a:pt x="139" y="31"/>
                  </a:cubicBezTo>
                  <a:cubicBezTo>
                    <a:pt x="138" y="31"/>
                    <a:pt x="137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7" y="31"/>
                    <a:pt x="137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1"/>
                    <a:pt x="139" y="31"/>
                    <a:pt x="139" y="31"/>
                  </a:cubicBezTo>
                  <a:cubicBezTo>
                    <a:pt x="140" y="31"/>
                    <a:pt x="141" y="31"/>
                    <a:pt x="141" y="31"/>
                  </a:cubicBezTo>
                  <a:cubicBezTo>
                    <a:pt x="141" y="31"/>
                    <a:pt x="141" y="30"/>
                    <a:pt x="142" y="31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4" y="30"/>
                    <a:pt x="144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3" y="30"/>
                  </a:cubicBezTo>
                  <a:cubicBezTo>
                    <a:pt x="143" y="30"/>
                    <a:pt x="144" y="30"/>
                    <a:pt x="144" y="30"/>
                  </a:cubicBezTo>
                  <a:cubicBezTo>
                    <a:pt x="144" y="30"/>
                    <a:pt x="143" y="31"/>
                    <a:pt x="143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2"/>
                    <a:pt x="140" y="31"/>
                    <a:pt x="140" y="32"/>
                  </a:cubicBezTo>
                  <a:cubicBezTo>
                    <a:pt x="140" y="31"/>
                    <a:pt x="139" y="32"/>
                    <a:pt x="139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8" y="32"/>
                    <a:pt x="138" y="32"/>
                    <a:pt x="137" y="32"/>
                  </a:cubicBezTo>
                  <a:cubicBezTo>
                    <a:pt x="137" y="32"/>
                    <a:pt x="138" y="32"/>
                    <a:pt x="138" y="32"/>
                  </a:cubicBezTo>
                  <a:cubicBezTo>
                    <a:pt x="138" y="32"/>
                    <a:pt x="138" y="32"/>
                    <a:pt x="138" y="31"/>
                  </a:cubicBezTo>
                  <a:close/>
                  <a:moveTo>
                    <a:pt x="141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1" y="31"/>
                  </a:cubicBezTo>
                  <a:cubicBezTo>
                    <a:pt x="140" y="31"/>
                    <a:pt x="142" y="31"/>
                    <a:pt x="141" y="31"/>
                  </a:cubicBezTo>
                  <a:close/>
                  <a:moveTo>
                    <a:pt x="142" y="26"/>
                  </a:moveTo>
                  <a:cubicBezTo>
                    <a:pt x="143" y="26"/>
                    <a:pt x="142" y="26"/>
                    <a:pt x="143" y="26"/>
                  </a:cubicBezTo>
                  <a:cubicBezTo>
                    <a:pt x="142" y="26"/>
                    <a:pt x="142" y="26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6"/>
                    <a:pt x="142" y="26"/>
                    <a:pt x="142" y="26"/>
                  </a:cubicBezTo>
                  <a:close/>
                  <a:moveTo>
                    <a:pt x="142" y="24"/>
                  </a:moveTo>
                  <a:cubicBezTo>
                    <a:pt x="141" y="24"/>
                    <a:pt x="142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2" y="24"/>
                    <a:pt x="141" y="24"/>
                    <a:pt x="141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4"/>
                    <a:pt x="141" y="24"/>
                    <a:pt x="142" y="24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0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2" y="25"/>
                  </a:cubicBezTo>
                  <a:cubicBezTo>
                    <a:pt x="142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0" y="26"/>
                  </a:cubicBezTo>
                  <a:cubicBezTo>
                    <a:pt x="140" y="26"/>
                    <a:pt x="141" y="26"/>
                    <a:pt x="141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1" y="26"/>
                  </a:cubicBezTo>
                  <a:cubicBezTo>
                    <a:pt x="140" y="26"/>
                    <a:pt x="139" y="26"/>
                    <a:pt x="138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6"/>
                    <a:pt x="140" y="25"/>
                    <a:pt x="140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8" y="26"/>
                    <a:pt x="138" y="26"/>
                    <a:pt x="137" y="26"/>
                  </a:cubicBezTo>
                  <a:cubicBezTo>
                    <a:pt x="137" y="26"/>
                    <a:pt x="137" y="26"/>
                    <a:pt x="136" y="26"/>
                  </a:cubicBezTo>
                  <a:cubicBezTo>
                    <a:pt x="137" y="26"/>
                    <a:pt x="139" y="25"/>
                    <a:pt x="140" y="25"/>
                  </a:cubicBezTo>
                  <a:cubicBezTo>
                    <a:pt x="140" y="25"/>
                    <a:pt x="141" y="25"/>
                    <a:pt x="142" y="25"/>
                  </a:cubicBezTo>
                  <a:cubicBezTo>
                    <a:pt x="142" y="25"/>
                    <a:pt x="142" y="25"/>
                    <a:pt x="141" y="25"/>
                  </a:cubicBezTo>
                  <a:cubicBezTo>
                    <a:pt x="142" y="25"/>
                    <a:pt x="141" y="25"/>
                    <a:pt x="141" y="24"/>
                  </a:cubicBezTo>
                  <a:cubicBezTo>
                    <a:pt x="141" y="24"/>
                    <a:pt x="141" y="24"/>
                    <a:pt x="142" y="24"/>
                  </a:cubicBezTo>
                  <a:cubicBezTo>
                    <a:pt x="142" y="25"/>
                    <a:pt x="142" y="25"/>
                    <a:pt x="142" y="25"/>
                  </a:cubicBezTo>
                  <a:close/>
                  <a:moveTo>
                    <a:pt x="141" y="27"/>
                  </a:move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7"/>
                    <a:pt x="141" y="27"/>
                    <a:pt x="141" y="27"/>
                  </a:cubicBezTo>
                  <a:close/>
                  <a:moveTo>
                    <a:pt x="140" y="27"/>
                  </a:moveTo>
                  <a:cubicBezTo>
                    <a:pt x="140" y="28"/>
                    <a:pt x="140" y="27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39" y="28"/>
                    <a:pt x="140" y="28"/>
                    <a:pt x="140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40" y="28"/>
                    <a:pt x="140" y="27"/>
                    <a:pt x="140" y="27"/>
                  </a:cubicBezTo>
                  <a:close/>
                  <a:moveTo>
                    <a:pt x="139" y="27"/>
                  </a:move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7"/>
                    <a:pt x="139" y="27"/>
                    <a:pt x="139" y="27"/>
                  </a:cubicBezTo>
                  <a:close/>
                  <a:moveTo>
                    <a:pt x="139" y="33"/>
                  </a:moveTo>
                  <a:cubicBezTo>
                    <a:pt x="139" y="33"/>
                    <a:pt x="139" y="33"/>
                    <a:pt x="139" y="33"/>
                  </a:cubicBezTo>
                  <a:cubicBezTo>
                    <a:pt x="138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40" y="32"/>
                    <a:pt x="140" y="3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lose/>
                  <a:moveTo>
                    <a:pt x="137" y="29"/>
                  </a:move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30"/>
                  </a:cubicBezTo>
                  <a:cubicBezTo>
                    <a:pt x="136" y="30"/>
                    <a:pt x="136" y="29"/>
                    <a:pt x="136" y="30"/>
                  </a:cubicBezTo>
                  <a:cubicBezTo>
                    <a:pt x="136" y="30"/>
                    <a:pt x="136" y="29"/>
                    <a:pt x="136" y="29"/>
                  </a:cubicBezTo>
                  <a:cubicBezTo>
                    <a:pt x="136" y="29"/>
                    <a:pt x="136" y="29"/>
                    <a:pt x="137" y="29"/>
                  </a:cubicBezTo>
                  <a:cubicBezTo>
                    <a:pt x="137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5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7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9" y="28"/>
                    <a:pt x="138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28"/>
                    <a:pt x="137" y="29"/>
                    <a:pt x="137" y="29"/>
                  </a:cubicBezTo>
                  <a:close/>
                  <a:moveTo>
                    <a:pt x="136" y="28"/>
                  </a:moveTo>
                  <a:cubicBezTo>
                    <a:pt x="137" y="28"/>
                    <a:pt x="137" y="28"/>
                    <a:pt x="137" y="27"/>
                  </a:cubicBezTo>
                  <a:cubicBezTo>
                    <a:pt x="137" y="28"/>
                    <a:pt x="137" y="28"/>
                    <a:pt x="138" y="27"/>
                  </a:cubicBezTo>
                  <a:cubicBezTo>
                    <a:pt x="138" y="27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6" y="28"/>
                    <a:pt x="136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2" y="27"/>
                  </a:move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1" y="26"/>
                  </a:moveTo>
                  <a:cubicBezTo>
                    <a:pt x="132" y="26"/>
                    <a:pt x="132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5" y="25"/>
                    <a:pt x="135" y="25"/>
                  </a:cubicBezTo>
                  <a:cubicBezTo>
                    <a:pt x="135" y="25"/>
                    <a:pt x="134" y="25"/>
                    <a:pt x="134" y="26"/>
                  </a:cubicBezTo>
                  <a:cubicBezTo>
                    <a:pt x="134" y="26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4" y="26"/>
                    <a:pt x="135" y="26"/>
                  </a:cubicBezTo>
                  <a:cubicBezTo>
                    <a:pt x="135" y="26"/>
                    <a:pt x="134" y="26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3" y="26"/>
                    <a:pt x="132" y="26"/>
                    <a:pt x="132" y="26"/>
                  </a:cubicBezTo>
                  <a:cubicBezTo>
                    <a:pt x="132" y="26"/>
                    <a:pt x="131" y="27"/>
                    <a:pt x="131" y="26"/>
                  </a:cubicBezTo>
                  <a:close/>
                  <a:moveTo>
                    <a:pt x="133" y="26"/>
                  </a:moveTo>
                  <a:cubicBezTo>
                    <a:pt x="133" y="26"/>
                    <a:pt x="134" y="26"/>
                    <a:pt x="134" y="26"/>
                  </a:cubicBezTo>
                  <a:cubicBezTo>
                    <a:pt x="134" y="26"/>
                    <a:pt x="133" y="26"/>
                    <a:pt x="133" y="26"/>
                  </a:cubicBezTo>
                  <a:close/>
                  <a:moveTo>
                    <a:pt x="136" y="29"/>
                  </a:move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6" y="29"/>
                    <a:pt x="136" y="29"/>
                  </a:cubicBezTo>
                  <a:close/>
                  <a:moveTo>
                    <a:pt x="133" y="28"/>
                  </a:moveTo>
                  <a:cubicBezTo>
                    <a:pt x="133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4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8"/>
                    <a:pt x="135" y="29"/>
                    <a:pt x="134" y="29"/>
                  </a:cubicBezTo>
                  <a:cubicBezTo>
                    <a:pt x="134" y="29"/>
                    <a:pt x="134" y="29"/>
                    <a:pt x="135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3" y="29"/>
                  </a:cubicBezTo>
                  <a:cubicBezTo>
                    <a:pt x="132" y="29"/>
                    <a:pt x="133" y="30"/>
                    <a:pt x="132" y="30"/>
                  </a:cubicBezTo>
                  <a:cubicBezTo>
                    <a:pt x="132" y="30"/>
                    <a:pt x="132" y="30"/>
                    <a:pt x="132" y="29"/>
                  </a:cubicBezTo>
                  <a:cubicBezTo>
                    <a:pt x="132" y="29"/>
                    <a:pt x="131" y="30"/>
                    <a:pt x="131" y="30"/>
                  </a:cubicBezTo>
                  <a:cubicBezTo>
                    <a:pt x="130" y="30"/>
                    <a:pt x="131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29" y="30"/>
                    <a:pt x="129" y="30"/>
                  </a:cubicBezTo>
                  <a:cubicBezTo>
                    <a:pt x="129" y="30"/>
                    <a:pt x="130" y="30"/>
                    <a:pt x="130" y="29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1" y="30"/>
                    <a:pt x="131" y="29"/>
                    <a:pt x="131" y="29"/>
                  </a:cubicBezTo>
                  <a:cubicBezTo>
                    <a:pt x="132" y="29"/>
                    <a:pt x="131" y="29"/>
                    <a:pt x="131" y="29"/>
                  </a:cubicBezTo>
                  <a:cubicBezTo>
                    <a:pt x="132" y="29"/>
                    <a:pt x="133" y="29"/>
                    <a:pt x="134" y="29"/>
                  </a:cubicBezTo>
                  <a:cubicBezTo>
                    <a:pt x="134" y="29"/>
                    <a:pt x="134" y="28"/>
                    <a:pt x="133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3" y="26"/>
                    <a:pt x="134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3" y="27"/>
                  </a:moveTo>
                  <a:cubicBezTo>
                    <a:pt x="133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lose/>
                  <a:moveTo>
                    <a:pt x="134" y="32"/>
                  </a:moveTo>
                  <a:cubicBezTo>
                    <a:pt x="134" y="32"/>
                    <a:pt x="135" y="32"/>
                    <a:pt x="135" y="32"/>
                  </a:cubicBezTo>
                  <a:cubicBezTo>
                    <a:pt x="135" y="32"/>
                    <a:pt x="135" y="32"/>
                    <a:pt x="136" y="32"/>
                  </a:cubicBezTo>
                  <a:cubicBezTo>
                    <a:pt x="135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lose/>
                  <a:moveTo>
                    <a:pt x="132" y="30"/>
                  </a:moveTo>
                  <a:cubicBezTo>
                    <a:pt x="133" y="30"/>
                    <a:pt x="133" y="30"/>
                    <a:pt x="132" y="30"/>
                  </a:cubicBezTo>
                  <a:cubicBezTo>
                    <a:pt x="133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5" y="30"/>
                    <a:pt x="134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4" y="30"/>
                    <a:pt x="134" y="30"/>
                    <a:pt x="133" y="30"/>
                  </a:cubicBezTo>
                  <a:cubicBezTo>
                    <a:pt x="134" y="30"/>
                    <a:pt x="132" y="31"/>
                    <a:pt x="131" y="31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4" y="31"/>
                  </a:move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5" y="31"/>
                    <a:pt x="135" y="32"/>
                  </a:cubicBezTo>
                  <a:cubicBezTo>
                    <a:pt x="134" y="32"/>
                    <a:pt x="134" y="32"/>
                    <a:pt x="133" y="32"/>
                  </a:cubicBezTo>
                  <a:cubicBezTo>
                    <a:pt x="133" y="32"/>
                    <a:pt x="134" y="32"/>
                    <a:pt x="134" y="32"/>
                  </a:cubicBezTo>
                  <a:cubicBezTo>
                    <a:pt x="134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4" y="31"/>
                  </a:cubicBezTo>
                  <a:close/>
                  <a:moveTo>
                    <a:pt x="135" y="33"/>
                  </a:moveTo>
                  <a:cubicBezTo>
                    <a:pt x="135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5" y="33"/>
                  </a:cubicBezTo>
                  <a:close/>
                  <a:moveTo>
                    <a:pt x="132" y="28"/>
                  </a:moveTo>
                  <a:cubicBezTo>
                    <a:pt x="133" y="27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3" y="28"/>
                    <a:pt x="132" y="28"/>
                  </a:cubicBezTo>
                  <a:close/>
                  <a:moveTo>
                    <a:pt x="130" y="33"/>
                  </a:moveTo>
                  <a:cubicBezTo>
                    <a:pt x="130" y="32"/>
                    <a:pt x="129" y="33"/>
                    <a:pt x="129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1" y="32"/>
                    <a:pt x="131" y="32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32" y="32"/>
                    <a:pt x="132" y="32"/>
                    <a:pt x="133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1" y="32"/>
                    <a:pt x="131" y="33"/>
                  </a:cubicBezTo>
                  <a:cubicBezTo>
                    <a:pt x="130" y="33"/>
                    <a:pt x="129" y="33"/>
                    <a:pt x="129" y="33"/>
                  </a:cubicBezTo>
                  <a:cubicBezTo>
                    <a:pt x="129" y="33"/>
                    <a:pt x="130" y="33"/>
                    <a:pt x="130" y="33"/>
                  </a:cubicBezTo>
                  <a:close/>
                  <a:moveTo>
                    <a:pt x="132" y="28"/>
                  </a:moveTo>
                  <a:cubicBezTo>
                    <a:pt x="132" y="28"/>
                    <a:pt x="132" y="28"/>
                    <a:pt x="132" y="27"/>
                  </a:cubicBezTo>
                  <a:cubicBezTo>
                    <a:pt x="132" y="27"/>
                    <a:pt x="131" y="28"/>
                    <a:pt x="131" y="28"/>
                  </a:cubicBezTo>
                  <a:cubicBezTo>
                    <a:pt x="131" y="28"/>
                    <a:pt x="131" y="27"/>
                    <a:pt x="131" y="27"/>
                  </a:cubicBezTo>
                  <a:cubicBezTo>
                    <a:pt x="130" y="28"/>
                    <a:pt x="130" y="28"/>
                    <a:pt x="129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7" y="29"/>
                  </a:cubicBezTo>
                  <a:cubicBezTo>
                    <a:pt x="126" y="28"/>
                    <a:pt x="127" y="28"/>
                    <a:pt x="128" y="28"/>
                  </a:cubicBezTo>
                  <a:cubicBezTo>
                    <a:pt x="129" y="28"/>
                    <a:pt x="130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lose/>
                  <a:moveTo>
                    <a:pt x="130" y="32"/>
                  </a:moveTo>
                  <a:cubicBezTo>
                    <a:pt x="130" y="32"/>
                    <a:pt x="131" y="32"/>
                    <a:pt x="130" y="32"/>
                  </a:cubicBezTo>
                  <a:cubicBezTo>
                    <a:pt x="130" y="32"/>
                    <a:pt x="130" y="32"/>
                    <a:pt x="129" y="32"/>
                  </a:cubicBezTo>
                  <a:cubicBezTo>
                    <a:pt x="130" y="32"/>
                    <a:pt x="132" y="31"/>
                    <a:pt x="133" y="31"/>
                  </a:cubicBezTo>
                  <a:cubicBezTo>
                    <a:pt x="132" y="32"/>
                    <a:pt x="131" y="32"/>
                    <a:pt x="130" y="32"/>
                  </a:cubicBezTo>
                  <a:close/>
                  <a:moveTo>
                    <a:pt x="130" y="27"/>
                  </a:moveTo>
                  <a:cubicBezTo>
                    <a:pt x="130" y="27"/>
                    <a:pt x="130" y="27"/>
                    <a:pt x="131" y="27"/>
                  </a:cubicBezTo>
                  <a:cubicBezTo>
                    <a:pt x="130" y="27"/>
                    <a:pt x="130" y="27"/>
                    <a:pt x="130" y="27"/>
                  </a:cubicBezTo>
                  <a:close/>
                  <a:moveTo>
                    <a:pt x="130" y="34"/>
                  </a:move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7" y="30"/>
                  </a:cubicBezTo>
                  <a:cubicBezTo>
                    <a:pt x="128" y="30"/>
                    <a:pt x="126" y="31"/>
                    <a:pt x="126" y="31"/>
                  </a:cubicBezTo>
                  <a:cubicBezTo>
                    <a:pt x="126" y="31"/>
                    <a:pt x="127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lose/>
                  <a:moveTo>
                    <a:pt x="126" y="27"/>
                  </a:moveTo>
                  <a:cubicBezTo>
                    <a:pt x="126" y="27"/>
                    <a:pt x="126" y="27"/>
                    <a:pt x="126" y="27"/>
                  </a:cubicBezTo>
                  <a:cubicBezTo>
                    <a:pt x="126" y="27"/>
                    <a:pt x="126" y="27"/>
                    <a:pt x="125" y="27"/>
                  </a:cubicBezTo>
                  <a:cubicBezTo>
                    <a:pt x="125" y="27"/>
                    <a:pt x="126" y="27"/>
                    <a:pt x="126" y="27"/>
                  </a:cubicBezTo>
                  <a:close/>
                  <a:moveTo>
                    <a:pt x="127" y="30"/>
                  </a:moveTo>
                  <a:cubicBezTo>
                    <a:pt x="127" y="30"/>
                    <a:pt x="127" y="30"/>
                    <a:pt x="126" y="30"/>
                  </a:cubicBezTo>
                  <a:cubicBezTo>
                    <a:pt x="126" y="30"/>
                    <a:pt x="127" y="30"/>
                    <a:pt x="127" y="30"/>
                  </a:cubicBezTo>
                  <a:close/>
                  <a:moveTo>
                    <a:pt x="126" y="38"/>
                  </a:moveTo>
                  <a:cubicBezTo>
                    <a:pt x="126" y="37"/>
                    <a:pt x="125" y="38"/>
                    <a:pt x="125" y="38"/>
                  </a:cubicBezTo>
                  <a:cubicBezTo>
                    <a:pt x="125" y="38"/>
                    <a:pt x="125" y="38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3" y="38"/>
                    <a:pt x="123" y="38"/>
                  </a:cubicBezTo>
                  <a:cubicBezTo>
                    <a:pt x="124" y="38"/>
                    <a:pt x="124" y="37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1" y="30"/>
                  </a:moveTo>
                  <a:cubicBezTo>
                    <a:pt x="122" y="30"/>
                    <a:pt x="122" y="30"/>
                    <a:pt x="122" y="29"/>
                  </a:cubicBezTo>
                  <a:cubicBezTo>
                    <a:pt x="122" y="30"/>
                    <a:pt x="122" y="29"/>
                    <a:pt x="123" y="29"/>
                  </a:cubicBezTo>
                  <a:cubicBezTo>
                    <a:pt x="123" y="29"/>
                    <a:pt x="123" y="30"/>
                    <a:pt x="122" y="29"/>
                  </a:cubicBezTo>
                  <a:cubicBezTo>
                    <a:pt x="122" y="30"/>
                    <a:pt x="122" y="30"/>
                    <a:pt x="123" y="30"/>
                  </a:cubicBezTo>
                  <a:cubicBezTo>
                    <a:pt x="122" y="30"/>
                    <a:pt x="122" y="30"/>
                    <a:pt x="121" y="30"/>
                  </a:cubicBezTo>
                  <a:close/>
                  <a:moveTo>
                    <a:pt x="122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lose/>
                  <a:moveTo>
                    <a:pt x="118" y="29"/>
                  </a:move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8" y="29"/>
                    <a:pt x="117" y="29"/>
                  </a:cubicBezTo>
                  <a:cubicBezTo>
                    <a:pt x="118" y="29"/>
                    <a:pt x="120" y="29"/>
                    <a:pt x="121" y="28"/>
                  </a:cubicBezTo>
                  <a:cubicBezTo>
                    <a:pt x="121" y="28"/>
                    <a:pt x="121" y="28"/>
                    <a:pt x="120" y="29"/>
                  </a:cubicBez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0" y="29"/>
                    <a:pt x="120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29"/>
                    <a:pt x="119" y="29"/>
                  </a:cubicBezTo>
                  <a:cubicBezTo>
                    <a:pt x="119" y="29"/>
                    <a:pt x="118" y="29"/>
                    <a:pt x="118" y="29"/>
                  </a:cubicBezTo>
                  <a:close/>
                  <a:moveTo>
                    <a:pt x="121" y="30"/>
                  </a:moveTo>
                  <a:cubicBezTo>
                    <a:pt x="121" y="30"/>
                    <a:pt x="121" y="30"/>
                    <a:pt x="120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2" y="30"/>
                    <a:pt x="121" y="30"/>
                    <a:pt x="121" y="30"/>
                  </a:cubicBezTo>
                  <a:close/>
                  <a:moveTo>
                    <a:pt x="116" y="32"/>
                  </a:moveTo>
                  <a:cubicBezTo>
                    <a:pt x="118" y="31"/>
                    <a:pt x="119" y="31"/>
                    <a:pt x="120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20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20" y="32"/>
                    <a:pt x="120" y="31"/>
                    <a:pt x="120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1"/>
                    <a:pt x="120" y="32"/>
                  </a:cubicBezTo>
                  <a:cubicBezTo>
                    <a:pt x="120" y="32"/>
                    <a:pt x="121" y="32"/>
                    <a:pt x="121" y="32"/>
                  </a:cubicBezTo>
                  <a:cubicBezTo>
                    <a:pt x="120" y="32"/>
                    <a:pt x="120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7" y="32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5" y="33"/>
                    <a:pt x="114" y="33"/>
                  </a:cubicBezTo>
                  <a:cubicBezTo>
                    <a:pt x="114" y="33"/>
                    <a:pt x="115" y="33"/>
                    <a:pt x="115" y="33"/>
                  </a:cubicBezTo>
                  <a:cubicBezTo>
                    <a:pt x="115" y="32"/>
                    <a:pt x="115" y="32"/>
                    <a:pt x="115" y="33"/>
                  </a:cubicBezTo>
                  <a:cubicBezTo>
                    <a:pt x="115" y="32"/>
                    <a:pt x="116" y="32"/>
                    <a:pt x="116" y="32"/>
                  </a:cubicBezTo>
                  <a:cubicBezTo>
                    <a:pt x="116" y="32"/>
                    <a:pt x="117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7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lose/>
                  <a:moveTo>
                    <a:pt x="120" y="30"/>
                  </a:move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1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lose/>
                  <a:moveTo>
                    <a:pt x="118" y="33"/>
                  </a:move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7" y="33"/>
                    <a:pt x="118" y="33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7" y="33"/>
                    <a:pt x="118" y="33"/>
                  </a:cubicBezTo>
                  <a:close/>
                  <a:moveTo>
                    <a:pt x="113" y="37"/>
                  </a:moveTo>
                  <a:cubicBezTo>
                    <a:pt x="113" y="37"/>
                    <a:pt x="113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3" y="37"/>
                    <a:pt x="113" y="37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2"/>
                  </a:cubicBezTo>
                  <a:cubicBezTo>
                    <a:pt x="109" y="32"/>
                    <a:pt x="109" y="33"/>
                    <a:pt x="108" y="33"/>
                  </a:cubicBezTo>
                  <a:cubicBezTo>
                    <a:pt x="109" y="32"/>
                    <a:pt x="107" y="33"/>
                    <a:pt x="107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8" y="32"/>
                    <a:pt x="109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1" y="32"/>
                    <a:pt x="110" y="32"/>
                    <a:pt x="111" y="32"/>
                  </a:cubicBezTo>
                  <a:cubicBezTo>
                    <a:pt x="110" y="32"/>
                    <a:pt x="109" y="33"/>
                    <a:pt x="109" y="33"/>
                  </a:cubicBezTo>
                  <a:close/>
                  <a:moveTo>
                    <a:pt x="109" y="32"/>
                  </a:moveTo>
                  <a:cubicBezTo>
                    <a:pt x="109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2"/>
                    <a:pt x="109" y="32"/>
                  </a:cubicBezTo>
                  <a:close/>
                  <a:moveTo>
                    <a:pt x="110" y="42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7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5" y="38"/>
                    <a:pt x="106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4" y="38"/>
                    <a:pt x="103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5" y="37"/>
                    <a:pt x="106" y="37"/>
                  </a:cubicBezTo>
                  <a:close/>
                  <a:moveTo>
                    <a:pt x="109" y="37"/>
                  </a:move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7" y="37"/>
                  </a:cubicBezTo>
                  <a:cubicBezTo>
                    <a:pt x="108" y="37"/>
                    <a:pt x="108" y="37"/>
                    <a:pt x="109" y="37"/>
                  </a:cubicBezTo>
                  <a:close/>
                  <a:moveTo>
                    <a:pt x="108" y="42"/>
                  </a:move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9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2"/>
                    <a:pt x="107" y="42"/>
                    <a:pt x="106" y="42"/>
                  </a:cubicBezTo>
                  <a:cubicBezTo>
                    <a:pt x="107" y="42"/>
                    <a:pt x="108" y="42"/>
                    <a:pt x="108" y="42"/>
                  </a:cubicBezTo>
                  <a:close/>
                  <a:moveTo>
                    <a:pt x="105" y="33"/>
                  </a:moveTo>
                  <a:cubicBezTo>
                    <a:pt x="105" y="33"/>
                    <a:pt x="104" y="33"/>
                    <a:pt x="104" y="34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3" y="33"/>
                  </a:cubicBezTo>
                  <a:cubicBezTo>
                    <a:pt x="103" y="33"/>
                    <a:pt x="104" y="33"/>
                    <a:pt x="104" y="33"/>
                  </a:cubicBezTo>
                  <a:cubicBezTo>
                    <a:pt x="104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6" y="33"/>
                    <a:pt x="105" y="33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8" y="43"/>
                  </a:cubicBezTo>
                  <a:cubicBezTo>
                    <a:pt x="108" y="43"/>
                    <a:pt x="107" y="43"/>
                    <a:pt x="107" y="43"/>
                  </a:cubicBezTo>
                  <a:close/>
                  <a:moveTo>
                    <a:pt x="98" y="43"/>
                  </a:move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8" y="43"/>
                    <a:pt x="99" y="43"/>
                    <a:pt x="99" y="43"/>
                  </a:cubicBezTo>
                  <a:cubicBezTo>
                    <a:pt x="99" y="43"/>
                    <a:pt x="98" y="43"/>
                    <a:pt x="98" y="43"/>
                  </a:cubicBezTo>
                  <a:close/>
                  <a:moveTo>
                    <a:pt x="91" y="44"/>
                  </a:moveTo>
                  <a:cubicBezTo>
                    <a:pt x="91" y="44"/>
                    <a:pt x="92" y="44"/>
                    <a:pt x="92" y="44"/>
                  </a:cubicBezTo>
                  <a:cubicBezTo>
                    <a:pt x="92" y="44"/>
                    <a:pt x="92" y="44"/>
                    <a:pt x="93" y="43"/>
                  </a:cubicBezTo>
                  <a:cubicBezTo>
                    <a:pt x="93" y="44"/>
                    <a:pt x="92" y="44"/>
                    <a:pt x="93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2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97" y="44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4"/>
                    <a:pt x="97" y="44"/>
                  </a:cubicBezTo>
                  <a:cubicBezTo>
                    <a:pt x="97" y="44"/>
                    <a:pt x="96" y="44"/>
                    <a:pt x="97" y="44"/>
                  </a:cubicBezTo>
                  <a:close/>
                  <a:moveTo>
                    <a:pt x="92" y="43"/>
                  </a:moveTo>
                  <a:cubicBezTo>
                    <a:pt x="92" y="42"/>
                    <a:pt x="92" y="42"/>
                    <a:pt x="93" y="42"/>
                  </a:cubicBezTo>
                  <a:cubicBezTo>
                    <a:pt x="93" y="42"/>
                    <a:pt x="92" y="42"/>
                    <a:pt x="92" y="42"/>
                  </a:cubicBezTo>
                  <a:cubicBezTo>
                    <a:pt x="92" y="43"/>
                    <a:pt x="92" y="42"/>
                    <a:pt x="93" y="42"/>
                  </a:cubicBezTo>
                  <a:cubicBezTo>
                    <a:pt x="92" y="43"/>
                    <a:pt x="92" y="43"/>
                    <a:pt x="92" y="43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90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3"/>
                  </a:cubicBezTo>
                  <a:cubicBezTo>
                    <a:pt x="89" y="43"/>
                    <a:pt x="88" y="44"/>
                    <a:pt x="88" y="44"/>
                  </a:cubicBezTo>
                  <a:cubicBezTo>
                    <a:pt x="88" y="44"/>
                    <a:pt x="88" y="43"/>
                    <a:pt x="89" y="43"/>
                  </a:cubicBezTo>
                  <a:cubicBezTo>
                    <a:pt x="89" y="43"/>
                    <a:pt x="89" y="43"/>
                    <a:pt x="88" y="43"/>
                  </a:cubicBezTo>
                  <a:cubicBezTo>
                    <a:pt x="89" y="43"/>
                    <a:pt x="89" y="43"/>
                    <a:pt x="90" y="43"/>
                  </a:cubicBezTo>
                  <a:cubicBezTo>
                    <a:pt x="90" y="43"/>
                    <a:pt x="89" y="43"/>
                    <a:pt x="90" y="43"/>
                  </a:cubicBezTo>
                  <a:cubicBezTo>
                    <a:pt x="90" y="43"/>
                    <a:pt x="90" y="43"/>
                    <a:pt x="91" y="43"/>
                  </a:cubicBezTo>
                  <a:cubicBezTo>
                    <a:pt x="90" y="43"/>
                    <a:pt x="90" y="43"/>
                    <a:pt x="89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91" y="43"/>
                    <a:pt x="91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1" y="43"/>
                    <a:pt x="90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3" y="43"/>
                    <a:pt x="92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4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5" y="42"/>
                    <a:pt x="95" y="42"/>
                  </a:cubicBezTo>
                  <a:cubicBezTo>
                    <a:pt x="95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2" y="43"/>
                    <a:pt x="92" y="43"/>
                    <a:pt x="92" y="44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0" y="44"/>
                    <a:pt x="90" y="43"/>
                  </a:cubicBezTo>
                  <a:cubicBezTo>
                    <a:pt x="90" y="44"/>
                    <a:pt x="90" y="44"/>
                    <a:pt x="89" y="44"/>
                  </a:cubicBezTo>
                  <a:close/>
                  <a:moveTo>
                    <a:pt x="93" y="43"/>
                  </a:move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lose/>
                  <a:moveTo>
                    <a:pt x="97" y="43"/>
                  </a:moveTo>
                  <a:cubicBezTo>
                    <a:pt x="96" y="44"/>
                    <a:pt x="96" y="43"/>
                    <a:pt x="96" y="43"/>
                  </a:cubicBezTo>
                  <a:cubicBezTo>
                    <a:pt x="96" y="43"/>
                    <a:pt x="97" y="43"/>
                    <a:pt x="97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3" y="42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3" y="42"/>
                    <a:pt x="94" y="42"/>
                    <a:pt x="94" y="42"/>
                  </a:cubicBezTo>
                  <a:cubicBezTo>
                    <a:pt x="94" y="42"/>
                    <a:pt x="95" y="41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5" y="45"/>
                  </a:moveTo>
                  <a:cubicBezTo>
                    <a:pt x="95" y="45"/>
                    <a:pt x="94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5" y="45"/>
                    <a:pt x="94" y="45"/>
                  </a:cubicBezTo>
                  <a:cubicBezTo>
                    <a:pt x="94" y="45"/>
                    <a:pt x="95" y="45"/>
                    <a:pt x="95" y="45"/>
                  </a:cubicBezTo>
                  <a:close/>
                  <a:moveTo>
                    <a:pt x="92" y="39"/>
                  </a:move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39"/>
                    <a:pt x="92" y="40"/>
                    <a:pt x="92" y="39"/>
                  </a:cubicBezTo>
                  <a:close/>
                  <a:moveTo>
                    <a:pt x="95" y="45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6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5" y="45"/>
                  </a:cubicBezTo>
                  <a:close/>
                  <a:moveTo>
                    <a:pt x="93" y="45"/>
                  </a:moveTo>
                  <a:cubicBezTo>
                    <a:pt x="93" y="45"/>
                    <a:pt x="93" y="45"/>
                    <a:pt x="92" y="45"/>
                  </a:cubicBezTo>
                  <a:cubicBezTo>
                    <a:pt x="92" y="45"/>
                    <a:pt x="93" y="45"/>
                    <a:pt x="92" y="45"/>
                  </a:cubicBezTo>
                  <a:cubicBezTo>
                    <a:pt x="92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lose/>
                  <a:moveTo>
                    <a:pt x="89" y="46"/>
                  </a:moveTo>
                  <a:cubicBezTo>
                    <a:pt x="89" y="46"/>
                    <a:pt x="88" y="46"/>
                    <a:pt x="88" y="46"/>
                  </a:cubicBezTo>
                  <a:cubicBezTo>
                    <a:pt x="89" y="46"/>
                    <a:pt x="90" y="45"/>
                    <a:pt x="90" y="45"/>
                  </a:cubicBezTo>
                  <a:cubicBezTo>
                    <a:pt x="90" y="45"/>
                    <a:pt x="92" y="45"/>
                    <a:pt x="9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0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9" y="46"/>
                    <a:pt x="89" y="46"/>
                  </a:cubicBezTo>
                  <a:cubicBezTo>
                    <a:pt x="89" y="46"/>
                    <a:pt x="88" y="46"/>
                    <a:pt x="88" y="46"/>
                  </a:cubicBezTo>
                  <a:cubicBezTo>
                    <a:pt x="87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6" y="46"/>
                  </a:cubicBezTo>
                  <a:cubicBezTo>
                    <a:pt x="87" y="46"/>
                    <a:pt x="88" y="46"/>
                    <a:pt x="89" y="46"/>
                  </a:cubicBezTo>
                  <a:close/>
                  <a:moveTo>
                    <a:pt x="88" y="45"/>
                  </a:moveTo>
                  <a:cubicBezTo>
                    <a:pt x="88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5"/>
                    <a:pt x="86" y="45"/>
                  </a:cubicBezTo>
                  <a:cubicBezTo>
                    <a:pt x="87" y="45"/>
                    <a:pt x="87" y="45"/>
                    <a:pt x="88" y="45"/>
                  </a:cubicBezTo>
                  <a:close/>
                  <a:moveTo>
                    <a:pt x="90" y="44"/>
                  </a:moveTo>
                  <a:cubicBezTo>
                    <a:pt x="90" y="44"/>
                    <a:pt x="89" y="44"/>
                    <a:pt x="89" y="45"/>
                  </a:cubicBezTo>
                  <a:cubicBezTo>
                    <a:pt x="89" y="45"/>
                    <a:pt x="89" y="44"/>
                    <a:pt x="89" y="45"/>
                  </a:cubicBezTo>
                  <a:cubicBezTo>
                    <a:pt x="89" y="44"/>
                    <a:pt x="90" y="44"/>
                    <a:pt x="90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8" y="45"/>
                    <a:pt x="88" y="45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88" y="45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lose/>
                  <a:moveTo>
                    <a:pt x="89" y="45"/>
                  </a:move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8" y="45"/>
                    <a:pt x="88" y="45"/>
                  </a:cubicBezTo>
                  <a:lnTo>
                    <a:pt x="89" y="45"/>
                  </a:lnTo>
                  <a:close/>
                  <a:moveTo>
                    <a:pt x="86" y="45"/>
                  </a:moveTo>
                  <a:cubicBezTo>
                    <a:pt x="86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6" y="45"/>
                    <a:pt x="86" y="44"/>
                    <a:pt x="87" y="45"/>
                  </a:cubicBezTo>
                  <a:cubicBezTo>
                    <a:pt x="87" y="44"/>
                    <a:pt x="86" y="45"/>
                    <a:pt x="86" y="45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3" y="47"/>
                    <a:pt x="84" y="47"/>
                  </a:cubicBezTo>
                  <a:cubicBezTo>
                    <a:pt x="84" y="47"/>
                    <a:pt x="84" y="48"/>
                    <a:pt x="83" y="48"/>
                  </a:cubicBezTo>
                  <a:cubicBezTo>
                    <a:pt x="83" y="47"/>
                    <a:pt x="84" y="47"/>
                    <a:pt x="84" y="47"/>
                  </a:cubicBezTo>
                  <a:close/>
                  <a:moveTo>
                    <a:pt x="83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3" y="48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8" y="46"/>
                    <a:pt x="79" y="46"/>
                  </a:cubicBezTo>
                  <a:cubicBezTo>
                    <a:pt x="79" y="46"/>
                    <a:pt x="78" y="46"/>
                    <a:pt x="78" y="46"/>
                  </a:cubicBezTo>
                  <a:close/>
                  <a:moveTo>
                    <a:pt x="78" y="46"/>
                  </a:move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6" y="46"/>
                  </a:cubicBezTo>
                  <a:cubicBezTo>
                    <a:pt x="76" y="46"/>
                    <a:pt x="77" y="46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8" y="46"/>
                    <a:pt x="78" y="46"/>
                    <a:pt x="78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1" y="49"/>
                    <a:pt x="71" y="50"/>
                  </a:cubicBezTo>
                  <a:cubicBezTo>
                    <a:pt x="70" y="50"/>
                    <a:pt x="69" y="50"/>
                    <a:pt x="70" y="50"/>
                  </a:cubicBezTo>
                  <a:cubicBezTo>
                    <a:pt x="70" y="50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lose/>
                  <a:moveTo>
                    <a:pt x="70" y="50"/>
                  </a:move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1" y="50"/>
                    <a:pt x="72" y="50"/>
                    <a:pt x="71" y="51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0" y="50"/>
                    <a:pt x="70" y="50"/>
                  </a:cubicBezTo>
                  <a:close/>
                  <a:moveTo>
                    <a:pt x="69" y="51"/>
                  </a:moveTo>
                  <a:cubicBezTo>
                    <a:pt x="69" y="51"/>
                    <a:pt x="70" y="51"/>
                    <a:pt x="70" y="50"/>
                  </a:cubicBezTo>
                  <a:cubicBezTo>
                    <a:pt x="70" y="51"/>
                    <a:pt x="69" y="51"/>
                    <a:pt x="69" y="51"/>
                  </a:cubicBezTo>
                  <a:cubicBezTo>
                    <a:pt x="69" y="51"/>
                    <a:pt x="69" y="51"/>
                    <a:pt x="68" y="51"/>
                  </a:cubicBezTo>
                  <a:cubicBezTo>
                    <a:pt x="69" y="51"/>
                    <a:pt x="69" y="51"/>
                    <a:pt x="69" y="51"/>
                  </a:cubicBezTo>
                  <a:close/>
                  <a:moveTo>
                    <a:pt x="63" y="52"/>
                  </a:moveTo>
                  <a:cubicBezTo>
                    <a:pt x="63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1" y="52"/>
                    <a:pt x="60" y="52"/>
                    <a:pt x="58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8" y="53"/>
                  </a:cubicBezTo>
                  <a:cubicBezTo>
                    <a:pt x="58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6" y="53"/>
                    <a:pt x="55" y="53"/>
                  </a:cubicBezTo>
                  <a:cubicBezTo>
                    <a:pt x="56" y="53"/>
                    <a:pt x="56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8" y="53"/>
                    <a:pt x="58" y="53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59" y="52"/>
                    <a:pt x="59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2" y="52"/>
                    <a:pt x="63" y="51"/>
                    <a:pt x="64" y="51"/>
                  </a:cubicBezTo>
                  <a:cubicBezTo>
                    <a:pt x="64" y="51"/>
                    <a:pt x="65" y="51"/>
                    <a:pt x="65" y="51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7" y="51"/>
                    <a:pt x="68" y="50"/>
                    <a:pt x="70" y="50"/>
                  </a:cubicBezTo>
                  <a:cubicBezTo>
                    <a:pt x="68" y="51"/>
                    <a:pt x="65" y="51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49"/>
                    <a:pt x="69" y="50"/>
                    <a:pt x="69" y="50"/>
                  </a:cubicBezTo>
                  <a:close/>
                  <a:moveTo>
                    <a:pt x="53" y="54"/>
                  </a:moveTo>
                  <a:cubicBezTo>
                    <a:pt x="55" y="54"/>
                    <a:pt x="57" y="54"/>
                    <a:pt x="59" y="53"/>
                  </a:cubicBezTo>
                  <a:cubicBezTo>
                    <a:pt x="57" y="54"/>
                    <a:pt x="55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7" y="55"/>
                  </a:cubicBezTo>
                  <a:cubicBezTo>
                    <a:pt x="47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39" y="58"/>
                  </a:moveTo>
                  <a:cubicBezTo>
                    <a:pt x="39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8"/>
                    <a:pt x="39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40" y="58"/>
                    <a:pt x="39" y="58"/>
                  </a:cubicBezTo>
                  <a:close/>
                  <a:moveTo>
                    <a:pt x="24" y="62"/>
                  </a:moveTo>
                  <a:cubicBezTo>
                    <a:pt x="25" y="62"/>
                    <a:pt x="26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7" y="61"/>
                    <a:pt x="27" y="61"/>
                  </a:cubicBezTo>
                  <a:cubicBezTo>
                    <a:pt x="29" y="61"/>
                    <a:pt x="30" y="60"/>
                    <a:pt x="31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1" y="60"/>
                    <a:pt x="32" y="60"/>
                    <a:pt x="32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1"/>
                    <a:pt x="30" y="60"/>
                  </a:cubicBezTo>
                  <a:cubicBezTo>
                    <a:pt x="30" y="60"/>
                    <a:pt x="30" y="60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0"/>
                    <a:pt x="30" y="61"/>
                  </a:cubicBezTo>
                  <a:cubicBezTo>
                    <a:pt x="29" y="61"/>
                    <a:pt x="30" y="60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8" y="61"/>
                    <a:pt x="29" y="61"/>
                    <a:pt x="29" y="61"/>
                  </a:cubicBez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2"/>
                  </a:cubicBezTo>
                  <a:cubicBezTo>
                    <a:pt x="27" y="61"/>
                    <a:pt x="26" y="61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5" y="62"/>
                  </a:cubicBezTo>
                  <a:cubicBezTo>
                    <a:pt x="25" y="62"/>
                    <a:pt x="26" y="62"/>
                    <a:pt x="26" y="62"/>
                  </a:cubicBezTo>
                  <a:cubicBezTo>
                    <a:pt x="25" y="62"/>
                    <a:pt x="24" y="62"/>
                    <a:pt x="23" y="63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4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4" y="62"/>
                  </a:cubicBezTo>
                  <a:close/>
                  <a:moveTo>
                    <a:pt x="32" y="59"/>
                  </a:move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2" y="59"/>
                    <a:pt x="32" y="59"/>
                  </a:cubicBezTo>
                  <a:close/>
                  <a:moveTo>
                    <a:pt x="30" y="59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1" y="59"/>
                    <a:pt x="30" y="59"/>
                  </a:cubicBezTo>
                  <a:close/>
                  <a:moveTo>
                    <a:pt x="30" y="59"/>
                  </a:moveTo>
                  <a:cubicBezTo>
                    <a:pt x="29" y="59"/>
                    <a:pt x="29" y="59"/>
                    <a:pt x="28" y="60"/>
                  </a:cubicBezTo>
                  <a:cubicBezTo>
                    <a:pt x="28" y="59"/>
                    <a:pt x="30" y="59"/>
                    <a:pt x="30" y="59"/>
                  </a:cubicBezTo>
                  <a:close/>
                  <a:moveTo>
                    <a:pt x="20" y="64"/>
                  </a:moveTo>
                  <a:cubicBezTo>
                    <a:pt x="19" y="63"/>
                    <a:pt x="20" y="63"/>
                    <a:pt x="20" y="63"/>
                  </a:cubicBezTo>
                  <a:cubicBezTo>
                    <a:pt x="20" y="63"/>
                    <a:pt x="20" y="64"/>
                    <a:pt x="20" y="64"/>
                  </a:cubicBezTo>
                  <a:close/>
                  <a:moveTo>
                    <a:pt x="17" y="62"/>
                  </a:moveTo>
                  <a:cubicBezTo>
                    <a:pt x="17" y="62"/>
                    <a:pt x="16" y="62"/>
                    <a:pt x="16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8" y="62"/>
                    <a:pt x="18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3"/>
                  </a:cubicBezTo>
                  <a:close/>
                  <a:moveTo>
                    <a:pt x="5" y="62"/>
                  </a:move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4" y="62"/>
                    <a:pt x="5" y="62"/>
                    <a:pt x="5" y="62"/>
                  </a:cubicBezTo>
                  <a:close/>
                  <a:moveTo>
                    <a:pt x="3" y="66"/>
                  </a:moveTo>
                  <a:cubicBezTo>
                    <a:pt x="3" y="66"/>
                    <a:pt x="2" y="66"/>
                    <a:pt x="2" y="66"/>
                  </a:cubicBezTo>
                  <a:cubicBezTo>
                    <a:pt x="2" y="66"/>
                    <a:pt x="2" y="66"/>
                    <a:pt x="3" y="66"/>
                  </a:cubicBezTo>
                  <a:close/>
                  <a:moveTo>
                    <a:pt x="225" y="1"/>
                  </a:moveTo>
                  <a:cubicBezTo>
                    <a:pt x="225" y="1"/>
                    <a:pt x="226" y="1"/>
                    <a:pt x="226" y="2"/>
                  </a:cubicBezTo>
                  <a:cubicBezTo>
                    <a:pt x="225" y="2"/>
                    <a:pt x="225" y="2"/>
                    <a:pt x="225" y="2"/>
                  </a:cubicBezTo>
                  <a:cubicBezTo>
                    <a:pt x="225" y="1"/>
                    <a:pt x="224" y="2"/>
                    <a:pt x="225" y="1"/>
                  </a:cubicBezTo>
                  <a:close/>
                  <a:moveTo>
                    <a:pt x="193" y="12"/>
                  </a:moveTo>
                  <a:cubicBezTo>
                    <a:pt x="193" y="12"/>
                    <a:pt x="193" y="12"/>
                    <a:pt x="193" y="12"/>
                  </a:cubicBezTo>
                  <a:cubicBezTo>
                    <a:pt x="193" y="12"/>
                    <a:pt x="193" y="12"/>
                    <a:pt x="192" y="12"/>
                  </a:cubicBezTo>
                  <a:cubicBezTo>
                    <a:pt x="192" y="12"/>
                    <a:pt x="193" y="12"/>
                    <a:pt x="193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4" y="14"/>
                    <a:pt x="194" y="14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3" y="14"/>
                    <a:pt x="193" y="14"/>
                    <a:pt x="194" y="14"/>
                  </a:cubicBezTo>
                  <a:close/>
                  <a:moveTo>
                    <a:pt x="191" y="14"/>
                  </a:moveTo>
                  <a:cubicBezTo>
                    <a:pt x="191" y="14"/>
                    <a:pt x="191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1" y="14"/>
                    <a:pt x="191" y="14"/>
                    <a:pt x="191" y="14"/>
                  </a:cubicBezTo>
                  <a:cubicBezTo>
                    <a:pt x="191" y="14"/>
                    <a:pt x="191" y="14"/>
                    <a:pt x="191" y="14"/>
                  </a:cubicBezTo>
                  <a:close/>
                  <a:moveTo>
                    <a:pt x="191" y="17"/>
                  </a:moveTo>
                  <a:cubicBezTo>
                    <a:pt x="191" y="17"/>
                    <a:pt x="191" y="17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0" y="18"/>
                    <a:pt x="191" y="17"/>
                    <a:pt x="191" y="17"/>
                  </a:cubicBezTo>
                  <a:cubicBezTo>
                    <a:pt x="190" y="17"/>
                    <a:pt x="190" y="17"/>
                    <a:pt x="189" y="18"/>
                  </a:cubicBezTo>
                  <a:cubicBezTo>
                    <a:pt x="190" y="17"/>
                    <a:pt x="191" y="17"/>
                    <a:pt x="191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18"/>
                    <a:pt x="191" y="17"/>
                    <a:pt x="191" y="17"/>
                  </a:cubicBezTo>
                  <a:close/>
                  <a:moveTo>
                    <a:pt x="181" y="23"/>
                  </a:move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1" y="23"/>
                  </a:cubicBezTo>
                  <a:close/>
                  <a:moveTo>
                    <a:pt x="176" y="18"/>
                  </a:moveTo>
                  <a:cubicBezTo>
                    <a:pt x="176" y="18"/>
                    <a:pt x="175" y="18"/>
                    <a:pt x="175" y="18"/>
                  </a:cubicBezTo>
                  <a:cubicBezTo>
                    <a:pt x="175" y="18"/>
                    <a:pt x="176" y="18"/>
                    <a:pt x="177" y="18"/>
                  </a:cubicBezTo>
                  <a:cubicBezTo>
                    <a:pt x="177" y="18"/>
                    <a:pt x="176" y="18"/>
                    <a:pt x="176" y="18"/>
                  </a:cubicBezTo>
                  <a:close/>
                  <a:moveTo>
                    <a:pt x="164" y="28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7"/>
                    <a:pt x="165" y="28"/>
                    <a:pt x="165" y="28"/>
                  </a:cubicBezTo>
                  <a:cubicBezTo>
                    <a:pt x="165" y="28"/>
                    <a:pt x="164" y="28"/>
                    <a:pt x="164" y="28"/>
                  </a:cubicBezTo>
                  <a:close/>
                  <a:moveTo>
                    <a:pt x="157" y="30"/>
                  </a:move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6" y="31"/>
                    <a:pt x="156" y="31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5" y="31"/>
                    <a:pt x="156" y="30"/>
                    <a:pt x="157" y="30"/>
                  </a:cubicBezTo>
                  <a:close/>
                  <a:moveTo>
                    <a:pt x="154" y="25"/>
                  </a:move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3" y="25"/>
                  </a:cubicBezTo>
                  <a:cubicBezTo>
                    <a:pt x="153" y="25"/>
                    <a:pt x="153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lnTo>
                    <a:pt x="154" y="25"/>
                  </a:lnTo>
                  <a:close/>
                  <a:moveTo>
                    <a:pt x="146" y="28"/>
                  </a:moveTo>
                  <a:cubicBezTo>
                    <a:pt x="146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9"/>
                    <a:pt x="146" y="28"/>
                    <a:pt x="146" y="28"/>
                  </a:cubicBezTo>
                  <a:close/>
                  <a:moveTo>
                    <a:pt x="139" y="25"/>
                  </a:moveTo>
                  <a:cubicBezTo>
                    <a:pt x="139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0" y="25"/>
                    <a:pt x="139" y="25"/>
                  </a:cubicBezTo>
                  <a:close/>
                  <a:moveTo>
                    <a:pt x="136" y="31"/>
                  </a:moveTo>
                  <a:cubicBezTo>
                    <a:pt x="136" y="30"/>
                    <a:pt x="137" y="30"/>
                    <a:pt x="138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29"/>
                    <a:pt x="138" y="29"/>
                    <a:pt x="139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30"/>
                    <a:pt x="139" y="29"/>
                    <a:pt x="139" y="29"/>
                  </a:cubicBezTo>
                  <a:cubicBezTo>
                    <a:pt x="139" y="29"/>
                    <a:pt x="139" y="29"/>
                    <a:pt x="140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40" y="29"/>
                    <a:pt x="140" y="29"/>
                  </a:cubicBezTo>
                  <a:cubicBezTo>
                    <a:pt x="141" y="29"/>
                    <a:pt x="140" y="29"/>
                    <a:pt x="140" y="29"/>
                  </a:cubicBezTo>
                  <a:cubicBezTo>
                    <a:pt x="140" y="29"/>
                    <a:pt x="140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8" y="30"/>
                    <a:pt x="138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6" y="31"/>
                    <a:pt x="136" y="31"/>
                  </a:cubicBezTo>
                  <a:close/>
                  <a:moveTo>
                    <a:pt x="135" y="31"/>
                  </a:moveTo>
                  <a:cubicBezTo>
                    <a:pt x="135" y="31"/>
                    <a:pt x="135" y="31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6" y="30"/>
                  </a:cubicBezTo>
                  <a:cubicBezTo>
                    <a:pt x="136" y="30"/>
                    <a:pt x="135" y="30"/>
                    <a:pt x="135" y="30"/>
                  </a:cubicBezTo>
                  <a:cubicBezTo>
                    <a:pt x="135" y="31"/>
                    <a:pt x="135" y="30"/>
                    <a:pt x="135" y="31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1" y="30"/>
                  </a:cubicBezTo>
                  <a:cubicBezTo>
                    <a:pt x="132" y="30"/>
                    <a:pt x="130" y="31"/>
                    <a:pt x="130" y="31"/>
                  </a:cubicBezTo>
                  <a:cubicBezTo>
                    <a:pt x="130" y="31"/>
                    <a:pt x="130" y="30"/>
                    <a:pt x="129" y="30"/>
                  </a:cubicBezTo>
                  <a:close/>
                  <a:moveTo>
                    <a:pt x="127" y="28"/>
                  </a:moveTo>
                  <a:cubicBezTo>
                    <a:pt x="127" y="27"/>
                    <a:pt x="128" y="27"/>
                    <a:pt x="129" y="27"/>
                  </a:cubicBezTo>
                  <a:cubicBezTo>
                    <a:pt x="129" y="27"/>
                    <a:pt x="129" y="27"/>
                    <a:pt x="129" y="28"/>
                  </a:cubicBezTo>
                  <a:cubicBezTo>
                    <a:pt x="129" y="28"/>
                    <a:pt x="129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7" y="28"/>
                    <a:pt x="126" y="28"/>
                  </a:cubicBezTo>
                  <a:cubicBezTo>
                    <a:pt x="126" y="28"/>
                    <a:pt x="127" y="28"/>
                    <a:pt x="127" y="28"/>
                  </a:cubicBezTo>
                  <a:close/>
                  <a:moveTo>
                    <a:pt x="127" y="33"/>
                  </a:moveTo>
                  <a:cubicBezTo>
                    <a:pt x="127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7" y="33"/>
                  </a:cubicBezTo>
                  <a:cubicBezTo>
                    <a:pt x="127" y="33"/>
                    <a:pt x="128" y="33"/>
                    <a:pt x="127" y="33"/>
                  </a:cubicBezTo>
                  <a:close/>
                  <a:moveTo>
                    <a:pt x="96" y="41"/>
                  </a:moveTo>
                  <a:cubicBezTo>
                    <a:pt x="96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7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1"/>
                    <a:pt x="96" y="41"/>
                    <a:pt x="96" y="41"/>
                  </a:cubicBezTo>
                  <a:close/>
                  <a:moveTo>
                    <a:pt x="86" y="45"/>
                  </a:move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6"/>
                    <a:pt x="87" y="46"/>
                  </a:cubicBezTo>
                  <a:cubicBezTo>
                    <a:pt x="87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5" y="46"/>
                    <a:pt x="85" y="46"/>
                  </a:cubicBezTo>
                  <a:cubicBezTo>
                    <a:pt x="85" y="45"/>
                    <a:pt x="85" y="46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EC41620-5008-4413-B518-30E81228FC30}"/>
                </a:ext>
              </a:extLst>
            </p:cNvPr>
            <p:cNvSpPr/>
            <p:nvPr/>
          </p:nvSpPr>
          <p:spPr bwMode="auto">
            <a:xfrm>
              <a:off x="8464551" y="3859213"/>
              <a:ext cx="406400" cy="138113"/>
            </a:xfrm>
            <a:custGeom>
              <a:avLst/>
              <a:gdLst>
                <a:gd name="T0" fmla="*/ 127 w 164"/>
                <a:gd name="T1" fmla="*/ 36 h 56"/>
                <a:gd name="T2" fmla="*/ 122 w 164"/>
                <a:gd name="T3" fmla="*/ 37 h 56"/>
                <a:gd name="T4" fmla="*/ 117 w 164"/>
                <a:gd name="T5" fmla="*/ 34 h 56"/>
                <a:gd name="T6" fmla="*/ 114 w 164"/>
                <a:gd name="T7" fmla="*/ 33 h 56"/>
                <a:gd name="T8" fmla="*/ 108 w 164"/>
                <a:gd name="T9" fmla="*/ 30 h 56"/>
                <a:gd name="T10" fmla="*/ 101 w 164"/>
                <a:gd name="T11" fmla="*/ 37 h 56"/>
                <a:gd name="T12" fmla="*/ 93 w 164"/>
                <a:gd name="T13" fmla="*/ 34 h 56"/>
                <a:gd name="T14" fmla="*/ 92 w 164"/>
                <a:gd name="T15" fmla="*/ 26 h 56"/>
                <a:gd name="T16" fmla="*/ 88 w 164"/>
                <a:gd name="T17" fmla="*/ 29 h 56"/>
                <a:gd name="T18" fmla="*/ 83 w 164"/>
                <a:gd name="T19" fmla="*/ 23 h 56"/>
                <a:gd name="T20" fmla="*/ 75 w 164"/>
                <a:gd name="T21" fmla="*/ 21 h 56"/>
                <a:gd name="T22" fmla="*/ 69 w 164"/>
                <a:gd name="T23" fmla="*/ 20 h 56"/>
                <a:gd name="T24" fmla="*/ 59 w 164"/>
                <a:gd name="T25" fmla="*/ 24 h 56"/>
                <a:gd name="T26" fmla="*/ 57 w 164"/>
                <a:gd name="T27" fmla="*/ 18 h 56"/>
                <a:gd name="T28" fmla="*/ 46 w 164"/>
                <a:gd name="T29" fmla="*/ 20 h 56"/>
                <a:gd name="T30" fmla="*/ 16 w 164"/>
                <a:gd name="T31" fmla="*/ 11 h 56"/>
                <a:gd name="T32" fmla="*/ 4 w 164"/>
                <a:gd name="T33" fmla="*/ 9 h 56"/>
                <a:gd name="T34" fmla="*/ 122 w 164"/>
                <a:gd name="T35" fmla="*/ 44 h 56"/>
                <a:gd name="T36" fmla="*/ 116 w 164"/>
                <a:gd name="T37" fmla="*/ 40 h 56"/>
                <a:gd name="T38" fmla="*/ 121 w 164"/>
                <a:gd name="T39" fmla="*/ 41 h 56"/>
                <a:gd name="T40" fmla="*/ 117 w 164"/>
                <a:gd name="T41" fmla="*/ 38 h 56"/>
                <a:gd name="T42" fmla="*/ 130 w 164"/>
                <a:gd name="T43" fmla="*/ 40 h 56"/>
                <a:gd name="T44" fmla="*/ 131 w 164"/>
                <a:gd name="T45" fmla="*/ 37 h 56"/>
                <a:gd name="T46" fmla="*/ 143 w 164"/>
                <a:gd name="T47" fmla="*/ 37 h 56"/>
                <a:gd name="T48" fmla="*/ 139 w 164"/>
                <a:gd name="T49" fmla="*/ 37 h 56"/>
                <a:gd name="T50" fmla="*/ 127 w 164"/>
                <a:gd name="T51" fmla="*/ 38 h 56"/>
                <a:gd name="T52" fmla="*/ 118 w 164"/>
                <a:gd name="T53" fmla="*/ 38 h 56"/>
                <a:gd name="T54" fmla="*/ 130 w 164"/>
                <a:gd name="T55" fmla="*/ 44 h 56"/>
                <a:gd name="T56" fmla="*/ 129 w 164"/>
                <a:gd name="T57" fmla="*/ 46 h 56"/>
                <a:gd name="T58" fmla="*/ 124 w 164"/>
                <a:gd name="T59" fmla="*/ 35 h 56"/>
                <a:gd name="T60" fmla="*/ 119 w 164"/>
                <a:gd name="T61" fmla="*/ 35 h 56"/>
                <a:gd name="T62" fmla="*/ 106 w 164"/>
                <a:gd name="T63" fmla="*/ 39 h 56"/>
                <a:gd name="T64" fmla="*/ 99 w 164"/>
                <a:gd name="T65" fmla="*/ 36 h 56"/>
                <a:gd name="T66" fmla="*/ 97 w 164"/>
                <a:gd name="T67" fmla="*/ 35 h 56"/>
                <a:gd name="T68" fmla="*/ 101 w 164"/>
                <a:gd name="T69" fmla="*/ 34 h 56"/>
                <a:gd name="T70" fmla="*/ 99 w 164"/>
                <a:gd name="T71" fmla="*/ 35 h 56"/>
                <a:gd name="T72" fmla="*/ 99 w 164"/>
                <a:gd name="T73" fmla="*/ 27 h 56"/>
                <a:gd name="T74" fmla="*/ 61 w 164"/>
                <a:gd name="T75" fmla="*/ 20 h 56"/>
                <a:gd name="T76" fmla="*/ 71 w 164"/>
                <a:gd name="T77" fmla="*/ 24 h 56"/>
                <a:gd name="T78" fmla="*/ 72 w 164"/>
                <a:gd name="T79" fmla="*/ 23 h 56"/>
                <a:gd name="T80" fmla="*/ 79 w 164"/>
                <a:gd name="T81" fmla="*/ 26 h 56"/>
                <a:gd name="T82" fmla="*/ 90 w 164"/>
                <a:gd name="T83" fmla="*/ 32 h 56"/>
                <a:gd name="T84" fmla="*/ 91 w 164"/>
                <a:gd name="T85" fmla="*/ 35 h 56"/>
                <a:gd name="T86" fmla="*/ 76 w 164"/>
                <a:gd name="T87" fmla="*/ 29 h 56"/>
                <a:gd name="T88" fmla="*/ 63 w 164"/>
                <a:gd name="T89" fmla="*/ 26 h 56"/>
                <a:gd name="T90" fmla="*/ 67 w 164"/>
                <a:gd name="T91" fmla="*/ 23 h 56"/>
                <a:gd name="T92" fmla="*/ 89 w 164"/>
                <a:gd name="T93" fmla="*/ 33 h 56"/>
                <a:gd name="T94" fmla="*/ 77 w 164"/>
                <a:gd name="T95" fmla="*/ 26 h 56"/>
                <a:gd name="T96" fmla="*/ 76 w 164"/>
                <a:gd name="T97" fmla="*/ 27 h 56"/>
                <a:gd name="T98" fmla="*/ 63 w 164"/>
                <a:gd name="T99" fmla="*/ 25 h 56"/>
                <a:gd name="T100" fmla="*/ 75 w 164"/>
                <a:gd name="T101" fmla="*/ 27 h 56"/>
                <a:gd name="T102" fmla="*/ 84 w 164"/>
                <a:gd name="T103" fmla="*/ 30 h 56"/>
                <a:gd name="T104" fmla="*/ 67 w 164"/>
                <a:gd name="T105" fmla="*/ 23 h 56"/>
                <a:gd name="T106" fmla="*/ 91 w 164"/>
                <a:gd name="T107" fmla="*/ 31 h 56"/>
                <a:gd name="T108" fmla="*/ 91 w 164"/>
                <a:gd name="T109" fmla="*/ 28 h 56"/>
                <a:gd name="T110" fmla="*/ 90 w 164"/>
                <a:gd name="T111" fmla="*/ 25 h 56"/>
                <a:gd name="T112" fmla="*/ 85 w 164"/>
                <a:gd name="T113" fmla="*/ 22 h 56"/>
                <a:gd name="T114" fmla="*/ 79 w 164"/>
                <a:gd name="T115" fmla="*/ 23 h 56"/>
                <a:gd name="T116" fmla="*/ 62 w 164"/>
                <a:gd name="T117" fmla="*/ 24 h 56"/>
                <a:gd name="T118" fmla="*/ 60 w 164"/>
                <a:gd name="T119" fmla="*/ 24 h 56"/>
                <a:gd name="T120" fmla="*/ 46 w 164"/>
                <a:gd name="T121" fmla="*/ 20 h 56"/>
                <a:gd name="T122" fmla="*/ 15 w 164"/>
                <a:gd name="T123" fmla="*/ 12 h 56"/>
                <a:gd name="T124" fmla="*/ 95 w 164"/>
                <a:gd name="T125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" h="56">
                  <a:moveTo>
                    <a:pt x="161" y="55"/>
                  </a:moveTo>
                  <a:cubicBezTo>
                    <a:pt x="161" y="55"/>
                    <a:pt x="161" y="55"/>
                    <a:pt x="161" y="55"/>
                  </a:cubicBezTo>
                  <a:cubicBezTo>
                    <a:pt x="161" y="54"/>
                    <a:pt x="161" y="55"/>
                    <a:pt x="160" y="55"/>
                  </a:cubicBezTo>
                  <a:cubicBezTo>
                    <a:pt x="160" y="54"/>
                    <a:pt x="161" y="54"/>
                    <a:pt x="161" y="55"/>
                  </a:cubicBezTo>
                  <a:close/>
                  <a:moveTo>
                    <a:pt x="152" y="3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39"/>
                  </a:cubicBezTo>
                  <a:close/>
                  <a:moveTo>
                    <a:pt x="150" y="39"/>
                  </a:moveTo>
                  <a:cubicBezTo>
                    <a:pt x="150" y="39"/>
                    <a:pt x="150" y="39"/>
                    <a:pt x="149" y="39"/>
                  </a:cubicBezTo>
                  <a:cubicBezTo>
                    <a:pt x="149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lose/>
                  <a:moveTo>
                    <a:pt x="148" y="38"/>
                  </a:moveTo>
                  <a:cubicBezTo>
                    <a:pt x="149" y="38"/>
                    <a:pt x="148" y="38"/>
                    <a:pt x="149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8" y="38"/>
                    <a:pt x="148" y="38"/>
                  </a:cubicBezTo>
                  <a:close/>
                  <a:moveTo>
                    <a:pt x="146" y="37"/>
                  </a:move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6" y="37"/>
                  </a:cubicBezTo>
                  <a:close/>
                  <a:moveTo>
                    <a:pt x="141" y="36"/>
                  </a:move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2" y="36"/>
                    <a:pt x="141" y="36"/>
                  </a:cubicBezTo>
                  <a:close/>
                  <a:moveTo>
                    <a:pt x="141" y="35"/>
                  </a:moveTo>
                  <a:cubicBezTo>
                    <a:pt x="141" y="35"/>
                    <a:pt x="141" y="35"/>
                    <a:pt x="141" y="35"/>
                  </a:cubicBezTo>
                  <a:cubicBezTo>
                    <a:pt x="141" y="36"/>
                    <a:pt x="141" y="35"/>
                    <a:pt x="141" y="35"/>
                  </a:cubicBezTo>
                  <a:close/>
                  <a:moveTo>
                    <a:pt x="139" y="36"/>
                  </a:moveTo>
                  <a:cubicBezTo>
                    <a:pt x="139" y="36"/>
                    <a:pt x="140" y="36"/>
                    <a:pt x="140" y="36"/>
                  </a:cubicBezTo>
                  <a:cubicBezTo>
                    <a:pt x="140" y="36"/>
                    <a:pt x="139" y="36"/>
                    <a:pt x="139" y="36"/>
                  </a:cubicBezTo>
                  <a:close/>
                  <a:moveTo>
                    <a:pt x="135" y="37"/>
                  </a:move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5" y="37"/>
                  </a:cubicBezTo>
                  <a:close/>
                  <a:moveTo>
                    <a:pt x="136" y="36"/>
                  </a:moveTo>
                  <a:cubicBezTo>
                    <a:pt x="136" y="36"/>
                    <a:pt x="136" y="36"/>
                    <a:pt x="135" y="36"/>
                  </a:cubicBezTo>
                  <a:cubicBezTo>
                    <a:pt x="135" y="35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lose/>
                  <a:moveTo>
                    <a:pt x="134" y="36"/>
                  </a:moveTo>
                  <a:cubicBezTo>
                    <a:pt x="134" y="35"/>
                    <a:pt x="133" y="36"/>
                    <a:pt x="133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6"/>
                  </a:cubicBezTo>
                  <a:close/>
                  <a:moveTo>
                    <a:pt x="132" y="35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2" y="35"/>
                    <a:pt x="132" y="35"/>
                  </a:cubicBezTo>
                  <a:close/>
                  <a:moveTo>
                    <a:pt x="132" y="34"/>
                  </a:moveTo>
                  <a:cubicBezTo>
                    <a:pt x="132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lose/>
                  <a:moveTo>
                    <a:pt x="132" y="34"/>
                  </a:move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9" y="40"/>
                  </a:moveTo>
                  <a:cubicBezTo>
                    <a:pt x="129" y="40"/>
                    <a:pt x="129" y="39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lose/>
                  <a:moveTo>
                    <a:pt x="130" y="36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27" y="40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40"/>
                    <a:pt x="127" y="40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8" y="36"/>
                    <a:pt x="128" y="36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0"/>
                    <a:pt x="126" y="40"/>
                  </a:cubicBezTo>
                  <a:cubicBezTo>
                    <a:pt x="126" y="39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6" y="39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7" y="36"/>
                  </a:moveTo>
                  <a:cubicBezTo>
                    <a:pt x="127" y="35"/>
                    <a:pt x="127" y="35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lose/>
                  <a:moveTo>
                    <a:pt x="124" y="45"/>
                  </a:move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4"/>
                    <a:pt x="124" y="44"/>
                  </a:cubicBezTo>
                  <a:cubicBezTo>
                    <a:pt x="124" y="44"/>
                    <a:pt x="124" y="45"/>
                    <a:pt x="124" y="45"/>
                  </a:cubicBezTo>
                  <a:close/>
                  <a:moveTo>
                    <a:pt x="126" y="39"/>
                  </a:moveTo>
                  <a:cubicBezTo>
                    <a:pt x="125" y="38"/>
                    <a:pt x="125" y="38"/>
                    <a:pt x="124" y="38"/>
                  </a:cubicBezTo>
                  <a:cubicBezTo>
                    <a:pt x="125" y="38"/>
                    <a:pt x="125" y="38"/>
                    <a:pt x="126" y="39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lnTo>
                    <a:pt x="126" y="35"/>
                  </a:lnTo>
                  <a:close/>
                  <a:moveTo>
                    <a:pt x="127" y="33"/>
                  </a:moveTo>
                  <a:cubicBezTo>
                    <a:pt x="127" y="32"/>
                    <a:pt x="127" y="32"/>
                    <a:pt x="127" y="33"/>
                  </a:cubicBezTo>
                  <a:cubicBezTo>
                    <a:pt x="127" y="33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3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4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5" y="40"/>
                  </a:moveTo>
                  <a:cubicBezTo>
                    <a:pt x="125" y="40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40"/>
                  </a:cubicBezTo>
                  <a:close/>
                  <a:moveTo>
                    <a:pt x="125" y="36"/>
                  </a:move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lose/>
                  <a:moveTo>
                    <a:pt x="124" y="38"/>
                  </a:moveTo>
                  <a:cubicBezTo>
                    <a:pt x="124" y="39"/>
                    <a:pt x="124" y="38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5" y="34"/>
                  </a:moveTo>
                  <a:cubicBezTo>
                    <a:pt x="125" y="35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4" y="37"/>
                  </a:moveTo>
                  <a:cubicBezTo>
                    <a:pt x="124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4" y="37"/>
                    <a:pt x="124" y="37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9"/>
                  </a:moveTo>
                  <a:cubicBezTo>
                    <a:pt x="123" y="39"/>
                    <a:pt x="122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2" y="39"/>
                  </a:cubicBezTo>
                  <a:close/>
                  <a:moveTo>
                    <a:pt x="124" y="32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lose/>
                  <a:moveTo>
                    <a:pt x="122" y="38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8"/>
                  </a:cubicBezTo>
                  <a:close/>
                  <a:moveTo>
                    <a:pt x="121" y="42"/>
                  </a:moveTo>
                  <a:cubicBezTo>
                    <a:pt x="121" y="42"/>
                    <a:pt x="121" y="42"/>
                    <a:pt x="120" y="42"/>
                  </a:cubicBezTo>
                  <a:cubicBezTo>
                    <a:pt x="120" y="41"/>
                    <a:pt x="121" y="42"/>
                    <a:pt x="121" y="42"/>
                  </a:cubicBezTo>
                  <a:close/>
                  <a:moveTo>
                    <a:pt x="121" y="39"/>
                  </a:move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2" y="38"/>
                  </a:cubicBezTo>
                  <a:cubicBezTo>
                    <a:pt x="122" y="39"/>
                    <a:pt x="121" y="38"/>
                    <a:pt x="121" y="39"/>
                  </a:cubicBezTo>
                  <a:close/>
                  <a:moveTo>
                    <a:pt x="121" y="36"/>
                  </a:move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5"/>
                    <a:pt x="122" y="36"/>
                  </a:cubicBezTo>
                  <a:cubicBezTo>
                    <a:pt x="122" y="36"/>
                    <a:pt x="122" y="36"/>
                    <a:pt x="121" y="36"/>
                  </a:cubicBezTo>
                  <a:close/>
                  <a:moveTo>
                    <a:pt x="123" y="34"/>
                  </a:moveTo>
                  <a:cubicBezTo>
                    <a:pt x="123" y="34"/>
                    <a:pt x="122" y="33"/>
                    <a:pt x="122" y="33"/>
                  </a:cubicBezTo>
                  <a:cubicBezTo>
                    <a:pt x="122" y="33"/>
                    <a:pt x="123" y="33"/>
                    <a:pt x="123" y="34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2" y="38"/>
                  </a:cubicBezTo>
                  <a:cubicBezTo>
                    <a:pt x="121" y="38"/>
                    <a:pt x="121" y="37"/>
                    <a:pt x="121" y="37"/>
                  </a:cubicBezTo>
                  <a:close/>
                  <a:moveTo>
                    <a:pt x="121" y="38"/>
                  </a:moveTo>
                  <a:cubicBezTo>
                    <a:pt x="121" y="38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lose/>
                  <a:moveTo>
                    <a:pt x="120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5"/>
                    <a:pt x="121" y="35"/>
                  </a:cubicBezTo>
                  <a:cubicBezTo>
                    <a:pt x="121" y="35"/>
                    <a:pt x="121" y="36"/>
                    <a:pt x="121" y="36"/>
                  </a:cubicBezTo>
                  <a:close/>
                  <a:moveTo>
                    <a:pt x="119" y="38"/>
                  </a:moveTo>
                  <a:cubicBezTo>
                    <a:pt x="119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19" y="38"/>
                    <a:pt x="119" y="38"/>
                  </a:cubicBezTo>
                  <a:close/>
                  <a:moveTo>
                    <a:pt x="122" y="33"/>
                  </a:move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1" y="33"/>
                    <a:pt x="122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2" y="33"/>
                    <a:pt x="122" y="33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0" y="37"/>
                  </a:moveTo>
                  <a:cubicBezTo>
                    <a:pt x="119" y="37"/>
                    <a:pt x="119" y="37"/>
                    <a:pt x="119" y="37"/>
                  </a:cubicBezTo>
                  <a:cubicBezTo>
                    <a:pt x="119" y="36"/>
                    <a:pt x="119" y="37"/>
                    <a:pt x="120" y="37"/>
                  </a:cubicBezTo>
                  <a:close/>
                  <a:moveTo>
                    <a:pt x="121" y="31"/>
                  </a:move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lose/>
                  <a:moveTo>
                    <a:pt x="119" y="38"/>
                  </a:moveTo>
                  <a:cubicBezTo>
                    <a:pt x="119" y="37"/>
                    <a:pt x="119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19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19" y="34"/>
                    <a:pt x="119" y="34"/>
                    <a:pt x="119" y="34"/>
                  </a:cubicBezTo>
                  <a:close/>
                  <a:moveTo>
                    <a:pt x="119" y="36"/>
                  </a:move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9" y="36"/>
                    <a:pt x="119" y="36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8" y="39"/>
                  </a:cubicBezTo>
                  <a:cubicBezTo>
                    <a:pt x="117" y="40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9" y="33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lose/>
                  <a:moveTo>
                    <a:pt x="117" y="42"/>
                  </a:move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1"/>
                    <a:pt x="116" y="42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2"/>
                    <a:pt x="117" y="42"/>
                  </a:cubicBezTo>
                  <a:close/>
                  <a:moveTo>
                    <a:pt x="118" y="35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5"/>
                    <a:pt x="118" y="35"/>
                  </a:cubicBezTo>
                  <a:cubicBezTo>
                    <a:pt x="118" y="35"/>
                    <a:pt x="118" y="34"/>
                    <a:pt x="118" y="35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7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6" y="36"/>
                  </a:cubicBezTo>
                  <a:cubicBezTo>
                    <a:pt x="116" y="36"/>
                    <a:pt x="116" y="35"/>
                    <a:pt x="116" y="3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lose/>
                  <a:moveTo>
                    <a:pt x="115" y="42"/>
                  </a:moveTo>
                  <a:cubicBezTo>
                    <a:pt x="115" y="42"/>
                    <a:pt x="115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16" y="35"/>
                  </a:moveTo>
                  <a:cubicBezTo>
                    <a:pt x="116" y="35"/>
                    <a:pt x="116" y="35"/>
                    <a:pt x="117" y="35"/>
                  </a:cubicBezTo>
                  <a:cubicBezTo>
                    <a:pt x="117" y="35"/>
                    <a:pt x="116" y="35"/>
                    <a:pt x="116" y="35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7"/>
                  </a:cubicBezTo>
                  <a:close/>
                  <a:moveTo>
                    <a:pt x="115" y="41"/>
                  </a:move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5" y="41"/>
                  </a:cubicBezTo>
                  <a:close/>
                  <a:moveTo>
                    <a:pt x="116" y="33"/>
                  </a:moveTo>
                  <a:cubicBezTo>
                    <a:pt x="116" y="33"/>
                    <a:pt x="116" y="33"/>
                    <a:pt x="115" y="33"/>
                  </a:cubicBezTo>
                  <a:cubicBezTo>
                    <a:pt x="116" y="33"/>
                    <a:pt x="116" y="33"/>
                    <a:pt x="117" y="33"/>
                  </a:cubicBezTo>
                  <a:lnTo>
                    <a:pt x="116" y="33"/>
                  </a:lnTo>
                  <a:close/>
                  <a:moveTo>
                    <a:pt x="117" y="29"/>
                  </a:moveTo>
                  <a:cubicBezTo>
                    <a:pt x="117" y="29"/>
                    <a:pt x="117" y="29"/>
                    <a:pt x="118" y="29"/>
                  </a:cubicBezTo>
                  <a:cubicBezTo>
                    <a:pt x="118" y="30"/>
                    <a:pt x="117" y="29"/>
                    <a:pt x="117" y="29"/>
                  </a:cubicBezTo>
                  <a:close/>
                  <a:moveTo>
                    <a:pt x="115" y="36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6"/>
                  </a:cubicBezTo>
                  <a:close/>
                  <a:moveTo>
                    <a:pt x="114" y="41"/>
                  </a:move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4" y="41"/>
                    <a:pt x="114" y="41"/>
                    <a:pt x="114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4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0"/>
                    <a:pt x="113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33"/>
                  </a:moveTo>
                  <a:cubicBezTo>
                    <a:pt x="115" y="33"/>
                    <a:pt x="115" y="33"/>
                    <a:pt x="116" y="33"/>
                  </a:cubicBezTo>
                  <a:cubicBezTo>
                    <a:pt x="115" y="34"/>
                    <a:pt x="115" y="33"/>
                    <a:pt x="115" y="33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4" y="33"/>
                  </a:moveTo>
                  <a:cubicBezTo>
                    <a:pt x="115" y="34"/>
                    <a:pt x="114" y="33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4" y="34"/>
                    <a:pt x="114" y="34"/>
                    <a:pt x="114" y="33"/>
                  </a:cubicBezTo>
                  <a:close/>
                  <a:moveTo>
                    <a:pt x="114" y="35"/>
                  </a:moveTo>
                  <a:cubicBezTo>
                    <a:pt x="114" y="35"/>
                    <a:pt x="114" y="34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3" y="34"/>
                    <a:pt x="113" y="35"/>
                    <a:pt x="113" y="35"/>
                  </a:cubicBezTo>
                  <a:cubicBezTo>
                    <a:pt x="114" y="35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5"/>
                  </a:cubicBezTo>
                  <a:close/>
                  <a:moveTo>
                    <a:pt x="112" y="41"/>
                  </a:move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0"/>
                    <a:pt x="112" y="41"/>
                  </a:cubicBezTo>
                  <a:close/>
                  <a:moveTo>
                    <a:pt x="112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8"/>
                  </a:cubicBezTo>
                  <a:cubicBezTo>
                    <a:pt x="112" y="39"/>
                    <a:pt x="112" y="38"/>
                    <a:pt x="113" y="39"/>
                  </a:cubicBezTo>
                  <a:cubicBezTo>
                    <a:pt x="113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1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1"/>
                  </a:moveTo>
                  <a:cubicBezTo>
                    <a:pt x="112" y="41"/>
                    <a:pt x="111" y="41"/>
                    <a:pt x="111" y="41"/>
                  </a:cubicBezTo>
                  <a:cubicBezTo>
                    <a:pt x="111" y="40"/>
                    <a:pt x="111" y="41"/>
                    <a:pt x="111" y="41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4" y="32"/>
                  </a:move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2"/>
                  </a:cubicBezTo>
                  <a:close/>
                  <a:moveTo>
                    <a:pt x="115" y="29"/>
                  </a:moveTo>
                  <a:cubicBezTo>
                    <a:pt x="115" y="28"/>
                    <a:pt x="115" y="29"/>
                    <a:pt x="115" y="28"/>
                  </a:cubicBezTo>
                  <a:cubicBezTo>
                    <a:pt x="115" y="28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lose/>
                  <a:moveTo>
                    <a:pt x="113" y="33"/>
                  </a:moveTo>
                  <a:cubicBezTo>
                    <a:pt x="113" y="33"/>
                    <a:pt x="113" y="33"/>
                    <a:pt x="113" y="33"/>
                  </a:cubicBezTo>
                  <a:cubicBezTo>
                    <a:pt x="113" y="32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lose/>
                  <a:moveTo>
                    <a:pt x="112" y="38"/>
                  </a:move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8"/>
                    <a:pt x="110" y="38"/>
                  </a:cubicBezTo>
                  <a:cubicBezTo>
                    <a:pt x="110" y="38"/>
                    <a:pt x="110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2" y="38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4"/>
                  </a:moveTo>
                  <a:cubicBezTo>
                    <a:pt x="113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lose/>
                  <a:moveTo>
                    <a:pt x="113" y="32"/>
                  </a:moveTo>
                  <a:cubicBezTo>
                    <a:pt x="113" y="32"/>
                    <a:pt x="113" y="32"/>
                    <a:pt x="113" y="32"/>
                  </a:cubicBezTo>
                  <a:cubicBezTo>
                    <a:pt x="113" y="32"/>
                    <a:pt x="112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lose/>
                  <a:moveTo>
                    <a:pt x="111" y="39"/>
                  </a:moveTo>
                  <a:cubicBezTo>
                    <a:pt x="111" y="39"/>
                    <a:pt x="110" y="39"/>
                    <a:pt x="110" y="39"/>
                  </a:cubicBezTo>
                  <a:cubicBezTo>
                    <a:pt x="110" y="38"/>
                    <a:pt x="111" y="39"/>
                    <a:pt x="111" y="39"/>
                  </a:cubicBezTo>
                  <a:close/>
                  <a:moveTo>
                    <a:pt x="111" y="32"/>
                  </a:moveTo>
                  <a:cubicBezTo>
                    <a:pt x="112" y="32"/>
                    <a:pt x="113" y="33"/>
                    <a:pt x="112" y="32"/>
                  </a:cubicBezTo>
                  <a:cubicBezTo>
                    <a:pt x="112" y="33"/>
                    <a:pt x="112" y="32"/>
                    <a:pt x="112" y="33"/>
                  </a:cubicBezTo>
                  <a:cubicBezTo>
                    <a:pt x="112" y="32"/>
                    <a:pt x="111" y="32"/>
                    <a:pt x="111" y="32"/>
                  </a:cubicBezTo>
                  <a:close/>
                  <a:moveTo>
                    <a:pt x="112" y="32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11" y="37"/>
                  </a:moveTo>
                  <a:cubicBezTo>
                    <a:pt x="111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lose/>
                  <a:moveTo>
                    <a:pt x="112" y="33"/>
                  </a:moveTo>
                  <a:cubicBezTo>
                    <a:pt x="112" y="33"/>
                    <a:pt x="112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3"/>
                    <a:pt x="112" y="33"/>
                    <a:pt x="112" y="33"/>
                  </a:cubicBezTo>
                  <a:close/>
                  <a:moveTo>
                    <a:pt x="111" y="31"/>
                  </a:moveTo>
                  <a:cubicBezTo>
                    <a:pt x="111" y="31"/>
                    <a:pt x="110" y="31"/>
                    <a:pt x="111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1"/>
                    <a:pt x="110" y="31"/>
                    <a:pt x="109" y="31"/>
                  </a:cubicBezTo>
                  <a:cubicBezTo>
                    <a:pt x="110" y="31"/>
                    <a:pt x="109" y="31"/>
                    <a:pt x="109" y="31"/>
                  </a:cubicBezTo>
                  <a:cubicBezTo>
                    <a:pt x="108" y="30"/>
                    <a:pt x="109" y="31"/>
                    <a:pt x="109" y="31"/>
                  </a:cubicBezTo>
                  <a:cubicBezTo>
                    <a:pt x="109" y="31"/>
                    <a:pt x="110" y="31"/>
                    <a:pt x="110" y="31"/>
                  </a:cubicBezTo>
                  <a:cubicBezTo>
                    <a:pt x="110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2" y="31"/>
                  </a:cubicBezTo>
                  <a:cubicBezTo>
                    <a:pt x="111" y="32"/>
                    <a:pt x="111" y="31"/>
                    <a:pt x="111" y="31"/>
                  </a:cubicBezTo>
                  <a:close/>
                  <a:moveTo>
                    <a:pt x="108" y="39"/>
                  </a:moveTo>
                  <a:cubicBezTo>
                    <a:pt x="108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8" y="39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lose/>
                  <a:moveTo>
                    <a:pt x="109" y="36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09" y="36"/>
                    <a:pt x="108" y="36"/>
                    <a:pt x="108" y="36"/>
                  </a:cubicBezTo>
                  <a:cubicBezTo>
                    <a:pt x="108" y="36"/>
                    <a:pt x="109" y="36"/>
                    <a:pt x="109" y="36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7" y="40"/>
                  </a:cubicBezTo>
                  <a:cubicBezTo>
                    <a:pt x="107" y="40"/>
                    <a:pt x="108" y="39"/>
                    <a:pt x="108" y="40"/>
                  </a:cubicBezTo>
                  <a:close/>
                  <a:moveTo>
                    <a:pt x="109" y="35"/>
                  </a:move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5"/>
                    <a:pt x="109" y="35"/>
                  </a:cubicBezTo>
                  <a:close/>
                  <a:moveTo>
                    <a:pt x="107" y="39"/>
                  </a:move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lose/>
                  <a:moveTo>
                    <a:pt x="110" y="28"/>
                  </a:move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lose/>
                  <a:moveTo>
                    <a:pt x="108" y="31"/>
                  </a:moveTo>
                  <a:cubicBezTo>
                    <a:pt x="109" y="31"/>
                    <a:pt x="109" y="31"/>
                    <a:pt x="109" y="31"/>
                  </a:cubicBezTo>
                  <a:cubicBezTo>
                    <a:pt x="109" y="31"/>
                    <a:pt x="108" y="31"/>
                    <a:pt x="108" y="31"/>
                  </a:cubicBezTo>
                  <a:close/>
                  <a:moveTo>
                    <a:pt x="108" y="30"/>
                  </a:move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8" y="30"/>
                    <a:pt x="108" y="30"/>
                  </a:cubicBezTo>
                  <a:close/>
                  <a:moveTo>
                    <a:pt x="107" y="36"/>
                  </a:move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5"/>
                    <a:pt x="106" y="35"/>
                  </a:cubicBezTo>
                  <a:cubicBezTo>
                    <a:pt x="106" y="35"/>
                    <a:pt x="107" y="35"/>
                    <a:pt x="107" y="36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4"/>
                    <a:pt x="106" y="33"/>
                  </a:cubicBezTo>
                  <a:cubicBezTo>
                    <a:pt x="107" y="33"/>
                    <a:pt x="107" y="34"/>
                    <a:pt x="107" y="34"/>
                  </a:cubicBezTo>
                  <a:cubicBezTo>
                    <a:pt x="107" y="34"/>
                    <a:pt x="106" y="34"/>
                    <a:pt x="106" y="34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30"/>
                  </a:cubicBezTo>
                  <a:cubicBezTo>
                    <a:pt x="107" y="31"/>
                    <a:pt x="107" y="30"/>
                    <a:pt x="107" y="30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6"/>
                    <a:pt x="105" y="35"/>
                    <a:pt x="105" y="35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29"/>
                  </a:cubicBezTo>
                  <a:cubicBezTo>
                    <a:pt x="107" y="29"/>
                    <a:pt x="107" y="29"/>
                    <a:pt x="107" y="30"/>
                  </a:cubicBezTo>
                  <a:close/>
                  <a:moveTo>
                    <a:pt x="106" y="34"/>
                  </a:move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6" y="34"/>
                  </a:cubicBezTo>
                  <a:close/>
                  <a:moveTo>
                    <a:pt x="106" y="32"/>
                  </a:moveTo>
                  <a:cubicBezTo>
                    <a:pt x="106" y="32"/>
                    <a:pt x="105" y="32"/>
                    <a:pt x="105" y="31"/>
                  </a:cubicBezTo>
                  <a:cubicBezTo>
                    <a:pt x="106" y="31"/>
                    <a:pt x="106" y="31"/>
                    <a:pt x="106" y="32"/>
                  </a:cubicBezTo>
                  <a:close/>
                  <a:moveTo>
                    <a:pt x="106" y="31"/>
                  </a:moveTo>
                  <a:cubicBezTo>
                    <a:pt x="106" y="30"/>
                    <a:pt x="106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lose/>
                  <a:moveTo>
                    <a:pt x="106" y="28"/>
                  </a:moveTo>
                  <a:cubicBezTo>
                    <a:pt x="106" y="28"/>
                    <a:pt x="107" y="28"/>
                    <a:pt x="107" y="28"/>
                  </a:cubicBezTo>
                  <a:cubicBezTo>
                    <a:pt x="107" y="28"/>
                    <a:pt x="106" y="28"/>
                    <a:pt x="106" y="28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4" y="36"/>
                  </a:cubicBezTo>
                  <a:cubicBezTo>
                    <a:pt x="104" y="36"/>
                    <a:pt x="104" y="35"/>
                    <a:pt x="104" y="35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lose/>
                  <a:moveTo>
                    <a:pt x="104" y="33"/>
                  </a:move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3" y="35"/>
                  </a:cubicBezTo>
                  <a:cubicBezTo>
                    <a:pt x="104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5"/>
                    <a:pt x="103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4" y="34"/>
                    <a:pt x="104" y="34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2" y="36"/>
                  </a:moveTo>
                  <a:cubicBezTo>
                    <a:pt x="102" y="36"/>
                    <a:pt x="102" y="36"/>
                    <a:pt x="103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5"/>
                  </a:cubicBezTo>
                  <a:cubicBezTo>
                    <a:pt x="102" y="35"/>
                    <a:pt x="102" y="36"/>
                    <a:pt x="102" y="36"/>
                  </a:cubicBezTo>
                  <a:close/>
                  <a:moveTo>
                    <a:pt x="104" y="30"/>
                  </a:moveTo>
                  <a:cubicBezTo>
                    <a:pt x="104" y="30"/>
                    <a:pt x="104" y="29"/>
                    <a:pt x="104" y="30"/>
                  </a:cubicBezTo>
                  <a:cubicBezTo>
                    <a:pt x="104" y="29"/>
                    <a:pt x="104" y="30"/>
                    <a:pt x="104" y="30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lose/>
                  <a:moveTo>
                    <a:pt x="103" y="34"/>
                  </a:moveTo>
                  <a:cubicBezTo>
                    <a:pt x="103" y="34"/>
                    <a:pt x="102" y="34"/>
                    <a:pt x="102" y="33"/>
                  </a:cubicBezTo>
                  <a:cubicBezTo>
                    <a:pt x="103" y="33"/>
                    <a:pt x="102" y="34"/>
                    <a:pt x="103" y="34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1" y="32"/>
                  </a:cubicBezTo>
                  <a:cubicBezTo>
                    <a:pt x="101" y="32"/>
                    <a:pt x="101" y="32"/>
                    <a:pt x="101" y="31"/>
                  </a:cubicBezTo>
                  <a:cubicBezTo>
                    <a:pt x="102" y="32"/>
                    <a:pt x="102" y="32"/>
                    <a:pt x="103" y="32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lose/>
                  <a:moveTo>
                    <a:pt x="101" y="36"/>
                  </a:moveTo>
                  <a:cubicBezTo>
                    <a:pt x="102" y="36"/>
                    <a:pt x="102" y="36"/>
                    <a:pt x="102" y="36"/>
                  </a:cubicBezTo>
                  <a:cubicBezTo>
                    <a:pt x="101" y="36"/>
                    <a:pt x="101" y="36"/>
                    <a:pt x="101" y="36"/>
                  </a:cubicBezTo>
                  <a:close/>
                  <a:moveTo>
                    <a:pt x="100" y="37"/>
                  </a:moveTo>
                  <a:cubicBezTo>
                    <a:pt x="99" y="37"/>
                    <a:pt x="98" y="37"/>
                    <a:pt x="98" y="37"/>
                  </a:cubicBezTo>
                  <a:cubicBezTo>
                    <a:pt x="99" y="37"/>
                    <a:pt x="100" y="37"/>
                    <a:pt x="100" y="38"/>
                  </a:cubicBezTo>
                  <a:cubicBezTo>
                    <a:pt x="100" y="38"/>
                    <a:pt x="100" y="38"/>
                    <a:pt x="100" y="37"/>
                  </a:cubicBezTo>
                  <a:close/>
                  <a:moveTo>
                    <a:pt x="102" y="29"/>
                  </a:moveTo>
                  <a:cubicBezTo>
                    <a:pt x="102" y="29"/>
                    <a:pt x="102" y="29"/>
                    <a:pt x="103" y="29"/>
                  </a:cubicBezTo>
                  <a:cubicBezTo>
                    <a:pt x="102" y="29"/>
                    <a:pt x="102" y="29"/>
                    <a:pt x="102" y="29"/>
                  </a:cubicBezTo>
                  <a:close/>
                  <a:moveTo>
                    <a:pt x="101" y="35"/>
                  </a:moveTo>
                  <a:cubicBezTo>
                    <a:pt x="100" y="35"/>
                    <a:pt x="100" y="35"/>
                    <a:pt x="100" y="34"/>
                  </a:cubicBezTo>
                  <a:cubicBezTo>
                    <a:pt x="100" y="34"/>
                    <a:pt x="101" y="35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1"/>
                    <a:pt x="101" y="30"/>
                    <a:pt x="100" y="30"/>
                  </a:cubicBezTo>
                  <a:cubicBezTo>
                    <a:pt x="100" y="30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lose/>
                  <a:moveTo>
                    <a:pt x="96" y="37"/>
                  </a:moveTo>
                  <a:cubicBezTo>
                    <a:pt x="96" y="36"/>
                    <a:pt x="97" y="37"/>
                    <a:pt x="96" y="37"/>
                  </a:cubicBezTo>
                  <a:close/>
                  <a:moveTo>
                    <a:pt x="98" y="33"/>
                  </a:moveTo>
                  <a:cubicBezTo>
                    <a:pt x="98" y="33"/>
                    <a:pt x="97" y="33"/>
                    <a:pt x="97" y="33"/>
                  </a:cubicBezTo>
                  <a:cubicBezTo>
                    <a:pt x="97" y="33"/>
                    <a:pt x="97" y="32"/>
                    <a:pt x="97" y="32"/>
                  </a:cubicBezTo>
                  <a:cubicBezTo>
                    <a:pt x="97" y="32"/>
                    <a:pt x="97" y="33"/>
                    <a:pt x="98" y="33"/>
                  </a:cubicBezTo>
                  <a:close/>
                  <a:moveTo>
                    <a:pt x="98" y="30"/>
                  </a:move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0"/>
                    <a:pt x="98" y="30"/>
                  </a:cubicBezTo>
                  <a:close/>
                  <a:moveTo>
                    <a:pt x="97" y="34"/>
                  </a:moveTo>
                  <a:cubicBezTo>
                    <a:pt x="97" y="34"/>
                    <a:pt x="96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lose/>
                  <a:moveTo>
                    <a:pt x="98" y="28"/>
                  </a:move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9"/>
                    <a:pt x="98" y="28"/>
                  </a:cubicBezTo>
                  <a:close/>
                  <a:moveTo>
                    <a:pt x="96" y="30"/>
                  </a:move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7" y="30"/>
                    <a:pt x="97" y="30"/>
                  </a:cubicBezTo>
                  <a:cubicBezTo>
                    <a:pt x="97" y="30"/>
                    <a:pt x="97" y="30"/>
                    <a:pt x="98" y="31"/>
                  </a:cubicBezTo>
                  <a:cubicBezTo>
                    <a:pt x="97" y="31"/>
                    <a:pt x="97" y="30"/>
                    <a:pt x="96" y="30"/>
                  </a:cubicBezTo>
                  <a:close/>
                  <a:moveTo>
                    <a:pt x="97" y="29"/>
                  </a:moveTo>
                  <a:cubicBezTo>
                    <a:pt x="97" y="29"/>
                    <a:pt x="97" y="29"/>
                    <a:pt x="97" y="29"/>
                  </a:cubicBezTo>
                  <a:cubicBezTo>
                    <a:pt x="98" y="29"/>
                    <a:pt x="97" y="30"/>
                    <a:pt x="97" y="29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3"/>
                    <a:pt x="96" y="32"/>
                    <a:pt x="96" y="32"/>
                  </a:cubicBezTo>
                  <a:close/>
                  <a:moveTo>
                    <a:pt x="96" y="31"/>
                  </a:moveTo>
                  <a:cubicBezTo>
                    <a:pt x="96" y="31"/>
                    <a:pt x="96" y="31"/>
                    <a:pt x="97" y="31"/>
                  </a:cubicBezTo>
                  <a:cubicBezTo>
                    <a:pt x="97" y="31"/>
                    <a:pt x="96" y="31"/>
                    <a:pt x="96" y="31"/>
                  </a:cubicBezTo>
                  <a:close/>
                  <a:moveTo>
                    <a:pt x="94" y="36"/>
                  </a:moveTo>
                  <a:cubicBezTo>
                    <a:pt x="94" y="36"/>
                    <a:pt x="94" y="36"/>
                    <a:pt x="95" y="36"/>
                  </a:cubicBezTo>
                  <a:cubicBezTo>
                    <a:pt x="94" y="36"/>
                    <a:pt x="94" y="36"/>
                    <a:pt x="94" y="36"/>
                  </a:cubicBezTo>
                  <a:close/>
                  <a:moveTo>
                    <a:pt x="98" y="26"/>
                  </a:moveTo>
                  <a:cubicBezTo>
                    <a:pt x="98" y="26"/>
                    <a:pt x="97" y="25"/>
                    <a:pt x="97" y="25"/>
                  </a:cubicBezTo>
                  <a:cubicBezTo>
                    <a:pt x="97" y="25"/>
                    <a:pt x="97" y="25"/>
                    <a:pt x="98" y="25"/>
                  </a:cubicBezTo>
                  <a:cubicBezTo>
                    <a:pt x="97" y="26"/>
                    <a:pt x="97" y="26"/>
                    <a:pt x="98" y="26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1"/>
                    <a:pt x="96" y="32"/>
                    <a:pt x="95" y="31"/>
                  </a:cubicBezTo>
                  <a:cubicBezTo>
                    <a:pt x="95" y="31"/>
                    <a:pt x="96" y="32"/>
                    <a:pt x="96" y="31"/>
                  </a:cubicBezTo>
                  <a:cubicBezTo>
                    <a:pt x="96" y="31"/>
                    <a:pt x="96" y="32"/>
                    <a:pt x="96" y="32"/>
                  </a:cubicBezTo>
                  <a:close/>
                  <a:moveTo>
                    <a:pt x="97" y="27"/>
                  </a:moveTo>
                  <a:cubicBezTo>
                    <a:pt x="97" y="27"/>
                    <a:pt x="96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lose/>
                  <a:moveTo>
                    <a:pt x="9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7" y="29"/>
                    <a:pt x="96" y="29"/>
                  </a:cubicBezTo>
                  <a:close/>
                  <a:moveTo>
                    <a:pt x="94" y="34"/>
                  </a:moveTo>
                  <a:cubicBezTo>
                    <a:pt x="94" y="35"/>
                    <a:pt x="94" y="35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1"/>
                    <a:pt x="95" y="31"/>
                  </a:cubicBezTo>
                  <a:cubicBezTo>
                    <a:pt x="95" y="31"/>
                    <a:pt x="95" y="31"/>
                    <a:pt x="95" y="30"/>
                  </a:cubicBezTo>
                  <a:close/>
                  <a:moveTo>
                    <a:pt x="95" y="26"/>
                  </a:move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5" y="26"/>
                  </a:cubicBezTo>
                  <a:close/>
                  <a:moveTo>
                    <a:pt x="93" y="34"/>
                  </a:move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5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6" y="27"/>
                  </a:cubicBezTo>
                  <a:cubicBezTo>
                    <a:pt x="96" y="27"/>
                    <a:pt x="95" y="27"/>
                    <a:pt x="95" y="27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lose/>
                  <a:moveTo>
                    <a:pt x="95" y="24"/>
                  </a:moveTo>
                  <a:cubicBezTo>
                    <a:pt x="94" y="24"/>
                    <a:pt x="93" y="24"/>
                    <a:pt x="93" y="24"/>
                  </a:cubicBezTo>
                  <a:cubicBezTo>
                    <a:pt x="94" y="24"/>
                    <a:pt x="94" y="24"/>
                    <a:pt x="95" y="24"/>
                  </a:cubicBezTo>
                  <a:cubicBezTo>
                    <a:pt x="95" y="24"/>
                    <a:pt x="96" y="25"/>
                    <a:pt x="96" y="25"/>
                  </a:cubicBezTo>
                  <a:cubicBezTo>
                    <a:pt x="95" y="25"/>
                    <a:pt x="95" y="24"/>
                    <a:pt x="95" y="24"/>
                  </a:cubicBezTo>
                  <a:close/>
                  <a:moveTo>
                    <a:pt x="95" y="28"/>
                  </a:moveTo>
                  <a:cubicBezTo>
                    <a:pt x="95" y="28"/>
                    <a:pt x="94" y="28"/>
                    <a:pt x="94" y="28"/>
                  </a:cubicBezTo>
                  <a:cubicBezTo>
                    <a:pt x="94" y="28"/>
                    <a:pt x="95" y="28"/>
                    <a:pt x="95" y="28"/>
                  </a:cubicBezTo>
                  <a:close/>
                  <a:moveTo>
                    <a:pt x="95" y="29"/>
                  </a:moveTo>
                  <a:cubicBezTo>
                    <a:pt x="95" y="29"/>
                    <a:pt x="94" y="29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8"/>
                    <a:pt x="95" y="29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5" y="24"/>
                  </a:cubicBezTo>
                  <a:cubicBezTo>
                    <a:pt x="95" y="24"/>
                    <a:pt x="96" y="24"/>
                    <a:pt x="96" y="24"/>
                  </a:cubicBezTo>
                  <a:close/>
                  <a:moveTo>
                    <a:pt x="95" y="27"/>
                  </a:moveTo>
                  <a:cubicBezTo>
                    <a:pt x="95" y="26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4" y="27"/>
                    <a:pt x="94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4" y="24"/>
                  </a:moveTo>
                  <a:cubicBezTo>
                    <a:pt x="95" y="24"/>
                    <a:pt x="95" y="24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4"/>
                    <a:pt x="94" y="25"/>
                    <a:pt x="94" y="24"/>
                  </a:cubicBezTo>
                  <a:close/>
                  <a:moveTo>
                    <a:pt x="95" y="25"/>
                  </a:move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lose/>
                  <a:moveTo>
                    <a:pt x="93" y="29"/>
                  </a:moveTo>
                  <a:cubicBezTo>
                    <a:pt x="93" y="29"/>
                    <a:pt x="94" y="29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29"/>
                    <a:pt x="93" y="29"/>
                    <a:pt x="93" y="29"/>
                  </a:cubicBezTo>
                  <a:close/>
                  <a:moveTo>
                    <a:pt x="93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lose/>
                  <a:moveTo>
                    <a:pt x="93" y="30"/>
                  </a:moveTo>
                  <a:cubicBezTo>
                    <a:pt x="93" y="30"/>
                    <a:pt x="93" y="30"/>
                    <a:pt x="93" y="30"/>
                  </a:cubicBezTo>
                  <a:cubicBezTo>
                    <a:pt x="93" y="31"/>
                    <a:pt x="92" y="30"/>
                    <a:pt x="93" y="30"/>
                  </a:cubicBezTo>
                  <a:close/>
                  <a:moveTo>
                    <a:pt x="94" y="28"/>
                  </a:moveTo>
                  <a:cubicBezTo>
                    <a:pt x="94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7"/>
                    <a:pt x="94" y="28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9"/>
                    <a:pt x="93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28"/>
                  </a:cubicBezTo>
                  <a:close/>
                  <a:moveTo>
                    <a:pt x="93" y="30"/>
                  </a:moveTo>
                  <a:cubicBezTo>
                    <a:pt x="93" y="30"/>
                    <a:pt x="92" y="30"/>
                    <a:pt x="92" y="30"/>
                  </a:cubicBezTo>
                  <a:cubicBezTo>
                    <a:pt x="92" y="30"/>
                    <a:pt x="93" y="30"/>
                    <a:pt x="93" y="30"/>
                  </a:cubicBezTo>
                  <a:close/>
                  <a:moveTo>
                    <a:pt x="93" y="30"/>
                  </a:move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0"/>
                    <a:pt x="93" y="30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4"/>
                    <a:pt x="94" y="25"/>
                  </a:cubicBezTo>
                  <a:cubicBezTo>
                    <a:pt x="94" y="25"/>
                    <a:pt x="94" y="25"/>
                    <a:pt x="94" y="25"/>
                  </a:cubicBezTo>
                  <a:close/>
                  <a:moveTo>
                    <a:pt x="94" y="25"/>
                  </a:moveTo>
                  <a:cubicBezTo>
                    <a:pt x="94" y="25"/>
                    <a:pt x="93" y="25"/>
                    <a:pt x="93" y="25"/>
                  </a:cubicBezTo>
                  <a:cubicBezTo>
                    <a:pt x="93" y="25"/>
                    <a:pt x="94" y="25"/>
                    <a:pt x="94" y="25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9"/>
                  </a:cubicBezTo>
                  <a:close/>
                  <a:moveTo>
                    <a:pt x="92" y="26"/>
                  </a:move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5"/>
                  </a:cubicBezTo>
                  <a:cubicBezTo>
                    <a:pt x="92" y="26"/>
                    <a:pt x="92" y="26"/>
                    <a:pt x="93" y="26"/>
                  </a:cubicBezTo>
                  <a:cubicBezTo>
                    <a:pt x="93" y="26"/>
                    <a:pt x="92" y="26"/>
                    <a:pt x="92" y="26"/>
                  </a:cubicBezTo>
                  <a:close/>
                  <a:moveTo>
                    <a:pt x="92" y="26"/>
                  </a:moveTo>
                  <a:cubicBezTo>
                    <a:pt x="92" y="26"/>
                    <a:pt x="92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2" y="28"/>
                  </a:cubicBezTo>
                  <a:cubicBezTo>
                    <a:pt x="92" y="28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3" y="25"/>
                  </a:moveTo>
                  <a:cubicBezTo>
                    <a:pt x="92" y="25"/>
                    <a:pt x="92" y="24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lose/>
                  <a:moveTo>
                    <a:pt x="90" y="30"/>
                  </a:moveTo>
                  <a:cubicBezTo>
                    <a:pt x="90" y="30"/>
                    <a:pt x="91" y="30"/>
                    <a:pt x="91" y="30"/>
                  </a:cubicBezTo>
                  <a:cubicBezTo>
                    <a:pt x="91" y="31"/>
                    <a:pt x="90" y="30"/>
                    <a:pt x="90" y="30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90" y="31"/>
                    <a:pt x="90" y="31"/>
                    <a:pt x="90" y="32"/>
                  </a:cubicBezTo>
                  <a:cubicBezTo>
                    <a:pt x="90" y="31"/>
                    <a:pt x="90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2" y="32"/>
                  </a:cubicBezTo>
                  <a:cubicBezTo>
                    <a:pt x="91" y="32"/>
                    <a:pt x="92" y="32"/>
                    <a:pt x="93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lose/>
                  <a:moveTo>
                    <a:pt x="92" y="24"/>
                  </a:moveTo>
                  <a:cubicBezTo>
                    <a:pt x="92" y="24"/>
                    <a:pt x="92" y="24"/>
                    <a:pt x="92" y="24"/>
                  </a:cubicBezTo>
                  <a:cubicBezTo>
                    <a:pt x="92" y="25"/>
                    <a:pt x="92" y="24"/>
                    <a:pt x="92" y="25"/>
                  </a:cubicBezTo>
                  <a:cubicBezTo>
                    <a:pt x="92" y="25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2" y="23"/>
                  </a:moveTo>
                  <a:cubicBezTo>
                    <a:pt x="92" y="23"/>
                    <a:pt x="92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lose/>
                  <a:moveTo>
                    <a:pt x="92" y="24"/>
                  </a:moveTo>
                  <a:cubicBezTo>
                    <a:pt x="92" y="24"/>
                    <a:pt x="91" y="24"/>
                    <a:pt x="91" y="23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8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8"/>
                    <a:pt x="91" y="28"/>
                  </a:cubicBezTo>
                  <a:close/>
                  <a:moveTo>
                    <a:pt x="90" y="27"/>
                  </a:moveTo>
                  <a:cubicBezTo>
                    <a:pt x="90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1" y="27"/>
                    <a:pt x="90" y="27"/>
                  </a:cubicBezTo>
                  <a:close/>
                  <a:moveTo>
                    <a:pt x="89" y="31"/>
                  </a:moveTo>
                  <a:cubicBezTo>
                    <a:pt x="89" y="30"/>
                    <a:pt x="89" y="30"/>
                    <a:pt x="89" y="31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90" y="31"/>
                    <a:pt x="90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8" y="31"/>
                    <a:pt x="89" y="30"/>
                  </a:cubicBezTo>
                  <a:cubicBezTo>
                    <a:pt x="89" y="30"/>
                    <a:pt x="89" y="31"/>
                    <a:pt x="89" y="31"/>
                  </a:cubicBezTo>
                  <a:close/>
                  <a:moveTo>
                    <a:pt x="90" y="28"/>
                  </a:move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9"/>
                    <a:pt x="90" y="28"/>
                  </a:cubicBezTo>
                  <a:cubicBezTo>
                    <a:pt x="90" y="28"/>
                    <a:pt x="90" y="29"/>
                    <a:pt x="90" y="29"/>
                  </a:cubicBezTo>
                  <a:cubicBezTo>
                    <a:pt x="90" y="29"/>
                    <a:pt x="90" y="28"/>
                    <a:pt x="90" y="28"/>
                  </a:cubicBezTo>
                  <a:close/>
                  <a:moveTo>
                    <a:pt x="90" y="25"/>
                  </a:moveTo>
                  <a:cubicBezTo>
                    <a:pt x="91" y="25"/>
                    <a:pt x="90" y="25"/>
                    <a:pt x="91" y="25"/>
                  </a:cubicBezTo>
                  <a:cubicBezTo>
                    <a:pt x="91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91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4"/>
                    <a:pt x="90" y="23"/>
                    <a:pt x="91" y="23"/>
                  </a:cubicBezTo>
                  <a:close/>
                  <a:moveTo>
                    <a:pt x="90" y="25"/>
                  </a:move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9" y="28"/>
                  </a:cubicBezTo>
                  <a:cubicBezTo>
                    <a:pt x="89" y="28"/>
                    <a:pt x="89" y="28"/>
                    <a:pt x="88" y="28"/>
                  </a:cubicBezTo>
                  <a:cubicBezTo>
                    <a:pt x="88" y="28"/>
                    <a:pt x="88" y="28"/>
                    <a:pt x="89" y="28"/>
                  </a:cubicBezTo>
                  <a:cubicBezTo>
                    <a:pt x="88" y="29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90" y="23"/>
                  </a:move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lose/>
                  <a:moveTo>
                    <a:pt x="88" y="29"/>
                  </a:moveTo>
                  <a:cubicBezTo>
                    <a:pt x="88" y="29"/>
                    <a:pt x="87" y="29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87" y="28"/>
                    <a:pt x="87" y="28"/>
                    <a:pt x="86" y="27"/>
                  </a:cubicBezTo>
                  <a:cubicBezTo>
                    <a:pt x="87" y="27"/>
                    <a:pt x="88" y="28"/>
                    <a:pt x="88" y="28"/>
                  </a:cubicBezTo>
                  <a:close/>
                  <a:moveTo>
                    <a:pt x="88" y="25"/>
                  </a:moveTo>
                  <a:cubicBezTo>
                    <a:pt x="88" y="25"/>
                    <a:pt x="88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lose/>
                  <a:moveTo>
                    <a:pt x="86" y="29"/>
                  </a:moveTo>
                  <a:cubicBezTo>
                    <a:pt x="86" y="29"/>
                    <a:pt x="87" y="29"/>
                    <a:pt x="87" y="29"/>
                  </a:cubicBezTo>
                  <a:cubicBezTo>
                    <a:pt x="87" y="30"/>
                    <a:pt x="86" y="30"/>
                    <a:pt x="86" y="29"/>
                  </a:cubicBezTo>
                  <a:close/>
                  <a:moveTo>
                    <a:pt x="86" y="30"/>
                  </a:move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7" y="30"/>
                    <a:pt x="87" y="30"/>
                  </a:cubicBezTo>
                  <a:cubicBezTo>
                    <a:pt x="87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lose/>
                  <a:moveTo>
                    <a:pt x="88" y="23"/>
                  </a:moveTo>
                  <a:cubicBezTo>
                    <a:pt x="88" y="23"/>
                    <a:pt x="88" y="23"/>
                    <a:pt x="8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lose/>
                  <a:moveTo>
                    <a:pt x="86" y="27"/>
                  </a:move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lose/>
                  <a:moveTo>
                    <a:pt x="87" y="22"/>
                  </a:moveTo>
                  <a:cubicBezTo>
                    <a:pt x="88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lose/>
                  <a:moveTo>
                    <a:pt x="86" y="27"/>
                  </a:moveTo>
                  <a:cubicBezTo>
                    <a:pt x="86" y="27"/>
                    <a:pt x="85" y="27"/>
                    <a:pt x="85" y="27"/>
                  </a:cubicBezTo>
                  <a:cubicBezTo>
                    <a:pt x="85" y="27"/>
                    <a:pt x="85" y="27"/>
                    <a:pt x="86" y="27"/>
                  </a:cubicBezTo>
                  <a:close/>
                  <a:moveTo>
                    <a:pt x="86" y="25"/>
                  </a:moveTo>
                  <a:cubicBezTo>
                    <a:pt x="86" y="25"/>
                    <a:pt x="86" y="25"/>
                    <a:pt x="86" y="24"/>
                  </a:cubicBezTo>
                  <a:cubicBezTo>
                    <a:pt x="86" y="24"/>
                    <a:pt x="86" y="24"/>
                    <a:pt x="86" y="25"/>
                  </a:cubicBezTo>
                  <a:close/>
                  <a:moveTo>
                    <a:pt x="8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6" y="24"/>
                    <a:pt x="86" y="24"/>
                  </a:cubicBezTo>
                  <a:close/>
                  <a:moveTo>
                    <a:pt x="84" y="22"/>
                  </a:move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2"/>
                    <a:pt x="84" y="22"/>
                  </a:cubicBezTo>
                  <a:close/>
                  <a:moveTo>
                    <a:pt x="84" y="24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lose/>
                  <a:moveTo>
                    <a:pt x="82" y="28"/>
                  </a:moveTo>
                  <a:cubicBezTo>
                    <a:pt x="82" y="28"/>
                    <a:pt x="83" y="28"/>
                    <a:pt x="83" y="29"/>
                  </a:cubicBezTo>
                  <a:cubicBezTo>
                    <a:pt x="82" y="29"/>
                    <a:pt x="82" y="28"/>
                    <a:pt x="82" y="28"/>
                  </a:cubicBezTo>
                  <a:close/>
                  <a:moveTo>
                    <a:pt x="83" y="24"/>
                  </a:moveTo>
                  <a:cubicBezTo>
                    <a:pt x="84" y="24"/>
                    <a:pt x="83" y="24"/>
                    <a:pt x="83" y="24"/>
                  </a:cubicBezTo>
                  <a:cubicBezTo>
                    <a:pt x="84" y="25"/>
                    <a:pt x="84" y="25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lose/>
                  <a:moveTo>
                    <a:pt x="85" y="22"/>
                  </a:moveTo>
                  <a:cubicBezTo>
                    <a:pt x="85" y="22"/>
                    <a:pt x="84" y="22"/>
                    <a:pt x="84" y="21"/>
                  </a:cubicBezTo>
                  <a:cubicBezTo>
                    <a:pt x="84" y="21"/>
                    <a:pt x="84" y="21"/>
                    <a:pt x="85" y="22"/>
                  </a:cubicBezTo>
                  <a:close/>
                  <a:moveTo>
                    <a:pt x="84" y="23"/>
                  </a:move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lose/>
                  <a:moveTo>
                    <a:pt x="82" y="27"/>
                  </a:moveTo>
                  <a:cubicBezTo>
                    <a:pt x="82" y="26"/>
                    <a:pt x="83" y="27"/>
                    <a:pt x="83" y="27"/>
                  </a:cubicBezTo>
                  <a:cubicBezTo>
                    <a:pt x="83" y="27"/>
                    <a:pt x="82" y="27"/>
                    <a:pt x="82" y="27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2" y="23"/>
                  </a:cubicBezTo>
                  <a:cubicBezTo>
                    <a:pt x="83" y="23"/>
                    <a:pt x="83" y="23"/>
                    <a:pt x="84" y="23"/>
                  </a:cubicBezTo>
                  <a:cubicBezTo>
                    <a:pt x="84" y="23"/>
                    <a:pt x="83" y="23"/>
                    <a:pt x="83" y="23"/>
                  </a:cubicBezTo>
                  <a:close/>
                  <a:moveTo>
                    <a:pt x="81" y="24"/>
                  </a:moveTo>
                  <a:cubicBezTo>
                    <a:pt x="82" y="24"/>
                    <a:pt x="83" y="24"/>
                    <a:pt x="83" y="24"/>
                  </a:cubicBezTo>
                  <a:cubicBezTo>
                    <a:pt x="83" y="24"/>
                    <a:pt x="82" y="24"/>
                    <a:pt x="81" y="24"/>
                  </a:cubicBezTo>
                  <a:close/>
                  <a:moveTo>
                    <a:pt x="82" y="27"/>
                  </a:moveTo>
                  <a:cubicBezTo>
                    <a:pt x="82" y="28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4" y="21"/>
                    <a:pt x="83" y="21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83" y="24"/>
                    <a:pt x="82" y="23"/>
                    <a:pt x="82" y="23"/>
                  </a:cubicBezTo>
                  <a:cubicBezTo>
                    <a:pt x="82" y="23"/>
                    <a:pt x="83" y="23"/>
                    <a:pt x="83" y="23"/>
                  </a:cubicBezTo>
                  <a:close/>
                  <a:moveTo>
                    <a:pt x="81" y="26"/>
                  </a:move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lose/>
                  <a:moveTo>
                    <a:pt x="82" y="22"/>
                  </a:moveTo>
                  <a:cubicBezTo>
                    <a:pt x="82" y="21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9" y="32"/>
                  </a:moveTo>
                  <a:cubicBezTo>
                    <a:pt x="79" y="32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lose/>
                  <a:moveTo>
                    <a:pt x="80" y="27"/>
                  </a:moveTo>
                  <a:cubicBezTo>
                    <a:pt x="80" y="28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79" y="30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79" y="30"/>
                  </a:moveTo>
                  <a:cubicBezTo>
                    <a:pt x="79" y="30"/>
                    <a:pt x="78" y="30"/>
                    <a:pt x="78" y="30"/>
                  </a:cubicBezTo>
                  <a:cubicBezTo>
                    <a:pt x="78" y="30"/>
                    <a:pt x="79" y="30"/>
                    <a:pt x="79" y="30"/>
                  </a:cubicBezTo>
                  <a:close/>
                  <a:moveTo>
                    <a:pt x="80" y="24"/>
                  </a:move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79" y="24"/>
                    <a:pt x="80" y="24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8" y="30"/>
                  </a:move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8" y="30"/>
                    <a:pt x="77" y="30"/>
                    <a:pt x="78" y="30"/>
                  </a:cubicBezTo>
                  <a:close/>
                  <a:moveTo>
                    <a:pt x="79" y="21"/>
                  </a:moveTo>
                  <a:cubicBezTo>
                    <a:pt x="79" y="21"/>
                    <a:pt x="80" y="21"/>
                    <a:pt x="80" y="21"/>
                  </a:cubicBezTo>
                  <a:cubicBezTo>
                    <a:pt x="80" y="21"/>
                    <a:pt x="79" y="21"/>
                    <a:pt x="79" y="21"/>
                  </a:cubicBezTo>
                  <a:close/>
                  <a:moveTo>
                    <a:pt x="79" y="21"/>
                  </a:move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8" y="22"/>
                  </a:cubicBezTo>
                  <a:cubicBezTo>
                    <a:pt x="78" y="21"/>
                    <a:pt x="79" y="22"/>
                    <a:pt x="79" y="22"/>
                  </a:cubicBezTo>
                  <a:close/>
                  <a:moveTo>
                    <a:pt x="78" y="21"/>
                  </a:move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lose/>
                  <a:moveTo>
                    <a:pt x="76" y="23"/>
                  </a:move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lose/>
                  <a:moveTo>
                    <a:pt x="76" y="25"/>
                  </a:moveTo>
                  <a:cubicBezTo>
                    <a:pt x="76" y="25"/>
                    <a:pt x="76" y="25"/>
                    <a:pt x="76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6" y="25"/>
                    <a:pt x="76" y="25"/>
                  </a:cubicBezTo>
                  <a:close/>
                  <a:moveTo>
                    <a:pt x="71" y="29"/>
                  </a:moveTo>
                  <a:cubicBezTo>
                    <a:pt x="71" y="29"/>
                    <a:pt x="70" y="29"/>
                    <a:pt x="70" y="29"/>
                  </a:cubicBezTo>
                  <a:cubicBezTo>
                    <a:pt x="71" y="29"/>
                    <a:pt x="73" y="29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3" y="29"/>
                    <a:pt x="72" y="29"/>
                    <a:pt x="71" y="29"/>
                  </a:cubicBezTo>
                  <a:cubicBezTo>
                    <a:pt x="71" y="29"/>
                    <a:pt x="71" y="29"/>
                    <a:pt x="71" y="29"/>
                  </a:cubicBezTo>
                  <a:close/>
                  <a:moveTo>
                    <a:pt x="75" y="21"/>
                  </a:moveTo>
                  <a:cubicBezTo>
                    <a:pt x="75" y="21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5" y="22"/>
                    <a:pt x="75" y="21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3" y="21"/>
                    <a:pt x="73" y="20"/>
                  </a:cubicBezTo>
                  <a:cubicBezTo>
                    <a:pt x="73" y="20"/>
                    <a:pt x="73" y="21"/>
                    <a:pt x="73" y="20"/>
                  </a:cubicBezTo>
                  <a:cubicBezTo>
                    <a:pt x="73" y="20"/>
                    <a:pt x="74" y="20"/>
                    <a:pt x="73" y="21"/>
                  </a:cubicBezTo>
                  <a:cubicBezTo>
                    <a:pt x="74" y="21"/>
                    <a:pt x="74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3" y="24"/>
                  </a:move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3"/>
                    <a:pt x="73" y="24"/>
                    <a:pt x="73" y="24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4" y="20"/>
                  </a:moveTo>
                  <a:cubicBezTo>
                    <a:pt x="73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3" y="20"/>
                    <a:pt x="74" y="20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2" y="19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lose/>
                  <a:moveTo>
                    <a:pt x="72" y="21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lose/>
                  <a:moveTo>
                    <a:pt x="72" y="19"/>
                  </a:moveTo>
                  <a:cubicBezTo>
                    <a:pt x="72" y="19"/>
                    <a:pt x="72" y="20"/>
                    <a:pt x="72" y="20"/>
                  </a:cubicBezTo>
                  <a:cubicBezTo>
                    <a:pt x="72" y="20"/>
                    <a:pt x="72" y="20"/>
                    <a:pt x="72" y="19"/>
                  </a:cubicBezTo>
                  <a:close/>
                  <a:moveTo>
                    <a:pt x="71" y="23"/>
                  </a:moveTo>
                  <a:cubicBezTo>
                    <a:pt x="70" y="23"/>
                    <a:pt x="69" y="23"/>
                    <a:pt x="69" y="23"/>
                  </a:cubicBezTo>
                  <a:cubicBezTo>
                    <a:pt x="70" y="23"/>
                    <a:pt x="70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1"/>
                  </a:moveTo>
                  <a:cubicBezTo>
                    <a:pt x="70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0" y="21"/>
                    <a:pt x="70" y="21"/>
                  </a:cubicBezTo>
                  <a:close/>
                  <a:moveTo>
                    <a:pt x="71" y="21"/>
                  </a:moveTo>
                  <a:cubicBezTo>
                    <a:pt x="71" y="21"/>
                    <a:pt x="70" y="21"/>
                    <a:pt x="70" y="21"/>
                  </a:cubicBezTo>
                  <a:cubicBezTo>
                    <a:pt x="70" y="20"/>
                    <a:pt x="71" y="21"/>
                    <a:pt x="71" y="21"/>
                  </a:cubicBezTo>
                  <a:close/>
                  <a:moveTo>
                    <a:pt x="69" y="21"/>
                  </a:moveTo>
                  <a:cubicBezTo>
                    <a:pt x="70" y="21"/>
                    <a:pt x="70" y="20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0" y="21"/>
                    <a:pt x="69" y="21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68" y="21"/>
                    <a:pt x="67" y="21"/>
                  </a:cubicBezTo>
                  <a:cubicBezTo>
                    <a:pt x="67" y="21"/>
                    <a:pt x="66" y="21"/>
                    <a:pt x="66" y="21"/>
                  </a:cubicBezTo>
                  <a:cubicBezTo>
                    <a:pt x="67" y="21"/>
                    <a:pt x="68" y="21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9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1" y="18"/>
                  </a:cubicBezTo>
                  <a:cubicBezTo>
                    <a:pt x="70" y="18"/>
                    <a:pt x="70" y="18"/>
                    <a:pt x="70" y="18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70" y="21"/>
                  </a:cubicBezTo>
                  <a:cubicBezTo>
                    <a:pt x="70" y="21"/>
                    <a:pt x="69" y="21"/>
                    <a:pt x="69" y="21"/>
                  </a:cubicBezTo>
                  <a:close/>
                  <a:moveTo>
                    <a:pt x="70" y="19"/>
                  </a:move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69" y="19"/>
                    <a:pt x="70" y="18"/>
                  </a:cubicBezTo>
                  <a:close/>
                  <a:moveTo>
                    <a:pt x="68" y="24"/>
                  </a:moveTo>
                  <a:cubicBezTo>
                    <a:pt x="68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lose/>
                  <a:moveTo>
                    <a:pt x="69" y="23"/>
                  </a:moveTo>
                  <a:cubicBezTo>
                    <a:pt x="68" y="23"/>
                    <a:pt x="68" y="22"/>
                    <a:pt x="68" y="22"/>
                  </a:cubicBezTo>
                  <a:cubicBezTo>
                    <a:pt x="68" y="22"/>
                    <a:pt x="68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69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69" y="18"/>
                    <a:pt x="69" y="18"/>
                  </a:cubicBezTo>
                  <a:close/>
                  <a:moveTo>
                    <a:pt x="69" y="20"/>
                  </a:moveTo>
                  <a:cubicBezTo>
                    <a:pt x="69" y="21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9" y="20"/>
                    <a:pt x="69" y="20"/>
                  </a:cubicBezTo>
                  <a:close/>
                  <a:moveTo>
                    <a:pt x="68" y="19"/>
                  </a:moveTo>
                  <a:cubicBezTo>
                    <a:pt x="68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lose/>
                  <a:moveTo>
                    <a:pt x="68" y="22"/>
                  </a:move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8" y="22"/>
                    <a:pt x="68" y="22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6" y="24"/>
                    <a:pt x="67" y="23"/>
                    <a:pt x="67" y="24"/>
                  </a:cubicBezTo>
                  <a:close/>
                  <a:moveTo>
                    <a:pt x="66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lose/>
                  <a:moveTo>
                    <a:pt x="65" y="23"/>
                  </a:moveTo>
                  <a:cubicBezTo>
                    <a:pt x="65" y="23"/>
                    <a:pt x="65" y="24"/>
                    <a:pt x="65" y="24"/>
                  </a:cubicBezTo>
                  <a:cubicBezTo>
                    <a:pt x="65" y="24"/>
                    <a:pt x="65" y="24"/>
                    <a:pt x="65" y="23"/>
                  </a:cubicBezTo>
                  <a:close/>
                  <a:moveTo>
                    <a:pt x="64" y="23"/>
                  </a:move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3" y="22"/>
                    <a:pt x="63" y="22"/>
                  </a:cubicBezTo>
                  <a:close/>
                  <a:moveTo>
                    <a:pt x="64" y="19"/>
                  </a:move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4" y="19"/>
                    <a:pt x="64" y="19"/>
                  </a:cubicBezTo>
                  <a:close/>
                  <a:moveTo>
                    <a:pt x="61" y="23"/>
                  </a:moveTo>
                  <a:cubicBezTo>
                    <a:pt x="61" y="23"/>
                    <a:pt x="62" y="23"/>
                    <a:pt x="62" y="24"/>
                  </a:cubicBezTo>
                  <a:cubicBezTo>
                    <a:pt x="62" y="24"/>
                    <a:pt x="62" y="23"/>
                    <a:pt x="62" y="23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1" y="24"/>
                    <a:pt x="61" y="24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3" y="23"/>
                  </a:cubicBezTo>
                  <a:cubicBezTo>
                    <a:pt x="63" y="23"/>
                    <a:pt x="62" y="22"/>
                    <a:pt x="63" y="23"/>
                  </a:cubicBezTo>
                  <a:cubicBezTo>
                    <a:pt x="62" y="23"/>
                    <a:pt x="62" y="22"/>
                    <a:pt x="62" y="22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3"/>
                  </a:moveTo>
                  <a:cubicBezTo>
                    <a:pt x="62" y="24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19"/>
                  </a:moveTo>
                  <a:cubicBezTo>
                    <a:pt x="63" y="19"/>
                    <a:pt x="63" y="19"/>
                    <a:pt x="63" y="19"/>
                  </a:cubicBezTo>
                  <a:cubicBezTo>
                    <a:pt x="63" y="20"/>
                    <a:pt x="63" y="19"/>
                    <a:pt x="62" y="19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1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3" y="16"/>
                  </a:moveTo>
                  <a:cubicBezTo>
                    <a:pt x="63" y="16"/>
                    <a:pt x="63" y="16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2" y="16"/>
                  </a:moveTo>
                  <a:cubicBezTo>
                    <a:pt x="62" y="15"/>
                    <a:pt x="63" y="16"/>
                    <a:pt x="63" y="16"/>
                  </a:cubicBezTo>
                  <a:cubicBezTo>
                    <a:pt x="63" y="16"/>
                    <a:pt x="62" y="16"/>
                    <a:pt x="62" y="16"/>
                  </a:cubicBezTo>
                  <a:close/>
                  <a:moveTo>
                    <a:pt x="60" y="21"/>
                  </a:move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lose/>
                  <a:moveTo>
                    <a:pt x="60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60" y="24"/>
                    <a:pt x="60" y="24"/>
                  </a:cubicBezTo>
                  <a:close/>
                  <a:moveTo>
                    <a:pt x="60" y="20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1" y="20"/>
                  </a:cubicBezTo>
                  <a:cubicBezTo>
                    <a:pt x="61" y="20"/>
                    <a:pt x="60" y="20"/>
                    <a:pt x="60" y="20"/>
                  </a:cubicBezTo>
                  <a:close/>
                  <a:moveTo>
                    <a:pt x="59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9" y="23"/>
                    <a:pt x="59" y="23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lose/>
                  <a:moveTo>
                    <a:pt x="59" y="25"/>
                  </a:moveTo>
                  <a:cubicBezTo>
                    <a:pt x="59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lose/>
                  <a:moveTo>
                    <a:pt x="59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0" y="19"/>
                    <a:pt x="60" y="19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59" y="23"/>
                  </a:moveTo>
                  <a:cubicBezTo>
                    <a:pt x="59" y="23"/>
                    <a:pt x="59" y="23"/>
                    <a:pt x="58" y="22"/>
                  </a:cubicBezTo>
                  <a:cubicBezTo>
                    <a:pt x="59" y="22"/>
                    <a:pt x="59" y="23"/>
                    <a:pt x="59" y="23"/>
                  </a:cubicBezTo>
                  <a:close/>
                  <a:moveTo>
                    <a:pt x="59" y="20"/>
                  </a:move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20"/>
                    <a:pt x="58" y="20"/>
                    <a:pt x="59" y="20"/>
                  </a:cubicBezTo>
                  <a:cubicBezTo>
                    <a:pt x="59" y="20"/>
                    <a:pt x="59" y="20"/>
                    <a:pt x="59" y="19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59" y="20"/>
                    <a:pt x="59" y="20"/>
                    <a:pt x="59" y="20"/>
                  </a:cubicBezTo>
                  <a:close/>
                  <a:moveTo>
                    <a:pt x="57" y="22"/>
                  </a:moveTo>
                  <a:cubicBezTo>
                    <a:pt x="58" y="22"/>
                    <a:pt x="58" y="23"/>
                    <a:pt x="59" y="23"/>
                  </a:cubicBezTo>
                  <a:cubicBezTo>
                    <a:pt x="58" y="23"/>
                    <a:pt x="58" y="22"/>
                    <a:pt x="57" y="22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lose/>
                  <a:moveTo>
                    <a:pt x="57" y="24"/>
                  </a:moveTo>
                  <a:cubicBezTo>
                    <a:pt x="57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58" y="20"/>
                  </a:moveTo>
                  <a:cubicBezTo>
                    <a:pt x="58" y="19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8" y="21"/>
                  </a:move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2"/>
                    <a:pt x="57" y="22"/>
                  </a:cubicBezTo>
                  <a:cubicBezTo>
                    <a:pt x="57" y="22"/>
                    <a:pt x="58" y="22"/>
                    <a:pt x="57" y="22"/>
                  </a:cubicBezTo>
                  <a:close/>
                  <a:moveTo>
                    <a:pt x="56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3"/>
                  </a:cubicBezTo>
                  <a:cubicBezTo>
                    <a:pt x="56" y="23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7" y="18"/>
                  </a:moveTo>
                  <a:cubicBezTo>
                    <a:pt x="57" y="18"/>
                    <a:pt x="58" y="18"/>
                    <a:pt x="58" y="18"/>
                  </a:cubicBezTo>
                  <a:cubicBezTo>
                    <a:pt x="58" y="18"/>
                    <a:pt x="58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9"/>
                  </a:cubicBezTo>
                  <a:cubicBezTo>
                    <a:pt x="57" y="19"/>
                    <a:pt x="57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lose/>
                  <a:moveTo>
                    <a:pt x="57" y="19"/>
                  </a:move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lose/>
                  <a:moveTo>
                    <a:pt x="58" y="16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5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6" y="22"/>
                    <a:pt x="55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  <a:moveTo>
                    <a:pt x="55" y="24"/>
                  </a:moveTo>
                  <a:cubicBezTo>
                    <a:pt x="55" y="24"/>
                    <a:pt x="55" y="24"/>
                    <a:pt x="54" y="24"/>
                  </a:cubicBezTo>
                  <a:cubicBezTo>
                    <a:pt x="55" y="23"/>
                    <a:pt x="55" y="24"/>
                    <a:pt x="55" y="24"/>
                  </a:cubicBezTo>
                  <a:close/>
                  <a:moveTo>
                    <a:pt x="55" y="23"/>
                  </a:move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22"/>
                  </a:move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55" y="23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18"/>
                  </a:moveTo>
                  <a:cubicBezTo>
                    <a:pt x="54" y="18"/>
                    <a:pt x="55" y="18"/>
                    <a:pt x="54" y="18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4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lnTo>
                    <a:pt x="54" y="18"/>
                  </a:lnTo>
                  <a:close/>
                  <a:moveTo>
                    <a:pt x="53" y="20"/>
                  </a:move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lose/>
                  <a:moveTo>
                    <a:pt x="54" y="14"/>
                  </a:move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4" y="14"/>
                    <a:pt x="54" y="14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2" y="17"/>
                    <a:pt x="53" y="17"/>
                    <a:pt x="52" y="17"/>
                  </a:cubicBezTo>
                  <a:close/>
                  <a:moveTo>
                    <a:pt x="52" y="14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3" y="13"/>
                    <a:pt x="53" y="14"/>
                    <a:pt x="53" y="14"/>
                  </a:cubicBezTo>
                  <a:cubicBezTo>
                    <a:pt x="53" y="14"/>
                    <a:pt x="53" y="14"/>
                    <a:pt x="52" y="14"/>
                  </a:cubicBezTo>
                  <a:close/>
                  <a:moveTo>
                    <a:pt x="52" y="18"/>
                  </a:moveTo>
                  <a:cubicBezTo>
                    <a:pt x="52" y="18"/>
                    <a:pt x="52" y="17"/>
                    <a:pt x="52" y="17"/>
                  </a:cubicBezTo>
                  <a:cubicBezTo>
                    <a:pt x="52" y="17"/>
                    <a:pt x="52" y="17"/>
                    <a:pt x="52" y="18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6"/>
                  </a:cubicBezTo>
                  <a:cubicBezTo>
                    <a:pt x="52" y="16"/>
                    <a:pt x="52" y="17"/>
                    <a:pt x="52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6"/>
                    <a:pt x="52" y="17"/>
                  </a:cubicBezTo>
                  <a:close/>
                  <a:moveTo>
                    <a:pt x="52" y="13"/>
                  </a:moveTo>
                  <a:cubicBezTo>
                    <a:pt x="52" y="13"/>
                    <a:pt x="53" y="13"/>
                    <a:pt x="53" y="13"/>
                  </a:cubicBezTo>
                  <a:cubicBezTo>
                    <a:pt x="53" y="13"/>
                    <a:pt x="52" y="12"/>
                    <a:pt x="52" y="13"/>
                  </a:cubicBezTo>
                  <a:close/>
                  <a:moveTo>
                    <a:pt x="50" y="18"/>
                  </a:move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50" y="18"/>
                    <a:pt x="50" y="18"/>
                  </a:cubicBezTo>
                  <a:close/>
                  <a:moveTo>
                    <a:pt x="48" y="19"/>
                  </a:move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8" y="19"/>
                    <a:pt x="48" y="19"/>
                  </a:cubicBezTo>
                  <a:close/>
                  <a:moveTo>
                    <a:pt x="49" y="14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4"/>
                    <a:pt x="49" y="14"/>
                  </a:cubicBezTo>
                  <a:close/>
                  <a:moveTo>
                    <a:pt x="48" y="15"/>
                  </a:moveTo>
                  <a:cubicBezTo>
                    <a:pt x="48" y="15"/>
                    <a:pt x="49" y="16"/>
                    <a:pt x="49" y="16"/>
                  </a:cubicBezTo>
                  <a:cubicBezTo>
                    <a:pt x="49" y="16"/>
                    <a:pt x="48" y="16"/>
                    <a:pt x="48" y="15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8"/>
                    <a:pt x="47" y="19"/>
                    <a:pt x="47" y="19"/>
                  </a:cubicBezTo>
                  <a:close/>
                  <a:moveTo>
                    <a:pt x="46" y="20"/>
                  </a:moveTo>
                  <a:cubicBezTo>
                    <a:pt x="47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7" y="14"/>
                  </a:move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7" y="14"/>
                    <a:pt x="47" y="14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8"/>
                    <a:pt x="46" y="19"/>
                    <a:pt x="46" y="19"/>
                  </a:cubicBez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2" y="13"/>
                  </a:cubicBezTo>
                  <a:cubicBezTo>
                    <a:pt x="42" y="13"/>
                    <a:pt x="43" y="13"/>
                    <a:pt x="43" y="13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37" y="12"/>
                  </a:move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5" y="16"/>
                    <a:pt x="34" y="16"/>
                    <a:pt x="35" y="16"/>
                  </a:cubicBezTo>
                  <a:cubicBezTo>
                    <a:pt x="35" y="16"/>
                    <a:pt x="35" y="16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9" y="15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9" y="15"/>
                  </a:cubicBezTo>
                  <a:close/>
                  <a:moveTo>
                    <a:pt x="27" y="14"/>
                  </a:moveTo>
                  <a:cubicBezTo>
                    <a:pt x="27" y="15"/>
                    <a:pt x="27" y="14"/>
                    <a:pt x="27" y="15"/>
                  </a:cubicBezTo>
                  <a:cubicBezTo>
                    <a:pt x="26" y="15"/>
                    <a:pt x="26" y="14"/>
                    <a:pt x="27" y="14"/>
                  </a:cubicBezTo>
                  <a:close/>
                  <a:moveTo>
                    <a:pt x="26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lose/>
                  <a:moveTo>
                    <a:pt x="26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4"/>
                    <a:pt x="26" y="13"/>
                    <a:pt x="26" y="13"/>
                  </a:cubicBezTo>
                  <a:close/>
                  <a:moveTo>
                    <a:pt x="25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5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4"/>
                    <a:pt x="23" y="13"/>
                    <a:pt x="22" y="13"/>
                  </a:cubicBezTo>
                  <a:close/>
                  <a:moveTo>
                    <a:pt x="24" y="10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0"/>
                    <a:pt x="24" y="10"/>
                  </a:cubicBezTo>
                  <a:close/>
                  <a:moveTo>
                    <a:pt x="22" y="13"/>
                  </a:moveTo>
                  <a:cubicBezTo>
                    <a:pt x="21" y="13"/>
                    <a:pt x="21" y="13"/>
                    <a:pt x="20" y="13"/>
                  </a:cubicBezTo>
                  <a:cubicBezTo>
                    <a:pt x="20" y="12"/>
                    <a:pt x="21" y="13"/>
                    <a:pt x="22" y="13"/>
                  </a:cubicBezTo>
                  <a:close/>
                  <a:moveTo>
                    <a:pt x="18" y="13"/>
                  </a:moveTo>
                  <a:cubicBezTo>
                    <a:pt x="18" y="12"/>
                    <a:pt x="18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8" y="13"/>
                    <a:pt x="18" y="13"/>
                  </a:cubicBezTo>
                  <a:close/>
                  <a:moveTo>
                    <a:pt x="18" y="12"/>
                  </a:moveTo>
                  <a:cubicBezTo>
                    <a:pt x="18" y="13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lose/>
                  <a:moveTo>
                    <a:pt x="18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lose/>
                  <a:moveTo>
                    <a:pt x="19" y="7"/>
                  </a:moveTo>
                  <a:cubicBezTo>
                    <a:pt x="19" y="7"/>
                    <a:pt x="19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lose/>
                  <a:moveTo>
                    <a:pt x="17" y="10"/>
                  </a:move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8" y="11"/>
                    <a:pt x="18" y="12"/>
                  </a:cubicBezTo>
                  <a:close/>
                  <a:moveTo>
                    <a:pt x="17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6" y="10"/>
                  </a:move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lose/>
                  <a:moveTo>
                    <a:pt x="17" y="10"/>
                  </a:moveTo>
                  <a:cubicBezTo>
                    <a:pt x="17" y="10"/>
                    <a:pt x="16" y="10"/>
                    <a:pt x="16" y="10"/>
                  </a:cubicBezTo>
                  <a:cubicBezTo>
                    <a:pt x="16" y="10"/>
                    <a:pt x="16" y="10"/>
                    <a:pt x="17" y="10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6" y="6"/>
                  </a:move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  <a:moveTo>
                    <a:pt x="14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lose/>
                  <a:moveTo>
                    <a:pt x="12" y="10"/>
                  </a:moveTo>
                  <a:cubicBezTo>
                    <a:pt x="12" y="10"/>
                    <a:pt x="11" y="9"/>
                    <a:pt x="10" y="9"/>
                  </a:cubicBezTo>
                  <a:cubicBezTo>
                    <a:pt x="9" y="9"/>
                    <a:pt x="8" y="9"/>
                    <a:pt x="7" y="8"/>
                  </a:cubicBezTo>
                  <a:cubicBezTo>
                    <a:pt x="9" y="9"/>
                    <a:pt x="11" y="9"/>
                    <a:pt x="12" y="10"/>
                  </a:cubicBezTo>
                  <a:close/>
                  <a:moveTo>
                    <a:pt x="12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2" y="11"/>
                    <a:pt x="12" y="11"/>
                  </a:cubicBezTo>
                  <a:close/>
                  <a:moveTo>
                    <a:pt x="12" y="8"/>
                  </a:moveTo>
                  <a:cubicBezTo>
                    <a:pt x="12" y="8"/>
                    <a:pt x="11" y="8"/>
                    <a:pt x="12" y="8"/>
                  </a:cubicBezTo>
                  <a:cubicBezTo>
                    <a:pt x="11" y="8"/>
                    <a:pt x="12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lose/>
                  <a:moveTo>
                    <a:pt x="11" y="11"/>
                  </a:moveTo>
                  <a:cubicBezTo>
                    <a:pt x="11" y="10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10" y="10"/>
                  </a:move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lose/>
                  <a:moveTo>
                    <a:pt x="10" y="11"/>
                  </a:move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9" y="10"/>
                    <a:pt x="10" y="10"/>
                    <a:pt x="11" y="10"/>
                  </a:cubicBezTo>
                  <a:lnTo>
                    <a:pt x="10" y="11"/>
                  </a:lnTo>
                  <a:close/>
                  <a:moveTo>
                    <a:pt x="10" y="8"/>
                  </a:moveTo>
                  <a:cubicBezTo>
                    <a:pt x="10" y="8"/>
                    <a:pt x="11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lose/>
                  <a:moveTo>
                    <a:pt x="11" y="3"/>
                  </a:move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10"/>
                    <a:pt x="6" y="9"/>
                    <a:pt x="6" y="9"/>
                  </a:cubicBezTo>
                  <a:close/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7" y="7"/>
                  </a:moveTo>
                  <a:cubicBezTo>
                    <a:pt x="6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lose/>
                  <a:moveTo>
                    <a:pt x="6" y="9"/>
                  </a:moveTo>
                  <a:cubicBezTo>
                    <a:pt x="6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lose/>
                  <a:moveTo>
                    <a:pt x="6" y="6"/>
                  </a:moveTo>
                  <a:cubicBezTo>
                    <a:pt x="6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lose/>
                  <a:moveTo>
                    <a:pt x="4" y="9"/>
                  </a:move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4" y="9"/>
                    <a:pt x="4" y="9"/>
                  </a:cubicBezTo>
                  <a:close/>
                  <a:moveTo>
                    <a:pt x="5" y="4"/>
                  </a:moveTo>
                  <a:cubicBezTo>
                    <a:pt x="5" y="4"/>
                    <a:pt x="6" y="4"/>
                    <a:pt x="6" y="4"/>
                  </a:cubicBezTo>
                  <a:cubicBezTo>
                    <a:pt x="6" y="5"/>
                    <a:pt x="5" y="4"/>
                    <a:pt x="5" y="4"/>
                  </a:cubicBezTo>
                  <a:close/>
                  <a:moveTo>
                    <a:pt x="6" y="1"/>
                  </a:move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6" y="1"/>
                    <a:pt x="6" y="1"/>
                  </a:cubicBezTo>
                  <a:close/>
                  <a:moveTo>
                    <a:pt x="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8"/>
                    <a:pt x="3" y="8"/>
                    <a:pt x="3" y="8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lose/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0"/>
                    <a:pt x="4" y="1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lose/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lose/>
                  <a:moveTo>
                    <a:pt x="1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0" y="6"/>
                  </a:move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45" y="54"/>
                  </a:moveTo>
                  <a:cubicBezTo>
                    <a:pt x="144" y="53"/>
                    <a:pt x="143" y="53"/>
                    <a:pt x="143" y="53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3" y="53"/>
                    <a:pt x="142" y="53"/>
                    <a:pt x="142" y="53"/>
                  </a:cubicBezTo>
                  <a:cubicBezTo>
                    <a:pt x="141" y="53"/>
                    <a:pt x="141" y="52"/>
                    <a:pt x="140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39" y="51"/>
                    <a:pt x="139" y="52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7" y="50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0"/>
                    <a:pt x="136" y="51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49"/>
                    <a:pt x="135" y="49"/>
                  </a:cubicBezTo>
                  <a:cubicBezTo>
                    <a:pt x="134" y="49"/>
                    <a:pt x="135" y="49"/>
                    <a:pt x="135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4" y="49"/>
                    <a:pt x="134" y="49"/>
                    <a:pt x="133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2" y="48"/>
                  </a:cubicBezTo>
                  <a:cubicBezTo>
                    <a:pt x="132" y="48"/>
                    <a:pt x="131" y="48"/>
                    <a:pt x="131" y="48"/>
                  </a:cubicBezTo>
                  <a:cubicBezTo>
                    <a:pt x="131" y="48"/>
                    <a:pt x="131" y="47"/>
                    <a:pt x="131" y="47"/>
                  </a:cubicBezTo>
                  <a:cubicBezTo>
                    <a:pt x="131" y="47"/>
                    <a:pt x="131" y="48"/>
                    <a:pt x="130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7"/>
                    <a:pt x="130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6"/>
                    <a:pt x="129" y="47"/>
                  </a:cubicBezTo>
                  <a:cubicBezTo>
                    <a:pt x="128" y="47"/>
                    <a:pt x="129" y="46"/>
                    <a:pt x="128" y="46"/>
                  </a:cubicBezTo>
                  <a:cubicBezTo>
                    <a:pt x="128" y="46"/>
                    <a:pt x="129" y="46"/>
                    <a:pt x="129" y="46"/>
                  </a:cubicBezTo>
                  <a:cubicBezTo>
                    <a:pt x="129" y="46"/>
                    <a:pt x="128" y="46"/>
                    <a:pt x="128" y="46"/>
                  </a:cubicBezTo>
                  <a:cubicBezTo>
                    <a:pt x="128" y="46"/>
                    <a:pt x="126" y="46"/>
                    <a:pt x="126" y="45"/>
                  </a:cubicBezTo>
                  <a:cubicBezTo>
                    <a:pt x="127" y="45"/>
                    <a:pt x="127" y="46"/>
                    <a:pt x="127" y="46"/>
                  </a:cubicBezTo>
                  <a:cubicBezTo>
                    <a:pt x="127" y="46"/>
                    <a:pt x="127" y="45"/>
                    <a:pt x="127" y="45"/>
                  </a:cubicBezTo>
                  <a:cubicBezTo>
                    <a:pt x="126" y="45"/>
                    <a:pt x="126" y="45"/>
                    <a:pt x="127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5" y="45"/>
                    <a:pt x="126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5" y="45"/>
                    <a:pt x="124" y="45"/>
                  </a:cubicBezTo>
                  <a:cubicBezTo>
                    <a:pt x="125" y="44"/>
                    <a:pt x="125" y="45"/>
                    <a:pt x="125" y="45"/>
                  </a:cubicBezTo>
                  <a:cubicBezTo>
                    <a:pt x="125" y="44"/>
                    <a:pt x="125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3"/>
                    <a:pt x="122" y="43"/>
                  </a:cubicBezTo>
                  <a:cubicBezTo>
                    <a:pt x="122" y="44"/>
                    <a:pt x="124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3"/>
                    <a:pt x="123" y="44"/>
                    <a:pt x="123" y="44"/>
                  </a:cubicBezTo>
                  <a:cubicBezTo>
                    <a:pt x="123" y="43"/>
                    <a:pt x="123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1" y="43"/>
                    <a:pt x="122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2" y="43"/>
                  </a:cubicBezTo>
                  <a:cubicBezTo>
                    <a:pt x="122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0" y="42"/>
                    <a:pt x="121" y="42"/>
                  </a:cubicBezTo>
                  <a:cubicBezTo>
                    <a:pt x="121" y="43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3"/>
                    <a:pt x="121" y="43"/>
                    <a:pt x="121" y="43"/>
                  </a:cubicBezTo>
                  <a:cubicBezTo>
                    <a:pt x="120" y="43"/>
                    <a:pt x="120" y="43"/>
                    <a:pt x="119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3"/>
                    <a:pt x="119" y="43"/>
                    <a:pt x="118" y="43"/>
                  </a:cubicBez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7" y="42"/>
                    <a:pt x="118" y="42"/>
                    <a:pt x="118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7" y="41"/>
                  </a:cubicBezTo>
                  <a:cubicBezTo>
                    <a:pt x="117" y="42"/>
                    <a:pt x="117" y="41"/>
                    <a:pt x="117" y="42"/>
                  </a:cubicBezTo>
                  <a:cubicBezTo>
                    <a:pt x="117" y="42"/>
                    <a:pt x="117" y="42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4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1" y="40"/>
                    <a:pt x="111" y="39"/>
                  </a:cubicBezTo>
                  <a:cubicBezTo>
                    <a:pt x="111" y="39"/>
                    <a:pt x="111" y="40"/>
                    <a:pt x="111" y="40"/>
                  </a:cubicBezTo>
                  <a:cubicBezTo>
                    <a:pt x="111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40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7" y="38"/>
                  </a:cubicBezTo>
                  <a:cubicBezTo>
                    <a:pt x="108" y="38"/>
                    <a:pt x="108" y="39"/>
                    <a:pt x="108" y="38"/>
                  </a:cubicBezTo>
                  <a:cubicBezTo>
                    <a:pt x="109" y="38"/>
                    <a:pt x="109" y="38"/>
                    <a:pt x="109" y="39"/>
                  </a:cubicBezTo>
                  <a:cubicBezTo>
                    <a:pt x="109" y="39"/>
                    <a:pt x="109" y="38"/>
                    <a:pt x="109" y="38"/>
                  </a:cubicBezTo>
                  <a:cubicBezTo>
                    <a:pt x="111" y="39"/>
                    <a:pt x="112" y="39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4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1"/>
                    <a:pt x="116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7" y="41"/>
                    <a:pt x="116" y="41"/>
                    <a:pt x="116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0"/>
                  </a:cubicBezTo>
                  <a:cubicBezTo>
                    <a:pt x="116" y="41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ubicBezTo>
                    <a:pt x="114" y="39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4" y="39"/>
                    <a:pt x="113" y="39"/>
                  </a:cubicBezTo>
                  <a:cubicBezTo>
                    <a:pt x="114" y="39"/>
                    <a:pt x="115" y="39"/>
                    <a:pt x="116" y="39"/>
                  </a:cubicBezTo>
                  <a:cubicBezTo>
                    <a:pt x="115" y="40"/>
                    <a:pt x="115" y="39"/>
                    <a:pt x="115" y="39"/>
                  </a:cubicBezTo>
                  <a:cubicBezTo>
                    <a:pt x="115" y="39"/>
                    <a:pt x="115" y="40"/>
                    <a:pt x="115" y="40"/>
                  </a:cubicBezTo>
                  <a:cubicBezTo>
                    <a:pt x="116" y="39"/>
                    <a:pt x="116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41"/>
                  </a:cubicBezTo>
                  <a:cubicBezTo>
                    <a:pt x="118" y="41"/>
                    <a:pt x="117" y="40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7" y="40"/>
                    <a:pt x="117" y="40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0" y="41"/>
                    <a:pt x="119" y="41"/>
                  </a:cubicBezTo>
                  <a:cubicBezTo>
                    <a:pt x="120" y="42"/>
                    <a:pt x="121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3"/>
                    <a:pt x="122" y="42"/>
                    <a:pt x="122" y="43"/>
                  </a:cubicBezTo>
                  <a:cubicBezTo>
                    <a:pt x="123" y="43"/>
                    <a:pt x="122" y="42"/>
                    <a:pt x="122" y="42"/>
                  </a:cubicBezTo>
                  <a:cubicBezTo>
                    <a:pt x="123" y="42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3"/>
                    <a:pt x="123" y="43"/>
                    <a:pt x="123" y="43"/>
                  </a:cubicBezTo>
                  <a:cubicBezTo>
                    <a:pt x="123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6" y="44"/>
                    <a:pt x="125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9" y="45"/>
                    <a:pt x="129" y="45"/>
                  </a:cubicBezTo>
                  <a:cubicBezTo>
                    <a:pt x="129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4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8" y="44"/>
                    <a:pt x="128" y="44"/>
                  </a:cubicBezTo>
                  <a:cubicBezTo>
                    <a:pt x="128" y="44"/>
                    <a:pt x="128" y="44"/>
                    <a:pt x="127" y="44"/>
                  </a:cubicBezTo>
                  <a:cubicBezTo>
                    <a:pt x="127" y="44"/>
                    <a:pt x="126" y="44"/>
                    <a:pt x="126" y="44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2"/>
                  </a:cubicBezTo>
                  <a:cubicBezTo>
                    <a:pt x="124" y="42"/>
                    <a:pt x="124" y="42"/>
                    <a:pt x="124" y="43"/>
                  </a:cubicBezTo>
                  <a:cubicBezTo>
                    <a:pt x="124" y="42"/>
                    <a:pt x="124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2" y="42"/>
                  </a:cubicBezTo>
                  <a:cubicBezTo>
                    <a:pt x="122" y="41"/>
                    <a:pt x="122" y="42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1" y="41"/>
                    <a:pt x="121" y="41"/>
                  </a:cubicBezTo>
                  <a:cubicBezTo>
                    <a:pt x="122" y="41"/>
                    <a:pt x="122" y="41"/>
                    <a:pt x="121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3" y="41"/>
                    <a:pt x="122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4" y="41"/>
                    <a:pt x="123" y="41"/>
                    <a:pt x="122" y="41"/>
                  </a:cubicBezTo>
                  <a:cubicBezTo>
                    <a:pt x="122" y="41"/>
                    <a:pt x="122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1" y="39"/>
                    <a:pt x="121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19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20" y="39"/>
                  </a:cubicBezTo>
                  <a:cubicBezTo>
                    <a:pt x="120" y="39"/>
                    <a:pt x="119" y="39"/>
                    <a:pt x="119" y="38"/>
                  </a:cubicBezTo>
                  <a:cubicBezTo>
                    <a:pt x="119" y="38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9" y="39"/>
                  </a:cubicBezTo>
                  <a:cubicBezTo>
                    <a:pt x="119" y="40"/>
                    <a:pt x="118" y="40"/>
                    <a:pt x="118" y="40"/>
                  </a:cubicBezTo>
                  <a:cubicBezTo>
                    <a:pt x="118" y="40"/>
                    <a:pt x="119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39"/>
                    <a:pt x="118" y="40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7" y="39"/>
                  </a:cubicBezTo>
                  <a:cubicBezTo>
                    <a:pt x="116" y="39"/>
                    <a:pt x="116" y="39"/>
                    <a:pt x="115" y="39"/>
                  </a:cubicBezTo>
                  <a:cubicBezTo>
                    <a:pt x="115" y="38"/>
                    <a:pt x="115" y="39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7"/>
                    <a:pt x="112" y="37"/>
                    <a:pt x="113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1" y="37"/>
                    <a:pt x="111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4" y="37"/>
                    <a:pt x="114" y="37"/>
                    <a:pt x="114" y="38"/>
                  </a:cubicBezTo>
                  <a:cubicBezTo>
                    <a:pt x="114" y="38"/>
                    <a:pt x="114" y="38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7" y="38"/>
                    <a:pt x="116" y="38"/>
                    <a:pt x="117" y="39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6" y="38"/>
                  </a:cubicBezTo>
                  <a:cubicBezTo>
                    <a:pt x="116" y="38"/>
                    <a:pt x="116" y="38"/>
                    <a:pt x="117" y="38"/>
                  </a:cubicBezTo>
                  <a:cubicBezTo>
                    <a:pt x="117" y="38"/>
                    <a:pt x="116" y="37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8"/>
                  </a:cubicBezTo>
                  <a:cubicBezTo>
                    <a:pt x="117" y="38"/>
                    <a:pt x="117" y="37"/>
                    <a:pt x="117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9"/>
                    <a:pt x="120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8"/>
                    <a:pt x="120" y="39"/>
                  </a:cubicBezTo>
                  <a:cubicBezTo>
                    <a:pt x="120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40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4" y="39"/>
                    <a:pt x="124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6" y="41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7" y="40"/>
                  </a:cubicBezTo>
                  <a:cubicBezTo>
                    <a:pt x="127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39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9" y="40"/>
                  </a:cubicBezTo>
                  <a:cubicBezTo>
                    <a:pt x="128" y="39"/>
                    <a:pt x="128" y="39"/>
                    <a:pt x="127" y="39"/>
                  </a:cubicBezTo>
                  <a:cubicBezTo>
                    <a:pt x="127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9" y="39"/>
                  </a:cubicBezTo>
                  <a:cubicBezTo>
                    <a:pt x="129" y="39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40"/>
                  </a:cubicBezTo>
                  <a:cubicBezTo>
                    <a:pt x="129" y="39"/>
                    <a:pt x="129" y="40"/>
                    <a:pt x="129" y="40"/>
                  </a:cubicBezTo>
                  <a:cubicBezTo>
                    <a:pt x="129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9" y="40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1"/>
                  </a:cubicBezTo>
                  <a:cubicBezTo>
                    <a:pt x="130" y="41"/>
                    <a:pt x="130" y="41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1" y="41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39"/>
                  </a:cubicBezTo>
                  <a:cubicBezTo>
                    <a:pt x="130" y="39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8"/>
                    <a:pt x="129" y="38"/>
                  </a:cubicBezTo>
                  <a:cubicBezTo>
                    <a:pt x="129" y="38"/>
                    <a:pt x="129" y="39"/>
                    <a:pt x="129" y="39"/>
                  </a:cubicBezTo>
                  <a:cubicBezTo>
                    <a:pt x="129" y="38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8"/>
                    <a:pt x="124" y="38"/>
                    <a:pt x="123" y="37"/>
                  </a:cubicBezTo>
                  <a:cubicBezTo>
                    <a:pt x="123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8"/>
                    <a:pt x="123" y="37"/>
                  </a:cubicBezTo>
                  <a:cubicBezTo>
                    <a:pt x="123" y="37"/>
                    <a:pt x="123" y="38"/>
                    <a:pt x="123" y="38"/>
                  </a:cubicBezTo>
                  <a:cubicBezTo>
                    <a:pt x="123" y="38"/>
                    <a:pt x="123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1" y="36"/>
                    <a:pt x="120" y="36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1" y="36"/>
                    <a:pt x="123" y="36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8"/>
                    <a:pt x="126" y="37"/>
                    <a:pt x="126" y="38"/>
                  </a:cubicBezTo>
                  <a:cubicBezTo>
                    <a:pt x="126" y="38"/>
                    <a:pt x="126" y="37"/>
                    <a:pt x="125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8"/>
                    <a:pt x="128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7"/>
                  </a:cubicBezTo>
                  <a:cubicBezTo>
                    <a:pt x="128" y="38"/>
                    <a:pt x="128" y="37"/>
                    <a:pt x="129" y="37"/>
                  </a:cubicBezTo>
                  <a:cubicBezTo>
                    <a:pt x="129" y="37"/>
                    <a:pt x="129" y="38"/>
                    <a:pt x="129" y="38"/>
                  </a:cubicBezTo>
                  <a:cubicBezTo>
                    <a:pt x="129" y="38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6"/>
                    <a:pt x="128" y="37"/>
                    <a:pt x="129" y="37"/>
                  </a:cubicBezTo>
                  <a:cubicBezTo>
                    <a:pt x="128" y="37"/>
                    <a:pt x="129" y="37"/>
                    <a:pt x="129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30" y="36"/>
                    <a:pt x="129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7"/>
                    <a:pt x="131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7"/>
                  </a:cubicBezTo>
                  <a:cubicBezTo>
                    <a:pt x="132" y="37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7"/>
                    <a:pt x="133" y="36"/>
                  </a:cubicBezTo>
                  <a:cubicBezTo>
                    <a:pt x="133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4" y="37"/>
                  </a:cubicBezTo>
                  <a:cubicBezTo>
                    <a:pt x="134" y="37"/>
                    <a:pt x="133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5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7" y="37"/>
                    <a:pt x="138" y="37"/>
                    <a:pt x="138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7" y="36"/>
                  </a:cubicBezTo>
                  <a:cubicBezTo>
                    <a:pt x="137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8" y="36"/>
                  </a:cubicBezTo>
                  <a:cubicBezTo>
                    <a:pt x="138" y="36"/>
                    <a:pt x="138" y="36"/>
                    <a:pt x="139" y="36"/>
                  </a:cubicBezTo>
                  <a:cubicBezTo>
                    <a:pt x="139" y="36"/>
                    <a:pt x="138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7"/>
                  </a:cubicBezTo>
                  <a:cubicBezTo>
                    <a:pt x="139" y="37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7"/>
                    <a:pt x="140" y="36"/>
                    <a:pt x="140" y="36"/>
                  </a:cubicBezTo>
                  <a:cubicBezTo>
                    <a:pt x="140" y="37"/>
                    <a:pt x="140" y="37"/>
                    <a:pt x="141" y="36"/>
                  </a:cubicBezTo>
                  <a:cubicBezTo>
                    <a:pt x="141" y="37"/>
                    <a:pt x="141" y="37"/>
                    <a:pt x="142" y="37"/>
                  </a:cubicBezTo>
                  <a:cubicBezTo>
                    <a:pt x="142" y="37"/>
                    <a:pt x="141" y="37"/>
                    <a:pt x="142" y="36"/>
                  </a:cubicBezTo>
                  <a:cubicBezTo>
                    <a:pt x="142" y="37"/>
                    <a:pt x="142" y="36"/>
                    <a:pt x="142" y="36"/>
                  </a:cubicBezTo>
                  <a:cubicBezTo>
                    <a:pt x="143" y="36"/>
                    <a:pt x="142" y="36"/>
                    <a:pt x="143" y="36"/>
                  </a:cubicBezTo>
                  <a:cubicBezTo>
                    <a:pt x="143" y="36"/>
                    <a:pt x="143" y="36"/>
                    <a:pt x="142" y="36"/>
                  </a:cubicBezTo>
                  <a:cubicBezTo>
                    <a:pt x="142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4" y="37"/>
                    <a:pt x="144" y="37"/>
                  </a:cubicBezTo>
                  <a:cubicBezTo>
                    <a:pt x="143" y="37"/>
                    <a:pt x="145" y="37"/>
                    <a:pt x="145" y="37"/>
                  </a:cubicBezTo>
                  <a:cubicBezTo>
                    <a:pt x="145" y="37"/>
                    <a:pt x="145" y="38"/>
                    <a:pt x="146" y="38"/>
                  </a:cubicBezTo>
                  <a:cubicBezTo>
                    <a:pt x="146" y="38"/>
                    <a:pt x="146" y="38"/>
                    <a:pt x="146" y="38"/>
                  </a:cubicBezTo>
                  <a:cubicBezTo>
                    <a:pt x="146" y="38"/>
                    <a:pt x="145" y="38"/>
                    <a:pt x="146" y="38"/>
                  </a:cubicBezTo>
                  <a:cubicBezTo>
                    <a:pt x="146" y="37"/>
                    <a:pt x="146" y="38"/>
                    <a:pt x="146" y="38"/>
                  </a:cubicBezTo>
                  <a:cubicBezTo>
                    <a:pt x="146" y="38"/>
                    <a:pt x="146" y="38"/>
                    <a:pt x="147" y="38"/>
                  </a:cubicBezTo>
                  <a:cubicBezTo>
                    <a:pt x="147" y="38"/>
                    <a:pt x="146" y="38"/>
                    <a:pt x="146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38"/>
                    <a:pt x="147" y="39"/>
                    <a:pt x="148" y="39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8" y="39"/>
                    <a:pt x="148" y="40"/>
                    <a:pt x="149" y="40"/>
                  </a:cubicBezTo>
                  <a:cubicBezTo>
                    <a:pt x="148" y="40"/>
                    <a:pt x="149" y="40"/>
                    <a:pt x="149" y="40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49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8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9" y="39"/>
                    <a:pt x="149" y="39"/>
                  </a:cubicBezTo>
                  <a:cubicBezTo>
                    <a:pt x="149" y="39"/>
                    <a:pt x="149" y="40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40"/>
                    <a:pt x="150" y="40"/>
                    <a:pt x="150" y="39"/>
                  </a:cubicBezTo>
                  <a:cubicBezTo>
                    <a:pt x="150" y="40"/>
                    <a:pt x="151" y="40"/>
                    <a:pt x="151" y="40"/>
                  </a:cubicBezTo>
                  <a:cubicBezTo>
                    <a:pt x="151" y="40"/>
                    <a:pt x="152" y="40"/>
                    <a:pt x="152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2" y="40"/>
                  </a:cubicBezTo>
                  <a:cubicBezTo>
                    <a:pt x="153" y="40"/>
                    <a:pt x="153" y="41"/>
                    <a:pt x="153" y="4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4" y="40"/>
                    <a:pt x="154" y="41"/>
                    <a:pt x="154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4" y="41"/>
                    <a:pt x="154" y="41"/>
                  </a:cubicBezTo>
                  <a:cubicBezTo>
                    <a:pt x="154" y="41"/>
                    <a:pt x="154" y="42"/>
                    <a:pt x="154" y="42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5" y="41"/>
                    <a:pt x="154" y="41"/>
                  </a:cubicBezTo>
                  <a:cubicBezTo>
                    <a:pt x="155" y="40"/>
                    <a:pt x="155" y="41"/>
                    <a:pt x="155" y="41"/>
                  </a:cubicBezTo>
                  <a:cubicBezTo>
                    <a:pt x="155" y="41"/>
                    <a:pt x="155" y="42"/>
                    <a:pt x="155" y="42"/>
                  </a:cubicBezTo>
                  <a:cubicBezTo>
                    <a:pt x="155" y="42"/>
                    <a:pt x="155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1"/>
                  </a:cubicBezTo>
                  <a:cubicBezTo>
                    <a:pt x="156" y="41"/>
                    <a:pt x="156" y="41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7" y="42"/>
                    <a:pt x="157" y="42"/>
                    <a:pt x="157" y="42"/>
                  </a:cubicBezTo>
                  <a:cubicBezTo>
                    <a:pt x="157" y="42"/>
                    <a:pt x="158" y="42"/>
                    <a:pt x="158" y="43"/>
                  </a:cubicBezTo>
                  <a:cubicBezTo>
                    <a:pt x="158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60" y="44"/>
                    <a:pt x="161" y="44"/>
                    <a:pt x="161" y="44"/>
                  </a:cubicBezTo>
                  <a:cubicBezTo>
                    <a:pt x="161" y="45"/>
                    <a:pt x="161" y="44"/>
                    <a:pt x="161" y="45"/>
                  </a:cubicBezTo>
                  <a:cubicBezTo>
                    <a:pt x="163" y="46"/>
                    <a:pt x="164" y="47"/>
                    <a:pt x="163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50"/>
                    <a:pt x="164" y="50"/>
                  </a:cubicBezTo>
                  <a:cubicBezTo>
                    <a:pt x="164" y="51"/>
                    <a:pt x="164" y="51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3"/>
                    <a:pt x="162" y="53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59" y="54"/>
                    <a:pt x="158" y="55"/>
                  </a:cubicBezTo>
                  <a:cubicBezTo>
                    <a:pt x="158" y="55"/>
                    <a:pt x="159" y="55"/>
                    <a:pt x="159" y="55"/>
                  </a:cubicBezTo>
                  <a:cubicBezTo>
                    <a:pt x="159" y="55"/>
                    <a:pt x="158" y="55"/>
                    <a:pt x="158" y="55"/>
                  </a:cubicBezTo>
                  <a:cubicBezTo>
                    <a:pt x="158" y="55"/>
                    <a:pt x="158" y="55"/>
                    <a:pt x="157" y="55"/>
                  </a:cubicBezTo>
                  <a:cubicBezTo>
                    <a:pt x="156" y="55"/>
                    <a:pt x="155" y="56"/>
                    <a:pt x="154" y="56"/>
                  </a:cubicBezTo>
                  <a:cubicBezTo>
                    <a:pt x="154" y="56"/>
                    <a:pt x="153" y="56"/>
                    <a:pt x="153" y="56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1" y="55"/>
                    <a:pt x="151" y="55"/>
                    <a:pt x="150" y="55"/>
                  </a:cubicBezTo>
                  <a:cubicBezTo>
                    <a:pt x="150" y="55"/>
                    <a:pt x="149" y="55"/>
                    <a:pt x="149" y="55"/>
                  </a:cubicBezTo>
                  <a:cubicBezTo>
                    <a:pt x="149" y="55"/>
                    <a:pt x="149" y="55"/>
                    <a:pt x="148" y="54"/>
                  </a:cubicBezTo>
                  <a:cubicBezTo>
                    <a:pt x="147" y="54"/>
                    <a:pt x="146" y="54"/>
                    <a:pt x="145" y="54"/>
                  </a:cubicBezTo>
                  <a:cubicBezTo>
                    <a:pt x="145" y="54"/>
                    <a:pt x="145" y="54"/>
                    <a:pt x="145" y="54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37" y="37"/>
                  </a:move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6"/>
                    <a:pt x="137" y="37"/>
                    <a:pt x="137" y="37"/>
                  </a:cubicBezTo>
                  <a:close/>
                  <a:moveTo>
                    <a:pt x="140" y="38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8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9" y="37"/>
                    <a:pt x="139" y="37"/>
                  </a:cubicBezTo>
                  <a:cubicBezTo>
                    <a:pt x="139" y="37"/>
                    <a:pt x="138" y="37"/>
                    <a:pt x="138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7" y="37"/>
                  </a:moveTo>
                  <a:cubicBezTo>
                    <a:pt x="137" y="38"/>
                    <a:pt x="137" y="38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6" y="38"/>
                  </a:moveTo>
                  <a:cubicBezTo>
                    <a:pt x="136" y="38"/>
                    <a:pt x="136" y="38"/>
                    <a:pt x="136" y="38"/>
                  </a:cubicBezTo>
                  <a:cubicBezTo>
                    <a:pt x="136" y="38"/>
                    <a:pt x="137" y="38"/>
                    <a:pt x="136" y="37"/>
                  </a:cubicBezTo>
                  <a:cubicBezTo>
                    <a:pt x="136" y="38"/>
                    <a:pt x="136" y="38"/>
                    <a:pt x="136" y="37"/>
                  </a:cubicBezTo>
                  <a:cubicBezTo>
                    <a:pt x="136" y="37"/>
                    <a:pt x="136" y="37"/>
                    <a:pt x="136" y="38"/>
                  </a:cubicBezTo>
                  <a:close/>
                  <a:moveTo>
                    <a:pt x="135" y="38"/>
                  </a:moveTo>
                  <a:cubicBezTo>
                    <a:pt x="135" y="38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8"/>
                  </a:cubicBezTo>
                  <a:close/>
                  <a:moveTo>
                    <a:pt x="134" y="37"/>
                  </a:moveTo>
                  <a:cubicBezTo>
                    <a:pt x="134" y="38"/>
                    <a:pt x="135" y="38"/>
                    <a:pt x="135" y="38"/>
                  </a:cubicBezTo>
                  <a:cubicBezTo>
                    <a:pt x="134" y="38"/>
                    <a:pt x="135" y="37"/>
                    <a:pt x="134" y="37"/>
                  </a:cubicBezTo>
                  <a:cubicBezTo>
                    <a:pt x="134" y="38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lose/>
                  <a:moveTo>
                    <a:pt x="133" y="37"/>
                  </a:move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1" y="38"/>
                  </a:move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1" y="38"/>
                    <a:pt x="131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8" y="38"/>
                    <a:pt x="128" y="38"/>
                  </a:cubicBezTo>
                  <a:cubicBezTo>
                    <a:pt x="128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9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30" y="38"/>
                  </a:cubicBezTo>
                  <a:cubicBezTo>
                    <a:pt x="129" y="38"/>
                    <a:pt x="130" y="38"/>
                    <a:pt x="129" y="37"/>
                  </a:cubicBezTo>
                  <a:cubicBezTo>
                    <a:pt x="129" y="38"/>
                    <a:pt x="130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lose/>
                  <a:moveTo>
                    <a:pt x="124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6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32" y="39"/>
                  </a:moveTo>
                  <a:cubicBezTo>
                    <a:pt x="131" y="39"/>
                    <a:pt x="131" y="39"/>
                    <a:pt x="131" y="39"/>
                  </a:cubicBezTo>
                  <a:cubicBezTo>
                    <a:pt x="131" y="39"/>
                    <a:pt x="131" y="39"/>
                    <a:pt x="132" y="39"/>
                  </a:cubicBezTo>
                  <a:close/>
                  <a:moveTo>
                    <a:pt x="142" y="43"/>
                  </a:move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2" y="43"/>
                  </a:cubicBezTo>
                  <a:close/>
                  <a:moveTo>
                    <a:pt x="132" y="41"/>
                  </a:move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lose/>
                  <a:moveTo>
                    <a:pt x="132" y="41"/>
                  </a:moveTo>
                  <a:cubicBezTo>
                    <a:pt x="133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3" y="41"/>
                  </a:cubicBezTo>
                  <a:cubicBezTo>
                    <a:pt x="132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2" y="41"/>
                    <a:pt x="132" y="41"/>
                  </a:cubicBezTo>
                  <a:close/>
                  <a:moveTo>
                    <a:pt x="132" y="40"/>
                  </a:moveTo>
                  <a:cubicBezTo>
                    <a:pt x="132" y="40"/>
                    <a:pt x="132" y="40"/>
                    <a:pt x="131" y="40"/>
                  </a:cubicBezTo>
                  <a:cubicBezTo>
                    <a:pt x="131" y="40"/>
                    <a:pt x="132" y="41"/>
                    <a:pt x="132" y="40"/>
                  </a:cubicBezTo>
                  <a:cubicBezTo>
                    <a:pt x="132" y="40"/>
                    <a:pt x="131" y="40"/>
                    <a:pt x="132" y="40"/>
                  </a:cubicBezTo>
                  <a:cubicBezTo>
                    <a:pt x="132" y="40"/>
                    <a:pt x="132" y="40"/>
                    <a:pt x="132" y="41"/>
                  </a:cubicBezTo>
                  <a:cubicBezTo>
                    <a:pt x="132" y="40"/>
                    <a:pt x="132" y="41"/>
                    <a:pt x="132" y="41"/>
                  </a:cubicBezTo>
                  <a:cubicBezTo>
                    <a:pt x="132" y="41"/>
                    <a:pt x="132" y="40"/>
                    <a:pt x="132" y="40"/>
                  </a:cubicBezTo>
                  <a:close/>
                  <a:moveTo>
                    <a:pt x="131" y="40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lose/>
                  <a:moveTo>
                    <a:pt x="134" y="41"/>
                  </a:move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lose/>
                  <a:moveTo>
                    <a:pt x="130" y="40"/>
                  </a:move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lose/>
                  <a:moveTo>
                    <a:pt x="131" y="41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2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2"/>
                  </a:cubicBezTo>
                  <a:cubicBezTo>
                    <a:pt x="131" y="42"/>
                    <a:pt x="131" y="41"/>
                    <a:pt x="131" y="41"/>
                  </a:cubicBezTo>
                  <a:close/>
                  <a:moveTo>
                    <a:pt x="133" y="42"/>
                  </a:move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3" y="42"/>
                    <a:pt x="133" y="42"/>
                  </a:cubicBezTo>
                  <a:close/>
                  <a:moveTo>
                    <a:pt x="130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lose/>
                  <a:moveTo>
                    <a:pt x="128" y="41"/>
                  </a:moveTo>
                  <a:cubicBezTo>
                    <a:pt x="128" y="40"/>
                    <a:pt x="128" y="40"/>
                    <a:pt x="128" y="40"/>
                  </a:cubicBezTo>
                  <a:cubicBezTo>
                    <a:pt x="128" y="41"/>
                    <a:pt x="128" y="40"/>
                    <a:pt x="128" y="40"/>
                  </a:cubicBezTo>
                  <a:cubicBezTo>
                    <a:pt x="128" y="40"/>
                    <a:pt x="128" y="41"/>
                    <a:pt x="128" y="41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1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41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8" y="41"/>
                  </a:cubicBezTo>
                  <a:close/>
                  <a:moveTo>
                    <a:pt x="113" y="38"/>
                  </a:moveTo>
                  <a:cubicBezTo>
                    <a:pt x="113" y="37"/>
                    <a:pt x="113" y="38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8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6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28" y="41"/>
                  </a:move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7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lose/>
                  <a:moveTo>
                    <a:pt x="124" y="40"/>
                  </a:move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lose/>
                  <a:moveTo>
                    <a:pt x="122" y="39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40"/>
                    <a:pt x="122" y="39"/>
                  </a:cubicBezTo>
                  <a:close/>
                  <a:moveTo>
                    <a:pt x="121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40"/>
                    <a:pt x="122" y="40"/>
                    <a:pt x="121" y="40"/>
                  </a:cubicBezTo>
                  <a:close/>
                  <a:moveTo>
                    <a:pt x="122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4" y="40"/>
                    <a:pt x="123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lose/>
                  <a:moveTo>
                    <a:pt x="125" y="41"/>
                  </a:move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5" y="42"/>
                    <a:pt x="125" y="41"/>
                  </a:cubicBezTo>
                  <a:close/>
                  <a:moveTo>
                    <a:pt x="126" y="42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126" y="42"/>
                    <a:pt x="126" y="42"/>
                    <a:pt x="126" y="42"/>
                  </a:cubicBezTo>
                  <a:close/>
                  <a:moveTo>
                    <a:pt x="124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4" y="41"/>
                    <a:pt x="124" y="41"/>
                  </a:cubicBezTo>
                  <a:cubicBezTo>
                    <a:pt x="124" y="42"/>
                    <a:pt x="125" y="42"/>
                    <a:pt x="124" y="42"/>
                  </a:cubicBezTo>
                  <a:cubicBezTo>
                    <a:pt x="124" y="42"/>
                    <a:pt x="124" y="41"/>
                    <a:pt x="124" y="41"/>
                  </a:cubicBezTo>
                  <a:cubicBezTo>
                    <a:pt x="124" y="42"/>
                    <a:pt x="124" y="42"/>
                    <a:pt x="124" y="42"/>
                  </a:cubicBezTo>
                  <a:close/>
                  <a:moveTo>
                    <a:pt x="132" y="45"/>
                  </a:move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3" y="45"/>
                    <a:pt x="132" y="45"/>
                  </a:cubicBezTo>
                  <a:close/>
                  <a:moveTo>
                    <a:pt x="130" y="45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5"/>
                    <a:pt x="130" y="45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31" y="45"/>
                  </a:move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lose/>
                  <a:moveTo>
                    <a:pt x="131" y="44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7" y="43"/>
                    <a:pt x="127" y="43"/>
                  </a:cubicBezTo>
                  <a:cubicBezTo>
                    <a:pt x="127" y="43"/>
                    <a:pt x="126" y="43"/>
                    <a:pt x="126" y="43"/>
                  </a:cubicBezTo>
                  <a:close/>
                  <a:moveTo>
                    <a:pt x="124" y="42"/>
                  </a:move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2"/>
                    <a:pt x="124" y="42"/>
                  </a:cubicBezTo>
                  <a:close/>
                  <a:moveTo>
                    <a:pt x="125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5" y="42"/>
                  </a:cubicBezTo>
                  <a:close/>
                  <a:moveTo>
                    <a:pt x="124" y="42"/>
                  </a:move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4" y="42"/>
                    <a:pt x="124" y="42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30" y="44"/>
                  </a:cubicBezTo>
                  <a:cubicBezTo>
                    <a:pt x="129" y="44"/>
                    <a:pt x="130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8" y="44"/>
                    <a:pt x="128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3"/>
                    <a:pt x="127" y="43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33" y="46"/>
                  </a:move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lose/>
                  <a:moveTo>
                    <a:pt x="132" y="45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2" y="46"/>
                    <a:pt x="132" y="46"/>
                  </a:cubicBezTo>
                  <a:lnTo>
                    <a:pt x="132" y="45"/>
                  </a:lnTo>
                  <a:close/>
                  <a:moveTo>
                    <a:pt x="131" y="45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1" y="45"/>
                  </a:cubicBezTo>
                  <a:close/>
                  <a:moveTo>
                    <a:pt x="115" y="40"/>
                  </a:moveTo>
                  <a:cubicBezTo>
                    <a:pt x="115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39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18" y="42"/>
                  </a:moveTo>
                  <a:cubicBezTo>
                    <a:pt x="118" y="42"/>
                    <a:pt x="119" y="42"/>
                    <a:pt x="119" y="42"/>
                  </a:cubicBezTo>
                  <a:cubicBezTo>
                    <a:pt x="118" y="42"/>
                    <a:pt x="118" y="42"/>
                    <a:pt x="118" y="42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9" y="42"/>
                    <a:pt x="119" y="42"/>
                    <a:pt x="119" y="43"/>
                  </a:cubicBezTo>
                  <a:cubicBezTo>
                    <a:pt x="119" y="43"/>
                    <a:pt x="120" y="43"/>
                    <a:pt x="120" y="43"/>
                  </a:cubicBezTo>
                  <a:cubicBezTo>
                    <a:pt x="120" y="43"/>
                    <a:pt x="120" y="43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20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lose/>
                  <a:moveTo>
                    <a:pt x="128" y="45"/>
                  </a:move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8" y="45"/>
                  </a:cubicBezTo>
                  <a:cubicBezTo>
                    <a:pt x="128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lose/>
                  <a:moveTo>
                    <a:pt x="126" y="44"/>
                  </a:move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7" y="45"/>
                    <a:pt x="127" y="44"/>
                    <a:pt x="127" y="44"/>
                  </a:cubicBezTo>
                  <a:cubicBezTo>
                    <a:pt x="127" y="44"/>
                    <a:pt x="127" y="44"/>
                    <a:pt x="126" y="44"/>
                  </a:cubicBezTo>
                  <a:close/>
                  <a:moveTo>
                    <a:pt x="125" y="44"/>
                  </a:move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6" y="45"/>
                    <a:pt x="126" y="44"/>
                  </a:cubicBezTo>
                  <a:cubicBezTo>
                    <a:pt x="126" y="45"/>
                    <a:pt x="127" y="45"/>
                    <a:pt x="127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6" y="44"/>
                    <a:pt x="126" y="45"/>
                    <a:pt x="126" y="45"/>
                  </a:cubicBezTo>
                  <a:close/>
                  <a:moveTo>
                    <a:pt x="129" y="45"/>
                  </a:moveTo>
                  <a:cubicBezTo>
                    <a:pt x="129" y="45"/>
                    <a:pt x="128" y="45"/>
                    <a:pt x="128" y="4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5"/>
                  </a:cubicBezTo>
                  <a:cubicBezTo>
                    <a:pt x="129" y="45"/>
                    <a:pt x="129" y="46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9" y="45"/>
                    <a:pt x="129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lose/>
                  <a:moveTo>
                    <a:pt x="127" y="46"/>
                  </a:moveTo>
                  <a:cubicBezTo>
                    <a:pt x="127" y="46"/>
                    <a:pt x="128" y="46"/>
                    <a:pt x="128" y="46"/>
                  </a:cubicBezTo>
                  <a:cubicBezTo>
                    <a:pt x="127" y="46"/>
                    <a:pt x="127" y="45"/>
                    <a:pt x="127" y="46"/>
                  </a:cubicBezTo>
                  <a:cubicBezTo>
                    <a:pt x="127" y="46"/>
                    <a:pt x="127" y="46"/>
                    <a:pt x="127" y="46"/>
                  </a:cubicBezTo>
                  <a:close/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lose/>
                  <a:moveTo>
                    <a:pt x="136" y="50"/>
                  </a:move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5" y="50"/>
                    <a:pt x="136" y="50"/>
                  </a:cubicBezTo>
                  <a:close/>
                  <a:moveTo>
                    <a:pt x="138" y="51"/>
                  </a:move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7"/>
                    <a:pt x="128" y="37"/>
                  </a:cubicBezTo>
                  <a:cubicBezTo>
                    <a:pt x="129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lose/>
                  <a:moveTo>
                    <a:pt x="124" y="43"/>
                  </a:moveTo>
                  <a:cubicBezTo>
                    <a:pt x="124" y="43"/>
                    <a:pt x="124" y="43"/>
                    <a:pt x="125" y="43"/>
                  </a:cubicBezTo>
                  <a:cubicBezTo>
                    <a:pt x="124" y="43"/>
                    <a:pt x="125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lose/>
                  <a:moveTo>
                    <a:pt x="161" y="54"/>
                  </a:moveTo>
                  <a:cubicBezTo>
                    <a:pt x="161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61" y="54"/>
                    <a:pt x="161" y="54"/>
                  </a:cubicBezTo>
                  <a:close/>
                  <a:moveTo>
                    <a:pt x="132" y="34"/>
                  </a:move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27" y="37"/>
                  </a:move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6"/>
                    <a:pt x="126" y="36"/>
                  </a:cubicBezTo>
                  <a:cubicBezTo>
                    <a:pt x="125" y="36"/>
                    <a:pt x="125" y="36"/>
                    <a:pt x="124" y="36"/>
                  </a:cubicBezTo>
                  <a:cubicBezTo>
                    <a:pt x="124" y="35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6" y="37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6"/>
                    <a:pt x="125" y="37"/>
                    <a:pt x="125" y="36"/>
                  </a:cubicBezTo>
                  <a:cubicBezTo>
                    <a:pt x="125" y="36"/>
                    <a:pt x="125" y="37"/>
                    <a:pt x="126" y="37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lose/>
                  <a:moveTo>
                    <a:pt x="124" y="35"/>
                  </a:move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5" y="35"/>
                    <a:pt x="125" y="35"/>
                  </a:cubicBezTo>
                  <a:cubicBezTo>
                    <a:pt x="125" y="35"/>
                    <a:pt x="124" y="35"/>
                    <a:pt x="124" y="35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8"/>
                  </a:moveTo>
                  <a:cubicBezTo>
                    <a:pt x="122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4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4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3" y="39"/>
                    <a:pt x="124" y="39"/>
                  </a:cubicBezTo>
                  <a:close/>
                  <a:moveTo>
                    <a:pt x="124" y="37"/>
                  </a:moveTo>
                  <a:cubicBezTo>
                    <a:pt x="123" y="37"/>
                    <a:pt x="123" y="37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7"/>
                    <a:pt x="124" y="36"/>
                    <a:pt x="124" y="37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9"/>
                    <a:pt x="123" y="38"/>
                    <a:pt x="123" y="38"/>
                  </a:cubicBezTo>
                  <a:close/>
                  <a:moveTo>
                    <a:pt x="122" y="42"/>
                  </a:moveTo>
                  <a:cubicBezTo>
                    <a:pt x="122" y="42"/>
                    <a:pt x="121" y="42"/>
                    <a:pt x="121" y="42"/>
                  </a:cubicBezTo>
                  <a:cubicBezTo>
                    <a:pt x="121" y="41"/>
                    <a:pt x="121" y="42"/>
                    <a:pt x="121" y="41"/>
                  </a:cubicBezTo>
                  <a:cubicBezTo>
                    <a:pt x="121" y="41"/>
                    <a:pt x="120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1"/>
                  </a:cubicBezTo>
                  <a:cubicBezTo>
                    <a:pt x="119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2" y="41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2" y="35"/>
                  </a:moveTo>
                  <a:cubicBezTo>
                    <a:pt x="121" y="35"/>
                    <a:pt x="120" y="35"/>
                    <a:pt x="119" y="34"/>
                  </a:cubicBezTo>
                  <a:cubicBezTo>
                    <a:pt x="119" y="34"/>
                    <a:pt x="120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2" y="35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2" y="35"/>
                    <a:pt x="122" y="36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19" y="39"/>
                  </a:moveTo>
                  <a:cubicBezTo>
                    <a:pt x="119" y="40"/>
                    <a:pt x="120" y="40"/>
                    <a:pt x="120" y="40"/>
                  </a:cubicBezTo>
                  <a:cubicBezTo>
                    <a:pt x="119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0"/>
                    <a:pt x="120" y="41"/>
                    <a:pt x="120" y="40"/>
                  </a:cubicBezTo>
                  <a:cubicBezTo>
                    <a:pt x="120" y="40"/>
                    <a:pt x="120" y="41"/>
                    <a:pt x="120" y="41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39"/>
                    <a:pt x="119" y="40"/>
                    <a:pt x="119" y="39"/>
                  </a:cubicBezTo>
                  <a:close/>
                  <a:moveTo>
                    <a:pt x="122" y="32"/>
                  </a:moveTo>
                  <a:cubicBezTo>
                    <a:pt x="122" y="32"/>
                    <a:pt x="123" y="33"/>
                    <a:pt x="123" y="33"/>
                  </a:cubicBezTo>
                  <a:cubicBezTo>
                    <a:pt x="123" y="33"/>
                    <a:pt x="122" y="32"/>
                    <a:pt x="122" y="32"/>
                  </a:cubicBezTo>
                  <a:close/>
                  <a:moveTo>
                    <a:pt x="122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lose/>
                  <a:moveTo>
                    <a:pt x="120" y="36"/>
                  </a:move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5"/>
                    <a:pt x="118" y="35"/>
                    <a:pt x="119" y="36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9" y="35"/>
                    <a:pt x="119" y="35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lose/>
                  <a:moveTo>
                    <a:pt x="116" y="36"/>
                  </a:moveTo>
                  <a:cubicBezTo>
                    <a:pt x="116" y="36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6" y="35"/>
                    <a:pt x="116" y="36"/>
                  </a:cubicBezTo>
                  <a:close/>
                  <a:moveTo>
                    <a:pt x="115" y="34"/>
                  </a:move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5" y="34"/>
                    <a:pt x="115" y="34"/>
                    <a:pt x="115" y="34"/>
                  </a:cubicBezTo>
                  <a:close/>
                  <a:moveTo>
                    <a:pt x="115" y="32"/>
                  </a:moveTo>
                  <a:cubicBezTo>
                    <a:pt x="114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4" y="32"/>
                    <a:pt x="115" y="32"/>
                    <a:pt x="116" y="33"/>
                  </a:cubicBezTo>
                  <a:cubicBezTo>
                    <a:pt x="115" y="33"/>
                    <a:pt x="115" y="32"/>
                    <a:pt x="115" y="32"/>
                  </a:cubicBezTo>
                  <a:close/>
                  <a:moveTo>
                    <a:pt x="114" y="33"/>
                  </a:moveTo>
                  <a:cubicBezTo>
                    <a:pt x="114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4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4" y="33"/>
                  </a:moveTo>
                  <a:cubicBezTo>
                    <a:pt x="114" y="33"/>
                    <a:pt x="114" y="33"/>
                    <a:pt x="113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3" y="34"/>
                  </a:move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5"/>
                  </a:cubicBezTo>
                  <a:cubicBezTo>
                    <a:pt x="113" y="34"/>
                    <a:pt x="113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lose/>
                  <a:moveTo>
                    <a:pt x="109" y="40"/>
                  </a:moveTo>
                  <a:cubicBezTo>
                    <a:pt x="109" y="40"/>
                    <a:pt x="110" y="40"/>
                    <a:pt x="110" y="40"/>
                  </a:cubicBezTo>
                  <a:cubicBezTo>
                    <a:pt x="110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7"/>
                    <a:pt x="109" y="38"/>
                    <a:pt x="109" y="38"/>
                  </a:cubicBezTo>
                  <a:close/>
                  <a:moveTo>
                    <a:pt x="110" y="32"/>
                  </a:move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1" y="33"/>
                  </a:cubicBezTo>
                  <a:cubicBezTo>
                    <a:pt x="110" y="32"/>
                    <a:pt x="110" y="33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5" y="36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8"/>
                    <a:pt x="107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lose/>
                  <a:moveTo>
                    <a:pt x="106" y="39"/>
                  </a:moveTo>
                  <a:cubicBezTo>
                    <a:pt x="106" y="39"/>
                    <a:pt x="106" y="38"/>
                    <a:pt x="105" y="38"/>
                  </a:cubicBezTo>
                  <a:cubicBezTo>
                    <a:pt x="105" y="38"/>
                    <a:pt x="106" y="38"/>
                    <a:pt x="105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8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8"/>
                    <a:pt x="106" y="39"/>
                  </a:cubicBezTo>
                  <a:close/>
                  <a:moveTo>
                    <a:pt x="106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8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5" y="39"/>
                    <a:pt x="106" y="39"/>
                    <a:pt x="105" y="39"/>
                  </a:cubicBezTo>
                  <a:cubicBezTo>
                    <a:pt x="105" y="39"/>
                    <a:pt x="105" y="39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lose/>
                  <a:moveTo>
                    <a:pt x="104" y="38"/>
                  </a:move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lose/>
                  <a:moveTo>
                    <a:pt x="105" y="35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4"/>
                  </a:cubicBez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3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4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4" y="34"/>
                    <a:pt x="104" y="34"/>
                  </a:cubicBezTo>
                  <a:close/>
                  <a:moveTo>
                    <a:pt x="105" y="35"/>
                  </a:move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3" y="35"/>
                  </a:cubicBezTo>
                  <a:cubicBezTo>
                    <a:pt x="103" y="35"/>
                    <a:pt x="103" y="34"/>
                    <a:pt x="103" y="34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2" y="35"/>
                  </a:cubicBezTo>
                  <a:cubicBezTo>
                    <a:pt x="102" y="35"/>
                    <a:pt x="102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4"/>
                    <a:pt x="103" y="34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2" y="36"/>
                    <a:pt x="103" y="37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102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0" y="36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9" y="36"/>
                    <a:pt x="99" y="36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9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9" y="36"/>
                    <a:pt x="99" y="36"/>
                  </a:cubicBezTo>
                  <a:cubicBezTo>
                    <a:pt x="98" y="36"/>
                    <a:pt x="98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100" y="36"/>
                  </a:cubicBezTo>
                  <a:cubicBezTo>
                    <a:pt x="100" y="37"/>
                    <a:pt x="99" y="37"/>
                    <a:pt x="100" y="37"/>
                  </a:cubicBezTo>
                  <a:cubicBezTo>
                    <a:pt x="99" y="37"/>
                    <a:pt x="99" y="36"/>
                    <a:pt x="99" y="37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7" y="35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7" y="36"/>
                    <a:pt x="96" y="36"/>
                    <a:pt x="96" y="36"/>
                  </a:cubicBezTo>
                  <a:cubicBezTo>
                    <a:pt x="96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7"/>
                    <a:pt x="97" y="36"/>
                    <a:pt x="97" y="37"/>
                  </a:cubicBezTo>
                  <a:cubicBezTo>
                    <a:pt x="97" y="36"/>
                    <a:pt x="97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5"/>
                    <a:pt x="95" y="36"/>
                    <a:pt x="95" y="35"/>
                  </a:cubicBezTo>
                  <a:cubicBezTo>
                    <a:pt x="94" y="35"/>
                    <a:pt x="95" y="35"/>
                    <a:pt x="95" y="36"/>
                  </a:cubicBezTo>
                  <a:cubicBezTo>
                    <a:pt x="95" y="36"/>
                    <a:pt x="94" y="35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4"/>
                    <a:pt x="93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4" y="33"/>
                    <a:pt x="94" y="34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4" y="34"/>
                  </a:cubicBezTo>
                  <a:cubicBezTo>
                    <a:pt x="94" y="33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7" y="35"/>
                    <a:pt x="97" y="35"/>
                  </a:cubicBezTo>
                  <a:cubicBezTo>
                    <a:pt x="97" y="35"/>
                    <a:pt x="97" y="35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6" y="34"/>
                  </a:cubicBezTo>
                  <a:cubicBezTo>
                    <a:pt x="96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5"/>
                    <a:pt x="98" y="35"/>
                    <a:pt x="97" y="34"/>
                  </a:cubicBezTo>
                  <a:cubicBezTo>
                    <a:pt x="98" y="34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4"/>
                    <a:pt x="97" y="35"/>
                    <a:pt x="97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96" y="33"/>
                    <a:pt x="95" y="33"/>
                    <a:pt x="95" y="33"/>
                  </a:cubicBezTo>
                  <a:cubicBezTo>
                    <a:pt x="95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4" y="32"/>
                  </a:cubicBezTo>
                  <a:cubicBezTo>
                    <a:pt x="94" y="32"/>
                    <a:pt x="94" y="32"/>
                    <a:pt x="94" y="33"/>
                  </a:cubicBezTo>
                  <a:cubicBezTo>
                    <a:pt x="94" y="33"/>
                    <a:pt x="95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3"/>
                    <a:pt x="97" y="34"/>
                    <a:pt x="99" y="34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9" y="34"/>
                    <a:pt x="99" y="34"/>
                    <a:pt x="99" y="33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7" y="32"/>
                  </a:cubicBezTo>
                  <a:cubicBezTo>
                    <a:pt x="98" y="33"/>
                    <a:pt x="97" y="32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8" y="32"/>
                    <a:pt x="98" y="32"/>
                  </a:cubicBezTo>
                  <a:cubicBezTo>
                    <a:pt x="98" y="32"/>
                    <a:pt x="98" y="33"/>
                    <a:pt x="98" y="32"/>
                  </a:cubicBezTo>
                  <a:cubicBezTo>
                    <a:pt x="98" y="32"/>
                    <a:pt x="98" y="32"/>
                    <a:pt x="98" y="33"/>
                  </a:cubicBezTo>
                  <a:cubicBezTo>
                    <a:pt x="98" y="33"/>
                    <a:pt x="98" y="32"/>
                    <a:pt x="98" y="32"/>
                  </a:cubicBezTo>
                  <a:cubicBezTo>
                    <a:pt x="99" y="33"/>
                    <a:pt x="99" y="32"/>
                    <a:pt x="99" y="33"/>
                  </a:cubicBezTo>
                  <a:cubicBezTo>
                    <a:pt x="99" y="33"/>
                    <a:pt x="99" y="32"/>
                    <a:pt x="99" y="3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99" y="32"/>
                    <a:pt x="99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99" y="32"/>
                    <a:pt x="99" y="32"/>
                  </a:cubicBezTo>
                  <a:cubicBezTo>
                    <a:pt x="99" y="32"/>
                    <a:pt x="99" y="32"/>
                    <a:pt x="99" y="31"/>
                  </a:cubicBezTo>
                  <a:cubicBezTo>
                    <a:pt x="99" y="31"/>
                    <a:pt x="99" y="32"/>
                    <a:pt x="99" y="32"/>
                  </a:cubicBezTo>
                  <a:cubicBezTo>
                    <a:pt x="99" y="32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2" y="31"/>
                    <a:pt x="101" y="31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2"/>
                  </a:cubicBezTo>
                  <a:cubicBezTo>
                    <a:pt x="101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3"/>
                    <a:pt x="101" y="34"/>
                    <a:pt x="101" y="33"/>
                  </a:cubicBezTo>
                  <a:cubicBezTo>
                    <a:pt x="101" y="33"/>
                    <a:pt x="101" y="34"/>
                    <a:pt x="101" y="34"/>
                  </a:cubicBezTo>
                  <a:cubicBezTo>
                    <a:pt x="101" y="33"/>
                    <a:pt x="100" y="33"/>
                    <a:pt x="100" y="33"/>
                  </a:cubicBezTo>
                  <a:cubicBezTo>
                    <a:pt x="100" y="33"/>
                    <a:pt x="100" y="34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1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5"/>
                    <a:pt x="101" y="34"/>
                    <a:pt x="101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99" y="34"/>
                  </a:cubicBezTo>
                  <a:close/>
                  <a:moveTo>
                    <a:pt x="101" y="31"/>
                  </a:move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lose/>
                  <a:moveTo>
                    <a:pt x="101" y="32"/>
                  </a:moveTo>
                  <a:cubicBezTo>
                    <a:pt x="100" y="32"/>
                    <a:pt x="101" y="32"/>
                    <a:pt x="101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1"/>
                    <a:pt x="100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2"/>
                    <a:pt x="101" y="32"/>
                    <a:pt x="100" y="32"/>
                  </a:cubicBezTo>
                  <a:cubicBezTo>
                    <a:pt x="101" y="32"/>
                    <a:pt x="101" y="32"/>
                    <a:pt x="101" y="32"/>
                  </a:cubicBezTo>
                  <a:close/>
                  <a:moveTo>
                    <a:pt x="100" y="32"/>
                  </a:move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lose/>
                  <a:moveTo>
                    <a:pt x="10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lose/>
                  <a:moveTo>
                    <a:pt x="94" y="34"/>
                  </a:moveTo>
                  <a:cubicBezTo>
                    <a:pt x="94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4"/>
                    <a:pt x="93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6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lose/>
                  <a:moveTo>
                    <a:pt x="95" y="34"/>
                  </a:moveTo>
                  <a:cubicBezTo>
                    <a:pt x="95" y="34"/>
                    <a:pt x="95" y="34"/>
                    <a:pt x="96" y="34"/>
                  </a:cubicBezTo>
                  <a:cubicBezTo>
                    <a:pt x="95" y="34"/>
                    <a:pt x="96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5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9" y="36"/>
                  </a:moveTo>
                  <a:cubicBezTo>
                    <a:pt x="99" y="36"/>
                    <a:pt x="99" y="37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7" y="35"/>
                    <a:pt x="97" y="36"/>
                  </a:cubicBezTo>
                  <a:cubicBezTo>
                    <a:pt x="97" y="36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7" y="35"/>
                    <a:pt x="97" y="35"/>
                  </a:cubicBezTo>
                  <a:cubicBezTo>
                    <a:pt x="96" y="35"/>
                    <a:pt x="97" y="35"/>
                    <a:pt x="96" y="35"/>
                  </a:cubicBezTo>
                  <a:close/>
                  <a:moveTo>
                    <a:pt x="99" y="36"/>
                  </a:moveTo>
                  <a:cubicBezTo>
                    <a:pt x="99" y="35"/>
                    <a:pt x="99" y="36"/>
                    <a:pt x="99" y="36"/>
                  </a:cubicBezTo>
                  <a:cubicBezTo>
                    <a:pt x="99" y="35"/>
                    <a:pt x="99" y="35"/>
                    <a:pt x="99" y="36"/>
                  </a:cubicBezTo>
                  <a:close/>
                  <a:moveTo>
                    <a:pt x="98" y="34"/>
                  </a:move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8" y="34"/>
                    <a:pt x="97" y="34"/>
                    <a:pt x="98" y="34"/>
                  </a:cubicBezTo>
                  <a:close/>
                  <a:moveTo>
                    <a:pt x="98" y="34"/>
                  </a:moveTo>
                  <a:cubicBezTo>
                    <a:pt x="98" y="34"/>
                    <a:pt x="98" y="34"/>
                    <a:pt x="99" y="34"/>
                  </a:cubicBezTo>
                  <a:cubicBezTo>
                    <a:pt x="99" y="34"/>
                    <a:pt x="98" y="34"/>
                    <a:pt x="98" y="34"/>
                  </a:cubicBezTo>
                  <a:cubicBezTo>
                    <a:pt x="98" y="34"/>
                    <a:pt x="99" y="34"/>
                    <a:pt x="99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lose/>
                  <a:moveTo>
                    <a:pt x="100" y="35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100" y="35"/>
                  </a:moveTo>
                  <a:cubicBezTo>
                    <a:pt x="99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99" y="35"/>
                    <a:pt x="99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1" y="36"/>
                    <a:pt x="101" y="35"/>
                  </a:cubicBezTo>
                  <a:cubicBezTo>
                    <a:pt x="101" y="35"/>
                    <a:pt x="100" y="35"/>
                    <a:pt x="100" y="35"/>
                  </a:cubicBez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100" y="35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4"/>
                  </a:move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95" y="33"/>
                  </a:moveTo>
                  <a:cubicBezTo>
                    <a:pt x="95" y="33"/>
                    <a:pt x="94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lose/>
                  <a:moveTo>
                    <a:pt x="97" y="36"/>
                  </a:move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3" y="34"/>
                  </a:cubicBezTo>
                  <a:close/>
                  <a:moveTo>
                    <a:pt x="104" y="32"/>
                  </a:moveTo>
                  <a:cubicBezTo>
                    <a:pt x="104" y="33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4" y="32"/>
                  </a:cubicBezTo>
                  <a:cubicBezTo>
                    <a:pt x="104" y="32"/>
                    <a:pt x="104" y="32"/>
                    <a:pt x="104" y="32"/>
                  </a:cubicBezTo>
                  <a:close/>
                  <a:moveTo>
                    <a:pt x="103" y="33"/>
                  </a:moveTo>
                  <a:cubicBezTo>
                    <a:pt x="103" y="33"/>
                    <a:pt x="102" y="33"/>
                    <a:pt x="102" y="33"/>
                  </a:cubicBezTo>
                  <a:cubicBezTo>
                    <a:pt x="103" y="33"/>
                    <a:pt x="103" y="33"/>
                    <a:pt x="103" y="33"/>
                  </a:cubicBezTo>
                  <a:close/>
                  <a:moveTo>
                    <a:pt x="103" y="27"/>
                  </a:moveTo>
                  <a:cubicBezTo>
                    <a:pt x="104" y="28"/>
                    <a:pt x="103" y="27"/>
                    <a:pt x="104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3" y="28"/>
                    <a:pt x="103" y="28"/>
                  </a:cubicBezTo>
                  <a:cubicBezTo>
                    <a:pt x="103" y="28"/>
                    <a:pt x="103" y="28"/>
                    <a:pt x="103" y="27"/>
                  </a:cubicBezTo>
                  <a:close/>
                  <a:moveTo>
                    <a:pt x="103" y="30"/>
                  </a:moveTo>
                  <a:cubicBezTo>
                    <a:pt x="103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9"/>
                    <a:pt x="100" y="30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30"/>
                    <a:pt x="100" y="30"/>
                    <a:pt x="99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8"/>
                  </a:cubicBezTo>
                  <a:cubicBezTo>
                    <a:pt x="100" y="28"/>
                    <a:pt x="100" y="29"/>
                    <a:pt x="99" y="29"/>
                  </a:cubicBezTo>
                  <a:cubicBezTo>
                    <a:pt x="100" y="29"/>
                    <a:pt x="100" y="28"/>
                    <a:pt x="100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8"/>
                    <a:pt x="99" y="27"/>
                  </a:cubicBezTo>
                  <a:cubicBezTo>
                    <a:pt x="100" y="28"/>
                    <a:pt x="99" y="28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6"/>
                  </a:cubicBezTo>
                  <a:cubicBezTo>
                    <a:pt x="98" y="26"/>
                    <a:pt x="99" y="26"/>
                    <a:pt x="99" y="26"/>
                  </a:cubicBezTo>
                  <a:cubicBezTo>
                    <a:pt x="99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7" y="26"/>
                  </a:cubicBezTo>
                  <a:cubicBezTo>
                    <a:pt x="97" y="26"/>
                    <a:pt x="98" y="26"/>
                    <a:pt x="98" y="26"/>
                  </a:cubicBezTo>
                  <a:cubicBezTo>
                    <a:pt x="98" y="26"/>
                    <a:pt x="97" y="26"/>
                    <a:pt x="97" y="26"/>
                  </a:cubicBezTo>
                  <a:cubicBezTo>
                    <a:pt x="97" y="26"/>
                    <a:pt x="97" y="26"/>
                    <a:pt x="98" y="26"/>
                  </a:cubicBezTo>
                  <a:cubicBezTo>
                    <a:pt x="98" y="26"/>
                    <a:pt x="99" y="26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1" y="27"/>
                    <a:pt x="101" y="28"/>
                    <a:pt x="101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1" y="28"/>
                  </a:cubicBezTo>
                  <a:cubicBezTo>
                    <a:pt x="100" y="28"/>
                    <a:pt x="101" y="28"/>
                    <a:pt x="100" y="28"/>
                  </a:cubicBezTo>
                  <a:cubicBezTo>
                    <a:pt x="101" y="29"/>
                    <a:pt x="101" y="28"/>
                    <a:pt x="102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2" y="29"/>
                  </a:cubicBezTo>
                  <a:cubicBezTo>
                    <a:pt x="102" y="29"/>
                    <a:pt x="101" y="29"/>
                    <a:pt x="101" y="29"/>
                  </a:cubicBezTo>
                  <a:cubicBezTo>
                    <a:pt x="102" y="29"/>
                    <a:pt x="102" y="29"/>
                    <a:pt x="102" y="29"/>
                  </a:cubicBezTo>
                  <a:cubicBezTo>
                    <a:pt x="102" y="29"/>
                    <a:pt x="102" y="29"/>
                    <a:pt x="102" y="30"/>
                  </a:cubicBezTo>
                  <a:cubicBezTo>
                    <a:pt x="102" y="29"/>
                    <a:pt x="102" y="29"/>
                    <a:pt x="101" y="29"/>
                  </a:cubicBezTo>
                  <a:cubicBezTo>
                    <a:pt x="101" y="30"/>
                    <a:pt x="102" y="30"/>
                    <a:pt x="102" y="30"/>
                  </a:cubicBezTo>
                  <a:cubicBezTo>
                    <a:pt x="102" y="30"/>
                    <a:pt x="103" y="30"/>
                    <a:pt x="103" y="30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7"/>
                    <a:pt x="99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99" y="28"/>
                    <a:pt x="100" y="28"/>
                    <a:pt x="100" y="28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29"/>
                    <a:pt x="101" y="29"/>
                  </a:cubicBezTo>
                  <a:cubicBezTo>
                    <a:pt x="101" y="29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lose/>
                  <a:moveTo>
                    <a:pt x="102" y="34"/>
                  </a:move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2" y="34"/>
                  </a:cubicBezTo>
                  <a:close/>
                  <a:moveTo>
                    <a:pt x="103" y="26"/>
                  </a:move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4" y="26"/>
                    <a:pt x="103" y="26"/>
                  </a:cubicBezTo>
                  <a:close/>
                  <a:moveTo>
                    <a:pt x="97" y="31"/>
                  </a:moveTo>
                  <a:cubicBezTo>
                    <a:pt x="98" y="31"/>
                    <a:pt x="98" y="31"/>
                    <a:pt x="99" y="32"/>
                  </a:cubicBezTo>
                  <a:cubicBezTo>
                    <a:pt x="99" y="32"/>
                    <a:pt x="98" y="32"/>
                    <a:pt x="99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lose/>
                  <a:moveTo>
                    <a:pt x="97" y="33"/>
                  </a:move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8" y="33"/>
                  </a:cubicBezTo>
                  <a:cubicBezTo>
                    <a:pt x="98" y="33"/>
                    <a:pt x="97" y="33"/>
                    <a:pt x="97" y="33"/>
                  </a:cubicBezTo>
                  <a:close/>
                  <a:moveTo>
                    <a:pt x="65" y="22"/>
                  </a:moveTo>
                  <a:cubicBezTo>
                    <a:pt x="65" y="22"/>
                    <a:pt x="65" y="22"/>
                    <a:pt x="64" y="22"/>
                  </a:cubicBezTo>
                  <a:cubicBezTo>
                    <a:pt x="64" y="22"/>
                    <a:pt x="65" y="22"/>
                    <a:pt x="65" y="22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2"/>
                    <a:pt x="63" y="21"/>
                    <a:pt x="63" y="21"/>
                  </a:cubicBezTo>
                  <a:cubicBezTo>
                    <a:pt x="63" y="21"/>
                    <a:pt x="64" y="22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1"/>
                    <a:pt x="62" y="21"/>
                    <a:pt x="61" y="20"/>
                  </a:cubicBezTo>
                  <a:cubicBezTo>
                    <a:pt x="61" y="20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0"/>
                  </a:cubicBezTo>
                  <a:cubicBezTo>
                    <a:pt x="62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0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1"/>
                  </a:cubicBezTo>
                  <a:cubicBezTo>
                    <a:pt x="62" y="20"/>
                    <a:pt x="62" y="21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2" y="20"/>
                    <a:pt x="61" y="20"/>
                  </a:cubicBezTo>
                  <a:cubicBezTo>
                    <a:pt x="62" y="20"/>
                    <a:pt x="61" y="20"/>
                    <a:pt x="62" y="20"/>
                  </a:cubicBezTo>
                  <a:cubicBezTo>
                    <a:pt x="62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19"/>
                    <a:pt x="62" y="20"/>
                    <a:pt x="61" y="20"/>
                  </a:cubicBezTo>
                  <a:cubicBezTo>
                    <a:pt x="62" y="20"/>
                    <a:pt x="63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5" y="21"/>
                  </a:cubicBezTo>
                  <a:cubicBezTo>
                    <a:pt x="65" y="21"/>
                    <a:pt x="64" y="20"/>
                    <a:pt x="63" y="20"/>
                  </a:cubicBezTo>
                  <a:cubicBezTo>
                    <a:pt x="63" y="20"/>
                    <a:pt x="63" y="21"/>
                    <a:pt x="64" y="21"/>
                  </a:cubicBezTo>
                  <a:cubicBezTo>
                    <a:pt x="64" y="21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3" y="20"/>
                  </a:cubicBezTo>
                  <a:cubicBezTo>
                    <a:pt x="64" y="20"/>
                    <a:pt x="64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4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0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4" y="20"/>
                    <a:pt x="64" y="20"/>
                    <a:pt x="65" y="20"/>
                  </a:cubicBezTo>
                  <a:cubicBezTo>
                    <a:pt x="65" y="20"/>
                    <a:pt x="66" y="20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6" y="21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2"/>
                    <a:pt x="65" y="21"/>
                    <a:pt x="65" y="22"/>
                  </a:cubicBezTo>
                  <a:cubicBezTo>
                    <a:pt x="65" y="21"/>
                    <a:pt x="65" y="21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6" y="22"/>
                    <a:pt x="65" y="22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2"/>
                    <a:pt x="66" y="22"/>
                    <a:pt x="65" y="22"/>
                  </a:cubicBezTo>
                  <a:cubicBezTo>
                    <a:pt x="66" y="22"/>
                    <a:pt x="66" y="22"/>
                    <a:pt x="67" y="22"/>
                  </a:cubicBezTo>
                  <a:cubicBezTo>
                    <a:pt x="67" y="22"/>
                    <a:pt x="67" y="22"/>
                    <a:pt x="68" y="23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70" y="23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69" y="23"/>
                  </a:cubicBezTo>
                  <a:cubicBezTo>
                    <a:pt x="70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3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5"/>
                  </a:cubicBezTo>
                  <a:cubicBezTo>
                    <a:pt x="73" y="25"/>
                    <a:pt x="73" y="24"/>
                    <a:pt x="73" y="24"/>
                  </a:cubicBezTo>
                  <a:cubicBezTo>
                    <a:pt x="73" y="25"/>
                    <a:pt x="74" y="25"/>
                    <a:pt x="74" y="25"/>
                  </a:cubicBezTo>
                  <a:cubicBezTo>
                    <a:pt x="74" y="25"/>
                    <a:pt x="75" y="25"/>
                    <a:pt x="76" y="26"/>
                  </a:cubicBezTo>
                  <a:cubicBezTo>
                    <a:pt x="76" y="25"/>
                    <a:pt x="75" y="25"/>
                    <a:pt x="76" y="25"/>
                  </a:cubicBezTo>
                  <a:cubicBezTo>
                    <a:pt x="76" y="25"/>
                    <a:pt x="76" y="25"/>
                    <a:pt x="76" y="26"/>
                  </a:cubicBezTo>
                  <a:cubicBezTo>
                    <a:pt x="76" y="26"/>
                    <a:pt x="76" y="25"/>
                    <a:pt x="76" y="26"/>
                  </a:cubicBezTo>
                  <a:cubicBezTo>
                    <a:pt x="76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6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5" y="25"/>
                    <a:pt x="75" y="25"/>
                  </a:cubicBezTo>
                  <a:cubicBezTo>
                    <a:pt x="75" y="25"/>
                    <a:pt x="73" y="25"/>
                    <a:pt x="73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5"/>
                    <a:pt x="73" y="25"/>
                    <a:pt x="72" y="25"/>
                  </a:cubicBezTo>
                  <a:cubicBezTo>
                    <a:pt x="72" y="25"/>
                    <a:pt x="73" y="25"/>
                    <a:pt x="72" y="25"/>
                  </a:cubicBezTo>
                  <a:cubicBezTo>
                    <a:pt x="73" y="25"/>
                    <a:pt x="73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3" y="25"/>
                    <a:pt x="73" y="25"/>
                  </a:cubicBezTo>
                  <a:cubicBezTo>
                    <a:pt x="74" y="25"/>
                    <a:pt x="74" y="26"/>
                    <a:pt x="74" y="25"/>
                  </a:cubicBezTo>
                  <a:cubicBezTo>
                    <a:pt x="74" y="25"/>
                    <a:pt x="75" y="25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6" y="26"/>
                    <a:pt x="76" y="25"/>
                  </a:cubicBezTo>
                  <a:cubicBezTo>
                    <a:pt x="77" y="26"/>
                    <a:pt x="77" y="25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4"/>
                    <a:pt x="76" y="25"/>
                    <a:pt x="76" y="25"/>
                  </a:cubicBezTo>
                  <a:cubicBezTo>
                    <a:pt x="76" y="25"/>
                    <a:pt x="75" y="24"/>
                    <a:pt x="75" y="24"/>
                  </a:cubicBezTo>
                  <a:cubicBezTo>
                    <a:pt x="76" y="25"/>
                    <a:pt x="75" y="25"/>
                    <a:pt x="75" y="24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4"/>
                    <a:pt x="75" y="25"/>
                    <a:pt x="74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3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4" y="23"/>
                    <a:pt x="74" y="24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3" y="23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2" y="23"/>
                  </a:cubicBezTo>
                  <a:cubicBezTo>
                    <a:pt x="73" y="23"/>
                    <a:pt x="72" y="23"/>
                    <a:pt x="72" y="23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3"/>
                    <a:pt x="72" y="22"/>
                  </a:cubicBezTo>
                  <a:cubicBezTo>
                    <a:pt x="72" y="22"/>
                    <a:pt x="72" y="22"/>
                    <a:pt x="72" y="23"/>
                  </a:cubicBezTo>
                  <a:cubicBezTo>
                    <a:pt x="73" y="23"/>
                    <a:pt x="73" y="22"/>
                    <a:pt x="73" y="22"/>
                  </a:cubicBezTo>
                  <a:cubicBezTo>
                    <a:pt x="73" y="22"/>
                    <a:pt x="73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2" y="22"/>
                    <a:pt x="72" y="22"/>
                  </a:cubicBezTo>
                  <a:cubicBezTo>
                    <a:pt x="72" y="22"/>
                    <a:pt x="72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1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2" y="21"/>
                    <a:pt x="72" y="21"/>
                  </a:cubicBezTo>
                  <a:cubicBezTo>
                    <a:pt x="73" y="21"/>
                    <a:pt x="73" y="21"/>
                    <a:pt x="72" y="21"/>
                  </a:cubicBezTo>
                  <a:cubicBezTo>
                    <a:pt x="73" y="21"/>
                    <a:pt x="73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3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3"/>
                    <a:pt x="75" y="22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5" y="23"/>
                    <a:pt x="75" y="23"/>
                    <a:pt x="74" y="23"/>
                  </a:cubicBezTo>
                  <a:cubicBezTo>
                    <a:pt x="74" y="23"/>
                    <a:pt x="75" y="23"/>
                    <a:pt x="75" y="23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5" y="23"/>
                    <a:pt x="75" y="24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6" y="23"/>
                    <a:pt x="76" y="23"/>
                  </a:cubicBezTo>
                  <a:cubicBezTo>
                    <a:pt x="76" y="24"/>
                    <a:pt x="76" y="23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7" y="23"/>
                    <a:pt x="77" y="24"/>
                    <a:pt x="77" y="24"/>
                  </a:cubicBezTo>
                  <a:cubicBezTo>
                    <a:pt x="78" y="24"/>
                    <a:pt x="78" y="24"/>
                    <a:pt x="79" y="24"/>
                  </a:cubicBezTo>
                  <a:cubicBezTo>
                    <a:pt x="79" y="24"/>
                    <a:pt x="79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4"/>
                    <a:pt x="78" y="24"/>
                    <a:pt x="77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7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6"/>
                  </a:cubicBezTo>
                  <a:cubicBezTo>
                    <a:pt x="81" y="26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79" y="27"/>
                  </a:cubicBezTo>
                  <a:cubicBezTo>
                    <a:pt x="79" y="27"/>
                    <a:pt x="80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9"/>
                    <a:pt x="81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8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4" y="29"/>
                  </a:cubicBezTo>
                  <a:cubicBezTo>
                    <a:pt x="84" y="29"/>
                    <a:pt x="83" y="29"/>
                    <a:pt x="83" y="28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5" y="29"/>
                    <a:pt x="85" y="29"/>
                    <a:pt x="86" y="29"/>
                  </a:cubicBezTo>
                  <a:cubicBezTo>
                    <a:pt x="86" y="29"/>
                    <a:pt x="86" y="29"/>
                    <a:pt x="86" y="30"/>
                  </a:cubicBezTo>
                  <a:cubicBezTo>
                    <a:pt x="85" y="30"/>
                    <a:pt x="85" y="30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8" y="31"/>
                  </a:cubicBezTo>
                  <a:cubicBezTo>
                    <a:pt x="88" y="31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9" y="31"/>
                    <a:pt x="88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2"/>
                    <a:pt x="90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1"/>
                    <a:pt x="88" y="32"/>
                  </a:cubicBezTo>
                  <a:cubicBezTo>
                    <a:pt x="88" y="32"/>
                    <a:pt x="87" y="31"/>
                    <a:pt x="87" y="31"/>
                  </a:cubicBezTo>
                  <a:cubicBezTo>
                    <a:pt x="87" y="31"/>
                    <a:pt x="87" y="31"/>
                    <a:pt x="86" y="31"/>
                  </a:cubicBezTo>
                  <a:cubicBezTo>
                    <a:pt x="86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5" y="30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2"/>
                    <a:pt x="86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2"/>
                    <a:pt x="87" y="32"/>
                    <a:pt x="86" y="32"/>
                  </a:cubicBezTo>
                  <a:cubicBezTo>
                    <a:pt x="86" y="31"/>
                    <a:pt x="87" y="32"/>
                    <a:pt x="87" y="31"/>
                  </a:cubicBezTo>
                  <a:cubicBezTo>
                    <a:pt x="87" y="31"/>
                    <a:pt x="87" y="32"/>
                    <a:pt x="87" y="32"/>
                  </a:cubicBezTo>
                  <a:cubicBezTo>
                    <a:pt x="87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9" y="33"/>
                    <a:pt x="89" y="33"/>
                  </a:cubicBezTo>
                  <a:cubicBezTo>
                    <a:pt x="89" y="33"/>
                    <a:pt x="89" y="33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90" y="32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2"/>
                  </a:cubicBezTo>
                  <a:cubicBezTo>
                    <a:pt x="91" y="32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4"/>
                  </a:cubicBezTo>
                  <a:cubicBezTo>
                    <a:pt x="91" y="34"/>
                    <a:pt x="91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1" y="34"/>
                    <a:pt x="92" y="34"/>
                  </a:cubicBezTo>
                  <a:cubicBezTo>
                    <a:pt x="92" y="34"/>
                    <a:pt x="91" y="34"/>
                    <a:pt x="91" y="34"/>
                  </a:cubicBezTo>
                  <a:cubicBezTo>
                    <a:pt x="91" y="33"/>
                    <a:pt x="92" y="33"/>
                    <a:pt x="92" y="34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2" y="36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89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4"/>
                    <a:pt x="87" y="34"/>
                    <a:pt x="87" y="34"/>
                  </a:cubicBezTo>
                  <a:cubicBezTo>
                    <a:pt x="87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7" y="34"/>
                  </a:cubicBezTo>
                  <a:cubicBezTo>
                    <a:pt x="88" y="34"/>
                    <a:pt x="86" y="34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3"/>
                    <a:pt x="83" y="33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8" y="31"/>
                  </a:cubicBezTo>
                  <a:cubicBezTo>
                    <a:pt x="78" y="31"/>
                    <a:pt x="79" y="31"/>
                    <a:pt x="79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8" y="31"/>
                    <a:pt x="77" y="31"/>
                    <a:pt x="77" y="31"/>
                  </a:cubicBezTo>
                  <a:cubicBezTo>
                    <a:pt x="77" y="31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5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1"/>
                    <a:pt x="81" y="31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3" y="32"/>
                    <a:pt x="82" y="31"/>
                    <a:pt x="82" y="31"/>
                  </a:cubicBezTo>
                  <a:cubicBezTo>
                    <a:pt x="82" y="32"/>
                    <a:pt x="82" y="31"/>
                    <a:pt x="82" y="31"/>
                  </a:cubicBezTo>
                  <a:cubicBezTo>
                    <a:pt x="82" y="31"/>
                    <a:pt x="82" y="31"/>
                    <a:pt x="81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3" y="31"/>
                    <a:pt x="82" y="31"/>
                  </a:cubicBezTo>
                  <a:cubicBezTo>
                    <a:pt x="83" y="31"/>
                    <a:pt x="83" y="31"/>
                    <a:pt x="83" y="32"/>
                  </a:cubicBezTo>
                  <a:cubicBezTo>
                    <a:pt x="83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32"/>
                    <a:pt x="83" y="32"/>
                  </a:cubicBezTo>
                  <a:cubicBezTo>
                    <a:pt x="83" y="31"/>
                    <a:pt x="83" y="31"/>
                    <a:pt x="82" y="31"/>
                  </a:cubicBezTo>
                  <a:cubicBezTo>
                    <a:pt x="82" y="31"/>
                    <a:pt x="83" y="31"/>
                    <a:pt x="83" y="31"/>
                  </a:cubicBezTo>
                  <a:cubicBezTo>
                    <a:pt x="83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0"/>
                  </a:cubicBezTo>
                  <a:cubicBezTo>
                    <a:pt x="82" y="30"/>
                    <a:pt x="82" y="31"/>
                    <a:pt x="82" y="31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29"/>
                    <a:pt x="80" y="29"/>
                    <a:pt x="80" y="30"/>
                  </a:cubicBezTo>
                  <a:cubicBezTo>
                    <a:pt x="80" y="30"/>
                    <a:pt x="80" y="29"/>
                    <a:pt x="80" y="29"/>
                  </a:cubicBezTo>
                  <a:cubicBezTo>
                    <a:pt x="80" y="30"/>
                    <a:pt x="79" y="29"/>
                    <a:pt x="79" y="29"/>
                  </a:cubicBezTo>
                  <a:cubicBezTo>
                    <a:pt x="79" y="29"/>
                    <a:pt x="79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29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30"/>
                  </a:cubicBezTo>
                  <a:cubicBezTo>
                    <a:pt x="78" y="29"/>
                    <a:pt x="78" y="29"/>
                    <a:pt x="77" y="29"/>
                  </a:cubicBezTo>
                  <a:cubicBezTo>
                    <a:pt x="77" y="29"/>
                    <a:pt x="78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7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7"/>
                  </a:cubicBezTo>
                  <a:cubicBezTo>
                    <a:pt x="71" y="28"/>
                    <a:pt x="70" y="27"/>
                    <a:pt x="70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69" y="27"/>
                    <a:pt x="69" y="27"/>
                  </a:cubicBezTo>
                  <a:cubicBezTo>
                    <a:pt x="69" y="27"/>
                    <a:pt x="69" y="26"/>
                    <a:pt x="69" y="26"/>
                  </a:cubicBezTo>
                  <a:cubicBezTo>
                    <a:pt x="69" y="26"/>
                    <a:pt x="69" y="27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67" y="27"/>
                    <a:pt x="67" y="27"/>
                    <a:pt x="66" y="27"/>
                  </a:cubicBezTo>
                  <a:cubicBezTo>
                    <a:pt x="66" y="27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5" y="26"/>
                    <a:pt x="66" y="26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70" y="28"/>
                    <a:pt x="72" y="29"/>
                    <a:pt x="74" y="29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4" y="30"/>
                    <a:pt x="74" y="30"/>
                    <a:pt x="75" y="30"/>
                  </a:cubicBezTo>
                  <a:cubicBezTo>
                    <a:pt x="75" y="30"/>
                    <a:pt x="74" y="30"/>
                    <a:pt x="75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2" y="29"/>
                    <a:pt x="72" y="29"/>
                  </a:cubicBezTo>
                  <a:cubicBezTo>
                    <a:pt x="72" y="29"/>
                    <a:pt x="73" y="29"/>
                    <a:pt x="73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1" y="29"/>
                    <a:pt x="72" y="29"/>
                    <a:pt x="71" y="29"/>
                  </a:cubicBezTo>
                  <a:cubicBezTo>
                    <a:pt x="71" y="29"/>
                    <a:pt x="71" y="29"/>
                    <a:pt x="70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8" y="27"/>
                    <a:pt x="65" y="27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2" y="26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3" y="25"/>
                    <a:pt x="63" y="26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3" y="26"/>
                  </a:cubicBezTo>
                  <a:cubicBezTo>
                    <a:pt x="63" y="26"/>
                    <a:pt x="63" y="26"/>
                    <a:pt x="6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3" y="25"/>
                  </a:cubicBezTo>
                  <a:cubicBezTo>
                    <a:pt x="63" y="25"/>
                    <a:pt x="62" y="25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5"/>
                    <a:pt x="61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0" y="24"/>
                    <a:pt x="61" y="24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1" y="24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4" y="25"/>
                    <a:pt x="64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6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5" y="25"/>
                    <a:pt x="66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ubicBezTo>
                    <a:pt x="65" y="25"/>
                    <a:pt x="65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5"/>
                    <a:pt x="64" y="24"/>
                    <a:pt x="64" y="24"/>
                  </a:cubicBezTo>
                  <a:cubicBezTo>
                    <a:pt x="64" y="24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3"/>
                  </a:cubicBezTo>
                  <a:cubicBezTo>
                    <a:pt x="63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3"/>
                    <a:pt x="64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5"/>
                  </a:cubicBezTo>
                  <a:cubicBezTo>
                    <a:pt x="68" y="24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70" y="25"/>
                    <a:pt x="70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69" y="25"/>
                    <a:pt x="69" y="24"/>
                  </a:cubicBezTo>
                  <a:cubicBezTo>
                    <a:pt x="69" y="25"/>
                    <a:pt x="69" y="24"/>
                    <a:pt x="69" y="24"/>
                  </a:cubicBezTo>
                  <a:cubicBezTo>
                    <a:pt x="68" y="24"/>
                    <a:pt x="69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3"/>
                  </a:cubicBezTo>
                  <a:cubicBezTo>
                    <a:pt x="66" y="23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6" y="23"/>
                    <a:pt x="65" y="23"/>
                  </a:cubicBezTo>
                  <a:cubicBezTo>
                    <a:pt x="66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5" y="22"/>
                    <a:pt x="65" y="22"/>
                  </a:cubicBezTo>
                  <a:cubicBezTo>
                    <a:pt x="65" y="22"/>
                    <a:pt x="67" y="22"/>
                    <a:pt x="67" y="23"/>
                  </a:cubicBezTo>
                  <a:cubicBezTo>
                    <a:pt x="67" y="23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88" y="34"/>
                  </a:move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lose/>
                  <a:moveTo>
                    <a:pt x="79" y="31"/>
                  </a:moveTo>
                  <a:cubicBezTo>
                    <a:pt x="80" y="31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79" y="31"/>
                    <a:pt x="79" y="31"/>
                  </a:cubicBezTo>
                  <a:close/>
                  <a:moveTo>
                    <a:pt x="83" y="31"/>
                  </a:move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lose/>
                  <a:moveTo>
                    <a:pt x="85" y="32"/>
                  </a:moveTo>
                  <a:cubicBezTo>
                    <a:pt x="85" y="32"/>
                    <a:pt x="84" y="32"/>
                    <a:pt x="84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4" y="32"/>
                    <a:pt x="84" y="32"/>
                  </a:cubicBezTo>
                  <a:cubicBezTo>
                    <a:pt x="84" y="32"/>
                    <a:pt x="85" y="32"/>
                    <a:pt x="85" y="32"/>
                  </a:cubicBezTo>
                  <a:close/>
                  <a:moveTo>
                    <a:pt x="84" y="32"/>
                  </a:move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lose/>
                  <a:moveTo>
                    <a:pt x="85" y="32"/>
                  </a:moveTo>
                  <a:cubicBezTo>
                    <a:pt x="85" y="32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lose/>
                  <a:moveTo>
                    <a:pt x="85" y="33"/>
                  </a:move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lose/>
                  <a:moveTo>
                    <a:pt x="90" y="34"/>
                  </a:move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lose/>
                  <a:moveTo>
                    <a:pt x="89" y="34"/>
                  </a:moveTo>
                  <a:cubicBezTo>
                    <a:pt x="89" y="34"/>
                    <a:pt x="90" y="34"/>
                    <a:pt x="90" y="34"/>
                  </a:cubicBezTo>
                  <a:cubicBezTo>
                    <a:pt x="89" y="34"/>
                    <a:pt x="89" y="34"/>
                    <a:pt x="89" y="34"/>
                  </a:cubicBezTo>
                  <a:close/>
                  <a:moveTo>
                    <a:pt x="86" y="33"/>
                  </a:moveTo>
                  <a:cubicBezTo>
                    <a:pt x="86" y="33"/>
                    <a:pt x="86" y="33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3"/>
                    <a:pt x="85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7" y="33"/>
                    <a:pt x="88" y="34"/>
                    <a:pt x="89" y="34"/>
                  </a:cubicBezTo>
                  <a:cubicBezTo>
                    <a:pt x="88" y="33"/>
                    <a:pt x="87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2" y="34"/>
                    <a:pt x="92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0" y="34"/>
                    <a:pt x="90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88" y="32"/>
                  </a:moveTo>
                  <a:cubicBezTo>
                    <a:pt x="88" y="33"/>
                    <a:pt x="88" y="33"/>
                    <a:pt x="88" y="33"/>
                  </a:cubicBezTo>
                  <a:cubicBezTo>
                    <a:pt x="88" y="33"/>
                    <a:pt x="88" y="33"/>
                    <a:pt x="88" y="32"/>
                  </a:cubicBezTo>
                  <a:close/>
                  <a:moveTo>
                    <a:pt x="91" y="33"/>
                  </a:moveTo>
                  <a:cubicBezTo>
                    <a:pt x="90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lose/>
                  <a:moveTo>
                    <a:pt x="91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1" y="33"/>
                    <a:pt x="91" y="33"/>
                  </a:cubicBezTo>
                  <a:close/>
                  <a:moveTo>
                    <a:pt x="90" y="33"/>
                  </a:moveTo>
                  <a:cubicBezTo>
                    <a:pt x="89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89" y="32"/>
                    <a:pt x="89" y="32"/>
                  </a:cubicBezTo>
                  <a:cubicBezTo>
                    <a:pt x="90" y="33"/>
                    <a:pt x="90" y="32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90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85" y="31"/>
                  </a:moveTo>
                  <a:cubicBezTo>
                    <a:pt x="84" y="31"/>
                    <a:pt x="84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32"/>
                    <a:pt x="85" y="32"/>
                    <a:pt x="85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5" y="32"/>
                    <a:pt x="86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2"/>
                    <a:pt x="86" y="33"/>
                    <a:pt x="87" y="33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5" y="31"/>
                    <a:pt x="85" y="32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85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73" y="22"/>
                  </a:move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  <a:moveTo>
                    <a:pt x="72" y="22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lose/>
                  <a:moveTo>
                    <a:pt x="74" y="23"/>
                  </a:move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4" y="22"/>
                    <a:pt x="74" y="23"/>
                    <a:pt x="74" y="23"/>
                  </a:cubicBezTo>
                  <a:close/>
                  <a:moveTo>
                    <a:pt x="74" y="23"/>
                  </a:moveTo>
                  <a:cubicBezTo>
                    <a:pt x="74" y="23"/>
                    <a:pt x="73" y="22"/>
                    <a:pt x="73" y="22"/>
                  </a:cubicBezTo>
                  <a:cubicBezTo>
                    <a:pt x="73" y="23"/>
                    <a:pt x="74" y="23"/>
                    <a:pt x="74" y="23"/>
                  </a:cubicBezTo>
                  <a:close/>
                  <a:moveTo>
                    <a:pt x="75" y="24"/>
                  </a:move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4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5" y="24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7"/>
                    <a:pt x="79" y="27"/>
                  </a:cubicBezTo>
                  <a:cubicBezTo>
                    <a:pt x="79" y="27"/>
                    <a:pt x="79" y="27"/>
                    <a:pt x="79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7"/>
                    <a:pt x="78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8" y="27"/>
                    <a:pt x="78" y="26"/>
                    <a:pt x="78" y="26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3"/>
                    <a:pt x="66" y="23"/>
                    <a:pt x="67" y="23"/>
                  </a:cubicBezTo>
                  <a:close/>
                  <a:moveTo>
                    <a:pt x="69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lose/>
                  <a:moveTo>
                    <a:pt x="70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69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69" y="24"/>
                    <a:pt x="69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0" y="24"/>
                    <a:pt x="70" y="25"/>
                    <a:pt x="69" y="24"/>
                  </a:cubicBezTo>
                  <a:cubicBezTo>
                    <a:pt x="70" y="25"/>
                    <a:pt x="70" y="24"/>
                    <a:pt x="70" y="24"/>
                  </a:cubicBezTo>
                  <a:close/>
                  <a:moveTo>
                    <a:pt x="72" y="25"/>
                  </a:moveTo>
                  <a:cubicBezTo>
                    <a:pt x="71" y="25"/>
                    <a:pt x="71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2" y="25"/>
                    <a:pt x="72" y="25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5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4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5" y="26"/>
                    <a:pt x="75" y="27"/>
                    <a:pt x="75" y="27"/>
                  </a:cubicBezTo>
                  <a:cubicBezTo>
                    <a:pt x="75" y="27"/>
                    <a:pt x="75" y="26"/>
                    <a:pt x="75" y="26"/>
                  </a:cubicBezTo>
                  <a:cubicBezTo>
                    <a:pt x="75" y="26"/>
                    <a:pt x="75" y="26"/>
                    <a:pt x="75" y="27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lose/>
                  <a:moveTo>
                    <a:pt x="73" y="26"/>
                  </a:moveTo>
                  <a:cubicBezTo>
                    <a:pt x="73" y="26"/>
                    <a:pt x="74" y="26"/>
                    <a:pt x="74" y="26"/>
                  </a:cubicBezTo>
                  <a:cubicBezTo>
                    <a:pt x="74" y="26"/>
                    <a:pt x="74" y="26"/>
                    <a:pt x="73" y="26"/>
                  </a:cubicBezTo>
                  <a:close/>
                  <a:moveTo>
                    <a:pt x="73" y="25"/>
                  </a:move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5"/>
                    <a:pt x="73" y="25"/>
                  </a:cubicBezTo>
                  <a:cubicBezTo>
                    <a:pt x="73" y="26"/>
                    <a:pt x="73" y="26"/>
                    <a:pt x="73" y="25"/>
                  </a:cubicBezTo>
                  <a:close/>
                  <a:moveTo>
                    <a:pt x="70" y="25"/>
                  </a:move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0" y="24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5"/>
                  </a:cubicBezTo>
                  <a:close/>
                  <a:moveTo>
                    <a:pt x="71" y="25"/>
                  </a:move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lose/>
                  <a:moveTo>
                    <a:pt x="72" y="26"/>
                  </a:moveTo>
                  <a:cubicBezTo>
                    <a:pt x="73" y="26"/>
                    <a:pt x="73" y="26"/>
                    <a:pt x="72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7"/>
                    <a:pt x="74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ubicBezTo>
                    <a:pt x="72" y="26"/>
                    <a:pt x="72" y="26"/>
                    <a:pt x="72" y="25"/>
                  </a:cubicBezTo>
                  <a:cubicBezTo>
                    <a:pt x="72" y="25"/>
                    <a:pt x="72" y="26"/>
                    <a:pt x="72" y="2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26"/>
                    <a:pt x="72" y="25"/>
                    <a:pt x="72" y="26"/>
                  </a:cubicBezTo>
                  <a:cubicBezTo>
                    <a:pt x="72" y="26"/>
                    <a:pt x="72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4" y="27"/>
                    <a:pt x="74" y="26"/>
                  </a:cubicBezTo>
                  <a:cubicBezTo>
                    <a:pt x="74" y="26"/>
                    <a:pt x="74" y="27"/>
                    <a:pt x="74" y="26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7" y="27"/>
                  </a:moveTo>
                  <a:cubicBezTo>
                    <a:pt x="77" y="28"/>
                    <a:pt x="77" y="27"/>
                    <a:pt x="77" y="28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7" y="27"/>
                    <a:pt x="77" y="27"/>
                  </a:cubicBezTo>
                  <a:close/>
                  <a:moveTo>
                    <a:pt x="78" y="28"/>
                  </a:moveTo>
                  <a:cubicBezTo>
                    <a:pt x="78" y="28"/>
                    <a:pt x="79" y="28"/>
                    <a:pt x="79" y="28"/>
                  </a:cubicBezTo>
                  <a:cubicBezTo>
                    <a:pt x="79" y="28"/>
                    <a:pt x="79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1" y="26"/>
                  </a:moveTo>
                  <a:cubicBezTo>
                    <a:pt x="71" y="26"/>
                    <a:pt x="72" y="26"/>
                    <a:pt x="72" y="26"/>
                  </a:cubicBezTo>
                  <a:cubicBezTo>
                    <a:pt x="72" y="26"/>
                    <a:pt x="71" y="26"/>
                    <a:pt x="72" y="26"/>
                  </a:cubicBezTo>
                  <a:cubicBezTo>
                    <a:pt x="71" y="26"/>
                    <a:pt x="71" y="25"/>
                    <a:pt x="71" y="25"/>
                  </a:cubicBezTo>
                  <a:cubicBezTo>
                    <a:pt x="71" y="26"/>
                    <a:pt x="72" y="26"/>
                    <a:pt x="71" y="26"/>
                  </a:cubicBezTo>
                  <a:close/>
                  <a:moveTo>
                    <a:pt x="73" y="27"/>
                  </a:moveTo>
                  <a:cubicBezTo>
                    <a:pt x="73" y="27"/>
                    <a:pt x="73" y="27"/>
                    <a:pt x="73" y="26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3" y="27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6"/>
                    <a:pt x="68" y="26"/>
                  </a:cubicBezTo>
                  <a:cubicBezTo>
                    <a:pt x="68" y="26"/>
                    <a:pt x="68" y="26"/>
                    <a:pt x="68" y="25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6"/>
                  </a:moveTo>
                  <a:cubicBezTo>
                    <a:pt x="70" y="26"/>
                    <a:pt x="69" y="26"/>
                    <a:pt x="69" y="26"/>
                  </a:cubicBezTo>
                  <a:cubicBezTo>
                    <a:pt x="69" y="26"/>
                    <a:pt x="70" y="26"/>
                    <a:pt x="70" y="26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4"/>
                    <a:pt x="67" y="24"/>
                    <a:pt x="67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9" y="25"/>
                    <a:pt x="69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  <a:moveTo>
                    <a:pt x="67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7" y="25"/>
                  </a:cubicBezTo>
                  <a:close/>
                  <a:moveTo>
                    <a:pt x="70" y="25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66" y="24"/>
                  </a:moveTo>
                  <a:cubicBezTo>
                    <a:pt x="66" y="24"/>
                    <a:pt x="67" y="24"/>
                    <a:pt x="67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5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6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lose/>
                  <a:moveTo>
                    <a:pt x="64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8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8" y="25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5"/>
                    <a:pt x="65" y="25"/>
                  </a:cubicBezTo>
                  <a:cubicBezTo>
                    <a:pt x="66" y="26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5" y="25"/>
                    <a:pt x="65" y="26"/>
                  </a:cubicBezTo>
                  <a:cubicBezTo>
                    <a:pt x="65" y="26"/>
                    <a:pt x="65" y="26"/>
                    <a:pt x="66" y="26"/>
                  </a:cubicBezTo>
                  <a:close/>
                  <a:moveTo>
                    <a:pt x="63" y="25"/>
                  </a:move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lose/>
                  <a:moveTo>
                    <a:pt x="63" y="25"/>
                  </a:move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lose/>
                  <a:moveTo>
                    <a:pt x="65" y="25"/>
                  </a:moveTo>
                  <a:cubicBezTo>
                    <a:pt x="65" y="25"/>
                    <a:pt x="65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3" y="25"/>
                    <a:pt x="64" y="26"/>
                    <a:pt x="64" y="26"/>
                  </a:cubicBezTo>
                  <a:cubicBezTo>
                    <a:pt x="64" y="26"/>
                    <a:pt x="64" y="26"/>
                    <a:pt x="64" y="25"/>
                  </a:cubicBezTo>
                  <a:cubicBezTo>
                    <a:pt x="64" y="26"/>
                    <a:pt x="64" y="25"/>
                    <a:pt x="65" y="25"/>
                  </a:cubicBezTo>
                  <a:close/>
                  <a:moveTo>
                    <a:pt x="67" y="26"/>
                  </a:moveTo>
                  <a:cubicBezTo>
                    <a:pt x="67" y="26"/>
                    <a:pt x="67" y="26"/>
                    <a:pt x="66" y="26"/>
                  </a:cubicBezTo>
                  <a:cubicBezTo>
                    <a:pt x="66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lose/>
                  <a:moveTo>
                    <a:pt x="68" y="26"/>
                  </a:move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7" y="25"/>
                    <a:pt x="67" y="26"/>
                  </a:cubicBezTo>
                  <a:cubicBezTo>
                    <a:pt x="67" y="25"/>
                    <a:pt x="67" y="26"/>
                    <a:pt x="67" y="26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8" y="26"/>
                    <a:pt x="68" y="26"/>
                    <a:pt x="67" y="26"/>
                  </a:cubicBezTo>
                  <a:cubicBezTo>
                    <a:pt x="68" y="26"/>
                    <a:pt x="68" y="26"/>
                    <a:pt x="69" y="27"/>
                  </a:cubicBezTo>
                  <a:cubicBezTo>
                    <a:pt x="69" y="27"/>
                    <a:pt x="69" y="27"/>
                    <a:pt x="69" y="26"/>
                  </a:cubicBezTo>
                  <a:cubicBezTo>
                    <a:pt x="68" y="26"/>
                    <a:pt x="69" y="26"/>
                    <a:pt x="69" y="26"/>
                  </a:cubicBezTo>
                  <a:cubicBezTo>
                    <a:pt x="69" y="26"/>
                    <a:pt x="68" y="26"/>
                    <a:pt x="68" y="26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8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70" y="27"/>
                    <a:pt x="69" y="26"/>
                  </a:cubicBezTo>
                  <a:cubicBezTo>
                    <a:pt x="69" y="26"/>
                    <a:pt x="69" y="27"/>
                    <a:pt x="69" y="27"/>
                  </a:cubicBezTo>
                  <a:cubicBezTo>
                    <a:pt x="70" y="27"/>
                    <a:pt x="70" y="27"/>
                    <a:pt x="70" y="27"/>
                  </a:cubicBezTo>
                  <a:close/>
                  <a:moveTo>
                    <a:pt x="73" y="28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2" y="28"/>
                    <a:pt x="73" y="28"/>
                    <a:pt x="73" y="28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4" y="28"/>
                    <a:pt x="74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4" y="28"/>
                  </a:cubicBezTo>
                  <a:cubicBezTo>
                    <a:pt x="74" y="29"/>
                    <a:pt x="74" y="28"/>
                    <a:pt x="74" y="29"/>
                  </a:cubicBezTo>
                  <a:cubicBezTo>
                    <a:pt x="74" y="29"/>
                    <a:pt x="74" y="29"/>
                    <a:pt x="73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4" y="29"/>
                    <a:pt x="74" y="29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5" y="28"/>
                  </a:move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6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7"/>
                    <a:pt x="74" y="27"/>
                  </a:cubicBezTo>
                  <a:cubicBezTo>
                    <a:pt x="74" y="28"/>
                    <a:pt x="73" y="27"/>
                    <a:pt x="73" y="27"/>
                  </a:cubicBezTo>
                  <a:cubicBezTo>
                    <a:pt x="73" y="27"/>
                    <a:pt x="73" y="28"/>
                    <a:pt x="74" y="28"/>
                  </a:cubicBezTo>
                  <a:cubicBezTo>
                    <a:pt x="73" y="27"/>
                    <a:pt x="73" y="28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9"/>
                    <a:pt x="76" y="28"/>
                  </a:cubicBezTo>
                  <a:cubicBezTo>
                    <a:pt x="76" y="28"/>
                    <a:pt x="75" y="28"/>
                    <a:pt x="75" y="28"/>
                  </a:cubicBezTo>
                  <a:close/>
                  <a:moveTo>
                    <a:pt x="79" y="29"/>
                  </a:moveTo>
                  <a:cubicBezTo>
                    <a:pt x="79" y="29"/>
                    <a:pt x="79" y="29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lose/>
                  <a:moveTo>
                    <a:pt x="78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8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78" y="29"/>
                  </a:moveTo>
                  <a:cubicBezTo>
                    <a:pt x="79" y="29"/>
                    <a:pt x="79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80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lose/>
                  <a:moveTo>
                    <a:pt x="80" y="29"/>
                  </a:moveTo>
                  <a:cubicBezTo>
                    <a:pt x="80" y="29"/>
                    <a:pt x="81" y="29"/>
                    <a:pt x="81" y="29"/>
                  </a:cubicBezTo>
                  <a:cubicBezTo>
                    <a:pt x="81" y="29"/>
                    <a:pt x="80" y="29"/>
                    <a:pt x="80" y="29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1"/>
                    <a:pt x="84" y="31"/>
                    <a:pt x="84" y="30"/>
                  </a:cubicBezTo>
                  <a:cubicBezTo>
                    <a:pt x="84" y="30"/>
                    <a:pt x="84" y="30"/>
                    <a:pt x="84" y="31"/>
                  </a:cubicBezTo>
                  <a:close/>
                  <a:moveTo>
                    <a:pt x="85" y="30"/>
                  </a:moveTo>
                  <a:cubicBezTo>
                    <a:pt x="84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lose/>
                  <a:moveTo>
                    <a:pt x="85" y="30"/>
                  </a:moveTo>
                  <a:cubicBezTo>
                    <a:pt x="85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7" y="31"/>
                  </a:cubicBezTo>
                  <a:cubicBezTo>
                    <a:pt x="87" y="31"/>
                    <a:pt x="88" y="31"/>
                    <a:pt x="87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9" y="31"/>
                  </a:cubicBezTo>
                  <a:cubicBezTo>
                    <a:pt x="88" y="31"/>
                    <a:pt x="89" y="31"/>
                    <a:pt x="89" y="31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0"/>
                    <a:pt x="86" y="31"/>
                    <a:pt x="87" y="31"/>
                  </a:cubicBezTo>
                  <a:close/>
                  <a:moveTo>
                    <a:pt x="83" y="30"/>
                  </a:moveTo>
                  <a:cubicBezTo>
                    <a:pt x="83" y="30"/>
                    <a:pt x="84" y="30"/>
                    <a:pt x="84" y="30"/>
                  </a:cubicBezTo>
                  <a:cubicBezTo>
                    <a:pt x="84" y="30"/>
                    <a:pt x="83" y="30"/>
                    <a:pt x="83" y="30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8"/>
                    <a:pt x="80" y="28"/>
                  </a:cubicBezTo>
                  <a:cubicBezTo>
                    <a:pt x="79" y="28"/>
                    <a:pt x="80" y="28"/>
                    <a:pt x="80" y="29"/>
                  </a:cubicBezTo>
                  <a:cubicBezTo>
                    <a:pt x="80" y="29"/>
                    <a:pt x="80" y="28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30"/>
                    <a:pt x="81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3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1" y="28"/>
                    <a:pt x="80" y="29"/>
                  </a:cubicBezTo>
                  <a:close/>
                  <a:moveTo>
                    <a:pt x="79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7"/>
                    <a:pt x="78" y="28"/>
                  </a:cubicBezTo>
                  <a:close/>
                  <a:moveTo>
                    <a:pt x="76" y="27"/>
                  </a:moveTo>
                  <a:cubicBezTo>
                    <a:pt x="76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6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7" y="27"/>
                    <a:pt x="77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5" y="26"/>
                    <a:pt x="75" y="27"/>
                  </a:cubicBezTo>
                  <a:cubicBezTo>
                    <a:pt x="75" y="26"/>
                    <a:pt x="76" y="26"/>
                    <a:pt x="76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80" y="28"/>
                  </a:moveTo>
                  <a:cubicBezTo>
                    <a:pt x="80" y="28"/>
                    <a:pt x="79" y="27"/>
                    <a:pt x="79" y="28"/>
                  </a:cubicBezTo>
                  <a:cubicBezTo>
                    <a:pt x="79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lose/>
                  <a:moveTo>
                    <a:pt x="78" y="27"/>
                  </a:move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7"/>
                    <a:pt x="77" y="27"/>
                  </a:cubicBezTo>
                  <a:close/>
                  <a:moveTo>
                    <a:pt x="74" y="25"/>
                  </a:moveTo>
                  <a:cubicBezTo>
                    <a:pt x="74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4"/>
                  </a:cubicBezTo>
                  <a:cubicBezTo>
                    <a:pt x="71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4"/>
                    <a:pt x="72" y="25"/>
                    <a:pt x="72" y="25"/>
                  </a:cubicBezTo>
                  <a:close/>
                  <a:moveTo>
                    <a:pt x="71" y="24"/>
                  </a:move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2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1" y="24"/>
                  </a:moveTo>
                  <a:cubicBezTo>
                    <a:pt x="71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2" y="24"/>
                  </a:moveTo>
                  <a:cubicBezTo>
                    <a:pt x="72" y="24"/>
                    <a:pt x="73" y="25"/>
                    <a:pt x="73" y="25"/>
                  </a:cubicBezTo>
                  <a:cubicBezTo>
                    <a:pt x="72" y="24"/>
                    <a:pt x="72" y="24"/>
                    <a:pt x="72" y="24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4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4"/>
                    <a:pt x="68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3"/>
                    <a:pt x="69" y="23"/>
                  </a:cubicBezTo>
                  <a:cubicBezTo>
                    <a:pt x="68" y="24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lose/>
                  <a:moveTo>
                    <a:pt x="64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96" y="30"/>
                  </a:moveTo>
                  <a:cubicBezTo>
                    <a:pt x="97" y="30"/>
                    <a:pt x="95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7" y="29"/>
                  </a:cubicBezTo>
                  <a:cubicBezTo>
                    <a:pt x="97" y="30"/>
                    <a:pt x="96" y="30"/>
                    <a:pt x="96" y="30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5" y="31"/>
                  </a:move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6" y="31"/>
                    <a:pt x="96" y="31"/>
                  </a:cubicBezTo>
                  <a:cubicBezTo>
                    <a:pt x="96" y="31"/>
                    <a:pt x="95" y="31"/>
                    <a:pt x="95" y="31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1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9"/>
                    <a:pt x="95" y="29"/>
                    <a:pt x="95" y="30"/>
                  </a:cubicBezTo>
                  <a:close/>
                  <a:moveTo>
                    <a:pt x="95" y="32"/>
                  </a:move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1" y="31"/>
                  </a:move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0"/>
                  </a:cubicBezTo>
                  <a:cubicBezTo>
                    <a:pt x="91" y="30"/>
                    <a:pt x="90" y="30"/>
                    <a:pt x="89" y="30"/>
                  </a:cubicBezTo>
                  <a:cubicBezTo>
                    <a:pt x="89" y="30"/>
                    <a:pt x="89" y="30"/>
                    <a:pt x="89" y="29"/>
                  </a:cubicBezTo>
                  <a:cubicBezTo>
                    <a:pt x="90" y="29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1" y="30"/>
                    <a:pt x="91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3" y="31"/>
                  </a:cubicBezTo>
                  <a:cubicBezTo>
                    <a:pt x="93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5" y="31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4" y="32"/>
                    <a:pt x="94" y="32"/>
                    <a:pt x="95" y="32"/>
                  </a:cubicBezTo>
                  <a:cubicBezTo>
                    <a:pt x="94" y="32"/>
                    <a:pt x="94" y="32"/>
                    <a:pt x="94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1" y="31"/>
                    <a:pt x="92" y="31"/>
                    <a:pt x="91" y="31"/>
                  </a:cubicBezTo>
                  <a:cubicBezTo>
                    <a:pt x="91" y="31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1" y="31"/>
                    <a:pt x="90" y="31"/>
                  </a:cubicBezTo>
                  <a:cubicBezTo>
                    <a:pt x="90" y="30"/>
                    <a:pt x="91" y="31"/>
                    <a:pt x="91" y="31"/>
                  </a:cubicBezTo>
                  <a:close/>
                  <a:moveTo>
                    <a:pt x="92" y="31"/>
                  </a:move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2" y="31"/>
                  </a:cubicBezTo>
                  <a:close/>
                  <a:moveTo>
                    <a:pt x="95" y="28"/>
                  </a:move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7"/>
                    <a:pt x="94" y="28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5" y="28"/>
                    <a:pt x="95" y="28"/>
                    <a:pt x="95" y="28"/>
                  </a:cubicBezTo>
                  <a:close/>
                  <a:moveTo>
                    <a:pt x="96" y="25"/>
                  </a:moveTo>
                  <a:cubicBezTo>
                    <a:pt x="95" y="25"/>
                    <a:pt x="96" y="25"/>
                    <a:pt x="96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4" y="25"/>
                  </a:cubicBezTo>
                  <a:cubicBezTo>
                    <a:pt x="94" y="25"/>
                    <a:pt x="95" y="25"/>
                    <a:pt x="95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5" y="25"/>
                    <a:pt x="95" y="25"/>
                    <a:pt x="96" y="25"/>
                  </a:cubicBezTo>
                  <a:close/>
                  <a:moveTo>
                    <a:pt x="96" y="26"/>
                  </a:move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4" y="26"/>
                  </a:cubicBezTo>
                  <a:cubicBezTo>
                    <a:pt x="94" y="26"/>
                    <a:pt x="95" y="26"/>
                    <a:pt x="94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7"/>
                    <a:pt x="95" y="26"/>
                    <a:pt x="95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6"/>
                    <a:pt x="93" y="26"/>
                  </a:cubicBezTo>
                  <a:cubicBezTo>
                    <a:pt x="93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5"/>
                    <a:pt x="92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5"/>
                    <a:pt x="93" y="25"/>
                    <a:pt x="94" y="26"/>
                  </a:cubicBezTo>
                  <a:cubicBezTo>
                    <a:pt x="94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6" y="26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4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lose/>
                  <a:moveTo>
                    <a:pt x="93" y="27"/>
                  </a:move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7"/>
                    <a:pt x="93" y="27"/>
                    <a:pt x="93" y="27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3"/>
                    <a:pt x="90" y="32"/>
                    <a:pt x="90" y="32"/>
                  </a:cubicBezTo>
                  <a:close/>
                  <a:moveTo>
                    <a:pt x="91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1" y="28"/>
                    <a:pt x="91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2" y="27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1" y="28"/>
                    <a:pt x="91" y="28"/>
                  </a:cubicBezTo>
                  <a:close/>
                  <a:moveTo>
                    <a:pt x="91" y="26"/>
                  </a:moveTo>
                  <a:cubicBezTo>
                    <a:pt x="91" y="27"/>
                    <a:pt x="91" y="26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3"/>
                  </a:moveTo>
                  <a:cubicBezTo>
                    <a:pt x="89" y="24"/>
                    <a:pt x="90" y="23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89" y="24"/>
                  </a:cubicBezTo>
                  <a:cubicBezTo>
                    <a:pt x="89" y="24"/>
                    <a:pt x="89" y="24"/>
                    <a:pt x="89" y="23"/>
                  </a:cubicBezTo>
                  <a:close/>
                  <a:moveTo>
                    <a:pt x="90" y="24"/>
                  </a:moveTo>
                  <a:cubicBezTo>
                    <a:pt x="90" y="24"/>
                    <a:pt x="91" y="24"/>
                    <a:pt x="91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90" y="27"/>
                  </a:move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7"/>
                    <a:pt x="89" y="26"/>
                  </a:cubicBezTo>
                  <a:cubicBezTo>
                    <a:pt x="90" y="26"/>
                    <a:pt x="90" y="27"/>
                    <a:pt x="90" y="27"/>
                  </a:cubicBezTo>
                  <a:cubicBezTo>
                    <a:pt x="90" y="27"/>
                    <a:pt x="89" y="27"/>
                    <a:pt x="89" y="27"/>
                  </a:cubicBezTo>
                  <a:cubicBezTo>
                    <a:pt x="89" y="27"/>
                    <a:pt x="89" y="27"/>
                    <a:pt x="90" y="27"/>
                  </a:cubicBezTo>
                  <a:cubicBezTo>
                    <a:pt x="89" y="26"/>
                    <a:pt x="89" y="27"/>
                    <a:pt x="89" y="26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8" y="27"/>
                  </a:cubicBezTo>
                  <a:cubicBezTo>
                    <a:pt x="89" y="26"/>
                    <a:pt x="88" y="26"/>
                    <a:pt x="89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7"/>
                    <a:pt x="88" y="27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5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9" y="26"/>
                    <a:pt x="89" y="26"/>
                  </a:cubicBezTo>
                  <a:cubicBezTo>
                    <a:pt x="89" y="26"/>
                    <a:pt x="90" y="26"/>
                    <a:pt x="89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2" y="25"/>
                    <a:pt x="92" y="25"/>
                  </a:cubicBezTo>
                  <a:cubicBezTo>
                    <a:pt x="92" y="25"/>
                    <a:pt x="91" y="25"/>
                    <a:pt x="91" y="25"/>
                  </a:cubicBezTo>
                  <a:cubicBezTo>
                    <a:pt x="91" y="25"/>
                    <a:pt x="91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9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88" y="29"/>
                  </a:moveTo>
                  <a:cubicBezTo>
                    <a:pt x="88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8" y="29"/>
                    <a:pt x="88" y="29"/>
                  </a:cubicBezTo>
                  <a:cubicBezTo>
                    <a:pt x="88" y="30"/>
                    <a:pt x="88" y="29"/>
                    <a:pt x="88" y="29"/>
                  </a:cubicBezTo>
                  <a:close/>
                  <a:moveTo>
                    <a:pt x="88" y="27"/>
                  </a:move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9" y="27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8" y="27"/>
                  </a:cubicBezTo>
                  <a:cubicBezTo>
                    <a:pt x="88" y="28"/>
                    <a:pt x="87" y="27"/>
                    <a:pt x="87" y="27"/>
                  </a:cubicBezTo>
                  <a:cubicBezTo>
                    <a:pt x="87" y="27"/>
                    <a:pt x="87" y="27"/>
                    <a:pt x="88" y="27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9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90" y="25"/>
                  </a:cubicBezTo>
                  <a:cubicBezTo>
                    <a:pt x="89" y="25"/>
                    <a:pt x="89" y="25"/>
                    <a:pt x="90" y="25"/>
                  </a:cubicBezTo>
                  <a:cubicBezTo>
                    <a:pt x="90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8" y="29"/>
                  </a:cubicBezTo>
                  <a:cubicBezTo>
                    <a:pt x="87" y="29"/>
                    <a:pt x="86" y="28"/>
                    <a:pt x="86" y="29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6" y="28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8" y="24"/>
                    <a:pt x="88" y="24"/>
                  </a:cubicBezTo>
                  <a:cubicBezTo>
                    <a:pt x="88" y="24"/>
                    <a:pt x="88" y="24"/>
                    <a:pt x="89" y="24"/>
                  </a:cubicBezTo>
                  <a:cubicBezTo>
                    <a:pt x="88" y="24"/>
                    <a:pt x="88" y="24"/>
                    <a:pt x="87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3"/>
                    <a:pt x="85" y="23"/>
                  </a:cubicBezTo>
                  <a:cubicBezTo>
                    <a:pt x="85" y="23"/>
                    <a:pt x="86" y="23"/>
                    <a:pt x="86" y="23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7" y="28"/>
                    <a:pt x="88" y="28"/>
                  </a:cubicBezTo>
                  <a:cubicBezTo>
                    <a:pt x="87" y="28"/>
                    <a:pt x="86" y="28"/>
                    <a:pt x="86" y="28"/>
                  </a:cubicBezTo>
                  <a:close/>
                  <a:moveTo>
                    <a:pt x="88" y="24"/>
                  </a:moveTo>
                  <a:cubicBezTo>
                    <a:pt x="88" y="23"/>
                    <a:pt x="88" y="23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lose/>
                  <a:moveTo>
                    <a:pt x="85" y="30"/>
                  </a:move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6" y="26"/>
                  </a:moveTo>
                  <a:cubicBezTo>
                    <a:pt x="86" y="25"/>
                    <a:pt x="85" y="25"/>
                    <a:pt x="85" y="25"/>
                  </a:cubicBezTo>
                  <a:cubicBezTo>
                    <a:pt x="85" y="25"/>
                    <a:pt x="84" y="25"/>
                    <a:pt x="84" y="25"/>
                  </a:cubicBezTo>
                  <a:cubicBezTo>
                    <a:pt x="84" y="25"/>
                    <a:pt x="85" y="25"/>
                    <a:pt x="85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25"/>
                    <a:pt x="86" y="25"/>
                    <a:pt x="86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4" y="31"/>
                  </a:cubicBezTo>
                  <a:close/>
                  <a:moveTo>
                    <a:pt x="86" y="22"/>
                  </a:moveTo>
                  <a:cubicBezTo>
                    <a:pt x="86" y="22"/>
                    <a:pt x="86" y="22"/>
                    <a:pt x="86" y="22"/>
                  </a:cubicBezTo>
                  <a:cubicBezTo>
                    <a:pt x="86" y="22"/>
                    <a:pt x="86" y="22"/>
                    <a:pt x="85" y="22"/>
                  </a:cubicBezTo>
                  <a:cubicBezTo>
                    <a:pt x="85" y="22"/>
                    <a:pt x="86" y="22"/>
                    <a:pt x="86" y="22"/>
                  </a:cubicBezTo>
                  <a:close/>
                  <a:moveTo>
                    <a:pt x="85" y="25"/>
                  </a:move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5" y="25"/>
                    <a:pt x="85" y="25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2" y="31"/>
                    <a:pt x="81" y="31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80" y="30"/>
                    <a:pt x="80" y="30"/>
                    <a:pt x="81" y="30"/>
                  </a:cubicBezTo>
                  <a:cubicBezTo>
                    <a:pt x="81" y="30"/>
                    <a:pt x="81" y="30"/>
                    <a:pt x="81" y="31"/>
                  </a:cubicBezTo>
                  <a:cubicBezTo>
                    <a:pt x="81" y="31"/>
                    <a:pt x="81" y="31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lose/>
                  <a:moveTo>
                    <a:pt x="82" y="22"/>
                  </a:move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3" y="22"/>
                    <a:pt x="83" y="23"/>
                  </a:cubicBezTo>
                  <a:cubicBezTo>
                    <a:pt x="83" y="22"/>
                    <a:pt x="83" y="23"/>
                    <a:pt x="83" y="22"/>
                  </a:cubicBezTo>
                  <a:cubicBezTo>
                    <a:pt x="83" y="22"/>
                    <a:pt x="83" y="23"/>
                    <a:pt x="83" y="23"/>
                  </a:cubicBezTo>
                  <a:cubicBezTo>
                    <a:pt x="83" y="23"/>
                    <a:pt x="82" y="23"/>
                    <a:pt x="82" y="22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lose/>
                  <a:moveTo>
                    <a:pt x="80" y="21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1" y="20"/>
                    <a:pt x="82" y="21"/>
                    <a:pt x="83" y="21"/>
                  </a:cubicBezTo>
                  <a:cubicBezTo>
                    <a:pt x="83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1" y="21"/>
                    <a:pt x="81" y="21"/>
                    <a:pt x="81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0" y="21"/>
                  </a:cubicBezTo>
                  <a:close/>
                  <a:moveTo>
                    <a:pt x="82" y="22"/>
                  </a:moveTo>
                  <a:cubicBezTo>
                    <a:pt x="82" y="22"/>
                    <a:pt x="81" y="22"/>
                    <a:pt x="81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8" y="22"/>
                  </a:moveTo>
                  <a:cubicBezTo>
                    <a:pt x="79" y="22"/>
                    <a:pt x="80" y="22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3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2"/>
                    <a:pt x="77" y="22"/>
                    <a:pt x="76" y="22"/>
                  </a:cubicBezTo>
                  <a:cubicBezTo>
                    <a:pt x="76" y="22"/>
                    <a:pt x="77" y="22"/>
                    <a:pt x="77" y="22"/>
                  </a:cubicBezTo>
                  <a:cubicBezTo>
                    <a:pt x="77" y="22"/>
                    <a:pt x="78" y="22"/>
                    <a:pt x="77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8" y="22"/>
                    <a:pt x="78" y="22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2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9" y="23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8" y="23"/>
                    <a:pt x="79" y="23"/>
                  </a:cubicBezTo>
                  <a:close/>
                  <a:moveTo>
                    <a:pt x="74" y="25"/>
                  </a:moveTo>
                  <a:cubicBezTo>
                    <a:pt x="74" y="26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4" y="19"/>
                    <a:pt x="75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19"/>
                    <a:pt x="75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19"/>
                    <a:pt x="74" y="19"/>
                    <a:pt x="74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1" y="2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lose/>
                  <a:moveTo>
                    <a:pt x="71" y="22"/>
                  </a:moveTo>
                  <a:cubicBezTo>
                    <a:pt x="70" y="22"/>
                    <a:pt x="70" y="23"/>
                    <a:pt x="71" y="23"/>
                  </a:cubicBezTo>
                  <a:cubicBezTo>
                    <a:pt x="70" y="23"/>
                    <a:pt x="70" y="22"/>
                    <a:pt x="70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69" y="22"/>
                    <a:pt x="69" y="22"/>
                  </a:cubicBezTo>
                  <a:cubicBezTo>
                    <a:pt x="69" y="22"/>
                    <a:pt x="69" y="22"/>
                    <a:pt x="70" y="22"/>
                  </a:cubicBezTo>
                  <a:cubicBezTo>
                    <a:pt x="70" y="22"/>
                    <a:pt x="70" y="22"/>
                    <a:pt x="71" y="22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4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7"/>
                    <a:pt x="69" y="27"/>
                  </a:cubicBezTo>
                  <a:cubicBezTo>
                    <a:pt x="69" y="27"/>
                    <a:pt x="69" y="27"/>
                    <a:pt x="70" y="27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1" y="19"/>
                    <a:pt x="71" y="19"/>
                    <a:pt x="71" y="18"/>
                  </a:cubicBezTo>
                  <a:cubicBezTo>
                    <a:pt x="71" y="18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2" y="18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9"/>
                    <a:pt x="72" y="19"/>
                  </a:cubicBezTo>
                  <a:cubicBezTo>
                    <a:pt x="72" y="19"/>
                    <a:pt x="72" y="19"/>
                    <a:pt x="71" y="18"/>
                  </a:cubicBezTo>
                  <a:cubicBezTo>
                    <a:pt x="71" y="19"/>
                    <a:pt x="72" y="19"/>
                    <a:pt x="72" y="19"/>
                  </a:cubicBezTo>
                  <a:close/>
                  <a:moveTo>
                    <a:pt x="69" y="28"/>
                  </a:move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8" y="28"/>
                    <a:pt x="68" y="28"/>
                  </a:cubicBezTo>
                  <a:lnTo>
                    <a:pt x="69" y="28"/>
                  </a:lnTo>
                  <a:close/>
                  <a:moveTo>
                    <a:pt x="63" y="24"/>
                  </a:moveTo>
                  <a:cubicBezTo>
                    <a:pt x="63" y="25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5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4"/>
                  </a:cubicBezTo>
                  <a:close/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1" y="23"/>
                  </a:cubicBezTo>
                  <a:cubicBezTo>
                    <a:pt x="61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59" y="23"/>
                    <a:pt x="59" y="22"/>
                  </a:cubicBezTo>
                  <a:cubicBezTo>
                    <a:pt x="59" y="23"/>
                    <a:pt x="59" y="23"/>
                    <a:pt x="60" y="23"/>
                  </a:cubicBezTo>
                  <a:close/>
                  <a:moveTo>
                    <a:pt x="63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5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3" y="25"/>
                    <a:pt x="62" y="24"/>
                    <a:pt x="63" y="25"/>
                  </a:cubicBezTo>
                  <a:close/>
                  <a:moveTo>
                    <a:pt x="60" y="22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0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8" y="21"/>
                    <a:pt x="58" y="22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60" y="21"/>
                    <a:pt x="60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1"/>
                    <a:pt x="60" y="22"/>
                  </a:cubicBezTo>
                  <a:cubicBezTo>
                    <a:pt x="60" y="22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0" y="22"/>
                    <a:pt x="60" y="22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3"/>
                    <a:pt x="62" y="23"/>
                  </a:cubicBezTo>
                  <a:cubicBezTo>
                    <a:pt x="62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2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2"/>
                    <a:pt x="60" y="23"/>
                    <a:pt x="60" y="23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61" y="22"/>
                  </a:moveTo>
                  <a:cubicBezTo>
                    <a:pt x="61" y="23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lose/>
                  <a:moveTo>
                    <a:pt x="63" y="24"/>
                  </a:move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3" y="24"/>
                    <a:pt x="63" y="24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1" y="22"/>
                    <a:pt x="62" y="22"/>
                    <a:pt x="61" y="22"/>
                  </a:cubicBezTo>
                  <a:cubicBezTo>
                    <a:pt x="61" y="21"/>
                    <a:pt x="62" y="22"/>
                    <a:pt x="62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19"/>
                  </a:cubicBezTo>
                  <a:cubicBezTo>
                    <a:pt x="62" y="19"/>
                    <a:pt x="62" y="19"/>
                    <a:pt x="63" y="19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0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3"/>
                    <a:pt x="58" y="23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4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22"/>
                    <a:pt x="57" y="23"/>
                    <a:pt x="57" y="23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7" y="22"/>
                    <a:pt x="57" y="22"/>
                    <a:pt x="57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9" y="22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7" y="22"/>
                    <a:pt x="57" y="22"/>
                  </a:cubicBezTo>
                  <a:close/>
                  <a:moveTo>
                    <a:pt x="58" y="22"/>
                  </a:move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lnTo>
                    <a:pt x="58" y="23"/>
                  </a:lnTo>
                  <a:close/>
                  <a:moveTo>
                    <a:pt x="56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7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2"/>
                    <a:pt x="54" y="23"/>
                    <a:pt x="54" y="23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52" y="19"/>
                  </a:moveTo>
                  <a:cubicBezTo>
                    <a:pt x="52" y="19"/>
                    <a:pt x="52" y="19"/>
                    <a:pt x="51" y="19"/>
                  </a:cubicBezTo>
                  <a:cubicBezTo>
                    <a:pt x="52" y="19"/>
                    <a:pt x="51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2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lose/>
                  <a:moveTo>
                    <a:pt x="47" y="20"/>
                  </a:moveTo>
                  <a:cubicBezTo>
                    <a:pt x="46" y="20"/>
                    <a:pt x="46" y="19"/>
                    <a:pt x="46" y="19"/>
                  </a:cubicBezTo>
                  <a:cubicBezTo>
                    <a:pt x="45" y="19"/>
                    <a:pt x="44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5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5" y="20"/>
                    <a:pt x="45" y="20"/>
                  </a:cubicBezTo>
                  <a:cubicBezTo>
                    <a:pt x="45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20"/>
                    <a:pt x="45" y="20"/>
                  </a:cubicBezTo>
                  <a:close/>
                  <a:moveTo>
                    <a:pt x="41" y="18"/>
                  </a:move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9" y="18"/>
                    <a:pt x="39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6"/>
                    <a:pt x="37" y="16"/>
                  </a:cubicBezTo>
                  <a:cubicBezTo>
                    <a:pt x="37" y="16"/>
                    <a:pt x="37" y="17"/>
                    <a:pt x="37" y="17"/>
                  </a:cubicBezTo>
                  <a:cubicBezTo>
                    <a:pt x="37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1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3" y="19"/>
                    <a:pt x="44" y="19"/>
                    <a:pt x="45" y="19"/>
                  </a:cubicBezTo>
                  <a:cubicBezTo>
                    <a:pt x="44" y="19"/>
                    <a:pt x="42" y="19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34" y="16"/>
                  </a:moveTo>
                  <a:cubicBezTo>
                    <a:pt x="36" y="17"/>
                    <a:pt x="37" y="18"/>
                    <a:pt x="38" y="18"/>
                  </a:cubicBezTo>
                  <a:cubicBezTo>
                    <a:pt x="37" y="18"/>
                    <a:pt x="35" y="17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5"/>
                  </a:cubicBezTo>
                  <a:lnTo>
                    <a:pt x="30" y="14"/>
                  </a:lnTo>
                  <a:close/>
                  <a:moveTo>
                    <a:pt x="25" y="14"/>
                  </a:moveTo>
                  <a:cubicBezTo>
                    <a:pt x="25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lose/>
                  <a:moveTo>
                    <a:pt x="15" y="11"/>
                  </a:moveTo>
                  <a:cubicBezTo>
                    <a:pt x="16" y="12"/>
                    <a:pt x="16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9" y="12"/>
                    <a:pt x="20" y="12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3"/>
                    <a:pt x="20" y="13"/>
                  </a:cubicBezTo>
                  <a:cubicBezTo>
                    <a:pt x="20" y="13"/>
                    <a:pt x="20" y="13"/>
                    <a:pt x="21" y="13"/>
                  </a:cubicBezTo>
                  <a:cubicBezTo>
                    <a:pt x="21" y="13"/>
                    <a:pt x="20" y="13"/>
                    <a:pt x="21" y="13"/>
                  </a:cubicBezTo>
                  <a:cubicBezTo>
                    <a:pt x="21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2"/>
                    <a:pt x="19" y="13"/>
                  </a:cubicBezTo>
                  <a:cubicBezTo>
                    <a:pt x="19" y="12"/>
                    <a:pt x="19" y="13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4" y="11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2"/>
                    <a:pt x="15" y="11"/>
                  </a:cubicBezTo>
                  <a:cubicBezTo>
                    <a:pt x="15" y="11"/>
                    <a:pt x="15" y="12"/>
                    <a:pt x="16" y="12"/>
                  </a:cubicBezTo>
                  <a:cubicBezTo>
                    <a:pt x="16" y="11"/>
                    <a:pt x="15" y="12"/>
                    <a:pt x="15" y="11"/>
                  </a:cubicBezTo>
                  <a:close/>
                  <a:moveTo>
                    <a:pt x="21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1" y="12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20" y="12"/>
                    <a:pt x="19" y="12"/>
                  </a:cubicBezTo>
                  <a:close/>
                  <a:moveTo>
                    <a:pt x="19" y="11"/>
                  </a:moveTo>
                  <a:cubicBezTo>
                    <a:pt x="19" y="11"/>
                    <a:pt x="19" y="11"/>
                    <a:pt x="18" y="11"/>
                  </a:cubicBezTo>
                  <a:cubicBezTo>
                    <a:pt x="19" y="11"/>
                    <a:pt x="19" y="11"/>
                    <a:pt x="19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  <a:moveTo>
                    <a:pt x="11" y="9"/>
                  </a:moveTo>
                  <a:cubicBezTo>
                    <a:pt x="11" y="9"/>
                    <a:pt x="11" y="8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10" y="9"/>
                  </a:moveTo>
                  <a:cubicBezTo>
                    <a:pt x="10" y="9"/>
                    <a:pt x="10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7"/>
                  </a:move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6"/>
                    <a:pt x="2" y="7"/>
                  </a:cubicBezTo>
                  <a:close/>
                  <a:moveTo>
                    <a:pt x="151" y="39"/>
                  </a:moveTo>
                  <a:cubicBezTo>
                    <a:pt x="151" y="39"/>
                    <a:pt x="151" y="39"/>
                    <a:pt x="151" y="40"/>
                  </a:cubicBezTo>
                  <a:cubicBezTo>
                    <a:pt x="151" y="40"/>
                    <a:pt x="151" y="40"/>
                    <a:pt x="151" y="39"/>
                  </a:cubicBezTo>
                  <a:cubicBezTo>
                    <a:pt x="151" y="39"/>
                    <a:pt x="150" y="39"/>
                    <a:pt x="151" y="39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5"/>
                    <a:pt x="128" y="36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29" y="37"/>
                  </a:move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lose/>
                  <a:moveTo>
                    <a:pt x="127" y="37"/>
                  </a:moveTo>
                  <a:cubicBezTo>
                    <a:pt x="127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7"/>
                    <a:pt x="127" y="36"/>
                    <a:pt x="127" y="37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40"/>
                    <a:pt x="126" y="39"/>
                    <a:pt x="126" y="40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0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6" y="34"/>
                  </a:cubicBezTo>
                  <a:cubicBezTo>
                    <a:pt x="117" y="33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06" y="38"/>
                  </a:move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6" y="38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1" y="37"/>
                    <a:pt x="101" y="37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2"/>
                    <a:pt x="102" y="31"/>
                    <a:pt x="101" y="31"/>
                  </a:cubicBezTo>
                  <a:cubicBezTo>
                    <a:pt x="101" y="31"/>
                    <a:pt x="102" y="31"/>
                    <a:pt x="102" y="31"/>
                  </a:cubicBezTo>
                  <a:cubicBezTo>
                    <a:pt x="102" y="31"/>
                    <a:pt x="101" y="31"/>
                    <a:pt x="102" y="31"/>
                  </a:cubicBezTo>
                  <a:close/>
                  <a:moveTo>
                    <a:pt x="96" y="31"/>
                  </a:moveTo>
                  <a:cubicBezTo>
                    <a:pt x="96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2"/>
                    <a:pt x="96" y="31"/>
                    <a:pt x="96" y="31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5"/>
                    <a:pt x="95" y="25"/>
                  </a:cubicBezTo>
                  <a:cubicBezTo>
                    <a:pt x="95" y="25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4" y="26"/>
                    <a:pt x="94" y="25"/>
                  </a:cubicBezTo>
                  <a:close/>
                  <a:moveTo>
                    <a:pt x="90" y="29"/>
                  </a:moveTo>
                  <a:cubicBezTo>
                    <a:pt x="90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30"/>
                  </a:cubicBezTo>
                  <a:cubicBezTo>
                    <a:pt x="92" y="29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lose/>
                  <a:moveTo>
                    <a:pt x="89" y="28"/>
                  </a:move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90" y="28"/>
                  </a:cubicBezTo>
                  <a:cubicBezTo>
                    <a:pt x="90" y="29"/>
                    <a:pt x="89" y="28"/>
                    <a:pt x="89" y="29"/>
                  </a:cubicBezTo>
                  <a:cubicBezTo>
                    <a:pt x="89" y="29"/>
                    <a:pt x="89" y="28"/>
                    <a:pt x="89" y="28"/>
                  </a:cubicBezTo>
                  <a:close/>
                  <a:moveTo>
                    <a:pt x="86" y="26"/>
                  </a:moveTo>
                  <a:cubicBezTo>
                    <a:pt x="86" y="26"/>
                    <a:pt x="86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7"/>
                    <a:pt x="88" y="26"/>
                    <a:pt x="87" y="2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8" y="26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7" y="27"/>
                  </a:cubicBezTo>
                  <a:cubicBezTo>
                    <a:pt x="88" y="27"/>
                    <a:pt x="86" y="27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6" y="23"/>
                  </a:moveTo>
                  <a:cubicBezTo>
                    <a:pt x="86" y="22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6" y="23"/>
                    <a:pt x="85" y="23"/>
                  </a:cubicBezTo>
                  <a:cubicBezTo>
                    <a:pt x="86" y="23"/>
                    <a:pt x="86" y="23"/>
                    <a:pt x="86" y="23"/>
                  </a:cubicBezTo>
                  <a:close/>
                  <a:moveTo>
                    <a:pt x="84" y="28"/>
                  </a:moveTo>
                  <a:cubicBezTo>
                    <a:pt x="84" y="27"/>
                    <a:pt x="84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5" y="21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DD3F673-9834-40B1-802D-E2860C115C8D}"/>
                </a:ext>
              </a:extLst>
            </p:cNvPr>
            <p:cNvSpPr/>
            <p:nvPr/>
          </p:nvSpPr>
          <p:spPr bwMode="auto">
            <a:xfrm>
              <a:off x="3321051" y="3827463"/>
              <a:ext cx="450850" cy="266700"/>
            </a:xfrm>
            <a:custGeom>
              <a:avLst/>
              <a:gdLst>
                <a:gd name="T0" fmla="*/ 46 w 182"/>
                <a:gd name="T1" fmla="*/ 85 h 108"/>
                <a:gd name="T2" fmla="*/ 49 w 182"/>
                <a:gd name="T3" fmla="*/ 80 h 108"/>
                <a:gd name="T4" fmla="*/ 56 w 182"/>
                <a:gd name="T5" fmla="*/ 78 h 108"/>
                <a:gd name="T6" fmla="*/ 59 w 182"/>
                <a:gd name="T7" fmla="*/ 77 h 108"/>
                <a:gd name="T8" fmla="*/ 67 w 182"/>
                <a:gd name="T9" fmla="*/ 73 h 108"/>
                <a:gd name="T10" fmla="*/ 67 w 182"/>
                <a:gd name="T11" fmla="*/ 63 h 108"/>
                <a:gd name="T12" fmla="*/ 77 w 182"/>
                <a:gd name="T13" fmla="*/ 58 h 108"/>
                <a:gd name="T14" fmla="*/ 83 w 182"/>
                <a:gd name="T15" fmla="*/ 64 h 108"/>
                <a:gd name="T16" fmla="*/ 88 w 182"/>
                <a:gd name="T17" fmla="*/ 63 h 108"/>
                <a:gd name="T18" fmla="*/ 95 w 182"/>
                <a:gd name="T19" fmla="*/ 59 h 108"/>
                <a:gd name="T20" fmla="*/ 104 w 182"/>
                <a:gd name="T21" fmla="*/ 51 h 108"/>
                <a:gd name="T22" fmla="*/ 110 w 182"/>
                <a:gd name="T23" fmla="*/ 50 h 108"/>
                <a:gd name="T24" fmla="*/ 116 w 182"/>
                <a:gd name="T25" fmla="*/ 40 h 108"/>
                <a:gd name="T26" fmla="*/ 121 w 182"/>
                <a:gd name="T27" fmla="*/ 39 h 108"/>
                <a:gd name="T28" fmla="*/ 129 w 182"/>
                <a:gd name="T29" fmla="*/ 31 h 108"/>
                <a:gd name="T30" fmla="*/ 162 w 182"/>
                <a:gd name="T31" fmla="*/ 11 h 108"/>
                <a:gd name="T32" fmla="*/ 176 w 182"/>
                <a:gd name="T33" fmla="*/ 2 h 108"/>
                <a:gd name="T34" fmla="*/ 43 w 182"/>
                <a:gd name="T35" fmla="*/ 77 h 108"/>
                <a:gd name="T36" fmla="*/ 52 w 182"/>
                <a:gd name="T37" fmla="*/ 73 h 108"/>
                <a:gd name="T38" fmla="*/ 47 w 182"/>
                <a:gd name="T39" fmla="*/ 77 h 108"/>
                <a:gd name="T40" fmla="*/ 52 w 182"/>
                <a:gd name="T41" fmla="*/ 75 h 108"/>
                <a:gd name="T42" fmla="*/ 39 w 182"/>
                <a:gd name="T43" fmla="*/ 85 h 108"/>
                <a:gd name="T44" fmla="*/ 41 w 182"/>
                <a:gd name="T45" fmla="*/ 88 h 108"/>
                <a:gd name="T46" fmla="*/ 30 w 182"/>
                <a:gd name="T47" fmla="*/ 98 h 108"/>
                <a:gd name="T48" fmla="*/ 34 w 182"/>
                <a:gd name="T49" fmla="*/ 94 h 108"/>
                <a:gd name="T50" fmla="*/ 44 w 182"/>
                <a:gd name="T51" fmla="*/ 84 h 108"/>
                <a:gd name="T52" fmla="*/ 53 w 182"/>
                <a:gd name="T53" fmla="*/ 74 h 108"/>
                <a:gd name="T54" fmla="*/ 37 w 182"/>
                <a:gd name="T55" fmla="*/ 82 h 108"/>
                <a:gd name="T56" fmla="*/ 36 w 182"/>
                <a:gd name="T57" fmla="*/ 81 h 108"/>
                <a:gd name="T58" fmla="*/ 48 w 182"/>
                <a:gd name="T59" fmla="*/ 84 h 108"/>
                <a:gd name="T60" fmla="*/ 52 w 182"/>
                <a:gd name="T61" fmla="*/ 79 h 108"/>
                <a:gd name="T62" fmla="*/ 62 w 182"/>
                <a:gd name="T63" fmla="*/ 66 h 108"/>
                <a:gd name="T64" fmla="*/ 70 w 182"/>
                <a:gd name="T65" fmla="*/ 62 h 108"/>
                <a:gd name="T66" fmla="*/ 74 w 182"/>
                <a:gd name="T67" fmla="*/ 61 h 108"/>
                <a:gd name="T68" fmla="*/ 69 w 182"/>
                <a:gd name="T69" fmla="*/ 66 h 108"/>
                <a:gd name="T70" fmla="*/ 71 w 182"/>
                <a:gd name="T71" fmla="*/ 63 h 108"/>
                <a:gd name="T72" fmla="*/ 77 w 182"/>
                <a:gd name="T73" fmla="*/ 68 h 108"/>
                <a:gd name="T74" fmla="*/ 113 w 182"/>
                <a:gd name="T75" fmla="*/ 42 h 108"/>
                <a:gd name="T76" fmla="*/ 106 w 182"/>
                <a:gd name="T77" fmla="*/ 46 h 108"/>
                <a:gd name="T78" fmla="*/ 104 w 182"/>
                <a:gd name="T79" fmla="*/ 49 h 108"/>
                <a:gd name="T80" fmla="*/ 96 w 182"/>
                <a:gd name="T81" fmla="*/ 52 h 108"/>
                <a:gd name="T82" fmla="*/ 83 w 182"/>
                <a:gd name="T83" fmla="*/ 57 h 108"/>
                <a:gd name="T84" fmla="*/ 75 w 182"/>
                <a:gd name="T85" fmla="*/ 57 h 108"/>
                <a:gd name="T86" fmla="*/ 94 w 182"/>
                <a:gd name="T87" fmla="*/ 49 h 108"/>
                <a:gd name="T88" fmla="*/ 109 w 182"/>
                <a:gd name="T89" fmla="*/ 40 h 108"/>
                <a:gd name="T90" fmla="*/ 110 w 182"/>
                <a:gd name="T91" fmla="*/ 43 h 108"/>
                <a:gd name="T92" fmla="*/ 81 w 182"/>
                <a:gd name="T93" fmla="*/ 57 h 108"/>
                <a:gd name="T94" fmla="*/ 96 w 182"/>
                <a:gd name="T95" fmla="*/ 52 h 108"/>
                <a:gd name="T96" fmla="*/ 99 w 182"/>
                <a:gd name="T97" fmla="*/ 48 h 108"/>
                <a:gd name="T98" fmla="*/ 110 w 182"/>
                <a:gd name="T99" fmla="*/ 40 h 108"/>
                <a:gd name="T100" fmla="*/ 98 w 182"/>
                <a:gd name="T101" fmla="*/ 48 h 108"/>
                <a:gd name="T102" fmla="*/ 85 w 182"/>
                <a:gd name="T103" fmla="*/ 56 h 108"/>
                <a:gd name="T104" fmla="*/ 103 w 182"/>
                <a:gd name="T105" fmla="*/ 47 h 108"/>
                <a:gd name="T106" fmla="*/ 79 w 182"/>
                <a:gd name="T107" fmla="*/ 60 h 108"/>
                <a:gd name="T108" fmla="*/ 80 w 182"/>
                <a:gd name="T109" fmla="*/ 58 h 108"/>
                <a:gd name="T110" fmla="*/ 86 w 182"/>
                <a:gd name="T111" fmla="*/ 63 h 108"/>
                <a:gd name="T112" fmla="*/ 87 w 182"/>
                <a:gd name="T113" fmla="*/ 53 h 108"/>
                <a:gd name="T114" fmla="*/ 96 w 182"/>
                <a:gd name="T115" fmla="*/ 57 h 108"/>
                <a:gd name="T116" fmla="*/ 115 w 182"/>
                <a:gd name="T117" fmla="*/ 39 h 108"/>
                <a:gd name="T118" fmla="*/ 114 w 182"/>
                <a:gd name="T119" fmla="*/ 38 h 108"/>
                <a:gd name="T120" fmla="*/ 128 w 182"/>
                <a:gd name="T121" fmla="*/ 29 h 108"/>
                <a:gd name="T122" fmla="*/ 163 w 182"/>
                <a:gd name="T123" fmla="*/ 9 h 108"/>
                <a:gd name="T124" fmla="*/ 82 w 182"/>
                <a:gd name="T125" fmla="*/ 6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08">
                  <a:moveTo>
                    <a:pt x="1" y="101"/>
                  </a:moveTo>
                  <a:cubicBezTo>
                    <a:pt x="0" y="101"/>
                    <a:pt x="1" y="101"/>
                    <a:pt x="1" y="101"/>
                  </a:cubicBezTo>
                  <a:cubicBezTo>
                    <a:pt x="1" y="101"/>
                    <a:pt x="1" y="101"/>
                    <a:pt x="1" y="100"/>
                  </a:cubicBez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21" y="104"/>
                  </a:moveTo>
                  <a:cubicBezTo>
                    <a:pt x="20" y="104"/>
                    <a:pt x="20" y="103"/>
                    <a:pt x="20" y="104"/>
                  </a:cubicBezTo>
                  <a:cubicBezTo>
                    <a:pt x="20" y="103"/>
                    <a:pt x="20" y="104"/>
                    <a:pt x="19" y="103"/>
                  </a:cubicBezTo>
                  <a:cubicBezTo>
                    <a:pt x="20" y="103"/>
                    <a:pt x="20" y="104"/>
                    <a:pt x="21" y="104"/>
                  </a:cubicBezTo>
                  <a:close/>
                  <a:moveTo>
                    <a:pt x="23" y="102"/>
                  </a:move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lose/>
                  <a:moveTo>
                    <a:pt x="25" y="101"/>
                  </a:moveTo>
                  <a:cubicBezTo>
                    <a:pt x="24" y="102"/>
                    <a:pt x="25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lose/>
                  <a:moveTo>
                    <a:pt x="28" y="100"/>
                  </a:moveTo>
                  <a:cubicBezTo>
                    <a:pt x="28" y="100"/>
                    <a:pt x="28" y="100"/>
                    <a:pt x="28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8" y="100"/>
                    <a:pt x="28" y="100"/>
                    <a:pt x="28" y="100"/>
                  </a:cubicBezTo>
                  <a:close/>
                  <a:moveTo>
                    <a:pt x="33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lose/>
                  <a:moveTo>
                    <a:pt x="34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4" y="97"/>
                    <a:pt x="34" y="97"/>
                  </a:cubicBezTo>
                  <a:close/>
                  <a:moveTo>
                    <a:pt x="34" y="95"/>
                  </a:moveTo>
                  <a:cubicBezTo>
                    <a:pt x="34" y="95"/>
                    <a:pt x="34" y="96"/>
                    <a:pt x="34" y="96"/>
                  </a:cubicBezTo>
                  <a:cubicBezTo>
                    <a:pt x="34" y="96"/>
                    <a:pt x="34" y="95"/>
                    <a:pt x="34" y="95"/>
                  </a:cubicBez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6" y="92"/>
                  </a:cubicBezTo>
                  <a:cubicBezTo>
                    <a:pt x="36" y="93"/>
                    <a:pt x="36" y="92"/>
                    <a:pt x="37" y="92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7" y="92"/>
                    <a:pt x="37" y="92"/>
                    <a:pt x="37" y="92"/>
                  </a:cubicBezTo>
                  <a:close/>
                  <a:moveTo>
                    <a:pt x="38" y="93"/>
                  </a:moveTo>
                  <a:cubicBezTo>
                    <a:pt x="38" y="93"/>
                    <a:pt x="38" y="93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1"/>
                  </a:moveTo>
                  <a:cubicBezTo>
                    <a:pt x="39" y="91"/>
                    <a:pt x="40" y="91"/>
                    <a:pt x="40" y="91"/>
                  </a:cubicBezTo>
                  <a:cubicBezTo>
                    <a:pt x="40" y="91"/>
                    <a:pt x="39" y="91"/>
                    <a:pt x="39" y="91"/>
                  </a:cubicBezTo>
                  <a:cubicBezTo>
                    <a:pt x="39" y="91"/>
                    <a:pt x="39" y="92"/>
                    <a:pt x="39" y="91"/>
                  </a:cubicBezTo>
                  <a:close/>
                  <a:moveTo>
                    <a:pt x="41" y="90"/>
                  </a:moveTo>
                  <a:cubicBezTo>
                    <a:pt x="41" y="90"/>
                    <a:pt x="41" y="90"/>
                    <a:pt x="41" y="90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1" y="90"/>
                    <a:pt x="41" y="90"/>
                    <a:pt x="41" y="90"/>
                  </a:cubicBezTo>
                  <a:close/>
                  <a:moveTo>
                    <a:pt x="42" y="91"/>
                  </a:moveTo>
                  <a:cubicBezTo>
                    <a:pt x="42" y="91"/>
                    <a:pt x="41" y="91"/>
                    <a:pt x="41" y="91"/>
                  </a:cubicBezTo>
                  <a:cubicBezTo>
                    <a:pt x="41" y="91"/>
                    <a:pt x="42" y="91"/>
                    <a:pt x="42" y="91"/>
                  </a:cubicBezTo>
                  <a:close/>
                  <a:moveTo>
                    <a:pt x="43" y="90"/>
                  </a:moveTo>
                  <a:cubicBezTo>
                    <a:pt x="43" y="91"/>
                    <a:pt x="43" y="91"/>
                    <a:pt x="43" y="91"/>
                  </a:cubicBezTo>
                  <a:cubicBezTo>
                    <a:pt x="42" y="91"/>
                    <a:pt x="43" y="90"/>
                    <a:pt x="43" y="90"/>
                  </a:cubicBezTo>
                  <a:close/>
                  <a:moveTo>
                    <a:pt x="41" y="84"/>
                  </a:moveTo>
                  <a:cubicBezTo>
                    <a:pt x="41" y="84"/>
                    <a:pt x="41" y="85"/>
                    <a:pt x="41" y="85"/>
                  </a:cubicBezTo>
                  <a:cubicBezTo>
                    <a:pt x="40" y="85"/>
                    <a:pt x="40" y="85"/>
                    <a:pt x="41" y="84"/>
                  </a:cubicBezTo>
                  <a:close/>
                  <a:moveTo>
                    <a:pt x="43" y="88"/>
                  </a:moveTo>
                  <a:cubicBezTo>
                    <a:pt x="43" y="88"/>
                    <a:pt x="43" y="88"/>
                    <a:pt x="42" y="88"/>
                  </a:cubicBezTo>
                  <a:cubicBezTo>
                    <a:pt x="43" y="88"/>
                    <a:pt x="43" y="88"/>
                    <a:pt x="43" y="87"/>
                  </a:cubicBezTo>
                  <a:cubicBezTo>
                    <a:pt x="43" y="87"/>
                    <a:pt x="43" y="87"/>
                    <a:pt x="43" y="88"/>
                  </a:cubicBezTo>
                  <a:close/>
                  <a:moveTo>
                    <a:pt x="41" y="85"/>
                  </a:move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42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lose/>
                  <a:moveTo>
                    <a:pt x="45" y="86"/>
                  </a:move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6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6" y="85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2" y="83"/>
                  </a:moveTo>
                  <a:cubicBezTo>
                    <a:pt x="42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2" y="83"/>
                    <a:pt x="43" y="82"/>
                    <a:pt x="42" y="83"/>
                  </a:cubicBezTo>
                  <a:close/>
                  <a:moveTo>
                    <a:pt x="45" y="87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6" y="86"/>
                    <a:pt x="45" y="86"/>
                    <a:pt x="45" y="87"/>
                  </a:cubicBezTo>
                  <a:close/>
                  <a:moveTo>
                    <a:pt x="44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6"/>
                    <a:pt x="45" y="86"/>
                  </a:cubicBezTo>
                  <a:cubicBezTo>
                    <a:pt x="45" y="86"/>
                    <a:pt x="46" y="85"/>
                    <a:pt x="46" y="85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1" y="77"/>
                    <a:pt x="41" y="77"/>
                  </a:cubicBezTo>
                  <a:close/>
                  <a:moveTo>
                    <a:pt x="44" y="82"/>
                  </a:moveTo>
                  <a:cubicBezTo>
                    <a:pt x="45" y="82"/>
                    <a:pt x="45" y="82"/>
                    <a:pt x="46" y="82"/>
                  </a:cubicBezTo>
                  <a:cubicBezTo>
                    <a:pt x="45" y="82"/>
                    <a:pt x="45" y="82"/>
                    <a:pt x="44" y="82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lnTo>
                    <a:pt x="47" y="85"/>
                  </a:ln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7"/>
                    <a:pt x="48" y="88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42" y="77"/>
                  </a:moveTo>
                  <a:cubicBezTo>
                    <a:pt x="42" y="76"/>
                    <a:pt x="43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lose/>
                  <a:moveTo>
                    <a:pt x="44" y="81"/>
                  </a:move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4" y="81"/>
                    <a:pt x="44" y="81"/>
                  </a:cubicBezTo>
                  <a:close/>
                  <a:moveTo>
                    <a:pt x="46" y="84"/>
                  </a:moveTo>
                  <a:cubicBezTo>
                    <a:pt x="46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5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8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lose/>
                  <a:moveTo>
                    <a:pt x="47" y="83"/>
                  </a:move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lose/>
                  <a:moveTo>
                    <a:pt x="47" y="83"/>
                  </a:moveTo>
                  <a:cubicBezTo>
                    <a:pt x="47" y="83"/>
                    <a:pt x="48" y="83"/>
                    <a:pt x="48" y="82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7" y="83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6" y="80"/>
                    <a:pt x="46" y="80"/>
                  </a:cubicBezTo>
                  <a:cubicBezTo>
                    <a:pt x="46" y="80"/>
                    <a:pt x="46" y="80"/>
                    <a:pt x="47" y="80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48" y="79"/>
                  </a:moveTo>
                  <a:cubicBezTo>
                    <a:pt x="48" y="80"/>
                    <a:pt x="48" y="79"/>
                    <a:pt x="47" y="80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46" y="76"/>
                  </a:moveTo>
                  <a:cubicBezTo>
                    <a:pt x="46" y="76"/>
                    <a:pt x="47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lose/>
                  <a:moveTo>
                    <a:pt x="48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0" y="79"/>
                  </a:moveTo>
                  <a:cubicBezTo>
                    <a:pt x="50" y="79"/>
                    <a:pt x="49" y="80"/>
                    <a:pt x="49" y="80"/>
                  </a:cubicBezTo>
                  <a:cubicBezTo>
                    <a:pt x="49" y="79"/>
                    <a:pt x="49" y="79"/>
                    <a:pt x="50" y="79"/>
                  </a:cubicBezTo>
                  <a:close/>
                  <a:moveTo>
                    <a:pt x="49" y="78"/>
                  </a:move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78"/>
                    <a:pt x="49" y="78"/>
                  </a:cubicBezTo>
                  <a:cubicBezTo>
                    <a:pt x="49" y="78"/>
                    <a:pt x="49" y="79"/>
                    <a:pt x="49" y="78"/>
                  </a:cubicBezTo>
                  <a:close/>
                  <a:moveTo>
                    <a:pt x="49" y="80"/>
                  </a:move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79"/>
                    <a:pt x="50" y="80"/>
                    <a:pt x="50" y="79"/>
                  </a:cubicBezTo>
                  <a:cubicBezTo>
                    <a:pt x="50" y="80"/>
                    <a:pt x="50" y="80"/>
                    <a:pt x="49" y="80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1" y="81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0" y="78"/>
                    <a:pt x="49" y="78"/>
                  </a:cubicBezTo>
                  <a:cubicBezTo>
                    <a:pt x="49" y="78"/>
                    <a:pt x="50" y="78"/>
                    <a:pt x="50" y="78"/>
                  </a:cubicBezTo>
                  <a:cubicBezTo>
                    <a:pt x="50" y="78"/>
                    <a:pt x="50" y="78"/>
                    <a:pt x="51" y="78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2"/>
                  </a:cubicBezTo>
                  <a:cubicBezTo>
                    <a:pt x="53" y="82"/>
                    <a:pt x="52" y="83"/>
                    <a:pt x="53" y="82"/>
                  </a:cubicBezTo>
                  <a:cubicBezTo>
                    <a:pt x="53" y="83"/>
                    <a:pt x="52" y="83"/>
                    <a:pt x="52" y="83"/>
                  </a:cubicBezTo>
                  <a:close/>
                  <a:moveTo>
                    <a:pt x="5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51" y="79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2" y="78"/>
                    <a:pt x="51" y="78"/>
                    <a:pt x="51" y="79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1" y="77"/>
                  </a:moveTo>
                  <a:cubicBezTo>
                    <a:pt x="52" y="77"/>
                    <a:pt x="51" y="78"/>
                    <a:pt x="51" y="78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54" y="82"/>
                  </a:moveTo>
                  <a:cubicBezTo>
                    <a:pt x="53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4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4" y="80"/>
                    <a:pt x="54" y="80"/>
                  </a:cubicBezTo>
                  <a:close/>
                  <a:moveTo>
                    <a:pt x="52" y="78"/>
                  </a:move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4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2" y="78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5" y="80"/>
                    <a:pt x="55" y="80"/>
                  </a:cubicBezTo>
                  <a:cubicBezTo>
                    <a:pt x="55" y="80"/>
                    <a:pt x="55" y="81"/>
                    <a:pt x="54" y="81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2"/>
                    <a:pt x="51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3"/>
                    <a:pt x="51" y="72"/>
                    <a:pt x="51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4" y="79"/>
                    <a:pt x="54" y="79"/>
                  </a:cubicBezTo>
                  <a:cubicBezTo>
                    <a:pt x="54" y="79"/>
                    <a:pt x="55" y="79"/>
                    <a:pt x="54" y="79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4" y="77"/>
                  </a:moveTo>
                  <a:cubicBezTo>
                    <a:pt x="54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lose/>
                  <a:moveTo>
                    <a:pt x="52" y="71"/>
                  </a:move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2" y="71"/>
                    <a:pt x="52" y="71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5" y="79"/>
                    <a:pt x="55" y="78"/>
                  </a:cubicBezTo>
                  <a:cubicBezTo>
                    <a:pt x="55" y="78"/>
                    <a:pt x="56" y="78"/>
                    <a:pt x="56" y="78"/>
                  </a:cubicBezTo>
                  <a:close/>
                  <a:moveTo>
                    <a:pt x="56" y="77"/>
                  </a:moveTo>
                  <a:cubicBezTo>
                    <a:pt x="56" y="77"/>
                    <a:pt x="55" y="77"/>
                    <a:pt x="55" y="78"/>
                  </a:cubicBezTo>
                  <a:cubicBezTo>
                    <a:pt x="55" y="77"/>
                    <a:pt x="56" y="77"/>
                    <a:pt x="56" y="77"/>
                  </a:cubicBezTo>
                  <a:close/>
                  <a:moveTo>
                    <a:pt x="54" y="75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4" y="75"/>
                  </a:cubicBezTo>
                  <a:close/>
                  <a:moveTo>
                    <a:pt x="52" y="72"/>
                  </a:move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2"/>
                    <a:pt x="52" y="72"/>
                  </a:cubicBezTo>
                  <a:close/>
                  <a:moveTo>
                    <a:pt x="56" y="78"/>
                  </a:moveTo>
                  <a:cubicBezTo>
                    <a:pt x="57" y="78"/>
                    <a:pt x="57" y="78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lnTo>
                    <a:pt x="56" y="78"/>
                  </a:lnTo>
                  <a:close/>
                  <a:moveTo>
                    <a:pt x="59" y="82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1"/>
                    <a:pt x="59" y="82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3" y="71"/>
                  </a:move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54" y="71"/>
                  </a:move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5" y="70"/>
                  </a:cubicBezTo>
                  <a:cubicBezTo>
                    <a:pt x="55" y="71"/>
                    <a:pt x="54" y="71"/>
                    <a:pt x="54" y="7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7"/>
                    <a:pt x="57" y="78"/>
                  </a:cubicBezTo>
                  <a:cubicBezTo>
                    <a:pt x="57" y="77"/>
                    <a:pt x="58" y="77"/>
                    <a:pt x="58" y="77"/>
                  </a:cubicBezTo>
                  <a:close/>
                  <a:moveTo>
                    <a:pt x="53" y="71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3" y="71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7"/>
                    <a:pt x="58" y="77"/>
                  </a:cubicBezTo>
                  <a:cubicBezTo>
                    <a:pt x="58" y="77"/>
                    <a:pt x="58" y="77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58" y="75"/>
                  </a:move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7" y="76"/>
                    <a:pt x="57" y="75"/>
                  </a:cubicBezTo>
                  <a:cubicBezTo>
                    <a:pt x="58" y="75"/>
                    <a:pt x="58" y="74"/>
                    <a:pt x="59" y="74"/>
                  </a:cubicBezTo>
                  <a:cubicBezTo>
                    <a:pt x="59" y="74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lose/>
                  <a:moveTo>
                    <a:pt x="54" y="70"/>
                  </a:moveTo>
                  <a:cubicBezTo>
                    <a:pt x="54" y="70"/>
                    <a:pt x="55" y="70"/>
                    <a:pt x="54" y="70"/>
                  </a:cubicBezTo>
                  <a:cubicBezTo>
                    <a:pt x="55" y="69"/>
                    <a:pt x="55" y="70"/>
                    <a:pt x="54" y="70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7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7" y="71"/>
                    <a:pt x="56" y="71"/>
                    <a:pt x="56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1"/>
                    <a:pt x="56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6" y="71"/>
                    <a:pt x="56" y="72"/>
                    <a:pt x="56" y="72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6" y="70"/>
                    <a:pt x="56" y="69"/>
                  </a:cubicBezTo>
                  <a:cubicBezTo>
                    <a:pt x="56" y="69"/>
                    <a:pt x="56" y="69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5" y="70"/>
                  </a:moveTo>
                  <a:cubicBezTo>
                    <a:pt x="55" y="69"/>
                    <a:pt x="55" y="69"/>
                    <a:pt x="56" y="69"/>
                  </a:cubicBezTo>
                  <a:cubicBezTo>
                    <a:pt x="56" y="69"/>
                    <a:pt x="55" y="69"/>
                    <a:pt x="55" y="69"/>
                  </a:cubicBezTo>
                  <a:cubicBezTo>
                    <a:pt x="55" y="70"/>
                    <a:pt x="55" y="69"/>
                    <a:pt x="55" y="70"/>
                  </a:cubicBezTo>
                  <a:close/>
                  <a:moveTo>
                    <a:pt x="60" y="77"/>
                  </a:move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lose/>
                  <a:moveTo>
                    <a:pt x="62" y="80"/>
                  </a:moveTo>
                  <a:cubicBezTo>
                    <a:pt x="62" y="80"/>
                    <a:pt x="61" y="80"/>
                    <a:pt x="62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lose/>
                  <a:moveTo>
                    <a:pt x="60" y="76"/>
                  </a:move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lose/>
                  <a:moveTo>
                    <a:pt x="5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57" y="70"/>
                    <a:pt x="58" y="70"/>
                    <a:pt x="59" y="70"/>
                  </a:cubicBezTo>
                  <a:cubicBezTo>
                    <a:pt x="59" y="70"/>
                    <a:pt x="58" y="70"/>
                    <a:pt x="57" y="71"/>
                  </a:cubicBezTo>
                  <a:cubicBezTo>
                    <a:pt x="57" y="71"/>
                    <a:pt x="58" y="71"/>
                    <a:pt x="57" y="71"/>
                  </a:cubicBezTo>
                  <a:cubicBezTo>
                    <a:pt x="57" y="71"/>
                    <a:pt x="57" y="71"/>
                    <a:pt x="57" y="71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60" y="75"/>
                  </a:moveTo>
                  <a:cubicBezTo>
                    <a:pt x="59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lose/>
                  <a:moveTo>
                    <a:pt x="61" y="76"/>
                  </a:move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lose/>
                  <a:moveTo>
                    <a:pt x="62" y="75"/>
                  </a:moveTo>
                  <a:cubicBezTo>
                    <a:pt x="62" y="75"/>
                    <a:pt x="60" y="76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2" y="75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5"/>
                  </a:cubicBezTo>
                  <a:close/>
                  <a:moveTo>
                    <a:pt x="59" y="71"/>
                  </a:move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59" y="71"/>
                    <a:pt x="59" y="71"/>
                  </a:cubicBezTo>
                  <a:close/>
                  <a:moveTo>
                    <a:pt x="61" y="75"/>
                  </a:moveTo>
                  <a:cubicBezTo>
                    <a:pt x="61" y="75"/>
                    <a:pt x="61" y="75"/>
                    <a:pt x="61" y="74"/>
                  </a:cubicBezTo>
                  <a:cubicBezTo>
                    <a:pt x="61" y="74"/>
                    <a:pt x="61" y="75"/>
                    <a:pt x="62" y="75"/>
                  </a:cubicBezTo>
                  <a:cubicBezTo>
                    <a:pt x="61" y="75"/>
                    <a:pt x="61" y="75"/>
                    <a:pt x="61" y="75"/>
                  </a:cubicBezTo>
                  <a:close/>
                  <a:moveTo>
                    <a:pt x="63" y="75"/>
                  </a:moveTo>
                  <a:cubicBezTo>
                    <a:pt x="63" y="75"/>
                    <a:pt x="63" y="75"/>
                    <a:pt x="63" y="75"/>
                  </a:cubicBezTo>
                  <a:cubicBezTo>
                    <a:pt x="64" y="75"/>
                    <a:pt x="64" y="75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5" y="74"/>
                    <a:pt x="65" y="74"/>
                  </a:cubicBezTo>
                  <a:cubicBezTo>
                    <a:pt x="66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6"/>
                  </a:cubicBezTo>
                  <a:cubicBezTo>
                    <a:pt x="62" y="75"/>
                    <a:pt x="63" y="75"/>
                    <a:pt x="63" y="75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lose/>
                  <a:moveTo>
                    <a:pt x="61" y="73"/>
                  </a:moveTo>
                  <a:cubicBezTo>
                    <a:pt x="62" y="73"/>
                    <a:pt x="62" y="72"/>
                    <a:pt x="62" y="72"/>
                  </a:cubicBezTo>
                  <a:cubicBezTo>
                    <a:pt x="62" y="73"/>
                    <a:pt x="62" y="73"/>
                    <a:pt x="61" y="73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lose/>
                  <a:moveTo>
                    <a:pt x="61" y="70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2" y="70"/>
                  </a:cubicBezTo>
                  <a:cubicBezTo>
                    <a:pt x="62" y="70"/>
                    <a:pt x="61" y="70"/>
                    <a:pt x="61" y="70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60" y="67"/>
                  </a:cubicBezTo>
                  <a:cubicBezTo>
                    <a:pt x="60" y="67"/>
                    <a:pt x="60" y="67"/>
                    <a:pt x="59" y="67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lose/>
                  <a:moveTo>
                    <a:pt x="61" y="66"/>
                  </a:move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61" y="66"/>
                    <a:pt x="60" y="67"/>
                  </a:cubicBezTo>
                  <a:cubicBezTo>
                    <a:pt x="60" y="66"/>
                    <a:pt x="61" y="66"/>
                    <a:pt x="61" y="66"/>
                  </a:cubicBezTo>
                  <a:close/>
                  <a:moveTo>
                    <a:pt x="66" y="77"/>
                  </a:moveTo>
                  <a:cubicBezTo>
                    <a:pt x="66" y="77"/>
                    <a:pt x="67" y="76"/>
                    <a:pt x="67" y="76"/>
                  </a:cubicBezTo>
                  <a:cubicBezTo>
                    <a:pt x="67" y="77"/>
                    <a:pt x="67" y="77"/>
                    <a:pt x="66" y="77"/>
                  </a:cubicBezTo>
                  <a:close/>
                  <a:moveTo>
                    <a:pt x="66" y="73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6" y="73"/>
                    <a:pt x="66" y="73"/>
                  </a:cubicBezTo>
                  <a:close/>
                  <a:moveTo>
                    <a:pt x="66" y="74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8" y="73"/>
                    <a:pt x="68" y="73"/>
                  </a:cubicBezTo>
                  <a:cubicBezTo>
                    <a:pt x="67" y="73"/>
                    <a:pt x="67" y="73"/>
                    <a:pt x="66" y="74"/>
                  </a:cubicBezTo>
                  <a:close/>
                  <a:moveTo>
                    <a:pt x="63" y="69"/>
                  </a:moveTo>
                  <a:cubicBezTo>
                    <a:pt x="64" y="69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9"/>
                    <a:pt x="64" y="69"/>
                    <a:pt x="63" y="69"/>
                  </a:cubicBezTo>
                  <a:close/>
                  <a:moveTo>
                    <a:pt x="66" y="70"/>
                  </a:move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70"/>
                    <a:pt x="66" y="70"/>
                  </a:cubicBezTo>
                  <a:close/>
                  <a:moveTo>
                    <a:pt x="67" y="72"/>
                  </a:moveTo>
                  <a:cubicBezTo>
                    <a:pt x="67" y="72"/>
                    <a:pt x="67" y="73"/>
                    <a:pt x="67" y="73"/>
                  </a:cubicBezTo>
                  <a:cubicBezTo>
                    <a:pt x="67" y="72"/>
                    <a:pt x="67" y="72"/>
                    <a:pt x="67" y="72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4" y="68"/>
                  </a:cubicBezTo>
                  <a:cubicBezTo>
                    <a:pt x="64" y="68"/>
                    <a:pt x="65" y="68"/>
                    <a:pt x="65" y="68"/>
                  </a:cubicBezTo>
                  <a:close/>
                  <a:moveTo>
                    <a:pt x="68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lose/>
                  <a:moveTo>
                    <a:pt x="66" y="69"/>
                  </a:moveTo>
                  <a:cubicBezTo>
                    <a:pt x="66" y="69"/>
                    <a:pt x="66" y="69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lose/>
                  <a:moveTo>
                    <a:pt x="67" y="71"/>
                  </a:moveTo>
                  <a:cubicBezTo>
                    <a:pt x="67" y="71"/>
                    <a:pt x="68" y="70"/>
                    <a:pt x="68" y="71"/>
                  </a:cubicBezTo>
                  <a:cubicBezTo>
                    <a:pt x="68" y="71"/>
                    <a:pt x="67" y="71"/>
                    <a:pt x="67" y="71"/>
                  </a:cubicBezTo>
                  <a:close/>
                  <a:moveTo>
                    <a:pt x="68" y="71"/>
                  </a:moveTo>
                  <a:cubicBezTo>
                    <a:pt x="68" y="71"/>
                    <a:pt x="68" y="71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lose/>
                  <a:moveTo>
                    <a:pt x="70" y="73"/>
                  </a:moveTo>
                  <a:cubicBezTo>
                    <a:pt x="70" y="74"/>
                    <a:pt x="70" y="74"/>
                    <a:pt x="69" y="74"/>
                  </a:cubicBezTo>
                  <a:cubicBezTo>
                    <a:pt x="69" y="74"/>
                    <a:pt x="70" y="74"/>
                    <a:pt x="70" y="73"/>
                  </a:cubicBezTo>
                  <a:close/>
                  <a:moveTo>
                    <a:pt x="66" y="67"/>
                  </a:moveTo>
                  <a:cubicBezTo>
                    <a:pt x="66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5" y="6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lose/>
                  <a:moveTo>
                    <a:pt x="67" y="68"/>
                  </a:moveTo>
                  <a:cubicBezTo>
                    <a:pt x="67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9" y="67"/>
                    <a:pt x="69" y="68"/>
                  </a:cubicBezTo>
                  <a:cubicBezTo>
                    <a:pt x="69" y="68"/>
                    <a:pt x="69" y="67"/>
                    <a:pt x="69" y="68"/>
                  </a:cubicBezTo>
                  <a:cubicBezTo>
                    <a:pt x="69" y="67"/>
                    <a:pt x="69" y="68"/>
                    <a:pt x="69" y="67"/>
                  </a:cubicBezTo>
                  <a:cubicBezTo>
                    <a:pt x="69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6" y="67"/>
                  </a:moveTo>
                  <a:cubicBezTo>
                    <a:pt x="67" y="67"/>
                    <a:pt x="67" y="67"/>
                    <a:pt x="67" y="6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6"/>
                    <a:pt x="67" y="67"/>
                    <a:pt x="67" y="67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8"/>
                    <a:pt x="67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lose/>
                  <a:moveTo>
                    <a:pt x="67" y="65"/>
                  </a:move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8" y="65"/>
                    <a:pt x="68" y="65"/>
                  </a:cubicBezTo>
                  <a:cubicBezTo>
                    <a:pt x="68" y="65"/>
                    <a:pt x="67" y="65"/>
                    <a:pt x="67" y="65"/>
                  </a:cubicBezTo>
                  <a:close/>
                  <a:moveTo>
                    <a:pt x="70" y="71"/>
                  </a:moveTo>
                  <a:cubicBezTo>
                    <a:pt x="70" y="71"/>
                    <a:pt x="70" y="71"/>
                    <a:pt x="71" y="70"/>
                  </a:cubicBezTo>
                  <a:cubicBezTo>
                    <a:pt x="71" y="71"/>
                    <a:pt x="70" y="71"/>
                    <a:pt x="70" y="71"/>
                  </a:cubicBezTo>
                  <a:close/>
                  <a:moveTo>
                    <a:pt x="69" y="68"/>
                  </a:moveTo>
                  <a:cubicBezTo>
                    <a:pt x="69" y="68"/>
                    <a:pt x="69" y="68"/>
                    <a:pt x="70" y="68"/>
                  </a:cubicBezTo>
                  <a:cubicBezTo>
                    <a:pt x="70" y="68"/>
                    <a:pt x="69" y="68"/>
                    <a:pt x="69" y="68"/>
                  </a:cubicBezTo>
                  <a:close/>
                  <a:moveTo>
                    <a:pt x="68" y="67"/>
                  </a:moveTo>
                  <a:cubicBezTo>
                    <a:pt x="68" y="67"/>
                    <a:pt x="69" y="66"/>
                    <a:pt x="69" y="67"/>
                  </a:cubicBezTo>
                  <a:cubicBezTo>
                    <a:pt x="69" y="67"/>
                    <a:pt x="69" y="67"/>
                    <a:pt x="68" y="67"/>
                  </a:cubicBezTo>
                  <a:close/>
                  <a:moveTo>
                    <a:pt x="70" y="68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0" y="68"/>
                    <a:pt x="70" y="68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8" y="64"/>
                  </a:moveTo>
                  <a:cubicBezTo>
                    <a:pt x="68" y="65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68" y="62"/>
                  </a:moveTo>
                  <a:cubicBezTo>
                    <a:pt x="69" y="61"/>
                    <a:pt x="70" y="61"/>
                    <a:pt x="70" y="61"/>
                  </a:cubicBezTo>
                  <a:cubicBezTo>
                    <a:pt x="69" y="61"/>
                    <a:pt x="68" y="62"/>
                    <a:pt x="67" y="62"/>
                  </a:cubicBezTo>
                  <a:cubicBezTo>
                    <a:pt x="68" y="62"/>
                    <a:pt x="68" y="62"/>
                    <a:pt x="68" y="62"/>
                  </a:cubicBezTo>
                  <a:close/>
                  <a:moveTo>
                    <a:pt x="73" y="69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3" y="69"/>
                    <a:pt x="73" y="69"/>
                  </a:cubicBezTo>
                  <a:close/>
                  <a:moveTo>
                    <a:pt x="69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69" y="65"/>
                  </a:cubicBezTo>
                  <a:cubicBezTo>
                    <a:pt x="69" y="64"/>
                    <a:pt x="70" y="64"/>
                    <a:pt x="69" y="64"/>
                  </a:cubicBezTo>
                  <a:close/>
                  <a:moveTo>
                    <a:pt x="72" y="68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3" y="67"/>
                    <a:pt x="73" y="67"/>
                  </a:cubicBezTo>
                  <a:cubicBezTo>
                    <a:pt x="73" y="67"/>
                    <a:pt x="73" y="67"/>
                    <a:pt x="72" y="68"/>
                  </a:cubicBez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lose/>
                  <a:moveTo>
                    <a:pt x="72" y="59"/>
                  </a:moveTo>
                  <a:cubicBezTo>
                    <a:pt x="72" y="60"/>
                    <a:pt x="71" y="60"/>
                    <a:pt x="72" y="59"/>
                  </a:cubicBezTo>
                  <a:close/>
                  <a:moveTo>
                    <a:pt x="74" y="63"/>
                  </a:move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76" y="65"/>
                  </a:moveTo>
                  <a:cubicBezTo>
                    <a:pt x="75" y="65"/>
                    <a:pt x="75" y="65"/>
                    <a:pt x="75" y="65"/>
                  </a:cubicBezTo>
                  <a:cubicBezTo>
                    <a:pt x="75" y="65"/>
                    <a:pt x="75" y="65"/>
                    <a:pt x="76" y="65"/>
                  </a:cubicBezTo>
                  <a:close/>
                  <a:moveTo>
                    <a:pt x="74" y="62"/>
                  </a:moveTo>
                  <a:cubicBezTo>
                    <a:pt x="73" y="62"/>
                    <a:pt x="74" y="61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lose/>
                  <a:moveTo>
                    <a:pt x="77" y="66"/>
                  </a:moveTo>
                  <a:cubicBezTo>
                    <a:pt x="77" y="66"/>
                    <a:pt x="76" y="67"/>
                    <a:pt x="76" y="67"/>
                  </a:cubicBezTo>
                  <a:cubicBezTo>
                    <a:pt x="76" y="67"/>
                    <a:pt x="76" y="66"/>
                    <a:pt x="77" y="66"/>
                  </a:cubicBezTo>
                  <a:close/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77" y="64"/>
                    <a:pt x="76" y="64"/>
                    <a:pt x="76" y="64"/>
                  </a:cubicBezTo>
                  <a:cubicBezTo>
                    <a:pt x="76" y="64"/>
                    <a:pt x="76" y="65"/>
                    <a:pt x="75" y="65"/>
                  </a:cubicBezTo>
                  <a:cubicBezTo>
                    <a:pt x="75" y="64"/>
                    <a:pt x="76" y="64"/>
                    <a:pt x="77" y="64"/>
                  </a:cubicBezTo>
                  <a:close/>
                  <a:moveTo>
                    <a:pt x="77" y="65"/>
                  </a:move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7" y="65"/>
                  </a:cubicBezTo>
                  <a:close/>
                  <a:moveTo>
                    <a:pt x="75" y="63"/>
                  </a:moveTo>
                  <a:cubicBezTo>
                    <a:pt x="75" y="62"/>
                    <a:pt x="75" y="62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lose/>
                  <a:moveTo>
                    <a:pt x="75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6" y="62"/>
                    <a:pt x="75" y="62"/>
                  </a:cubicBezTo>
                  <a:close/>
                  <a:moveTo>
                    <a:pt x="76" y="63"/>
                  </a:move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3"/>
                    <a:pt x="76" y="63"/>
                  </a:cubicBezTo>
                  <a:close/>
                  <a:moveTo>
                    <a:pt x="74" y="58"/>
                  </a:move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9" y="68"/>
                  </a:moveTo>
                  <a:cubicBezTo>
                    <a:pt x="79" y="68"/>
                    <a:pt x="80" y="68"/>
                    <a:pt x="80" y="68"/>
                  </a:cubicBezTo>
                  <a:cubicBezTo>
                    <a:pt x="80" y="68"/>
                    <a:pt x="80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lose/>
                  <a:moveTo>
                    <a:pt x="76" y="62"/>
                  </a:moveTo>
                  <a:cubicBezTo>
                    <a:pt x="76" y="62"/>
                    <a:pt x="76" y="62"/>
                    <a:pt x="76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6" y="62"/>
                    <a:pt x="76" y="62"/>
                  </a:cubicBezTo>
                  <a:cubicBezTo>
                    <a:pt x="76" y="63"/>
                    <a:pt x="76" y="62"/>
                    <a:pt x="76" y="62"/>
                  </a:cubicBezTo>
                  <a:close/>
                  <a:moveTo>
                    <a:pt x="79" y="66"/>
                  </a:moveTo>
                  <a:cubicBezTo>
                    <a:pt x="79" y="66"/>
                    <a:pt x="79" y="66"/>
                    <a:pt x="79" y="66"/>
                  </a:cubicBezTo>
                  <a:cubicBezTo>
                    <a:pt x="79" y="66"/>
                    <a:pt x="79" y="66"/>
                    <a:pt x="78" y="66"/>
                  </a:cubicBezTo>
                  <a:cubicBezTo>
                    <a:pt x="79" y="66"/>
                    <a:pt x="78" y="66"/>
                    <a:pt x="79" y="66"/>
                  </a:cubicBezTo>
                  <a:close/>
                  <a:moveTo>
                    <a:pt x="78" y="65"/>
                  </a:moveTo>
                  <a:cubicBezTo>
                    <a:pt x="78" y="64"/>
                    <a:pt x="78" y="64"/>
                    <a:pt x="78" y="64"/>
                  </a:cubicBezTo>
                  <a:cubicBezTo>
                    <a:pt x="78" y="65"/>
                    <a:pt x="78" y="65"/>
                    <a:pt x="78" y="65"/>
                  </a:cubicBezTo>
                  <a:close/>
                  <a:moveTo>
                    <a:pt x="75" y="59"/>
                  </a:moveTo>
                  <a:cubicBezTo>
                    <a:pt x="75" y="59"/>
                    <a:pt x="76" y="59"/>
                    <a:pt x="76" y="59"/>
                  </a:cubicBezTo>
                  <a:cubicBezTo>
                    <a:pt x="76" y="59"/>
                    <a:pt x="76" y="59"/>
                    <a:pt x="75" y="59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lose/>
                  <a:moveTo>
                    <a:pt x="78" y="6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lose/>
                  <a:moveTo>
                    <a:pt x="81" y="66"/>
                  </a:move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1" y="66"/>
                  </a:cubicBezTo>
                  <a:close/>
                  <a:moveTo>
                    <a:pt x="76" y="59"/>
                  </a:move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6" y="58"/>
                    <a:pt x="76" y="59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lose/>
                  <a:moveTo>
                    <a:pt x="81" y="68"/>
                  </a:moveTo>
                  <a:cubicBezTo>
                    <a:pt x="82" y="68"/>
                    <a:pt x="82" y="68"/>
                    <a:pt x="82" y="67"/>
                  </a:cubicBezTo>
                  <a:cubicBezTo>
                    <a:pt x="82" y="68"/>
                    <a:pt x="82" y="68"/>
                    <a:pt x="81" y="68"/>
                  </a:cubicBezTo>
                  <a:cubicBezTo>
                    <a:pt x="82" y="68"/>
                    <a:pt x="81" y="68"/>
                    <a:pt x="81" y="68"/>
                  </a:cubicBezTo>
                  <a:close/>
                  <a:moveTo>
                    <a:pt x="83" y="66"/>
                  </a:moveTo>
                  <a:cubicBezTo>
                    <a:pt x="83" y="66"/>
                    <a:pt x="84" y="65"/>
                    <a:pt x="85" y="65"/>
                  </a:cubicBezTo>
                  <a:cubicBezTo>
                    <a:pt x="84" y="66"/>
                    <a:pt x="83" y="66"/>
                    <a:pt x="82" y="67"/>
                  </a:cubicBezTo>
                  <a:cubicBezTo>
                    <a:pt x="82" y="67"/>
                    <a:pt x="82" y="67"/>
                    <a:pt x="81" y="67"/>
                  </a:cubicBezTo>
                  <a:cubicBezTo>
                    <a:pt x="82" y="67"/>
                    <a:pt x="82" y="67"/>
                    <a:pt x="83" y="66"/>
                  </a:cubicBezTo>
                  <a:close/>
                  <a:moveTo>
                    <a:pt x="80" y="64"/>
                  </a:move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lose/>
                  <a:moveTo>
                    <a:pt x="80" y="64"/>
                  </a:moveTo>
                  <a:cubicBezTo>
                    <a:pt x="79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4"/>
                  </a:cubicBezTo>
                  <a:close/>
                  <a:moveTo>
                    <a:pt x="82" y="67"/>
                  </a:moveTo>
                  <a:cubicBezTo>
                    <a:pt x="82" y="67"/>
                    <a:pt x="82" y="67"/>
                    <a:pt x="82" y="67"/>
                  </a:cubicBezTo>
                  <a:cubicBezTo>
                    <a:pt x="83" y="67"/>
                    <a:pt x="82" y="68"/>
                    <a:pt x="82" y="67"/>
                  </a:cubicBezTo>
                  <a:close/>
                  <a:moveTo>
                    <a:pt x="81" y="65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5"/>
                    <a:pt x="81" y="65"/>
                  </a:cubicBezTo>
                  <a:cubicBezTo>
                    <a:pt x="81" y="65"/>
                    <a:pt x="81" y="64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lnTo>
                    <a:pt x="81" y="64"/>
                  </a:lnTo>
                  <a:close/>
                  <a:moveTo>
                    <a:pt x="83" y="66"/>
                  </a:moveTo>
                  <a:cubicBezTo>
                    <a:pt x="82" y="66"/>
                    <a:pt x="82" y="66"/>
                    <a:pt x="82" y="67"/>
                  </a:cubicBezTo>
                  <a:cubicBezTo>
                    <a:pt x="82" y="67"/>
                    <a:pt x="82" y="66"/>
                    <a:pt x="82" y="66"/>
                  </a:cubicBezTo>
                  <a:cubicBezTo>
                    <a:pt x="82" y="66"/>
                    <a:pt x="83" y="66"/>
                    <a:pt x="83" y="66"/>
                  </a:cubicBezTo>
                  <a:close/>
                  <a:moveTo>
                    <a:pt x="82" y="66"/>
                  </a:move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lose/>
                  <a:moveTo>
                    <a:pt x="80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lose/>
                  <a:moveTo>
                    <a:pt x="79" y="61"/>
                  </a:moveTo>
                  <a:cubicBezTo>
                    <a:pt x="79" y="61"/>
                    <a:pt x="79" y="61"/>
                    <a:pt x="79" y="60"/>
                  </a:cubicBezTo>
                  <a:cubicBezTo>
                    <a:pt x="80" y="61"/>
                    <a:pt x="79" y="61"/>
                    <a:pt x="79" y="61"/>
                  </a:cubicBezTo>
                  <a:close/>
                  <a:moveTo>
                    <a:pt x="80" y="61"/>
                  </a:move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80" y="60"/>
                    <a:pt x="80" y="61"/>
                  </a:cubicBezTo>
                  <a:close/>
                  <a:moveTo>
                    <a:pt x="81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lose/>
                  <a:moveTo>
                    <a:pt x="81" y="62"/>
                  </a:move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lose/>
                  <a:moveTo>
                    <a:pt x="80" y="61"/>
                  </a:moveTo>
                  <a:cubicBezTo>
                    <a:pt x="80" y="61"/>
                    <a:pt x="81" y="61"/>
                    <a:pt x="81" y="61"/>
                  </a:cubicBezTo>
                  <a:cubicBezTo>
                    <a:pt x="81" y="61"/>
                    <a:pt x="80" y="61"/>
                    <a:pt x="80" y="61"/>
                  </a:cubicBezTo>
                  <a:close/>
                  <a:moveTo>
                    <a:pt x="80" y="61"/>
                  </a:moveTo>
                  <a:cubicBezTo>
                    <a:pt x="80" y="61"/>
                    <a:pt x="80" y="60"/>
                    <a:pt x="80" y="60"/>
                  </a:cubicBezTo>
                  <a:cubicBezTo>
                    <a:pt x="80" y="60"/>
                    <a:pt x="80" y="60"/>
                    <a:pt x="80" y="61"/>
                  </a:cubicBezTo>
                  <a:close/>
                  <a:moveTo>
                    <a:pt x="83" y="65"/>
                  </a:moveTo>
                  <a:cubicBezTo>
                    <a:pt x="83" y="66"/>
                    <a:pt x="83" y="66"/>
                    <a:pt x="83" y="66"/>
                  </a:cubicBezTo>
                  <a:cubicBezTo>
                    <a:pt x="83" y="66"/>
                    <a:pt x="83" y="65"/>
                    <a:pt x="83" y="65"/>
                  </a:cubicBezTo>
                  <a:close/>
                  <a:moveTo>
                    <a:pt x="83" y="65"/>
                  </a:moveTo>
                  <a:cubicBezTo>
                    <a:pt x="83" y="65"/>
                    <a:pt x="83" y="65"/>
                    <a:pt x="84" y="65"/>
                  </a:cubicBezTo>
                  <a:cubicBezTo>
                    <a:pt x="84" y="65"/>
                    <a:pt x="83" y="65"/>
                    <a:pt x="83" y="65"/>
                  </a:cubicBezTo>
                  <a:close/>
                  <a:moveTo>
                    <a:pt x="82" y="61"/>
                  </a:move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1"/>
                    <a:pt x="82" y="61"/>
                  </a:cubicBezTo>
                  <a:close/>
                  <a:moveTo>
                    <a:pt x="84" y="63"/>
                  </a:moveTo>
                  <a:cubicBezTo>
                    <a:pt x="83" y="64"/>
                    <a:pt x="84" y="64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3"/>
                    <a:pt x="84" y="63"/>
                    <a:pt x="84" y="63"/>
                  </a:cubicBezTo>
                  <a:cubicBezTo>
                    <a:pt x="84" y="63"/>
                    <a:pt x="85" y="63"/>
                    <a:pt x="85" y="63"/>
                  </a:cubicBezTo>
                  <a:cubicBezTo>
                    <a:pt x="84" y="63"/>
                    <a:pt x="84" y="64"/>
                    <a:pt x="83" y="64"/>
                  </a:cubicBezTo>
                  <a:cubicBezTo>
                    <a:pt x="83" y="64"/>
                    <a:pt x="84" y="64"/>
                    <a:pt x="84" y="63"/>
                  </a:cubicBezTo>
                  <a:close/>
                  <a:moveTo>
                    <a:pt x="84" y="63"/>
                  </a:move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lose/>
                  <a:moveTo>
                    <a:pt x="82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lose/>
                  <a:moveTo>
                    <a:pt x="84" y="64"/>
                  </a:moveTo>
                  <a:cubicBezTo>
                    <a:pt x="84" y="64"/>
                    <a:pt x="85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lose/>
                  <a:moveTo>
                    <a:pt x="82" y="59"/>
                  </a:moveTo>
                  <a:cubicBezTo>
                    <a:pt x="82" y="59"/>
                    <a:pt x="82" y="59"/>
                    <a:pt x="81" y="59"/>
                  </a:cubicBezTo>
                  <a:cubicBezTo>
                    <a:pt x="81" y="59"/>
                    <a:pt x="82" y="59"/>
                    <a:pt x="82" y="59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8"/>
                  </a:cubicBezTo>
                  <a:cubicBezTo>
                    <a:pt x="81" y="58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8"/>
                    <a:pt x="81" y="58"/>
                    <a:pt x="81" y="58"/>
                  </a:cubicBezTo>
                  <a:cubicBezTo>
                    <a:pt x="81" y="58"/>
                    <a:pt x="81" y="58"/>
                    <a:pt x="80" y="58"/>
                  </a:cubicBezTo>
                  <a:cubicBezTo>
                    <a:pt x="80" y="58"/>
                    <a:pt x="81" y="58"/>
                    <a:pt x="81" y="58"/>
                  </a:cubicBezTo>
                  <a:cubicBezTo>
                    <a:pt x="80" y="58"/>
                    <a:pt x="80" y="58"/>
                    <a:pt x="79" y="59"/>
                  </a:cubicBezTo>
                  <a:cubicBezTo>
                    <a:pt x="80" y="58"/>
                    <a:pt x="79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59"/>
                    <a:pt x="80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7"/>
                    <a:pt x="81" y="57"/>
                  </a:cubicBezTo>
                  <a:cubicBezTo>
                    <a:pt x="81" y="57"/>
                    <a:pt x="81" y="58"/>
                    <a:pt x="81" y="57"/>
                  </a:cubicBezTo>
                  <a:close/>
                  <a:moveTo>
                    <a:pt x="86" y="64"/>
                  </a:move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6" y="65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lose/>
                  <a:moveTo>
                    <a:pt x="86" y="64"/>
                  </a:moveTo>
                  <a:cubicBezTo>
                    <a:pt x="86" y="65"/>
                    <a:pt x="86" y="64"/>
                    <a:pt x="86" y="64"/>
                  </a:cubicBezTo>
                  <a:cubicBezTo>
                    <a:pt x="86" y="64"/>
                    <a:pt x="86" y="64"/>
                    <a:pt x="85" y="65"/>
                  </a:cubicBezTo>
                  <a:cubicBezTo>
                    <a:pt x="85" y="65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4" y="61"/>
                  </a:moveTo>
                  <a:cubicBezTo>
                    <a:pt x="85" y="61"/>
                    <a:pt x="84" y="61"/>
                    <a:pt x="84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4" y="62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83" y="58"/>
                  </a:moveTo>
                  <a:cubicBezTo>
                    <a:pt x="83" y="57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2" y="58"/>
                    <a:pt x="82" y="58"/>
                  </a:cubicBezTo>
                  <a:cubicBezTo>
                    <a:pt x="83" y="58"/>
                    <a:pt x="82" y="58"/>
                    <a:pt x="83" y="58"/>
                  </a:cubicBezTo>
                  <a:cubicBezTo>
                    <a:pt x="83" y="57"/>
                    <a:pt x="83" y="57"/>
                    <a:pt x="84" y="57"/>
                  </a:cubicBezTo>
                  <a:cubicBezTo>
                    <a:pt x="83" y="58"/>
                    <a:pt x="83" y="57"/>
                    <a:pt x="83" y="58"/>
                  </a:cubicBezTo>
                  <a:close/>
                  <a:moveTo>
                    <a:pt x="84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9"/>
                    <a:pt x="84" y="60"/>
                    <a:pt x="84" y="60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lose/>
                  <a:moveTo>
                    <a:pt x="87" y="64"/>
                  </a:move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7" y="63"/>
                    <a:pt x="87" y="64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7" y="62"/>
                    <a:pt x="86" y="62"/>
                  </a:cubicBezTo>
                  <a:close/>
                  <a:moveTo>
                    <a:pt x="86" y="58"/>
                  </a:move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9"/>
                    <a:pt x="85" y="58"/>
                  </a:cubicBezTo>
                  <a:cubicBezTo>
                    <a:pt x="85" y="59"/>
                    <a:pt x="86" y="58"/>
                    <a:pt x="86" y="58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8" y="63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lose/>
                  <a:moveTo>
                    <a:pt x="85" y="57"/>
                  </a:move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5" y="57"/>
                    <a:pt x="85" y="57"/>
                  </a:cubicBezTo>
                  <a:close/>
                  <a:moveTo>
                    <a:pt x="86" y="58"/>
                  </a:move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7" y="58"/>
                    <a:pt x="88" y="58"/>
                  </a:cubicBezTo>
                  <a:cubicBezTo>
                    <a:pt x="87" y="58"/>
                    <a:pt x="86" y="58"/>
                    <a:pt x="86" y="58"/>
                  </a:cubicBezTo>
                  <a:close/>
                  <a:moveTo>
                    <a:pt x="88" y="60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0"/>
                  </a:cubicBezTo>
                  <a:close/>
                  <a:moveTo>
                    <a:pt x="87" y="56"/>
                  </a:moveTo>
                  <a:cubicBezTo>
                    <a:pt x="86" y="56"/>
                    <a:pt x="86" y="57"/>
                    <a:pt x="85" y="57"/>
                  </a:cubicBezTo>
                  <a:cubicBezTo>
                    <a:pt x="85" y="56"/>
                    <a:pt x="86" y="56"/>
                    <a:pt x="87" y="56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lose/>
                  <a:moveTo>
                    <a:pt x="89" y="62"/>
                  </a:move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lose/>
                  <a:moveTo>
                    <a:pt x="91" y="62"/>
                  </a:moveTo>
                  <a:cubicBezTo>
                    <a:pt x="90" y="62"/>
                    <a:pt x="91" y="61"/>
                    <a:pt x="91" y="61"/>
                  </a:cubicBezTo>
                  <a:cubicBezTo>
                    <a:pt x="91" y="61"/>
                    <a:pt x="91" y="62"/>
                    <a:pt x="91" y="62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88" y="57"/>
                  </a:moveTo>
                  <a:cubicBezTo>
                    <a:pt x="88" y="57"/>
                    <a:pt x="89" y="56"/>
                    <a:pt x="89" y="56"/>
                  </a:cubicBezTo>
                  <a:cubicBezTo>
                    <a:pt x="89" y="57"/>
                    <a:pt x="89" y="57"/>
                    <a:pt x="88" y="57"/>
                  </a:cubicBezTo>
                  <a:close/>
                  <a:moveTo>
                    <a:pt x="90" y="59"/>
                  </a:moveTo>
                  <a:cubicBezTo>
                    <a:pt x="90" y="59"/>
                    <a:pt x="90" y="59"/>
                    <a:pt x="91" y="59"/>
                  </a:cubicBezTo>
                  <a:cubicBezTo>
                    <a:pt x="91" y="59"/>
                    <a:pt x="90" y="59"/>
                    <a:pt x="90" y="59"/>
                  </a:cubicBezTo>
                  <a:close/>
                  <a:moveTo>
                    <a:pt x="89" y="57"/>
                  </a:moveTo>
                  <a:cubicBezTo>
                    <a:pt x="89" y="57"/>
                    <a:pt x="90" y="57"/>
                    <a:pt x="90" y="57"/>
                  </a:cubicBezTo>
                  <a:cubicBezTo>
                    <a:pt x="90" y="57"/>
                    <a:pt x="90" y="57"/>
                    <a:pt x="89" y="57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lose/>
                  <a:moveTo>
                    <a:pt x="93" y="59"/>
                  </a:moveTo>
                  <a:cubicBezTo>
                    <a:pt x="93" y="60"/>
                    <a:pt x="93" y="60"/>
                    <a:pt x="92" y="60"/>
                  </a:cubicBezTo>
                  <a:cubicBezTo>
                    <a:pt x="92" y="60"/>
                    <a:pt x="93" y="60"/>
                    <a:pt x="93" y="59"/>
                  </a:cubicBezTo>
                  <a:close/>
                  <a:moveTo>
                    <a:pt x="92" y="58"/>
                  </a:move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2" y="58"/>
                    <a:pt x="93" y="58"/>
                  </a:cubicBezTo>
                  <a:cubicBezTo>
                    <a:pt x="92" y="58"/>
                    <a:pt x="93" y="58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1" y="53"/>
                  </a:moveTo>
                  <a:cubicBezTo>
                    <a:pt x="91" y="54"/>
                    <a:pt x="90" y="54"/>
                    <a:pt x="90" y="54"/>
                  </a:cubicBezTo>
                  <a:cubicBezTo>
                    <a:pt x="90" y="53"/>
                    <a:pt x="90" y="54"/>
                    <a:pt x="91" y="53"/>
                  </a:cubicBezTo>
                  <a:close/>
                  <a:moveTo>
                    <a:pt x="93" y="57"/>
                  </a:moveTo>
                  <a:cubicBezTo>
                    <a:pt x="92" y="57"/>
                    <a:pt x="93" y="57"/>
                    <a:pt x="93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4" y="60"/>
                  </a:moveTo>
                  <a:cubicBezTo>
                    <a:pt x="94" y="60"/>
                    <a:pt x="94" y="60"/>
                    <a:pt x="94" y="60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93" y="58"/>
                  </a:moveTo>
                  <a:cubicBezTo>
                    <a:pt x="93" y="58"/>
                    <a:pt x="94" y="58"/>
                    <a:pt x="93" y="59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8"/>
                    <a:pt x="94" y="58"/>
                    <a:pt x="93" y="58"/>
                  </a:cubicBezTo>
                  <a:close/>
                  <a:moveTo>
                    <a:pt x="92" y="55"/>
                  </a:moveTo>
                  <a:cubicBezTo>
                    <a:pt x="92" y="55"/>
                    <a:pt x="91" y="55"/>
                    <a:pt x="91" y="55"/>
                  </a:cubicBezTo>
                  <a:cubicBezTo>
                    <a:pt x="91" y="55"/>
                    <a:pt x="92" y="55"/>
                    <a:pt x="92" y="55"/>
                  </a:cubicBezTo>
                  <a:close/>
                  <a:moveTo>
                    <a:pt x="93" y="58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lose/>
                  <a:moveTo>
                    <a:pt x="95" y="56"/>
                  </a:moveTo>
                  <a:cubicBezTo>
                    <a:pt x="94" y="56"/>
                    <a:pt x="94" y="56"/>
                    <a:pt x="93" y="57"/>
                  </a:cubicBezTo>
                  <a:cubicBezTo>
                    <a:pt x="93" y="57"/>
                    <a:pt x="94" y="56"/>
                    <a:pt x="95" y="56"/>
                  </a:cubicBezTo>
                  <a:close/>
                  <a:moveTo>
                    <a:pt x="92" y="54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lose/>
                  <a:moveTo>
                    <a:pt x="95" y="59"/>
                  </a:move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3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3" y="54"/>
                    <a:pt x="93" y="54"/>
                  </a:cubicBezTo>
                  <a:close/>
                  <a:moveTo>
                    <a:pt x="96" y="57"/>
                  </a:move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7"/>
                  </a:cubicBezTo>
                  <a:close/>
                  <a:moveTo>
                    <a:pt x="91" y="48"/>
                  </a:move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8"/>
                    <a:pt x="91" y="48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49"/>
                    <a:pt x="92" y="50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2" y="49"/>
                    <a:pt x="92" y="49"/>
                    <a:pt x="92" y="49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lose/>
                  <a:moveTo>
                    <a:pt x="92" y="50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2" y="50"/>
                  </a:cubicBezTo>
                  <a:close/>
                  <a:moveTo>
                    <a:pt x="96" y="54"/>
                  </a:moveTo>
                  <a:cubicBezTo>
                    <a:pt x="96" y="55"/>
                    <a:pt x="96" y="55"/>
                    <a:pt x="95" y="55"/>
                  </a:cubicBezTo>
                  <a:cubicBezTo>
                    <a:pt x="95" y="55"/>
                    <a:pt x="96" y="54"/>
                    <a:pt x="96" y="54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7"/>
                    <a:pt x="97" y="57"/>
                  </a:cubicBezTo>
                  <a:close/>
                  <a:moveTo>
                    <a:pt x="94" y="48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4" y="48"/>
                  </a:cubicBezTo>
                  <a:close/>
                  <a:moveTo>
                    <a:pt x="99" y="56"/>
                  </a:moveTo>
                  <a:cubicBezTo>
                    <a:pt x="99" y="56"/>
                    <a:pt x="98" y="56"/>
                    <a:pt x="98" y="57"/>
                  </a:cubicBezTo>
                  <a:cubicBezTo>
                    <a:pt x="98" y="56"/>
                    <a:pt x="99" y="56"/>
                    <a:pt x="99" y="56"/>
                  </a:cubicBezTo>
                  <a:close/>
                  <a:moveTo>
                    <a:pt x="99" y="55"/>
                  </a:move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6"/>
                  </a:cubicBezTo>
                  <a:cubicBezTo>
                    <a:pt x="99" y="56"/>
                    <a:pt x="99" y="55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10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1" y="55"/>
                    <a:pt x="100" y="55"/>
                    <a:pt x="100" y="55"/>
                  </a:cubicBezTo>
                  <a:close/>
                  <a:moveTo>
                    <a:pt x="100" y="52"/>
                  </a:moveTo>
                  <a:cubicBezTo>
                    <a:pt x="100" y="52"/>
                    <a:pt x="99" y="53"/>
                    <a:pt x="99" y="53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lose/>
                  <a:moveTo>
                    <a:pt x="101" y="54"/>
                  </a:moveTo>
                  <a:cubicBezTo>
                    <a:pt x="101" y="54"/>
                    <a:pt x="101" y="54"/>
                    <a:pt x="101" y="55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1" y="54"/>
                    <a:pt x="101" y="54"/>
                    <a:pt x="101" y="54"/>
                  </a:cubicBezTo>
                  <a:close/>
                  <a:moveTo>
                    <a:pt x="99" y="50"/>
                  </a:move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99" y="50"/>
                    <a:pt x="99" y="50"/>
                  </a:cubicBezTo>
                  <a:close/>
                  <a:moveTo>
                    <a:pt x="100" y="44"/>
                  </a:moveTo>
                  <a:cubicBezTo>
                    <a:pt x="100" y="43"/>
                    <a:pt x="101" y="43"/>
                    <a:pt x="101" y="43"/>
                  </a:cubicBezTo>
                  <a:cubicBezTo>
                    <a:pt x="100" y="44"/>
                    <a:pt x="98" y="45"/>
                    <a:pt x="97" y="4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4"/>
                    <a:pt x="100" y="44"/>
                  </a:cubicBezTo>
                  <a:cubicBezTo>
                    <a:pt x="100" y="43"/>
                    <a:pt x="100" y="44"/>
                    <a:pt x="100" y="44"/>
                  </a:cubicBezTo>
                  <a:close/>
                  <a:moveTo>
                    <a:pt x="103" y="52"/>
                  </a:move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2" y="52"/>
                    <a:pt x="102" y="53"/>
                  </a:cubicBezTo>
                  <a:cubicBezTo>
                    <a:pt x="102" y="53"/>
                    <a:pt x="102" y="53"/>
                    <a:pt x="101" y="53"/>
                  </a:cubicBezTo>
                  <a:cubicBezTo>
                    <a:pt x="102" y="53"/>
                    <a:pt x="102" y="52"/>
                    <a:pt x="102" y="52"/>
                  </a:cubicBezTo>
                  <a:cubicBezTo>
                    <a:pt x="101" y="52"/>
                    <a:pt x="102" y="53"/>
                    <a:pt x="101" y="53"/>
                  </a:cubicBezTo>
                  <a:cubicBezTo>
                    <a:pt x="101" y="52"/>
                    <a:pt x="102" y="52"/>
                    <a:pt x="103" y="52"/>
                  </a:cubicBezTo>
                  <a:close/>
                  <a:moveTo>
                    <a:pt x="103" y="52"/>
                  </a:moveTo>
                  <a:cubicBezTo>
                    <a:pt x="103" y="52"/>
                    <a:pt x="103" y="52"/>
                    <a:pt x="103" y="52"/>
                  </a:cubicBezTo>
                  <a:cubicBezTo>
                    <a:pt x="104" y="51"/>
                    <a:pt x="104" y="51"/>
                    <a:pt x="105" y="51"/>
                  </a:cubicBezTo>
                  <a:cubicBezTo>
                    <a:pt x="105" y="51"/>
                    <a:pt x="104" y="51"/>
                    <a:pt x="105" y="51"/>
                  </a:cubicBezTo>
                  <a:cubicBezTo>
                    <a:pt x="105" y="51"/>
                    <a:pt x="104" y="52"/>
                    <a:pt x="104" y="51"/>
                  </a:cubicBezTo>
                  <a:cubicBezTo>
                    <a:pt x="104" y="52"/>
                    <a:pt x="104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lose/>
                  <a:moveTo>
                    <a:pt x="102" y="49"/>
                  </a:move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49"/>
                    <a:pt x="102" y="49"/>
                  </a:cubicBezTo>
                  <a:close/>
                  <a:moveTo>
                    <a:pt x="103" y="51"/>
                  </a:moveTo>
                  <a:cubicBezTo>
                    <a:pt x="103" y="51"/>
                    <a:pt x="103" y="51"/>
                    <a:pt x="103" y="51"/>
                  </a:cubicBezTo>
                  <a:cubicBezTo>
                    <a:pt x="104" y="51"/>
                    <a:pt x="104" y="51"/>
                    <a:pt x="103" y="52"/>
                  </a:cubicBezTo>
                  <a:cubicBezTo>
                    <a:pt x="103" y="51"/>
                    <a:pt x="103" y="51"/>
                    <a:pt x="103" y="51"/>
                  </a:cubicBezTo>
                  <a:close/>
                  <a:moveTo>
                    <a:pt x="104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5" y="52"/>
                    <a:pt x="105" y="52"/>
                  </a:cubicBezTo>
                  <a:close/>
                  <a:moveTo>
                    <a:pt x="104" y="48"/>
                  </a:move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9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6" y="51"/>
                  </a:move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1"/>
                    <a:pt x="106" y="51"/>
                  </a:cubicBezTo>
                  <a:close/>
                  <a:moveTo>
                    <a:pt x="105" y="50"/>
                  </a:move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6" y="51"/>
                  </a:moveTo>
                  <a:cubicBezTo>
                    <a:pt x="107" y="51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7" y="51"/>
                    <a:pt x="107" y="51"/>
                  </a:cubicBezTo>
                  <a:cubicBezTo>
                    <a:pt x="107" y="51"/>
                    <a:pt x="106" y="51"/>
                    <a:pt x="106" y="51"/>
                  </a:cubicBezTo>
                  <a:close/>
                  <a:moveTo>
                    <a:pt x="107" y="51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7" y="51"/>
                  </a:cubicBezTo>
                  <a:close/>
                  <a:moveTo>
                    <a:pt x="105" y="47"/>
                  </a:moveTo>
                  <a:cubicBezTo>
                    <a:pt x="105" y="47"/>
                    <a:pt x="106" y="46"/>
                    <a:pt x="106" y="46"/>
                  </a:cubicBezTo>
                  <a:cubicBezTo>
                    <a:pt x="106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lose/>
                  <a:moveTo>
                    <a:pt x="106" y="48"/>
                  </a:moveTo>
                  <a:cubicBezTo>
                    <a:pt x="106" y="48"/>
                    <a:pt x="106" y="48"/>
                    <a:pt x="106" y="48"/>
                  </a:cubicBezTo>
                  <a:cubicBezTo>
                    <a:pt x="106" y="49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lose/>
                  <a:moveTo>
                    <a:pt x="107" y="48"/>
                  </a:moveTo>
                  <a:cubicBezTo>
                    <a:pt x="107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7" y="48"/>
                    <a:pt x="107" y="48"/>
                  </a:cubicBezTo>
                  <a:close/>
                  <a:moveTo>
                    <a:pt x="107" y="49"/>
                  </a:moveTo>
                  <a:cubicBezTo>
                    <a:pt x="107" y="49"/>
                    <a:pt x="107" y="49"/>
                    <a:pt x="107" y="48"/>
                  </a:cubicBezTo>
                  <a:cubicBezTo>
                    <a:pt x="107" y="49"/>
                    <a:pt x="107" y="49"/>
                    <a:pt x="107" y="49"/>
                  </a:cubicBezTo>
                  <a:close/>
                  <a:moveTo>
                    <a:pt x="108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lose/>
                  <a:moveTo>
                    <a:pt x="107" y="47"/>
                  </a:moveTo>
                  <a:cubicBezTo>
                    <a:pt x="108" y="47"/>
                    <a:pt x="107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8" y="47"/>
                    <a:pt x="107" y="47"/>
                    <a:pt x="108" y="47"/>
                  </a:cubicBezTo>
                  <a:cubicBezTo>
                    <a:pt x="108" y="47"/>
                    <a:pt x="109" y="46"/>
                    <a:pt x="109" y="46"/>
                  </a:cubicBezTo>
                  <a:cubicBezTo>
                    <a:pt x="110" y="46"/>
                    <a:pt x="110" y="45"/>
                    <a:pt x="111" y="45"/>
                  </a:cubicBezTo>
                  <a:cubicBezTo>
                    <a:pt x="110" y="46"/>
                    <a:pt x="108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10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lose/>
                  <a:moveTo>
                    <a:pt x="108" y="47"/>
                  </a:moveTo>
                  <a:cubicBezTo>
                    <a:pt x="108" y="48"/>
                    <a:pt x="108" y="48"/>
                    <a:pt x="107" y="48"/>
                  </a:cubicBezTo>
                  <a:cubicBezTo>
                    <a:pt x="107" y="48"/>
                    <a:pt x="108" y="47"/>
                    <a:pt x="108" y="47"/>
                  </a:cubicBezTo>
                  <a:close/>
                  <a:moveTo>
                    <a:pt x="109" y="49"/>
                  </a:move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49"/>
                    <a:pt x="109" y="50"/>
                  </a:cubicBezTo>
                  <a:close/>
                  <a:moveTo>
                    <a:pt x="106" y="45"/>
                  </a:moveTo>
                  <a:cubicBezTo>
                    <a:pt x="106" y="44"/>
                    <a:pt x="107" y="44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6" y="44"/>
                    <a:pt x="106" y="45"/>
                    <a:pt x="106" y="45"/>
                  </a:cubicBezTo>
                  <a:close/>
                  <a:moveTo>
                    <a:pt x="107" y="46"/>
                  </a:move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lose/>
                  <a:moveTo>
                    <a:pt x="110" y="50"/>
                  </a:moveTo>
                  <a:cubicBezTo>
                    <a:pt x="110" y="50"/>
                    <a:pt x="110" y="50"/>
                    <a:pt x="110" y="50"/>
                  </a:cubicBezTo>
                  <a:cubicBezTo>
                    <a:pt x="109" y="50"/>
                    <a:pt x="110" y="49"/>
                    <a:pt x="110" y="50"/>
                  </a:cubicBezTo>
                  <a:close/>
                  <a:moveTo>
                    <a:pt x="109" y="48"/>
                  </a:moveTo>
                  <a:cubicBezTo>
                    <a:pt x="108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8"/>
                  </a:cubicBezTo>
                  <a:close/>
                  <a:moveTo>
                    <a:pt x="111" y="48"/>
                  </a:moveTo>
                  <a:cubicBezTo>
                    <a:pt x="111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1" y="48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9" y="45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7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10" y="42"/>
                  </a:moveTo>
                  <a:cubicBezTo>
                    <a:pt x="110" y="42"/>
                    <a:pt x="109" y="42"/>
                    <a:pt x="109" y="42"/>
                  </a:cubicBezTo>
                  <a:cubicBezTo>
                    <a:pt x="110" y="42"/>
                    <a:pt x="110" y="42"/>
                    <a:pt x="110" y="42"/>
                  </a:cubicBezTo>
                  <a:close/>
                  <a:moveTo>
                    <a:pt x="110" y="42"/>
                  </a:moveTo>
                  <a:cubicBezTo>
                    <a:pt x="110" y="42"/>
                    <a:pt x="110" y="42"/>
                    <a:pt x="110" y="42"/>
                  </a:cubicBezTo>
                  <a:cubicBezTo>
                    <a:pt x="111" y="42"/>
                    <a:pt x="111" y="42"/>
                    <a:pt x="110" y="42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4" y="45"/>
                  </a:moveTo>
                  <a:cubicBezTo>
                    <a:pt x="114" y="45"/>
                    <a:pt x="114" y="45"/>
                    <a:pt x="114" y="45"/>
                  </a:cubicBezTo>
                  <a:cubicBezTo>
                    <a:pt x="114" y="45"/>
                    <a:pt x="114" y="45"/>
                    <a:pt x="114" y="45"/>
                  </a:cubicBezTo>
                  <a:close/>
                  <a:moveTo>
                    <a:pt x="113" y="39"/>
                  </a:moveTo>
                  <a:cubicBezTo>
                    <a:pt x="113" y="39"/>
                    <a:pt x="112" y="40"/>
                    <a:pt x="112" y="40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39"/>
                    <a:pt x="112" y="40"/>
                    <a:pt x="112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39"/>
                    <a:pt x="112" y="39"/>
                  </a:cubicBezTo>
                  <a:cubicBezTo>
                    <a:pt x="112" y="40"/>
                    <a:pt x="113" y="39"/>
                    <a:pt x="113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12" y="42"/>
                  </a:moveTo>
                  <a:cubicBezTo>
                    <a:pt x="112" y="42"/>
                    <a:pt x="113" y="42"/>
                    <a:pt x="113" y="42"/>
                  </a:cubicBezTo>
                  <a:lnTo>
                    <a:pt x="112" y="42"/>
                  </a:ln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15" y="43"/>
                  </a:moveTo>
                  <a:cubicBezTo>
                    <a:pt x="115" y="43"/>
                    <a:pt x="114" y="44"/>
                    <a:pt x="114" y="44"/>
                  </a:cubicBezTo>
                  <a:cubicBezTo>
                    <a:pt x="114" y="44"/>
                    <a:pt x="115" y="44"/>
                    <a:pt x="115" y="43"/>
                  </a:cubicBezTo>
                  <a:close/>
                  <a:moveTo>
                    <a:pt x="112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0"/>
                  </a:cubicBezTo>
                  <a:cubicBezTo>
                    <a:pt x="114" y="41"/>
                    <a:pt x="113" y="41"/>
                    <a:pt x="113" y="41"/>
                  </a:cubicBezTo>
                  <a:close/>
                  <a:moveTo>
                    <a:pt x="117" y="46"/>
                  </a:move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16" y="43"/>
                  </a:moveTo>
                  <a:cubicBezTo>
                    <a:pt x="115" y="43"/>
                    <a:pt x="115" y="43"/>
                    <a:pt x="115" y="43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6" y="43"/>
                    <a:pt x="116" y="43"/>
                  </a:cubicBezTo>
                  <a:close/>
                  <a:moveTo>
                    <a:pt x="118" y="45"/>
                  </a:moveTo>
                  <a:cubicBezTo>
                    <a:pt x="118" y="46"/>
                    <a:pt x="118" y="46"/>
                    <a:pt x="118" y="46"/>
                  </a:cubicBezTo>
                  <a:cubicBezTo>
                    <a:pt x="117" y="46"/>
                    <a:pt x="118" y="46"/>
                    <a:pt x="118" y="45"/>
                  </a:cubicBezTo>
                  <a:close/>
                  <a:moveTo>
                    <a:pt x="116" y="40"/>
                  </a:moveTo>
                  <a:cubicBezTo>
                    <a:pt x="115" y="40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0"/>
                    <a:pt x="115" y="40"/>
                  </a:cubicBezTo>
                  <a:cubicBezTo>
                    <a:pt x="115" y="40"/>
                    <a:pt x="115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lose/>
                  <a:moveTo>
                    <a:pt x="114" y="38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7"/>
                    <a:pt x="114" y="38"/>
                    <a:pt x="114" y="38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5" y="37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8"/>
                    <a:pt x="115" y="37"/>
                    <a:pt x="115" y="37"/>
                  </a:cubicBezTo>
                  <a:close/>
                  <a:moveTo>
                    <a:pt x="114" y="37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lose/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1"/>
                    <a:pt x="118" y="41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8" y="41"/>
                  </a:cubicBezTo>
                  <a:close/>
                  <a:moveTo>
                    <a:pt x="115" y="39"/>
                  </a:move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9"/>
                    <a:pt x="115" y="39"/>
                  </a:cubicBezTo>
                  <a:close/>
                  <a:moveTo>
                    <a:pt x="115" y="38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lose/>
                  <a:moveTo>
                    <a:pt x="117" y="40"/>
                  </a:move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40"/>
                  </a:cubicBezTo>
                  <a:cubicBezTo>
                    <a:pt x="118" y="39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lose/>
                  <a:moveTo>
                    <a:pt x="118" y="37"/>
                  </a:moveTo>
                  <a:cubicBezTo>
                    <a:pt x="117" y="37"/>
                    <a:pt x="116" y="37"/>
                    <a:pt x="116" y="38"/>
                  </a:cubicBezTo>
                  <a:cubicBezTo>
                    <a:pt x="116" y="37"/>
                    <a:pt x="117" y="37"/>
                    <a:pt x="118" y="37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6" y="35"/>
                  </a:moveTo>
                  <a:cubicBezTo>
                    <a:pt x="116" y="36"/>
                    <a:pt x="116" y="36"/>
                    <a:pt x="115" y="36"/>
                  </a:cubicBezTo>
                  <a:cubicBezTo>
                    <a:pt x="116" y="36"/>
                    <a:pt x="116" y="36"/>
                    <a:pt x="116" y="35"/>
                  </a:cubicBezTo>
                  <a:close/>
                  <a:moveTo>
                    <a:pt x="119" y="39"/>
                  </a:move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9" y="39"/>
                    <a:pt x="119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17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7" y="37"/>
                    <a:pt x="117" y="37"/>
                  </a:cubicBezTo>
                  <a:close/>
                  <a:moveTo>
                    <a:pt x="117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21" y="40"/>
                  </a:moveTo>
                  <a:cubicBezTo>
                    <a:pt x="121" y="40"/>
                    <a:pt x="120" y="40"/>
                    <a:pt x="120" y="40"/>
                  </a:cubicBezTo>
                  <a:cubicBezTo>
                    <a:pt x="120" y="40"/>
                    <a:pt x="121" y="40"/>
                    <a:pt x="121" y="40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1" y="39"/>
                  </a:cubicBezTo>
                  <a:cubicBezTo>
                    <a:pt x="120" y="40"/>
                    <a:pt x="120" y="39"/>
                    <a:pt x="120" y="40"/>
                  </a:cubicBezTo>
                  <a:cubicBezTo>
                    <a:pt x="120" y="40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0" y="40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0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2" y="41"/>
                  </a:moveTo>
                  <a:cubicBezTo>
                    <a:pt x="122" y="41"/>
                    <a:pt x="122" y="42"/>
                    <a:pt x="122" y="42"/>
                  </a:cubicBezTo>
                  <a:cubicBezTo>
                    <a:pt x="122" y="42"/>
                    <a:pt x="122" y="41"/>
                    <a:pt x="122" y="41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5"/>
                    <a:pt x="119" y="36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9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9" y="35"/>
                  </a:moveTo>
                  <a:cubicBezTo>
                    <a:pt x="119" y="35"/>
                    <a:pt x="120" y="35"/>
                    <a:pt x="120" y="35"/>
                  </a:cubicBezTo>
                  <a:cubicBezTo>
                    <a:pt x="120" y="35"/>
                    <a:pt x="119" y="35"/>
                    <a:pt x="119" y="35"/>
                  </a:cubicBezTo>
                  <a:close/>
                  <a:moveTo>
                    <a:pt x="119" y="34"/>
                  </a:moveTo>
                  <a:cubicBezTo>
                    <a:pt x="119" y="34"/>
                    <a:pt x="119" y="34"/>
                    <a:pt x="119" y="35"/>
                  </a:cubicBezTo>
                  <a:cubicBezTo>
                    <a:pt x="119" y="34"/>
                    <a:pt x="119" y="34"/>
                    <a:pt x="119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8" y="35"/>
                    <a:pt x="119" y="34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3" y="38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6" y="40"/>
                    <a:pt x="126" y="40"/>
                  </a:cubicBezTo>
                  <a:close/>
                  <a:moveTo>
                    <a:pt x="125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5" y="37"/>
                    <a:pt x="125" y="37"/>
                  </a:cubicBezTo>
                  <a:cubicBezTo>
                    <a:pt x="125" y="37"/>
                    <a:pt x="126" y="37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8" y="39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8" y="39"/>
                    <a:pt x="128" y="39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5"/>
                    <a:pt x="126" y="35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6"/>
                    <a:pt x="126" y="36"/>
                    <a:pt x="127" y="36"/>
                  </a:cubicBezTo>
                  <a:cubicBezTo>
                    <a:pt x="127" y="36"/>
                    <a:pt x="126" y="36"/>
                    <a:pt x="126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7" y="36"/>
                    <a:pt x="126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30" y="39"/>
                    <a:pt x="129" y="39"/>
                  </a:cubicBezTo>
                  <a:close/>
                  <a:moveTo>
                    <a:pt x="127" y="33"/>
                  </a:moveTo>
                  <a:cubicBezTo>
                    <a:pt x="127" y="34"/>
                    <a:pt x="126" y="34"/>
                    <a:pt x="126" y="34"/>
                  </a:cubicBezTo>
                  <a:cubicBezTo>
                    <a:pt x="126" y="34"/>
                    <a:pt x="126" y="33"/>
                    <a:pt x="127" y="33"/>
                  </a:cubicBezTo>
                  <a:close/>
                  <a:moveTo>
                    <a:pt x="128" y="32"/>
                  </a:moveTo>
                  <a:cubicBezTo>
                    <a:pt x="128" y="32"/>
                    <a:pt x="128" y="32"/>
                    <a:pt x="128" y="32"/>
                  </a:cubicBezTo>
                  <a:cubicBezTo>
                    <a:pt x="127" y="32"/>
                    <a:pt x="128" y="31"/>
                    <a:pt x="128" y="32"/>
                  </a:cubicBezTo>
                  <a:close/>
                  <a:moveTo>
                    <a:pt x="131" y="35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5"/>
                    <a:pt x="131" y="35"/>
                    <a:pt x="131" y="35"/>
                  </a:cubicBezTo>
                  <a:close/>
                  <a:moveTo>
                    <a:pt x="131" y="34"/>
                  </a:move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1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1"/>
                  </a:moveTo>
                  <a:cubicBezTo>
                    <a:pt x="129" y="31"/>
                    <a:pt x="129" y="31"/>
                    <a:pt x="129" y="31"/>
                  </a:cubicBezTo>
                  <a:cubicBezTo>
                    <a:pt x="130" y="31"/>
                    <a:pt x="129" y="31"/>
                    <a:pt x="129" y="31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8" y="29"/>
                    <a:pt x="129" y="29"/>
                  </a:cubicBezTo>
                  <a:close/>
                  <a:moveTo>
                    <a:pt x="133" y="34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3" y="34"/>
                    <a:pt x="133" y="34"/>
                  </a:cubicBezTo>
                  <a:close/>
                  <a:moveTo>
                    <a:pt x="129" y="28"/>
                  </a:moveTo>
                  <a:cubicBezTo>
                    <a:pt x="129" y="27"/>
                    <a:pt x="129" y="28"/>
                    <a:pt x="129" y="28"/>
                  </a:cubicBezTo>
                  <a:cubicBezTo>
                    <a:pt x="129" y="28"/>
                    <a:pt x="129" y="27"/>
                    <a:pt x="129" y="28"/>
                  </a:cubicBezTo>
                  <a:close/>
                  <a:moveTo>
                    <a:pt x="130" y="30"/>
                  </a:move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0" y="30"/>
                  </a:cubicBezTo>
                  <a:close/>
                  <a:moveTo>
                    <a:pt x="137" y="31"/>
                  </a:moveTo>
                  <a:cubicBezTo>
                    <a:pt x="137" y="31"/>
                    <a:pt x="137" y="31"/>
                    <a:pt x="137" y="31"/>
                  </a:cubicBezTo>
                  <a:cubicBezTo>
                    <a:pt x="138" y="31"/>
                    <a:pt x="137" y="31"/>
                    <a:pt x="137" y="31"/>
                  </a:cubicBezTo>
                  <a:close/>
                  <a:moveTo>
                    <a:pt x="141" y="24"/>
                  </a:moveTo>
                  <a:cubicBezTo>
                    <a:pt x="141" y="24"/>
                    <a:pt x="141" y="24"/>
                    <a:pt x="141" y="23"/>
                  </a:cubicBezTo>
                  <a:cubicBezTo>
                    <a:pt x="141" y="24"/>
                    <a:pt x="141" y="24"/>
                    <a:pt x="141" y="24"/>
                  </a:cubicBezTo>
                  <a:close/>
                  <a:moveTo>
                    <a:pt x="143" y="27"/>
                  </a:moveTo>
                  <a:cubicBezTo>
                    <a:pt x="143" y="26"/>
                    <a:pt x="144" y="26"/>
                    <a:pt x="144" y="26"/>
                  </a:cubicBezTo>
                  <a:cubicBezTo>
                    <a:pt x="144" y="26"/>
                    <a:pt x="144" y="26"/>
                    <a:pt x="143" y="27"/>
                  </a:cubicBezTo>
                  <a:close/>
                  <a:moveTo>
                    <a:pt x="142" y="22"/>
                  </a:moveTo>
                  <a:cubicBezTo>
                    <a:pt x="142" y="22"/>
                    <a:pt x="143" y="22"/>
                    <a:pt x="143" y="22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3"/>
                    <a:pt x="143" y="22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8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48" y="18"/>
                  </a:moveTo>
                  <a:cubicBezTo>
                    <a:pt x="148" y="18"/>
                    <a:pt x="148" y="18"/>
                    <a:pt x="149" y="17"/>
                  </a:cubicBezTo>
                  <a:cubicBezTo>
                    <a:pt x="149" y="18"/>
                    <a:pt x="148" y="18"/>
                    <a:pt x="148" y="18"/>
                  </a:cubicBezTo>
                  <a:close/>
                  <a:moveTo>
                    <a:pt x="150" y="17"/>
                  </a:moveTo>
                  <a:cubicBezTo>
                    <a:pt x="150" y="17"/>
                    <a:pt x="150" y="17"/>
                    <a:pt x="150" y="17"/>
                  </a:cubicBezTo>
                  <a:cubicBezTo>
                    <a:pt x="150" y="16"/>
                    <a:pt x="151" y="17"/>
                    <a:pt x="150" y="17"/>
                  </a:cubicBezTo>
                  <a:close/>
                  <a:moveTo>
                    <a:pt x="151" y="17"/>
                  </a:moveTo>
                  <a:cubicBezTo>
                    <a:pt x="151" y="17"/>
                    <a:pt x="151" y="16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1" y="17"/>
                    <a:pt x="151" y="17"/>
                  </a:cubicBezTo>
                  <a:close/>
                  <a:moveTo>
                    <a:pt x="152" y="17"/>
                  </a:move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1" y="17"/>
                  </a:cubicBezTo>
                  <a:cubicBezTo>
                    <a:pt x="151" y="17"/>
                    <a:pt x="152" y="17"/>
                    <a:pt x="152" y="17"/>
                  </a:cubicBezTo>
                  <a:close/>
                  <a:moveTo>
                    <a:pt x="154" y="18"/>
                  </a:move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4" y="18"/>
                    <a:pt x="154" y="18"/>
                  </a:cubicBezTo>
                  <a:close/>
                  <a:moveTo>
                    <a:pt x="155" y="14"/>
                  </a:moveTo>
                  <a:cubicBezTo>
                    <a:pt x="156" y="14"/>
                    <a:pt x="156" y="14"/>
                    <a:pt x="155" y="14"/>
                  </a:cubicBezTo>
                  <a:cubicBezTo>
                    <a:pt x="154" y="15"/>
                    <a:pt x="154" y="15"/>
                    <a:pt x="153" y="15"/>
                  </a:cubicBezTo>
                  <a:cubicBezTo>
                    <a:pt x="154" y="15"/>
                    <a:pt x="154" y="14"/>
                    <a:pt x="155" y="14"/>
                  </a:cubicBezTo>
                  <a:close/>
                  <a:moveTo>
                    <a:pt x="156" y="17"/>
                  </a:moveTo>
                  <a:cubicBezTo>
                    <a:pt x="156" y="17"/>
                    <a:pt x="156" y="17"/>
                    <a:pt x="155" y="17"/>
                  </a:cubicBezTo>
                  <a:cubicBezTo>
                    <a:pt x="155" y="17"/>
                    <a:pt x="156" y="17"/>
                    <a:pt x="156" y="17"/>
                  </a:cubicBezTo>
                  <a:close/>
                  <a:moveTo>
                    <a:pt x="156" y="14"/>
                  </a:moveTo>
                  <a:cubicBezTo>
                    <a:pt x="156" y="13"/>
                    <a:pt x="157" y="13"/>
                    <a:pt x="158" y="13"/>
                  </a:cubicBezTo>
                  <a:cubicBezTo>
                    <a:pt x="157" y="13"/>
                    <a:pt x="156" y="13"/>
                    <a:pt x="156" y="14"/>
                  </a:cubicBezTo>
                  <a:close/>
                  <a:moveTo>
                    <a:pt x="159" y="11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lose/>
                  <a:moveTo>
                    <a:pt x="159" y="11"/>
                  </a:moveTo>
                  <a:cubicBezTo>
                    <a:pt x="159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59" y="11"/>
                  </a:cubicBezTo>
                  <a:close/>
                  <a:moveTo>
                    <a:pt x="161" y="12"/>
                  </a:moveTo>
                  <a:cubicBezTo>
                    <a:pt x="161" y="12"/>
                    <a:pt x="161" y="12"/>
                    <a:pt x="161" y="12"/>
                  </a:cubicBezTo>
                  <a:cubicBezTo>
                    <a:pt x="160" y="12"/>
                    <a:pt x="161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1" y="12"/>
                    <a:pt x="160" y="12"/>
                  </a:cubicBezTo>
                  <a:lnTo>
                    <a:pt x="161" y="12"/>
                  </a:lnTo>
                  <a:close/>
                  <a:moveTo>
                    <a:pt x="163" y="16"/>
                  </a:moveTo>
                  <a:cubicBezTo>
                    <a:pt x="163" y="16"/>
                    <a:pt x="163" y="16"/>
                    <a:pt x="162" y="16"/>
                  </a:cubicBezTo>
                  <a:cubicBezTo>
                    <a:pt x="162" y="16"/>
                    <a:pt x="163" y="16"/>
                    <a:pt x="163" y="16"/>
                  </a:cubicBezTo>
                  <a:close/>
                  <a:moveTo>
                    <a:pt x="162" y="12"/>
                  </a:moveTo>
                  <a:cubicBezTo>
                    <a:pt x="162" y="12"/>
                    <a:pt x="161" y="12"/>
                    <a:pt x="161" y="12"/>
                  </a:cubicBezTo>
                  <a:cubicBezTo>
                    <a:pt x="161" y="12"/>
                    <a:pt x="162" y="12"/>
                    <a:pt x="162" y="12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2" y="11"/>
                    <a:pt x="162" y="11"/>
                  </a:cubicBezTo>
                  <a:cubicBezTo>
                    <a:pt x="162" y="11"/>
                    <a:pt x="161" y="11"/>
                    <a:pt x="161" y="11"/>
                  </a:cubicBezTo>
                  <a:close/>
                  <a:moveTo>
                    <a:pt x="163" y="11"/>
                  </a:moveTo>
                  <a:cubicBezTo>
                    <a:pt x="163" y="11"/>
                    <a:pt x="163" y="12"/>
                    <a:pt x="162" y="12"/>
                  </a:cubicBezTo>
                  <a:cubicBezTo>
                    <a:pt x="163" y="11"/>
                    <a:pt x="163" y="11"/>
                    <a:pt x="163" y="11"/>
                  </a:cubicBezTo>
                  <a:close/>
                  <a:moveTo>
                    <a:pt x="162" y="11"/>
                  </a:moveTo>
                  <a:cubicBezTo>
                    <a:pt x="162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2" y="11"/>
                  </a:cubicBezTo>
                  <a:close/>
                  <a:moveTo>
                    <a:pt x="163" y="10"/>
                  </a:moveTo>
                  <a:cubicBezTo>
                    <a:pt x="163" y="10"/>
                    <a:pt x="162" y="11"/>
                    <a:pt x="162" y="11"/>
                  </a:cubicBezTo>
                  <a:cubicBezTo>
                    <a:pt x="162" y="10"/>
                    <a:pt x="162" y="11"/>
                    <a:pt x="162" y="10"/>
                  </a:cubicBezTo>
                  <a:cubicBezTo>
                    <a:pt x="162" y="10"/>
                    <a:pt x="163" y="10"/>
                    <a:pt x="162" y="10"/>
                  </a:cubicBezTo>
                  <a:cubicBezTo>
                    <a:pt x="163" y="10"/>
                    <a:pt x="162" y="11"/>
                    <a:pt x="163" y="10"/>
                  </a:cubicBezTo>
                  <a:close/>
                  <a:moveTo>
                    <a:pt x="163" y="9"/>
                  </a:move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lose/>
                  <a:moveTo>
                    <a:pt x="167" y="14"/>
                  </a:moveTo>
                  <a:cubicBezTo>
                    <a:pt x="167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7" y="14"/>
                  </a:cubicBezTo>
                  <a:close/>
                  <a:moveTo>
                    <a:pt x="168" y="13"/>
                  </a:move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8" y="13"/>
                    <a:pt x="168" y="13"/>
                  </a:cubicBezTo>
                  <a:close/>
                  <a:moveTo>
                    <a:pt x="166" y="8"/>
                  </a:moveTo>
                  <a:cubicBezTo>
                    <a:pt x="167" y="8"/>
                    <a:pt x="168" y="7"/>
                    <a:pt x="169" y="7"/>
                  </a:cubicBezTo>
                  <a:cubicBezTo>
                    <a:pt x="170" y="6"/>
                    <a:pt x="171" y="5"/>
                    <a:pt x="172" y="5"/>
                  </a:cubicBezTo>
                  <a:cubicBezTo>
                    <a:pt x="170" y="6"/>
                    <a:pt x="168" y="7"/>
                    <a:pt x="166" y="8"/>
                  </a:cubicBezTo>
                  <a:close/>
                  <a:moveTo>
                    <a:pt x="166" y="7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7"/>
                    <a:pt x="166" y="7"/>
                    <a:pt x="166" y="7"/>
                  </a:cubicBezTo>
                  <a:close/>
                  <a:moveTo>
                    <a:pt x="168" y="9"/>
                  </a:moveTo>
                  <a:cubicBezTo>
                    <a:pt x="168" y="9"/>
                    <a:pt x="169" y="8"/>
                    <a:pt x="168" y="9"/>
                  </a:cubicBezTo>
                  <a:cubicBezTo>
                    <a:pt x="169" y="8"/>
                    <a:pt x="168" y="8"/>
                    <a:pt x="169" y="8"/>
                  </a:cubicBezTo>
                  <a:cubicBezTo>
                    <a:pt x="169" y="8"/>
                    <a:pt x="169" y="9"/>
                    <a:pt x="168" y="9"/>
                  </a:cubicBezTo>
                  <a:close/>
                  <a:moveTo>
                    <a:pt x="167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6"/>
                    <a:pt x="167" y="6"/>
                    <a:pt x="167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7"/>
                    <a:pt x="167" y="7"/>
                  </a:cubicBezTo>
                  <a:cubicBezTo>
                    <a:pt x="168" y="6"/>
                    <a:pt x="168" y="6"/>
                    <a:pt x="168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6"/>
                    <a:pt x="169" y="5"/>
                  </a:cubicBezTo>
                  <a:cubicBezTo>
                    <a:pt x="169" y="5"/>
                    <a:pt x="169" y="5"/>
                    <a:pt x="168" y="6"/>
                  </a:cubicBezTo>
                  <a:cubicBezTo>
                    <a:pt x="169" y="6"/>
                    <a:pt x="168" y="6"/>
                    <a:pt x="168" y="6"/>
                  </a:cubicBezTo>
                  <a:close/>
                  <a:moveTo>
                    <a:pt x="170" y="8"/>
                  </a:moveTo>
                  <a:cubicBezTo>
                    <a:pt x="170" y="8"/>
                    <a:pt x="169" y="8"/>
                    <a:pt x="169" y="8"/>
                  </a:cubicBezTo>
                  <a:cubicBezTo>
                    <a:pt x="169" y="8"/>
                    <a:pt x="170" y="8"/>
                    <a:pt x="170" y="8"/>
                  </a:cubicBezTo>
                  <a:close/>
                  <a:moveTo>
                    <a:pt x="173" y="11"/>
                  </a:moveTo>
                  <a:cubicBezTo>
                    <a:pt x="173" y="11"/>
                    <a:pt x="173" y="11"/>
                    <a:pt x="174" y="11"/>
                  </a:cubicBezTo>
                  <a:cubicBezTo>
                    <a:pt x="174" y="11"/>
                    <a:pt x="173" y="11"/>
                    <a:pt x="173" y="11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6"/>
                    <a:pt x="173" y="6"/>
                    <a:pt x="173" y="6"/>
                  </a:cubicBezTo>
                  <a:cubicBezTo>
                    <a:pt x="173" y="6"/>
                    <a:pt x="172" y="6"/>
                    <a:pt x="172" y="7"/>
                  </a:cubicBezTo>
                  <a:close/>
                  <a:moveTo>
                    <a:pt x="173" y="6"/>
                  </a:moveTo>
                  <a:cubicBezTo>
                    <a:pt x="173" y="6"/>
                    <a:pt x="173" y="6"/>
                    <a:pt x="173" y="6"/>
                  </a:cubicBezTo>
                  <a:cubicBezTo>
                    <a:pt x="173" y="6"/>
                    <a:pt x="173" y="6"/>
                    <a:pt x="174" y="6"/>
                  </a:cubicBezTo>
                  <a:cubicBezTo>
                    <a:pt x="173" y="6"/>
                    <a:pt x="173" y="6"/>
                    <a:pt x="173" y="6"/>
                  </a:cubicBezTo>
                  <a:close/>
                  <a:moveTo>
                    <a:pt x="172" y="3"/>
                  </a:moveTo>
                  <a:cubicBezTo>
                    <a:pt x="172" y="3"/>
                    <a:pt x="172" y="4"/>
                    <a:pt x="172" y="4"/>
                  </a:cubicBezTo>
                  <a:cubicBezTo>
                    <a:pt x="172" y="4"/>
                    <a:pt x="172" y="3"/>
                    <a:pt x="172" y="3"/>
                  </a:cubicBezTo>
                  <a:close/>
                  <a:moveTo>
                    <a:pt x="177" y="9"/>
                  </a:moveTo>
                  <a:cubicBezTo>
                    <a:pt x="177" y="10"/>
                    <a:pt x="176" y="10"/>
                    <a:pt x="176" y="10"/>
                  </a:cubicBezTo>
                  <a:cubicBezTo>
                    <a:pt x="176" y="10"/>
                    <a:pt x="176" y="10"/>
                    <a:pt x="177" y="9"/>
                  </a:cubicBezTo>
                  <a:close/>
                  <a:moveTo>
                    <a:pt x="173" y="5"/>
                  </a:move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6"/>
                  </a:cubicBezTo>
                  <a:cubicBezTo>
                    <a:pt x="173" y="5"/>
                    <a:pt x="174" y="5"/>
                    <a:pt x="173" y="5"/>
                  </a:cubicBezTo>
                  <a:close/>
                  <a:moveTo>
                    <a:pt x="173" y="3"/>
                  </a:moveTo>
                  <a:cubicBezTo>
                    <a:pt x="173" y="3"/>
                    <a:pt x="173" y="3"/>
                    <a:pt x="174" y="2"/>
                  </a:cubicBezTo>
                  <a:cubicBezTo>
                    <a:pt x="173" y="3"/>
                    <a:pt x="173" y="3"/>
                    <a:pt x="173" y="3"/>
                  </a:cubicBezTo>
                  <a:close/>
                  <a:moveTo>
                    <a:pt x="173" y="4"/>
                  </a:moveTo>
                  <a:cubicBezTo>
                    <a:pt x="173" y="4"/>
                    <a:pt x="174" y="4"/>
                    <a:pt x="174" y="4"/>
                  </a:cubicBezTo>
                  <a:cubicBezTo>
                    <a:pt x="174" y="4"/>
                    <a:pt x="174" y="4"/>
                    <a:pt x="173" y="4"/>
                  </a:cubicBezTo>
                  <a:close/>
                  <a:moveTo>
                    <a:pt x="176" y="9"/>
                  </a:moveTo>
                  <a:cubicBezTo>
                    <a:pt x="177" y="9"/>
                    <a:pt x="177" y="9"/>
                    <a:pt x="178" y="9"/>
                  </a:cubicBezTo>
                  <a:cubicBezTo>
                    <a:pt x="177" y="9"/>
                    <a:pt x="177" y="9"/>
                    <a:pt x="176" y="9"/>
                  </a:cubicBezTo>
                  <a:close/>
                  <a:moveTo>
                    <a:pt x="176" y="6"/>
                  </a:moveTo>
                  <a:cubicBezTo>
                    <a:pt x="176" y="7"/>
                    <a:pt x="176" y="7"/>
                    <a:pt x="175" y="7"/>
                  </a:cubicBezTo>
                  <a:cubicBezTo>
                    <a:pt x="175" y="7"/>
                    <a:pt x="176" y="7"/>
                    <a:pt x="176" y="6"/>
                  </a:cubicBezTo>
                  <a:close/>
                  <a:moveTo>
                    <a:pt x="175" y="5"/>
                  </a:moveTo>
                  <a:cubicBezTo>
                    <a:pt x="175" y="5"/>
                    <a:pt x="175" y="5"/>
                    <a:pt x="176" y="4"/>
                  </a:cubicBezTo>
                  <a:cubicBezTo>
                    <a:pt x="176" y="5"/>
                    <a:pt x="175" y="5"/>
                    <a:pt x="175" y="5"/>
                  </a:cubicBezTo>
                  <a:close/>
                  <a:moveTo>
                    <a:pt x="175" y="2"/>
                  </a:moveTo>
                  <a:cubicBezTo>
                    <a:pt x="175" y="2"/>
                    <a:pt x="174" y="2"/>
                    <a:pt x="174" y="2"/>
                  </a:cubicBezTo>
                  <a:cubicBezTo>
                    <a:pt x="174" y="2"/>
                    <a:pt x="174" y="2"/>
                    <a:pt x="175" y="2"/>
                  </a:cubicBezTo>
                  <a:close/>
                  <a:moveTo>
                    <a:pt x="177" y="6"/>
                  </a:moveTo>
                  <a:cubicBezTo>
                    <a:pt x="177" y="6"/>
                    <a:pt x="177" y="6"/>
                    <a:pt x="176" y="6"/>
                  </a:cubicBezTo>
                  <a:cubicBezTo>
                    <a:pt x="177" y="6"/>
                    <a:pt x="177" y="6"/>
                    <a:pt x="177" y="6"/>
                  </a:cubicBezTo>
                  <a:close/>
                  <a:moveTo>
                    <a:pt x="178" y="9"/>
                  </a:moveTo>
                  <a:cubicBezTo>
                    <a:pt x="178" y="9"/>
                    <a:pt x="178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lose/>
                  <a:moveTo>
                    <a:pt x="176" y="1"/>
                  </a:moveTo>
                  <a:cubicBezTo>
                    <a:pt x="176" y="1"/>
                    <a:pt x="176" y="1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5" y="2"/>
                    <a:pt x="176" y="1"/>
                    <a:pt x="176" y="1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9"/>
                  </a:cubicBezTo>
                  <a:cubicBezTo>
                    <a:pt x="180" y="9"/>
                    <a:pt x="179" y="9"/>
                    <a:pt x="179" y="9"/>
                  </a:cubicBezTo>
                  <a:cubicBezTo>
                    <a:pt x="179" y="9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81" y="8"/>
                  </a:move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0" y="8"/>
                    <a:pt x="180" y="8"/>
                  </a:cubicBezTo>
                  <a:cubicBezTo>
                    <a:pt x="180" y="8"/>
                    <a:pt x="181" y="8"/>
                    <a:pt x="181" y="8"/>
                  </a:cubicBezTo>
                  <a:close/>
                  <a:moveTo>
                    <a:pt x="180" y="4"/>
                  </a:moveTo>
                  <a:cubicBezTo>
                    <a:pt x="180" y="4"/>
                    <a:pt x="180" y="4"/>
                    <a:pt x="180" y="5"/>
                  </a:cubicBezTo>
                  <a:cubicBezTo>
                    <a:pt x="180" y="5"/>
                    <a:pt x="180" y="4"/>
                    <a:pt x="180" y="4"/>
                  </a:cubicBezTo>
                  <a:cubicBezTo>
                    <a:pt x="180" y="4"/>
                    <a:pt x="180" y="4"/>
                    <a:pt x="180" y="4"/>
                  </a:cubicBezTo>
                  <a:close/>
                  <a:moveTo>
                    <a:pt x="182" y="7"/>
                  </a:moveTo>
                  <a:cubicBezTo>
                    <a:pt x="182" y="7"/>
                    <a:pt x="182" y="7"/>
                    <a:pt x="182" y="7"/>
                  </a:cubicBezTo>
                  <a:cubicBezTo>
                    <a:pt x="182" y="7"/>
                    <a:pt x="182" y="7"/>
                    <a:pt x="182" y="7"/>
                  </a:cubicBezTo>
                  <a:close/>
                  <a:moveTo>
                    <a:pt x="179" y="1"/>
                  </a:moveTo>
                  <a:cubicBezTo>
                    <a:pt x="178" y="1"/>
                    <a:pt x="178" y="1"/>
                    <a:pt x="178" y="1"/>
                  </a:cubicBezTo>
                  <a:cubicBezTo>
                    <a:pt x="178" y="1"/>
                    <a:pt x="179" y="1"/>
                    <a:pt x="178" y="1"/>
                  </a:cubicBezTo>
                  <a:cubicBezTo>
                    <a:pt x="178" y="0"/>
                    <a:pt x="179" y="0"/>
                    <a:pt x="179" y="1"/>
                  </a:cubicBezTo>
                  <a:close/>
                  <a:moveTo>
                    <a:pt x="181" y="0"/>
                  </a:moveTo>
                  <a:cubicBezTo>
                    <a:pt x="181" y="1"/>
                    <a:pt x="180" y="1"/>
                    <a:pt x="180" y="1"/>
                  </a:cubicBezTo>
                  <a:cubicBezTo>
                    <a:pt x="180" y="1"/>
                    <a:pt x="181" y="0"/>
                    <a:pt x="181" y="0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16" y="88"/>
                  </a:moveTo>
                  <a:cubicBezTo>
                    <a:pt x="17" y="88"/>
                    <a:pt x="17" y="87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87"/>
                    <a:pt x="19" y="87"/>
                    <a:pt x="19" y="87"/>
                  </a:cubicBezTo>
                  <a:cubicBezTo>
                    <a:pt x="20" y="86"/>
                    <a:pt x="21" y="86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2" y="85"/>
                    <a:pt x="23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ubicBezTo>
                    <a:pt x="24" y="84"/>
                    <a:pt x="25" y="84"/>
                    <a:pt x="25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4"/>
                  </a:cubicBezTo>
                  <a:cubicBezTo>
                    <a:pt x="26" y="84"/>
                    <a:pt x="26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2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9" y="83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0"/>
                  </a:cubicBezTo>
                  <a:cubicBezTo>
                    <a:pt x="33" y="81"/>
                    <a:pt x="33" y="80"/>
                    <a:pt x="33" y="81"/>
                  </a:cubicBezTo>
                  <a:cubicBezTo>
                    <a:pt x="34" y="80"/>
                    <a:pt x="34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6" y="80"/>
                    <a:pt x="36" y="80"/>
                  </a:cubicBezTo>
                  <a:cubicBezTo>
                    <a:pt x="36" y="79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7" y="79"/>
                    <a:pt x="38" y="78"/>
                    <a:pt x="39" y="78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9" y="78"/>
                    <a:pt x="38" y="79"/>
                    <a:pt x="38" y="79"/>
                  </a:cubicBezTo>
                  <a:cubicBezTo>
                    <a:pt x="39" y="78"/>
                    <a:pt x="39" y="79"/>
                    <a:pt x="39" y="78"/>
                  </a:cubicBezTo>
                  <a:cubicBezTo>
                    <a:pt x="39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7"/>
                    <a:pt x="41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2" y="77"/>
                    <a:pt x="43" y="76"/>
                    <a:pt x="43" y="76"/>
                  </a:cubicBezTo>
                  <a:cubicBezTo>
                    <a:pt x="43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3" y="76"/>
                    <a:pt x="42" y="77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6" y="76"/>
                    <a:pt x="45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5" y="76"/>
                    <a:pt x="45" y="76"/>
                  </a:cubicBezTo>
                  <a:cubicBezTo>
                    <a:pt x="46" y="75"/>
                    <a:pt x="46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9" y="74"/>
                  </a:cubicBez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4"/>
                    <a:pt x="49" y="73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0" y="74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1" y="73"/>
                    <a:pt x="51" y="73"/>
                  </a:cubicBezTo>
                  <a:cubicBezTo>
                    <a:pt x="51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5" y="71"/>
                    <a:pt x="55" y="71"/>
                  </a:cubicBezTo>
                  <a:cubicBezTo>
                    <a:pt x="56" y="70"/>
                    <a:pt x="56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8" y="69"/>
                    <a:pt x="59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0" y="68"/>
                    <a:pt x="61" y="67"/>
                  </a:cubicBezTo>
                  <a:cubicBezTo>
                    <a:pt x="61" y="68"/>
                    <a:pt x="60" y="68"/>
                    <a:pt x="60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7" y="70"/>
                    <a:pt x="56" y="70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2"/>
                  </a:cubicBezTo>
                  <a:cubicBezTo>
                    <a:pt x="54" y="72"/>
                    <a:pt x="54" y="71"/>
                    <a:pt x="54" y="71"/>
                  </a:cubicBezTo>
                  <a:cubicBezTo>
                    <a:pt x="54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2" y="72"/>
                    <a:pt x="52" y="72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2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5" y="72"/>
                    <a:pt x="56" y="72"/>
                  </a:cubicBezTo>
                  <a:cubicBezTo>
                    <a:pt x="56" y="72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4"/>
                    <a:pt x="52" y="74"/>
                    <a:pt x="51" y="74"/>
                  </a:cubicBezTo>
                  <a:cubicBezTo>
                    <a:pt x="51" y="74"/>
                    <a:pt x="51" y="74"/>
                    <a:pt x="5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50" y="74"/>
                    <a:pt x="51" y="74"/>
                  </a:cubicBezTo>
                  <a:cubicBezTo>
                    <a:pt x="51" y="74"/>
                    <a:pt x="52" y="74"/>
                    <a:pt x="52" y="73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49" y="74"/>
                    <a:pt x="49" y="7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6"/>
                    <a:pt x="48" y="76"/>
                    <a:pt x="48" y="75"/>
                  </a:cubicBezTo>
                  <a:cubicBezTo>
                    <a:pt x="46" y="76"/>
                    <a:pt x="46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6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8"/>
                  </a:cubicBezTo>
                  <a:cubicBezTo>
                    <a:pt x="43" y="77"/>
                    <a:pt x="44" y="77"/>
                    <a:pt x="44" y="77"/>
                  </a:cubicBezTo>
                  <a:cubicBezTo>
                    <a:pt x="44" y="77"/>
                    <a:pt x="43" y="78"/>
                    <a:pt x="43" y="77"/>
                  </a:cubicBezTo>
                  <a:cubicBezTo>
                    <a:pt x="43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9"/>
                    <a:pt x="42" y="78"/>
                    <a:pt x="42" y="79"/>
                  </a:cubicBezTo>
                  <a:cubicBezTo>
                    <a:pt x="42" y="79"/>
                    <a:pt x="42" y="78"/>
                    <a:pt x="42" y="78"/>
                  </a:cubicBezTo>
                  <a:cubicBezTo>
                    <a:pt x="42" y="78"/>
                    <a:pt x="41" y="79"/>
                    <a:pt x="42" y="79"/>
                  </a:cubicBezTo>
                  <a:cubicBezTo>
                    <a:pt x="42" y="79"/>
                    <a:pt x="41" y="79"/>
                    <a:pt x="41" y="79"/>
                  </a:cubicBezTo>
                  <a:cubicBezTo>
                    <a:pt x="41" y="79"/>
                    <a:pt x="40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39" y="79"/>
                    <a:pt x="39" y="80"/>
                  </a:cubicBezTo>
                  <a:cubicBezTo>
                    <a:pt x="39" y="79"/>
                    <a:pt x="38" y="80"/>
                    <a:pt x="38" y="80"/>
                  </a:cubicBezTo>
                  <a:cubicBezTo>
                    <a:pt x="38" y="81"/>
                    <a:pt x="37" y="81"/>
                    <a:pt x="36" y="81"/>
                  </a:cubicBezTo>
                  <a:cubicBezTo>
                    <a:pt x="36" y="81"/>
                    <a:pt x="36" y="81"/>
                    <a:pt x="36" y="82"/>
                  </a:cubicBezTo>
                  <a:cubicBezTo>
                    <a:pt x="36" y="82"/>
                    <a:pt x="36" y="81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8" y="81"/>
                    <a:pt x="37" y="81"/>
                  </a:cubicBezTo>
                  <a:cubicBezTo>
                    <a:pt x="38" y="81"/>
                    <a:pt x="39" y="80"/>
                    <a:pt x="39" y="80"/>
                  </a:cubicBezTo>
                  <a:cubicBezTo>
                    <a:pt x="39" y="80"/>
                    <a:pt x="40" y="80"/>
                    <a:pt x="40" y="79"/>
                  </a:cubicBezTo>
                  <a:cubicBezTo>
                    <a:pt x="40" y="79"/>
                    <a:pt x="40" y="79"/>
                    <a:pt x="41" y="79"/>
                  </a:cubicBezTo>
                  <a:cubicBezTo>
                    <a:pt x="41" y="79"/>
                    <a:pt x="41" y="79"/>
                    <a:pt x="40" y="80"/>
                  </a:cubicBezTo>
                  <a:cubicBezTo>
                    <a:pt x="40" y="80"/>
                    <a:pt x="41" y="79"/>
                    <a:pt x="41" y="80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3" y="79"/>
                    <a:pt x="43" y="79"/>
                  </a:cubicBezTo>
                  <a:cubicBezTo>
                    <a:pt x="43" y="78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7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5" y="79"/>
                    <a:pt x="45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7"/>
                    <a:pt x="48" y="77"/>
                  </a:cubicBezTo>
                  <a:cubicBezTo>
                    <a:pt x="48" y="78"/>
                    <a:pt x="49" y="78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8"/>
                  </a:cubicBezTo>
                  <a:cubicBezTo>
                    <a:pt x="49" y="77"/>
                    <a:pt x="48" y="78"/>
                    <a:pt x="48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50" y="77"/>
                    <a:pt x="50" y="76"/>
                  </a:cubicBezTo>
                  <a:cubicBezTo>
                    <a:pt x="50" y="76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49" y="77"/>
                  </a:cubicBezTo>
                  <a:cubicBezTo>
                    <a:pt x="50" y="78"/>
                    <a:pt x="50" y="77"/>
                    <a:pt x="50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1" y="76"/>
                    <a:pt x="50" y="77"/>
                    <a:pt x="50" y="77"/>
                  </a:cubicBezTo>
                  <a:cubicBezTo>
                    <a:pt x="50" y="77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0" y="75"/>
                    <a:pt x="50" y="75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1" y="75"/>
                    <a:pt x="51" y="76"/>
                  </a:cubicBezTo>
                  <a:cubicBezTo>
                    <a:pt x="51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5" y="73"/>
                  </a:cubicBezTo>
                  <a:cubicBezTo>
                    <a:pt x="56" y="73"/>
                    <a:pt x="56" y="73"/>
                    <a:pt x="56" y="72"/>
                  </a:cubicBezTo>
                  <a:cubicBezTo>
                    <a:pt x="56" y="72"/>
                    <a:pt x="56" y="73"/>
                    <a:pt x="56" y="73"/>
                  </a:cubicBezTo>
                  <a:cubicBezTo>
                    <a:pt x="56" y="73"/>
                    <a:pt x="56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8" y="72"/>
                    <a:pt x="57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6" y="73"/>
                    <a:pt x="57" y="73"/>
                    <a:pt x="57" y="73"/>
                  </a:cubicBezTo>
                  <a:cubicBezTo>
                    <a:pt x="56" y="73"/>
                    <a:pt x="57" y="73"/>
                    <a:pt x="56" y="73"/>
                  </a:cubicBezTo>
                  <a:cubicBezTo>
                    <a:pt x="56" y="73"/>
                    <a:pt x="56" y="74"/>
                    <a:pt x="56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3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5"/>
                    <a:pt x="54" y="74"/>
                    <a:pt x="54" y="74"/>
                  </a:cubicBezTo>
                  <a:cubicBezTo>
                    <a:pt x="54" y="74"/>
                    <a:pt x="53" y="75"/>
                    <a:pt x="53" y="75"/>
                  </a:cubicBezTo>
                  <a:cubicBezTo>
                    <a:pt x="54" y="75"/>
                    <a:pt x="54" y="74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5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3" y="76"/>
                    <a:pt x="53" y="75"/>
                  </a:cubicBezTo>
                  <a:cubicBezTo>
                    <a:pt x="53" y="75"/>
                    <a:pt x="52" y="76"/>
                    <a:pt x="52" y="76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5"/>
                  </a:cubicBezTo>
                  <a:cubicBezTo>
                    <a:pt x="53" y="75"/>
                    <a:pt x="53" y="75"/>
                    <a:pt x="53" y="76"/>
                  </a:cubicBezTo>
                  <a:cubicBezTo>
                    <a:pt x="53" y="76"/>
                    <a:pt x="54" y="75"/>
                    <a:pt x="53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9"/>
                    <a:pt x="49" y="78"/>
                  </a:cubicBezTo>
                  <a:cubicBezTo>
                    <a:pt x="49" y="78"/>
                    <a:pt x="48" y="78"/>
                    <a:pt x="48" y="79"/>
                  </a:cubicBezTo>
                  <a:cubicBezTo>
                    <a:pt x="48" y="78"/>
                    <a:pt x="48" y="78"/>
                    <a:pt x="48" y="79"/>
                  </a:cubicBezTo>
                  <a:cubicBezTo>
                    <a:pt x="48" y="79"/>
                    <a:pt x="48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7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5" y="80"/>
                    <a:pt x="45" y="81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1"/>
                    <a:pt x="45" y="81"/>
                    <a:pt x="44" y="81"/>
                  </a:cubicBezTo>
                  <a:cubicBezTo>
                    <a:pt x="45" y="81"/>
                    <a:pt x="44" y="81"/>
                    <a:pt x="44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5" y="81"/>
                    <a:pt x="44" y="80"/>
                  </a:cubicBezTo>
                  <a:cubicBezTo>
                    <a:pt x="44" y="80"/>
                    <a:pt x="44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4" y="81"/>
                    <a:pt x="44" y="81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1"/>
                    <a:pt x="43" y="81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3" y="82"/>
                  </a:cubicBezTo>
                  <a:cubicBezTo>
                    <a:pt x="43" y="82"/>
                    <a:pt x="43" y="81"/>
                    <a:pt x="43" y="81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2"/>
                    <a:pt x="42" y="82"/>
                  </a:cubicBezTo>
                  <a:cubicBezTo>
                    <a:pt x="43" y="82"/>
                    <a:pt x="43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3" y="82"/>
                    <a:pt x="43" y="82"/>
                  </a:cubicBezTo>
                  <a:cubicBezTo>
                    <a:pt x="42" y="82"/>
                    <a:pt x="42" y="82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1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4"/>
                    <a:pt x="42" y="84"/>
                  </a:cubicBezTo>
                  <a:cubicBezTo>
                    <a:pt x="42" y="84"/>
                    <a:pt x="41" y="83"/>
                    <a:pt x="42" y="83"/>
                  </a:cubicBezTo>
                  <a:cubicBezTo>
                    <a:pt x="42" y="83"/>
                    <a:pt x="41" y="83"/>
                    <a:pt x="41" y="83"/>
                  </a:cubicBezTo>
                  <a:cubicBezTo>
                    <a:pt x="41" y="83"/>
                    <a:pt x="41" y="84"/>
                    <a:pt x="41" y="84"/>
                  </a:cubicBezTo>
                  <a:cubicBezTo>
                    <a:pt x="41" y="84"/>
                    <a:pt x="42" y="84"/>
                    <a:pt x="43" y="83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2" y="84"/>
                    <a:pt x="42" y="84"/>
                    <a:pt x="41" y="84"/>
                  </a:cubicBezTo>
                  <a:cubicBezTo>
                    <a:pt x="41" y="84"/>
                    <a:pt x="41" y="84"/>
                    <a:pt x="42" y="84"/>
                  </a:cubicBezTo>
                  <a:cubicBezTo>
                    <a:pt x="42" y="84"/>
                    <a:pt x="41" y="84"/>
                    <a:pt x="41" y="85"/>
                  </a:cubicBezTo>
                  <a:cubicBezTo>
                    <a:pt x="41" y="85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4"/>
                  </a:cubicBezTo>
                  <a:cubicBezTo>
                    <a:pt x="41" y="84"/>
                    <a:pt x="41" y="83"/>
                    <a:pt x="41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1" y="84"/>
                    <a:pt x="41" y="84"/>
                  </a:cubicBezTo>
                  <a:cubicBezTo>
                    <a:pt x="40" y="84"/>
                    <a:pt x="41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39" y="85"/>
                  </a:cubicBezTo>
                  <a:cubicBezTo>
                    <a:pt x="39" y="85"/>
                    <a:pt x="40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4"/>
                    <a:pt x="39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39" y="84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40" y="85"/>
                  </a:cubicBezTo>
                  <a:cubicBezTo>
                    <a:pt x="40" y="85"/>
                    <a:pt x="39" y="85"/>
                    <a:pt x="40" y="85"/>
                  </a:cubicBezTo>
                  <a:cubicBezTo>
                    <a:pt x="40" y="85"/>
                    <a:pt x="40" y="84"/>
                    <a:pt x="40" y="84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1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6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2" y="85"/>
                    <a:pt x="41" y="85"/>
                    <a:pt x="41" y="85"/>
                  </a:cubicBezTo>
                  <a:cubicBezTo>
                    <a:pt x="42" y="85"/>
                    <a:pt x="42" y="85"/>
                    <a:pt x="42" y="84"/>
                  </a:cubicBezTo>
                  <a:cubicBezTo>
                    <a:pt x="42" y="84"/>
                    <a:pt x="42" y="85"/>
                    <a:pt x="41" y="85"/>
                  </a:cubicBezTo>
                  <a:cubicBezTo>
                    <a:pt x="41" y="85"/>
                    <a:pt x="41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3" y="84"/>
                    <a:pt x="43" y="83"/>
                    <a:pt x="43" y="84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5" y="83"/>
                    <a:pt x="45" y="83"/>
                  </a:cubicBezTo>
                  <a:cubicBezTo>
                    <a:pt x="45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2"/>
                    <a:pt x="45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2"/>
                    <a:pt x="47" y="81"/>
                  </a:cubicBezTo>
                  <a:cubicBezTo>
                    <a:pt x="47" y="81"/>
                    <a:pt x="47" y="81"/>
                    <a:pt x="47" y="82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8" y="81"/>
                    <a:pt x="47" y="81"/>
                    <a:pt x="48" y="81"/>
                  </a:cubicBezTo>
                  <a:cubicBezTo>
                    <a:pt x="48" y="81"/>
                    <a:pt x="47" y="81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9" y="81"/>
                    <a:pt x="49" y="81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0" y="81"/>
                    <a:pt x="50" y="80"/>
                    <a:pt x="50" y="80"/>
                  </a:cubicBezTo>
                  <a:cubicBezTo>
                    <a:pt x="50" y="80"/>
                    <a:pt x="51" y="80"/>
                    <a:pt x="50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79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ubicBezTo>
                    <a:pt x="50" y="80"/>
                    <a:pt x="48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3"/>
                    <a:pt x="45" y="83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3" y="85"/>
                  </a:cubicBezTo>
                  <a:cubicBezTo>
                    <a:pt x="43" y="84"/>
                    <a:pt x="44" y="84"/>
                    <a:pt x="43" y="84"/>
                  </a:cubicBezTo>
                  <a:cubicBezTo>
                    <a:pt x="43" y="85"/>
                    <a:pt x="43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2" y="86"/>
                    <a:pt x="43" y="86"/>
                    <a:pt x="43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5" y="85"/>
                  </a:cubicBezTo>
                  <a:cubicBezTo>
                    <a:pt x="44" y="86"/>
                    <a:pt x="44" y="86"/>
                    <a:pt x="43" y="86"/>
                  </a:cubicBezTo>
                  <a:cubicBezTo>
                    <a:pt x="44" y="86"/>
                    <a:pt x="43" y="86"/>
                    <a:pt x="43" y="87"/>
                  </a:cubicBezTo>
                  <a:cubicBezTo>
                    <a:pt x="43" y="87"/>
                    <a:pt x="43" y="86"/>
                    <a:pt x="43" y="86"/>
                  </a:cubicBezTo>
                  <a:cubicBezTo>
                    <a:pt x="43" y="86"/>
                    <a:pt x="43" y="86"/>
                    <a:pt x="42" y="86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2" y="87"/>
                    <a:pt x="42" y="87"/>
                  </a:cubicBezTo>
                  <a:cubicBezTo>
                    <a:pt x="41" y="88"/>
                    <a:pt x="41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2" y="87"/>
                  </a:cubicBezTo>
                  <a:cubicBezTo>
                    <a:pt x="42" y="87"/>
                    <a:pt x="43" y="87"/>
                    <a:pt x="43" y="87"/>
                  </a:cubicBezTo>
                  <a:cubicBezTo>
                    <a:pt x="43" y="87"/>
                    <a:pt x="43" y="87"/>
                    <a:pt x="44" y="86"/>
                  </a:cubicBezTo>
                  <a:cubicBezTo>
                    <a:pt x="44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8"/>
                    <a:pt x="42" y="87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1" y="88"/>
                    <a:pt x="42" y="88"/>
                    <a:pt x="42" y="88"/>
                  </a:cubicBezTo>
                  <a:cubicBezTo>
                    <a:pt x="42" y="88"/>
                    <a:pt x="41" y="89"/>
                    <a:pt x="42" y="88"/>
                  </a:cubicBezTo>
                  <a:cubicBezTo>
                    <a:pt x="42" y="89"/>
                    <a:pt x="42" y="89"/>
                    <a:pt x="41" y="89"/>
                  </a:cubicBezTo>
                  <a:cubicBezTo>
                    <a:pt x="41" y="89"/>
                    <a:pt x="41" y="88"/>
                    <a:pt x="41" y="88"/>
                  </a:cubicBezTo>
                  <a:cubicBezTo>
                    <a:pt x="41" y="88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0" y="89"/>
                  </a:cubicBezTo>
                  <a:cubicBezTo>
                    <a:pt x="40" y="89"/>
                    <a:pt x="41" y="89"/>
                    <a:pt x="41" y="89"/>
                  </a:cubicBezTo>
                  <a:cubicBezTo>
                    <a:pt x="41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90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1"/>
                  </a:cubicBezTo>
                  <a:cubicBezTo>
                    <a:pt x="38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1"/>
                  </a:cubicBezTo>
                  <a:cubicBezTo>
                    <a:pt x="38" y="91"/>
                    <a:pt x="38" y="90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7" y="91"/>
                    <a:pt x="37" y="91"/>
                  </a:cubicBezTo>
                  <a:cubicBezTo>
                    <a:pt x="37" y="91"/>
                    <a:pt x="37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5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6" y="93"/>
                    <a:pt x="35" y="93"/>
                    <a:pt x="35" y="93"/>
                  </a:cubicBezTo>
                  <a:cubicBezTo>
                    <a:pt x="35" y="93"/>
                    <a:pt x="36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6" y="93"/>
                    <a:pt x="35" y="94"/>
                    <a:pt x="35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7" y="93"/>
                    <a:pt x="37" y="93"/>
                    <a:pt x="37" y="92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6" y="94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5" y="94"/>
                    <a:pt x="35" y="95"/>
                  </a:cubicBezTo>
                  <a:cubicBezTo>
                    <a:pt x="35" y="95"/>
                    <a:pt x="35" y="94"/>
                    <a:pt x="35" y="95"/>
                  </a:cubicBezTo>
                  <a:cubicBezTo>
                    <a:pt x="34" y="95"/>
                    <a:pt x="35" y="95"/>
                    <a:pt x="35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2" y="96"/>
                    <a:pt x="32" y="96"/>
                    <a:pt x="32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2" y="97"/>
                    <a:pt x="3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2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29" y="99"/>
                    <a:pt x="28" y="99"/>
                  </a:cubicBezTo>
                  <a:cubicBezTo>
                    <a:pt x="28" y="99"/>
                    <a:pt x="28" y="99"/>
                    <a:pt x="27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0"/>
                    <a:pt x="28" y="99"/>
                    <a:pt x="28" y="99"/>
                  </a:cubicBezTo>
                  <a:cubicBezTo>
                    <a:pt x="28" y="100"/>
                    <a:pt x="27" y="100"/>
                    <a:pt x="27" y="100"/>
                  </a:cubicBezTo>
                  <a:cubicBezTo>
                    <a:pt x="27" y="99"/>
                    <a:pt x="27" y="100"/>
                    <a:pt x="26" y="100"/>
                  </a:cubicBezTo>
                  <a:cubicBezTo>
                    <a:pt x="26" y="100"/>
                    <a:pt x="27" y="100"/>
                    <a:pt x="27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5" y="100"/>
                    <a:pt x="25" y="100"/>
                    <a:pt x="25" y="100"/>
                  </a:cubicBezTo>
                  <a:cubicBezTo>
                    <a:pt x="24" y="100"/>
                    <a:pt x="24" y="100"/>
                    <a:pt x="23" y="101"/>
                  </a:cubicBezTo>
                  <a:cubicBezTo>
                    <a:pt x="23" y="100"/>
                    <a:pt x="23" y="101"/>
                    <a:pt x="23" y="100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4" y="101"/>
                    <a:pt x="24" y="100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1"/>
                    <a:pt x="24" y="100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ubicBezTo>
                    <a:pt x="25" y="101"/>
                    <a:pt x="24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3" y="101"/>
                    <a:pt x="23" y="101"/>
                  </a:cubicBezTo>
                  <a:cubicBezTo>
                    <a:pt x="23" y="101"/>
                    <a:pt x="23" y="101"/>
                    <a:pt x="22" y="102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2" y="102"/>
                    <a:pt x="23" y="101"/>
                    <a:pt x="22" y="102"/>
                  </a:cubicBezTo>
                  <a:cubicBezTo>
                    <a:pt x="22" y="102"/>
                    <a:pt x="22" y="102"/>
                    <a:pt x="21" y="102"/>
                  </a:cubicBezTo>
                  <a:cubicBezTo>
                    <a:pt x="21" y="103"/>
                    <a:pt x="20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4"/>
                  </a:cubicBezTo>
                  <a:cubicBezTo>
                    <a:pt x="15" y="105"/>
                    <a:pt x="16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5" y="105"/>
                    <a:pt x="16" y="105"/>
                  </a:cubicBezTo>
                  <a:cubicBezTo>
                    <a:pt x="16" y="106"/>
                    <a:pt x="16" y="105"/>
                    <a:pt x="15" y="106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3" y="106"/>
                    <a:pt x="13" y="10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2" y="107"/>
                    <a:pt x="12" y="107"/>
                    <a:pt x="11" y="107"/>
                  </a:cubicBezTo>
                  <a:cubicBezTo>
                    <a:pt x="10" y="107"/>
                    <a:pt x="9" y="108"/>
                    <a:pt x="9" y="108"/>
                  </a:cubicBezTo>
                  <a:cubicBezTo>
                    <a:pt x="9" y="108"/>
                    <a:pt x="9" y="108"/>
                    <a:pt x="8" y="108"/>
                  </a:cubicBezTo>
                  <a:cubicBezTo>
                    <a:pt x="6" y="108"/>
                    <a:pt x="4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2" y="107"/>
                    <a:pt x="2" y="106"/>
                  </a:cubicBezTo>
                  <a:cubicBezTo>
                    <a:pt x="1" y="106"/>
                    <a:pt x="1" y="105"/>
                    <a:pt x="1" y="105"/>
                  </a:cubicBezTo>
                  <a:cubicBezTo>
                    <a:pt x="1" y="105"/>
                    <a:pt x="1" y="104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0" y="104"/>
                    <a:pt x="1" y="103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1"/>
                    <a:pt x="3" y="100"/>
                    <a:pt x="3" y="98"/>
                  </a:cubicBezTo>
                  <a:cubicBezTo>
                    <a:pt x="3" y="98"/>
                    <a:pt x="2" y="99"/>
                    <a:pt x="2" y="99"/>
                  </a:cubicBezTo>
                  <a:cubicBezTo>
                    <a:pt x="2" y="99"/>
                    <a:pt x="3" y="98"/>
                    <a:pt x="3" y="98"/>
                  </a:cubicBezTo>
                  <a:cubicBezTo>
                    <a:pt x="3" y="98"/>
                    <a:pt x="3" y="98"/>
                    <a:pt x="3" y="97"/>
                  </a:cubicBezTo>
                  <a:cubicBezTo>
                    <a:pt x="5" y="96"/>
                    <a:pt x="5" y="95"/>
                    <a:pt x="6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2"/>
                    <a:pt x="10" y="92"/>
                    <a:pt x="10" y="92"/>
                  </a:cubicBezTo>
                  <a:cubicBezTo>
                    <a:pt x="11" y="91"/>
                    <a:pt x="11" y="91"/>
                    <a:pt x="12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0"/>
                    <a:pt x="14" y="89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lose/>
                  <a:moveTo>
                    <a:pt x="32" y="96"/>
                  </a:move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2" y="96"/>
                    <a:pt x="32" y="96"/>
                  </a:cubicBezTo>
                  <a:close/>
                  <a:moveTo>
                    <a:pt x="32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96"/>
                    <a:pt x="32" y="96"/>
                    <a:pt x="32" y="96"/>
                  </a:cubicBezTo>
                  <a:close/>
                  <a:moveTo>
                    <a:pt x="36" y="93"/>
                  </a:move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3" y="95"/>
                  </a:moveTo>
                  <a:cubicBezTo>
                    <a:pt x="33" y="94"/>
                    <a:pt x="32" y="94"/>
                    <a:pt x="32" y="94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5"/>
                    <a:pt x="33" y="95"/>
                    <a:pt x="33" y="95"/>
                  </a:cubicBezTo>
                  <a:close/>
                  <a:moveTo>
                    <a:pt x="34" y="94"/>
                  </a:moveTo>
                  <a:cubicBezTo>
                    <a:pt x="33" y="94"/>
                    <a:pt x="34" y="94"/>
                    <a:pt x="34" y="94"/>
                  </a:cubicBezTo>
                  <a:cubicBezTo>
                    <a:pt x="34" y="94"/>
                    <a:pt x="33" y="94"/>
                    <a:pt x="33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lose/>
                  <a:moveTo>
                    <a:pt x="34" y="94"/>
                  </a:move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5" y="94"/>
                    <a:pt x="34" y="94"/>
                  </a:cubicBezTo>
                  <a:close/>
                  <a:moveTo>
                    <a:pt x="35" y="93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5" y="92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2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6" y="92"/>
                  </a:move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lose/>
                  <a:moveTo>
                    <a:pt x="37" y="91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lose/>
                  <a:moveTo>
                    <a:pt x="38" y="90"/>
                  </a:moveTo>
                  <a:cubicBezTo>
                    <a:pt x="38" y="90"/>
                    <a:pt x="37" y="90"/>
                    <a:pt x="37" y="90"/>
                  </a:cubicBezTo>
                  <a:cubicBezTo>
                    <a:pt x="37" y="90"/>
                    <a:pt x="37" y="91"/>
                    <a:pt x="38" y="90"/>
                  </a:cubicBezTo>
                  <a:cubicBezTo>
                    <a:pt x="37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39" y="89"/>
                    <a:pt x="39" y="89"/>
                  </a:cubicBezTo>
                  <a:close/>
                  <a:moveTo>
                    <a:pt x="38" y="89"/>
                  </a:moveTo>
                  <a:cubicBezTo>
                    <a:pt x="37" y="90"/>
                    <a:pt x="37" y="90"/>
                    <a:pt x="37" y="89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89"/>
                  </a:cubicBezTo>
                  <a:close/>
                  <a:moveTo>
                    <a:pt x="38" y="90"/>
                  </a:moveTo>
                  <a:cubicBezTo>
                    <a:pt x="37" y="90"/>
                    <a:pt x="38" y="90"/>
                    <a:pt x="38" y="89"/>
                  </a:cubicBezTo>
                  <a:cubicBezTo>
                    <a:pt x="38" y="89"/>
                    <a:pt x="37" y="90"/>
                    <a:pt x="37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9"/>
                    <a:pt x="39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40" y="88"/>
                  </a:moveTo>
                  <a:cubicBezTo>
                    <a:pt x="40" y="88"/>
                    <a:pt x="40" y="88"/>
                    <a:pt x="39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lose/>
                  <a:moveTo>
                    <a:pt x="42" y="85"/>
                  </a:moveTo>
                  <a:cubicBezTo>
                    <a:pt x="42" y="85"/>
                    <a:pt x="42" y="86"/>
                    <a:pt x="42" y="86"/>
                  </a:cubicBezTo>
                  <a:cubicBezTo>
                    <a:pt x="42" y="85"/>
                    <a:pt x="43" y="85"/>
                    <a:pt x="43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2" y="85"/>
                    <a:pt x="42" y="85"/>
                    <a:pt x="42" y="85"/>
                  </a:cubicBezTo>
                  <a:close/>
                  <a:moveTo>
                    <a:pt x="42" y="85"/>
                  </a:moveTo>
                  <a:cubicBezTo>
                    <a:pt x="41" y="86"/>
                    <a:pt x="42" y="86"/>
                    <a:pt x="41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5"/>
                    <a:pt x="42" y="85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4"/>
                    <a:pt x="45" y="83"/>
                  </a:cubicBezTo>
                  <a:cubicBezTo>
                    <a:pt x="44" y="83"/>
                    <a:pt x="44" y="84"/>
                    <a:pt x="44" y="83"/>
                  </a:cubicBezTo>
                  <a:close/>
                  <a:moveTo>
                    <a:pt x="45" y="83"/>
                  </a:moveTo>
                  <a:cubicBezTo>
                    <a:pt x="45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4" y="84"/>
                  </a:moveTo>
                  <a:cubicBezTo>
                    <a:pt x="43" y="84"/>
                    <a:pt x="43" y="83"/>
                    <a:pt x="43" y="84"/>
                  </a:cubicBezTo>
                  <a:cubicBezTo>
                    <a:pt x="43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3" y="84"/>
                    <a:pt x="43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39" y="87"/>
                  </a:moveTo>
                  <a:cubicBezTo>
                    <a:pt x="39" y="87"/>
                    <a:pt x="39" y="86"/>
                    <a:pt x="39" y="86"/>
                  </a:cubicBezTo>
                  <a:cubicBezTo>
                    <a:pt x="39" y="86"/>
                    <a:pt x="39" y="87"/>
                    <a:pt x="39" y="87"/>
                  </a:cubicBezTo>
                  <a:close/>
                  <a:moveTo>
                    <a:pt x="27" y="93"/>
                  </a:moveTo>
                  <a:cubicBezTo>
                    <a:pt x="27" y="93"/>
                    <a:pt x="28" y="92"/>
                    <a:pt x="28" y="92"/>
                  </a:cubicBezTo>
                  <a:cubicBezTo>
                    <a:pt x="27" y="92"/>
                    <a:pt x="27" y="93"/>
                    <a:pt x="27" y="93"/>
                  </a:cubicBezTo>
                  <a:close/>
                  <a:moveTo>
                    <a:pt x="37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8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37" y="86"/>
                  </a:moveTo>
                  <a:cubicBezTo>
                    <a:pt x="36" y="87"/>
                    <a:pt x="37" y="86"/>
                    <a:pt x="37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6" y="86"/>
                    <a:pt x="36" y="87"/>
                  </a:cubicBezTo>
                  <a:cubicBezTo>
                    <a:pt x="36" y="87"/>
                    <a:pt x="37" y="86"/>
                    <a:pt x="37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87"/>
                    <a:pt x="37" y="87"/>
                    <a:pt x="37" y="86"/>
                  </a:cubicBezTo>
                  <a:close/>
                  <a:moveTo>
                    <a:pt x="37" y="87"/>
                  </a:moveTo>
                  <a:cubicBezTo>
                    <a:pt x="38" y="87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7"/>
                  </a:cubicBezTo>
                  <a:close/>
                  <a:moveTo>
                    <a:pt x="38" y="86"/>
                  </a:move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5" y="88"/>
                  </a:moveTo>
                  <a:cubicBezTo>
                    <a:pt x="35" y="88"/>
                    <a:pt x="36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9" y="85"/>
                  </a:moveTo>
                  <a:cubicBezTo>
                    <a:pt x="39" y="85"/>
                    <a:pt x="39" y="85"/>
                    <a:pt x="39" y="86"/>
                  </a:cubicBezTo>
                  <a:cubicBezTo>
                    <a:pt x="39" y="85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5"/>
                  </a:cubicBezTo>
                  <a:cubicBezTo>
                    <a:pt x="39" y="86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lose/>
                  <a:moveTo>
                    <a:pt x="38" y="86"/>
                  </a:moveTo>
                  <a:cubicBezTo>
                    <a:pt x="38" y="86"/>
                    <a:pt x="39" y="85"/>
                    <a:pt x="39" y="85"/>
                  </a:cubicBezTo>
                  <a:cubicBezTo>
                    <a:pt x="38" y="85"/>
                    <a:pt x="38" y="85"/>
                    <a:pt x="38" y="86"/>
                  </a:cubicBezTo>
                  <a:close/>
                  <a:moveTo>
                    <a:pt x="38" y="86"/>
                  </a:move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8" y="85"/>
                  </a:moveTo>
                  <a:cubicBezTo>
                    <a:pt x="38" y="85"/>
                    <a:pt x="37" y="85"/>
                    <a:pt x="38" y="85"/>
                  </a:cubicBezTo>
                  <a:cubicBezTo>
                    <a:pt x="38" y="85"/>
                    <a:pt x="38" y="86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6"/>
                    <a:pt x="38" y="85"/>
                    <a:pt x="38" y="85"/>
                  </a:cubicBezTo>
                  <a:close/>
                  <a:moveTo>
                    <a:pt x="37" y="85"/>
                  </a:move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lose/>
                  <a:moveTo>
                    <a:pt x="35" y="86"/>
                  </a:moveTo>
                  <a:cubicBezTo>
                    <a:pt x="35" y="87"/>
                    <a:pt x="35" y="87"/>
                    <a:pt x="34" y="87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7"/>
                    <a:pt x="35" y="87"/>
                    <a:pt x="35" y="86"/>
                  </a:cubicBezTo>
                  <a:close/>
                  <a:moveTo>
                    <a:pt x="39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5"/>
                  </a:cubicBezTo>
                  <a:cubicBezTo>
                    <a:pt x="39" y="84"/>
                    <a:pt x="39" y="84"/>
                    <a:pt x="39" y="84"/>
                  </a:cubicBezTo>
                  <a:close/>
                  <a:moveTo>
                    <a:pt x="41" y="83"/>
                  </a:move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lose/>
                  <a:moveTo>
                    <a:pt x="42" y="82"/>
                  </a:moveTo>
                  <a:cubicBezTo>
                    <a:pt x="42" y="82"/>
                    <a:pt x="41" y="82"/>
                    <a:pt x="42" y="83"/>
                  </a:cubicBezTo>
                  <a:cubicBezTo>
                    <a:pt x="42" y="83"/>
                    <a:pt x="42" y="82"/>
                    <a:pt x="42" y="83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0" y="84"/>
                  </a:cubicBezTo>
                  <a:cubicBezTo>
                    <a:pt x="40" y="83"/>
                    <a:pt x="40" y="83"/>
                    <a:pt x="40" y="83"/>
                  </a:cubicBezTo>
                  <a:close/>
                  <a:moveTo>
                    <a:pt x="56" y="73"/>
                  </a:move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lose/>
                  <a:moveTo>
                    <a:pt x="53" y="74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4"/>
                  </a:cubicBezTo>
                  <a:close/>
                  <a:moveTo>
                    <a:pt x="51" y="77"/>
                  </a:move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41" y="83"/>
                    <a:pt x="41" y="82"/>
                    <a:pt x="41" y="82"/>
                  </a:cubicBezTo>
                  <a:cubicBezTo>
                    <a:pt x="41" y="82"/>
                    <a:pt x="41" y="83"/>
                    <a:pt x="41" y="83"/>
                  </a:cubicBezTo>
                  <a:cubicBezTo>
                    <a:pt x="41" y="82"/>
                    <a:pt x="41" y="82"/>
                    <a:pt x="40" y="83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4" y="80"/>
                    <a:pt x="45" y="80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7" y="78"/>
                  </a:moveTo>
                  <a:cubicBezTo>
                    <a:pt x="47" y="78"/>
                    <a:pt x="47" y="79"/>
                    <a:pt x="47" y="79"/>
                  </a:cubicBezTo>
                  <a:cubicBezTo>
                    <a:pt x="47" y="79"/>
                    <a:pt x="48" y="78"/>
                    <a:pt x="48" y="78"/>
                  </a:cubicBezTo>
                  <a:cubicBezTo>
                    <a:pt x="48" y="78"/>
                    <a:pt x="47" y="78"/>
                    <a:pt x="48" y="78"/>
                  </a:cubicBezTo>
                  <a:cubicBezTo>
                    <a:pt x="47" y="78"/>
                    <a:pt x="47" y="78"/>
                    <a:pt x="47" y="78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5" y="80"/>
                    <a:pt x="45" y="79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6" y="79"/>
                    <a:pt x="46" y="79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2" y="80"/>
                    <a:pt x="43" y="80"/>
                  </a:cubicBezTo>
                  <a:close/>
                  <a:moveTo>
                    <a:pt x="42" y="80"/>
                  </a:moveTo>
                  <a:cubicBezTo>
                    <a:pt x="42" y="80"/>
                    <a:pt x="42" y="80"/>
                    <a:pt x="41" y="80"/>
                  </a:cubicBezTo>
                  <a:cubicBezTo>
                    <a:pt x="41" y="81"/>
                    <a:pt x="42" y="80"/>
                    <a:pt x="42" y="80"/>
                  </a:cubicBezTo>
                  <a:close/>
                  <a:moveTo>
                    <a:pt x="43" y="79"/>
                  </a:moveTo>
                  <a:cubicBezTo>
                    <a:pt x="43" y="79"/>
                    <a:pt x="43" y="80"/>
                    <a:pt x="43" y="80"/>
                  </a:cubicBezTo>
                  <a:cubicBezTo>
                    <a:pt x="43" y="80"/>
                    <a:pt x="43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33" y="84"/>
                  </a:moveTo>
                  <a:cubicBezTo>
                    <a:pt x="34" y="84"/>
                    <a:pt x="33" y="83"/>
                    <a:pt x="33" y="83"/>
                  </a:cubicBezTo>
                  <a:cubicBezTo>
                    <a:pt x="33" y="83"/>
                    <a:pt x="33" y="84"/>
                    <a:pt x="33" y="84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7" y="82"/>
                    <a:pt x="37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7" y="81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lose/>
                  <a:moveTo>
                    <a:pt x="35" y="83"/>
                  </a:moveTo>
                  <a:cubicBezTo>
                    <a:pt x="35" y="83"/>
                    <a:pt x="35" y="83"/>
                    <a:pt x="35" y="83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5" y="83"/>
                    <a:pt x="35" y="83"/>
                  </a:cubicBezTo>
                  <a:close/>
                  <a:moveTo>
                    <a:pt x="35" y="83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6" y="82"/>
                  </a:moveTo>
                  <a:cubicBezTo>
                    <a:pt x="36" y="82"/>
                    <a:pt x="37" y="82"/>
                    <a:pt x="37" y="82"/>
                  </a:cubicBezTo>
                  <a:cubicBezTo>
                    <a:pt x="37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41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lose/>
                  <a:moveTo>
                    <a:pt x="43" y="79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3" y="79"/>
                  </a:cubicBezTo>
                  <a:close/>
                  <a:moveTo>
                    <a:pt x="43" y="79"/>
                  </a:moveTo>
                  <a:cubicBezTo>
                    <a:pt x="43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43" y="78"/>
                  </a:moveTo>
                  <a:cubicBezTo>
                    <a:pt x="43" y="78"/>
                    <a:pt x="43" y="78"/>
                    <a:pt x="43" y="78"/>
                  </a:cubicBezTo>
                  <a:cubicBezTo>
                    <a:pt x="44" y="78"/>
                    <a:pt x="43" y="78"/>
                    <a:pt x="43" y="78"/>
                  </a:cubicBezTo>
                  <a:close/>
                  <a:moveTo>
                    <a:pt x="37" y="82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38" y="81"/>
                  </a:moveTo>
                  <a:cubicBezTo>
                    <a:pt x="38" y="81"/>
                    <a:pt x="37" y="81"/>
                    <a:pt x="37" y="82"/>
                  </a:cubicBezTo>
                  <a:cubicBezTo>
                    <a:pt x="38" y="81"/>
                    <a:pt x="38" y="81"/>
                    <a:pt x="38" y="81"/>
                  </a:cubicBezTo>
                  <a:close/>
                  <a:moveTo>
                    <a:pt x="40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ubicBezTo>
                    <a:pt x="40" y="80"/>
                    <a:pt x="40" y="80"/>
                    <a:pt x="40" y="80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32" y="84"/>
                  </a:moveTo>
                  <a:cubicBezTo>
                    <a:pt x="32" y="84"/>
                    <a:pt x="32" y="84"/>
                    <a:pt x="32" y="84"/>
                  </a:cubicBezTo>
                  <a:cubicBezTo>
                    <a:pt x="33" y="84"/>
                    <a:pt x="33" y="84"/>
                    <a:pt x="33" y="84"/>
                  </a:cubicBezTo>
                  <a:lnTo>
                    <a:pt x="32" y="84"/>
                  </a:lnTo>
                  <a:close/>
                  <a:moveTo>
                    <a:pt x="34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lnTo>
                    <a:pt x="34" y="83"/>
                  </a:lnTo>
                  <a:close/>
                  <a:moveTo>
                    <a:pt x="35" y="82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53" y="73"/>
                  </a:moveTo>
                  <a:cubicBezTo>
                    <a:pt x="53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4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47" y="75"/>
                  </a:moveTo>
                  <a:cubicBezTo>
                    <a:pt x="47" y="75"/>
                    <a:pt x="48" y="75"/>
                    <a:pt x="48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49" y="74"/>
                  </a:moveTo>
                  <a:cubicBezTo>
                    <a:pt x="48" y="74"/>
                    <a:pt x="48" y="75"/>
                    <a:pt x="48" y="75"/>
                  </a:cubicBezTo>
                  <a:cubicBezTo>
                    <a:pt x="48" y="75"/>
                    <a:pt x="49" y="74"/>
                    <a:pt x="49" y="74"/>
                  </a:cubicBezTo>
                  <a:close/>
                  <a:moveTo>
                    <a:pt x="48" y="74"/>
                  </a:move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5"/>
                    <a:pt x="47" y="74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6" y="75"/>
                    <a:pt x="47" y="75"/>
                  </a:cubicBezTo>
                  <a:cubicBezTo>
                    <a:pt x="47" y="75"/>
                    <a:pt x="48" y="74"/>
                    <a:pt x="47" y="75"/>
                  </a:cubicBezTo>
                  <a:cubicBezTo>
                    <a:pt x="48" y="75"/>
                    <a:pt x="47" y="75"/>
                    <a:pt x="48" y="74"/>
                  </a:cubicBezTo>
                  <a:close/>
                  <a:moveTo>
                    <a:pt x="47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7" y="80"/>
                    <a:pt x="38" y="80"/>
                    <a:pt x="38" y="80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40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80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40" y="79"/>
                  </a:moveTo>
                  <a:cubicBezTo>
                    <a:pt x="41" y="79"/>
                    <a:pt x="41" y="78"/>
                    <a:pt x="41" y="78"/>
                  </a:cubicBezTo>
                  <a:cubicBezTo>
                    <a:pt x="41" y="78"/>
                    <a:pt x="40" y="79"/>
                    <a:pt x="40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79"/>
                    <a:pt x="38" y="79"/>
                  </a:cubicBezTo>
                  <a:cubicBezTo>
                    <a:pt x="39" y="79"/>
                    <a:pt x="38" y="79"/>
                    <a:pt x="39" y="79"/>
                  </a:cubicBezTo>
                  <a:cubicBezTo>
                    <a:pt x="38" y="80"/>
                    <a:pt x="39" y="79"/>
                    <a:pt x="40" y="79"/>
                  </a:cubicBezTo>
                  <a:cubicBezTo>
                    <a:pt x="39" y="79"/>
                    <a:pt x="38" y="79"/>
                    <a:pt x="38" y="80"/>
                  </a:cubicBezTo>
                  <a:close/>
                  <a:moveTo>
                    <a:pt x="39" y="79"/>
                  </a:moveTo>
                  <a:cubicBezTo>
                    <a:pt x="40" y="78"/>
                    <a:pt x="39" y="79"/>
                    <a:pt x="39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9"/>
                    <a:pt x="39" y="79"/>
                    <a:pt x="39" y="79"/>
                  </a:cubicBezTo>
                  <a:close/>
                  <a:moveTo>
                    <a:pt x="36" y="80"/>
                  </a:moveTo>
                  <a:cubicBezTo>
                    <a:pt x="36" y="80"/>
                    <a:pt x="37" y="80"/>
                    <a:pt x="37" y="80"/>
                  </a:cubicBezTo>
                  <a:cubicBezTo>
                    <a:pt x="36" y="80"/>
                    <a:pt x="36" y="80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7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6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39" y="79"/>
                  </a:cubicBezTo>
                  <a:cubicBezTo>
                    <a:pt x="39" y="78"/>
                    <a:pt x="39" y="79"/>
                    <a:pt x="39" y="79"/>
                  </a:cubicBezTo>
                  <a:close/>
                  <a:moveTo>
                    <a:pt x="37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37" y="79"/>
                    <a:pt x="38" y="79"/>
                    <a:pt x="38" y="79"/>
                  </a:cubicBezTo>
                  <a:cubicBezTo>
                    <a:pt x="38" y="79"/>
                    <a:pt x="37" y="79"/>
                    <a:pt x="37" y="79"/>
                  </a:cubicBezTo>
                  <a:close/>
                  <a:moveTo>
                    <a:pt x="33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lose/>
                  <a:moveTo>
                    <a:pt x="27" y="83"/>
                  </a:moveTo>
                  <a:cubicBezTo>
                    <a:pt x="27" y="83"/>
                    <a:pt x="26" y="83"/>
                    <a:pt x="26" y="84"/>
                  </a:cubicBezTo>
                  <a:cubicBezTo>
                    <a:pt x="26" y="83"/>
                    <a:pt x="26" y="84"/>
                    <a:pt x="26" y="84"/>
                  </a:cubicBezTo>
                  <a:cubicBezTo>
                    <a:pt x="27" y="84"/>
                    <a:pt x="27" y="83"/>
                    <a:pt x="27" y="83"/>
                  </a:cubicBezTo>
                  <a:close/>
                  <a:moveTo>
                    <a:pt x="24" y="8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4" y="85"/>
                    <a:pt x="24" y="85"/>
                    <a:pt x="25" y="84"/>
                  </a:cubicBezTo>
                  <a:cubicBezTo>
                    <a:pt x="25" y="85"/>
                    <a:pt x="24" y="85"/>
                    <a:pt x="24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5"/>
                    <a:pt x="25" y="84"/>
                    <a:pt x="25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4"/>
                    <a:pt x="24" y="85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4" y="86"/>
                  </a:cubicBezTo>
                  <a:cubicBezTo>
                    <a:pt x="43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3" y="86"/>
                    <a:pt x="43" y="86"/>
                  </a:cubicBezTo>
                  <a:close/>
                  <a:moveTo>
                    <a:pt x="42" y="78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8"/>
                    <a:pt x="42" y="79"/>
                    <a:pt x="42" y="78"/>
                  </a:cubicBezTo>
                  <a:cubicBezTo>
                    <a:pt x="42" y="78"/>
                    <a:pt x="42" y="79"/>
                    <a:pt x="42" y="79"/>
                  </a:cubicBezTo>
                  <a:cubicBezTo>
                    <a:pt x="42" y="78"/>
                    <a:pt x="42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3" y="79"/>
                    <a:pt x="43" y="78"/>
                    <a:pt x="42" y="78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2"/>
                    <a:pt x="1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1" y="101"/>
                    <a:pt x="1" y="101"/>
                  </a:cubicBezTo>
                  <a:cubicBezTo>
                    <a:pt x="0" y="101"/>
                    <a:pt x="1" y="101"/>
                    <a:pt x="1" y="101"/>
                  </a:cubicBezTo>
                  <a:close/>
                  <a:moveTo>
                    <a:pt x="43" y="90"/>
                  </a:moveTo>
                  <a:cubicBezTo>
                    <a:pt x="43" y="90"/>
                    <a:pt x="43" y="90"/>
                    <a:pt x="43" y="90"/>
                  </a:cubicBezTo>
                  <a:cubicBezTo>
                    <a:pt x="43" y="90"/>
                    <a:pt x="43" y="90"/>
                    <a:pt x="42" y="91"/>
                  </a:cubicBezTo>
                  <a:cubicBezTo>
                    <a:pt x="42" y="91"/>
                    <a:pt x="42" y="91"/>
                    <a:pt x="43" y="91"/>
                  </a:cubicBezTo>
                  <a:cubicBezTo>
                    <a:pt x="43" y="90"/>
                    <a:pt x="43" y="90"/>
                    <a:pt x="43" y="90"/>
                  </a:cubicBezTo>
                  <a:close/>
                  <a:moveTo>
                    <a:pt x="44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4" y="86"/>
                    <a:pt x="44" y="86"/>
                  </a:cubicBezTo>
                  <a:cubicBezTo>
                    <a:pt x="44" y="86"/>
                    <a:pt x="45" y="86"/>
                    <a:pt x="44" y="86"/>
                  </a:cubicBezTo>
                  <a:close/>
                  <a:moveTo>
                    <a:pt x="44" y="85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4"/>
                  </a:cubicBezTo>
                  <a:cubicBezTo>
                    <a:pt x="44" y="84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5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4"/>
                    <a:pt x="46" y="83"/>
                    <a:pt x="47" y="83"/>
                  </a:cubicBezTo>
                  <a:cubicBezTo>
                    <a:pt x="47" y="83"/>
                    <a:pt x="46" y="84"/>
                    <a:pt x="46" y="84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lose/>
                  <a:moveTo>
                    <a:pt x="48" y="84"/>
                  </a:moveTo>
                  <a:cubicBezTo>
                    <a:pt x="48" y="84"/>
                    <a:pt x="48" y="84"/>
                    <a:pt x="48" y="83"/>
                  </a:cubicBezTo>
                  <a:cubicBezTo>
                    <a:pt x="48" y="83"/>
                    <a:pt x="49" y="83"/>
                    <a:pt x="49" y="83"/>
                  </a:cubicBezTo>
                  <a:cubicBezTo>
                    <a:pt x="49" y="83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lose/>
                  <a:moveTo>
                    <a:pt x="47" y="83"/>
                  </a:move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7" y="83"/>
                    <a:pt x="47" y="83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1"/>
                  </a:cubicBezTo>
                  <a:cubicBezTo>
                    <a:pt x="47" y="81"/>
                    <a:pt x="47" y="81"/>
                    <a:pt x="46" y="81"/>
                  </a:cubicBezTo>
                  <a:cubicBezTo>
                    <a:pt x="46" y="81"/>
                    <a:pt x="47" y="81"/>
                    <a:pt x="47" y="81"/>
                  </a:cubicBezTo>
                  <a:cubicBezTo>
                    <a:pt x="47" y="81"/>
                    <a:pt x="47" y="80"/>
                    <a:pt x="47" y="81"/>
                  </a:cubicBezTo>
                  <a:cubicBezTo>
                    <a:pt x="47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0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7" y="80"/>
                    <a:pt x="46" y="81"/>
                  </a:cubicBezTo>
                  <a:close/>
                  <a:moveTo>
                    <a:pt x="48" y="82"/>
                  </a:moveTo>
                  <a:cubicBezTo>
                    <a:pt x="48" y="82"/>
                    <a:pt x="48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lose/>
                  <a:moveTo>
                    <a:pt x="45" y="77"/>
                  </a:move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7" y="76"/>
                    <a:pt x="47" y="76"/>
                    <a:pt x="48" y="75"/>
                  </a:cubicBezTo>
                  <a:cubicBezTo>
                    <a:pt x="49" y="76"/>
                    <a:pt x="48" y="76"/>
                    <a:pt x="49" y="76"/>
                  </a:cubicBezTo>
                  <a:cubicBezTo>
                    <a:pt x="49" y="76"/>
                    <a:pt x="49" y="75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0"/>
                  </a:cubicBezTo>
                  <a:cubicBezTo>
                    <a:pt x="47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2"/>
                  </a:moveTo>
                  <a:cubicBezTo>
                    <a:pt x="51" y="81"/>
                    <a:pt x="52" y="80"/>
                    <a:pt x="53" y="80"/>
                  </a:cubicBezTo>
                  <a:cubicBezTo>
                    <a:pt x="53" y="80"/>
                    <a:pt x="52" y="80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1" y="81"/>
                    <a:pt x="50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1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49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49" y="82"/>
                    <a:pt x="50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lose/>
                  <a:moveTo>
                    <a:pt x="49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76"/>
                    <a:pt x="49" y="77"/>
                    <a:pt x="49" y="76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8" y="77"/>
                  </a:cubicBezTo>
                  <a:cubicBezTo>
                    <a:pt x="48" y="77"/>
                    <a:pt x="48" y="77"/>
                    <a:pt x="48" y="76"/>
                  </a:cubicBezTo>
                  <a:cubicBezTo>
                    <a:pt x="48" y="77"/>
                    <a:pt x="48" y="76"/>
                    <a:pt x="48" y="77"/>
                  </a:cubicBezTo>
                  <a:cubicBezTo>
                    <a:pt x="48" y="76"/>
                    <a:pt x="49" y="76"/>
                    <a:pt x="50" y="76"/>
                  </a:cubicBezTo>
                  <a:cubicBezTo>
                    <a:pt x="50" y="76"/>
                    <a:pt x="49" y="76"/>
                    <a:pt x="50" y="76"/>
                  </a:cubicBezTo>
                  <a:cubicBezTo>
                    <a:pt x="50" y="76"/>
                    <a:pt x="49" y="76"/>
                    <a:pt x="49" y="77"/>
                  </a:cubicBezTo>
                  <a:close/>
                  <a:moveTo>
                    <a:pt x="52" y="84"/>
                  </a:moveTo>
                  <a:cubicBezTo>
                    <a:pt x="52" y="84"/>
                    <a:pt x="52" y="84"/>
                    <a:pt x="51" y="84"/>
                  </a:cubicBezTo>
                  <a:cubicBezTo>
                    <a:pt x="52" y="84"/>
                    <a:pt x="52" y="84"/>
                    <a:pt x="52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2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2" y="79"/>
                  </a:move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3" y="79"/>
                    <a:pt x="53" y="79"/>
                    <a:pt x="52" y="80"/>
                  </a:cubicBezTo>
                  <a:cubicBezTo>
                    <a:pt x="52" y="79"/>
                    <a:pt x="52" y="79"/>
                    <a:pt x="52" y="79"/>
                  </a:cubicBezTo>
                  <a:close/>
                  <a:moveTo>
                    <a:pt x="55" y="76"/>
                  </a:moveTo>
                  <a:cubicBezTo>
                    <a:pt x="55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6"/>
                    <a:pt x="55" y="77"/>
                    <a:pt x="55" y="76"/>
                  </a:cubicBezTo>
                  <a:close/>
                  <a:moveTo>
                    <a:pt x="57" y="77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7" y="77"/>
                    <a:pt x="58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8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9" y="77"/>
                  </a:moveTo>
                  <a:cubicBezTo>
                    <a:pt x="60" y="77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7"/>
                  </a:cubicBezTo>
                  <a:cubicBezTo>
                    <a:pt x="60" y="77"/>
                    <a:pt x="59" y="78"/>
                    <a:pt x="58" y="78"/>
                  </a:cubicBezTo>
                  <a:cubicBezTo>
                    <a:pt x="58" y="78"/>
                    <a:pt x="59" y="78"/>
                    <a:pt x="59" y="77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60" y="76"/>
                    <a:pt x="59" y="76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4"/>
                    <a:pt x="59" y="75"/>
                    <a:pt x="60" y="74"/>
                  </a:cubicBezTo>
                  <a:cubicBezTo>
                    <a:pt x="60" y="74"/>
                    <a:pt x="60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58" y="68"/>
                  </a:moveTo>
                  <a:cubicBezTo>
                    <a:pt x="58" y="68"/>
                    <a:pt x="57" y="69"/>
                    <a:pt x="57" y="68"/>
                  </a:cubicBezTo>
                  <a:cubicBezTo>
                    <a:pt x="57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60" y="69"/>
                  </a:moveTo>
                  <a:cubicBezTo>
                    <a:pt x="60" y="69"/>
                    <a:pt x="59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1" y="68"/>
                    <a:pt x="61" y="68"/>
                  </a:cubicBezTo>
                  <a:cubicBezTo>
                    <a:pt x="61" y="69"/>
                    <a:pt x="60" y="69"/>
                    <a:pt x="60" y="69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2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5"/>
                    <a:pt x="66" y="65"/>
                    <a:pt x="67" y="65"/>
                  </a:cubicBezTo>
                  <a:cubicBezTo>
                    <a:pt x="67" y="65"/>
                    <a:pt x="66" y="65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5"/>
                  </a:cubicBezTo>
                  <a:cubicBezTo>
                    <a:pt x="66" y="66"/>
                    <a:pt x="64" y="67"/>
                    <a:pt x="63" y="67"/>
                  </a:cubicBezTo>
                  <a:cubicBezTo>
                    <a:pt x="63" y="68"/>
                    <a:pt x="62" y="68"/>
                    <a:pt x="61" y="68"/>
                  </a:cubicBezTo>
                  <a:cubicBezTo>
                    <a:pt x="61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7"/>
                    <a:pt x="64" y="67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3" y="67"/>
                  </a:move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lose/>
                  <a:moveTo>
                    <a:pt x="62" y="66"/>
                  </a:move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lose/>
                  <a:moveTo>
                    <a:pt x="61" y="65"/>
                  </a:moveTo>
                  <a:cubicBezTo>
                    <a:pt x="62" y="65"/>
                    <a:pt x="62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6"/>
                  </a:cubicBezTo>
                  <a:cubicBezTo>
                    <a:pt x="63" y="66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5"/>
                  </a:cubicBezTo>
                  <a:cubicBezTo>
                    <a:pt x="63" y="65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5"/>
                    <a:pt x="62" y="66"/>
                    <a:pt x="62" y="66"/>
                  </a:cubicBezTo>
                  <a:cubicBezTo>
                    <a:pt x="62" y="65"/>
                    <a:pt x="61" y="66"/>
                    <a:pt x="61" y="65"/>
                  </a:cubicBezTo>
                  <a:close/>
                  <a:moveTo>
                    <a:pt x="64" y="65"/>
                  </a:move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6" y="68"/>
                    <a:pt x="66" y="68"/>
                  </a:cubicBezTo>
                  <a:cubicBezTo>
                    <a:pt x="66" y="68"/>
                    <a:pt x="66" y="67"/>
                    <a:pt x="66" y="67"/>
                  </a:cubicBezTo>
                  <a:cubicBezTo>
                    <a:pt x="66" y="67"/>
                    <a:pt x="66" y="67"/>
                    <a:pt x="65" y="67"/>
                  </a:cubicBezTo>
                  <a:cubicBezTo>
                    <a:pt x="65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8"/>
                    <a:pt x="67" y="68"/>
                    <a:pt x="68" y="67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7" y="68"/>
                  </a:moveTo>
                  <a:cubicBezTo>
                    <a:pt x="67" y="67"/>
                    <a:pt x="67" y="67"/>
                    <a:pt x="66" y="67"/>
                  </a:cubicBezTo>
                  <a:cubicBezTo>
                    <a:pt x="67" y="67"/>
                    <a:pt x="66" y="67"/>
                    <a:pt x="67" y="68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7"/>
                    <a:pt x="65" y="67"/>
                  </a:cubicBezTo>
                  <a:cubicBezTo>
                    <a:pt x="65" y="67"/>
                    <a:pt x="65" y="68"/>
                    <a:pt x="65" y="68"/>
                  </a:cubicBezTo>
                  <a:close/>
                  <a:moveTo>
                    <a:pt x="67" y="67"/>
                  </a:moveTo>
                  <a:cubicBezTo>
                    <a:pt x="67" y="67"/>
                    <a:pt x="67" y="67"/>
                    <a:pt x="68" y="66"/>
                  </a:cubicBezTo>
                  <a:cubicBezTo>
                    <a:pt x="67" y="67"/>
                    <a:pt x="68" y="67"/>
                    <a:pt x="67" y="67"/>
                  </a:cubicBezTo>
                  <a:close/>
                  <a:moveTo>
                    <a:pt x="68" y="66"/>
                  </a:move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8" y="66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5"/>
                    <a:pt x="68" y="65"/>
                  </a:cubicBezTo>
                  <a:cubicBezTo>
                    <a:pt x="68" y="65"/>
                    <a:pt x="68" y="66"/>
                    <a:pt x="68" y="65"/>
                  </a:cubicBezTo>
                  <a:cubicBezTo>
                    <a:pt x="68" y="66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71" y="64"/>
                  </a:moveTo>
                  <a:cubicBezTo>
                    <a:pt x="71" y="63"/>
                    <a:pt x="70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5"/>
                    <a:pt x="69" y="64"/>
                    <a:pt x="69" y="65"/>
                  </a:cubicBezTo>
                  <a:cubicBezTo>
                    <a:pt x="68" y="65"/>
                    <a:pt x="69" y="64"/>
                    <a:pt x="68" y="64"/>
                  </a:cubicBezTo>
                  <a:cubicBezTo>
                    <a:pt x="68" y="64"/>
                    <a:pt x="68" y="64"/>
                    <a:pt x="69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7" y="65"/>
                    <a:pt x="66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8" y="64"/>
                    <a:pt x="68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70" y="62"/>
                    <a:pt x="70" y="62"/>
                  </a:cubicBezTo>
                  <a:cubicBezTo>
                    <a:pt x="70" y="62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1" y="61"/>
                    <a:pt x="70" y="61"/>
                  </a:cubicBezTo>
                  <a:cubicBezTo>
                    <a:pt x="70" y="62"/>
                    <a:pt x="71" y="61"/>
                    <a:pt x="71" y="61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72" y="60"/>
                    <a:pt x="72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8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59"/>
                    <a:pt x="75" y="59"/>
                    <a:pt x="75" y="59"/>
                  </a:cubicBezTo>
                  <a:cubicBezTo>
                    <a:pt x="75" y="59"/>
                    <a:pt x="74" y="59"/>
                    <a:pt x="74" y="59"/>
                  </a:cubicBezTo>
                  <a:cubicBezTo>
                    <a:pt x="74" y="60"/>
                    <a:pt x="74" y="59"/>
                    <a:pt x="74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60"/>
                    <a:pt x="75" y="60"/>
                    <a:pt x="74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59"/>
                  </a:cubicBezTo>
                  <a:cubicBezTo>
                    <a:pt x="75" y="59"/>
                    <a:pt x="76" y="59"/>
                    <a:pt x="75" y="60"/>
                  </a:cubicBezTo>
                  <a:cubicBezTo>
                    <a:pt x="75" y="60"/>
                    <a:pt x="75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59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60"/>
                    <a:pt x="76" y="60"/>
                  </a:cubicBezTo>
                  <a:cubicBezTo>
                    <a:pt x="76" y="60"/>
                    <a:pt x="76" y="59"/>
                    <a:pt x="76" y="59"/>
                  </a:cubicBezTo>
                  <a:cubicBezTo>
                    <a:pt x="76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7" y="59"/>
                    <a:pt x="77" y="58"/>
                  </a:cubicBezTo>
                  <a:cubicBezTo>
                    <a:pt x="77" y="58"/>
                    <a:pt x="77" y="59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60"/>
                    <a:pt x="76" y="60"/>
                  </a:cubicBezTo>
                  <a:cubicBezTo>
                    <a:pt x="76" y="60"/>
                    <a:pt x="76" y="59"/>
                    <a:pt x="77" y="59"/>
                  </a:cubicBezTo>
                  <a:cubicBezTo>
                    <a:pt x="77" y="59"/>
                    <a:pt x="77" y="60"/>
                    <a:pt x="77" y="59"/>
                  </a:cubicBezTo>
                  <a:cubicBezTo>
                    <a:pt x="77" y="60"/>
                    <a:pt x="76" y="60"/>
                    <a:pt x="76" y="60"/>
                  </a:cubicBezTo>
                  <a:cubicBezTo>
                    <a:pt x="76" y="60"/>
                    <a:pt x="75" y="60"/>
                    <a:pt x="75" y="60"/>
                  </a:cubicBezTo>
                  <a:cubicBezTo>
                    <a:pt x="75" y="60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3" y="61"/>
                  </a:cubicBezTo>
                  <a:cubicBezTo>
                    <a:pt x="74" y="61"/>
                    <a:pt x="73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4" y="61"/>
                  </a:cubicBezTo>
                  <a:cubicBezTo>
                    <a:pt x="74" y="61"/>
                    <a:pt x="74" y="61"/>
                    <a:pt x="73" y="62"/>
                  </a:cubicBezTo>
                  <a:cubicBezTo>
                    <a:pt x="73" y="62"/>
                    <a:pt x="73" y="62"/>
                    <a:pt x="73" y="61"/>
                  </a:cubicBezTo>
                  <a:cubicBezTo>
                    <a:pt x="73" y="61"/>
                    <a:pt x="73" y="62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1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1"/>
                    <a:pt x="76" y="61"/>
                  </a:cubicBezTo>
                  <a:cubicBezTo>
                    <a:pt x="76" y="61"/>
                    <a:pt x="77" y="61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2"/>
                    <a:pt x="73" y="62"/>
                    <a:pt x="72" y="63"/>
                  </a:cubicBezTo>
                  <a:cubicBezTo>
                    <a:pt x="72" y="64"/>
                    <a:pt x="72" y="63"/>
                    <a:pt x="72" y="64"/>
                  </a:cubicBezTo>
                  <a:cubicBezTo>
                    <a:pt x="72" y="64"/>
                    <a:pt x="71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3"/>
                    <a:pt x="73" y="63"/>
                    <a:pt x="73" y="64"/>
                  </a:cubicBezTo>
                  <a:cubicBezTo>
                    <a:pt x="73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4"/>
                    <a:pt x="73" y="64"/>
                    <a:pt x="74" y="63"/>
                  </a:cubicBezTo>
                  <a:cubicBezTo>
                    <a:pt x="74" y="64"/>
                    <a:pt x="75" y="63"/>
                    <a:pt x="74" y="63"/>
                  </a:cubicBezTo>
                  <a:cubicBezTo>
                    <a:pt x="74" y="63"/>
                    <a:pt x="75" y="63"/>
                    <a:pt x="74" y="63"/>
                  </a:cubicBezTo>
                  <a:cubicBezTo>
                    <a:pt x="75" y="63"/>
                    <a:pt x="74" y="64"/>
                    <a:pt x="74" y="63"/>
                  </a:cubicBezTo>
                  <a:cubicBezTo>
                    <a:pt x="74" y="64"/>
                    <a:pt x="73" y="64"/>
                    <a:pt x="74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5"/>
                    <a:pt x="73" y="64"/>
                    <a:pt x="73" y="64"/>
                  </a:cubicBezTo>
                  <a:cubicBezTo>
                    <a:pt x="73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66"/>
                    <a:pt x="74" y="65"/>
                    <a:pt x="74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3" y="66"/>
                    <a:pt x="73" y="66"/>
                  </a:cubicBezTo>
                  <a:cubicBezTo>
                    <a:pt x="73" y="67"/>
                    <a:pt x="73" y="66"/>
                    <a:pt x="73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3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1" y="68"/>
                    <a:pt x="72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2" y="67"/>
                    <a:pt x="71" y="67"/>
                    <a:pt x="72" y="67"/>
                  </a:cubicBezTo>
                  <a:cubicBezTo>
                    <a:pt x="71" y="67"/>
                    <a:pt x="72" y="66"/>
                    <a:pt x="71" y="67"/>
                  </a:cubicBezTo>
                  <a:cubicBezTo>
                    <a:pt x="71" y="67"/>
                    <a:pt x="71" y="67"/>
                    <a:pt x="72" y="66"/>
                  </a:cubicBezTo>
                  <a:cubicBezTo>
                    <a:pt x="71" y="66"/>
                    <a:pt x="71" y="67"/>
                    <a:pt x="71" y="67"/>
                  </a:cubicBezTo>
                  <a:cubicBezTo>
                    <a:pt x="71" y="66"/>
                    <a:pt x="71" y="67"/>
                    <a:pt x="70" y="67"/>
                  </a:cubicBezTo>
                  <a:cubicBezTo>
                    <a:pt x="70" y="66"/>
                    <a:pt x="70" y="66"/>
                    <a:pt x="71" y="66"/>
                  </a:cubicBezTo>
                  <a:cubicBezTo>
                    <a:pt x="70" y="66"/>
                    <a:pt x="70" y="67"/>
                    <a:pt x="69" y="67"/>
                  </a:cubicBezTo>
                  <a:cubicBezTo>
                    <a:pt x="69" y="66"/>
                    <a:pt x="70" y="66"/>
                    <a:pt x="70" y="66"/>
                  </a:cubicBezTo>
                  <a:cubicBezTo>
                    <a:pt x="70" y="66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0" y="65"/>
                    <a:pt x="70" y="65"/>
                  </a:cubicBezTo>
                  <a:cubicBezTo>
                    <a:pt x="70" y="65"/>
                    <a:pt x="71" y="65"/>
                    <a:pt x="70" y="65"/>
                  </a:cubicBezTo>
                  <a:cubicBezTo>
                    <a:pt x="71" y="65"/>
                    <a:pt x="69" y="65"/>
                    <a:pt x="70" y="65"/>
                  </a:cubicBezTo>
                  <a:cubicBezTo>
                    <a:pt x="69" y="65"/>
                    <a:pt x="69" y="65"/>
                    <a:pt x="69" y="66"/>
                  </a:cubicBezTo>
                  <a:cubicBezTo>
                    <a:pt x="69" y="65"/>
                    <a:pt x="69" y="66"/>
                    <a:pt x="69" y="65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8" y="66"/>
                    <a:pt x="69" y="65"/>
                    <a:pt x="68" y="66"/>
                  </a:cubicBezTo>
                  <a:cubicBezTo>
                    <a:pt x="68" y="65"/>
                    <a:pt x="69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1" y="64"/>
                    <a:pt x="71" y="64"/>
                  </a:cubicBezTo>
                  <a:cubicBezTo>
                    <a:pt x="70" y="64"/>
                    <a:pt x="70" y="64"/>
                    <a:pt x="71" y="64"/>
                  </a:cubicBezTo>
                  <a:close/>
                  <a:moveTo>
                    <a:pt x="72" y="67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lose/>
                  <a:moveTo>
                    <a:pt x="72" y="66"/>
                  </a:moveTo>
                  <a:cubicBezTo>
                    <a:pt x="72" y="66"/>
                    <a:pt x="72" y="67"/>
                    <a:pt x="72" y="67"/>
                  </a:cubicBezTo>
                  <a:cubicBezTo>
                    <a:pt x="72" y="67"/>
                    <a:pt x="72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lose/>
                  <a:moveTo>
                    <a:pt x="72" y="65"/>
                  </a:moveTo>
                  <a:cubicBezTo>
                    <a:pt x="72" y="66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lose/>
                  <a:moveTo>
                    <a:pt x="71" y="64"/>
                  </a:move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4"/>
                  </a:cubicBezTo>
                  <a:close/>
                  <a:moveTo>
                    <a:pt x="76" y="60"/>
                  </a:move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7" y="59"/>
                    <a:pt x="76" y="59"/>
                  </a:cubicBezTo>
                  <a:cubicBezTo>
                    <a:pt x="76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60"/>
                  </a:cubicBezTo>
                  <a:close/>
                  <a:moveTo>
                    <a:pt x="74" y="61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lose/>
                  <a:moveTo>
                    <a:pt x="75" y="60"/>
                  </a:moveTo>
                  <a:cubicBezTo>
                    <a:pt x="75" y="60"/>
                    <a:pt x="75" y="61"/>
                    <a:pt x="74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60"/>
                  </a:moveTo>
                  <a:cubicBezTo>
                    <a:pt x="74" y="60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0" y="62"/>
                  </a:moveTo>
                  <a:cubicBezTo>
                    <a:pt x="70" y="62"/>
                    <a:pt x="69" y="62"/>
                    <a:pt x="69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4" y="60"/>
                  </a:move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3" y="61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lose/>
                  <a:moveTo>
                    <a:pt x="73" y="61"/>
                  </a:moveTo>
                  <a:cubicBezTo>
                    <a:pt x="73" y="61"/>
                    <a:pt x="73" y="61"/>
                    <a:pt x="73" y="60"/>
                  </a:cubicBezTo>
                  <a:cubicBezTo>
                    <a:pt x="73" y="60"/>
                    <a:pt x="73" y="60"/>
                    <a:pt x="74" y="60"/>
                  </a:cubicBezTo>
                  <a:cubicBezTo>
                    <a:pt x="74" y="60"/>
                    <a:pt x="73" y="60"/>
                    <a:pt x="73" y="60"/>
                  </a:cubicBezTo>
                  <a:cubicBezTo>
                    <a:pt x="73" y="60"/>
                    <a:pt x="72" y="60"/>
                    <a:pt x="72" y="60"/>
                  </a:cubicBezTo>
                  <a:cubicBezTo>
                    <a:pt x="73" y="60"/>
                    <a:pt x="72" y="61"/>
                    <a:pt x="72" y="60"/>
                  </a:cubicBezTo>
                  <a:cubicBezTo>
                    <a:pt x="72" y="61"/>
                    <a:pt x="72" y="61"/>
                    <a:pt x="73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0"/>
                    <a:pt x="73" y="61"/>
                    <a:pt x="72" y="61"/>
                  </a:cubicBezTo>
                  <a:cubicBezTo>
                    <a:pt x="73" y="60"/>
                    <a:pt x="72" y="61"/>
                    <a:pt x="73" y="61"/>
                  </a:cubicBezTo>
                  <a:close/>
                  <a:moveTo>
                    <a:pt x="70" y="62"/>
                  </a:moveTo>
                  <a:cubicBezTo>
                    <a:pt x="70" y="62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lose/>
                  <a:moveTo>
                    <a:pt x="73" y="62"/>
                  </a:moveTo>
                  <a:cubicBezTo>
                    <a:pt x="73" y="63"/>
                    <a:pt x="73" y="62"/>
                    <a:pt x="73" y="63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2"/>
                    <a:pt x="73" y="62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3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70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3"/>
                  </a:cubicBezTo>
                  <a:cubicBezTo>
                    <a:pt x="70" y="63"/>
                    <a:pt x="70" y="63"/>
                    <a:pt x="70" y="64"/>
                  </a:cubicBezTo>
                  <a:cubicBezTo>
                    <a:pt x="70" y="64"/>
                    <a:pt x="70" y="63"/>
                    <a:pt x="70" y="64"/>
                  </a:cubicBezTo>
                  <a:close/>
                  <a:moveTo>
                    <a:pt x="70" y="63"/>
                  </a:moveTo>
                  <a:cubicBezTo>
                    <a:pt x="71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0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69" y="63"/>
                    <a:pt x="69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69" y="64"/>
                    <a:pt x="70" y="63"/>
                  </a:cubicBezTo>
                  <a:close/>
                  <a:moveTo>
                    <a:pt x="70" y="64"/>
                  </a:moveTo>
                  <a:cubicBezTo>
                    <a:pt x="70" y="64"/>
                    <a:pt x="69" y="64"/>
                    <a:pt x="69" y="64"/>
                  </a:cubicBezTo>
                  <a:cubicBezTo>
                    <a:pt x="69" y="64"/>
                    <a:pt x="70" y="64"/>
                    <a:pt x="70" y="64"/>
                  </a:cubicBezTo>
                  <a:close/>
                  <a:moveTo>
                    <a:pt x="72" y="63"/>
                  </a:move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1" y="63"/>
                    <a:pt x="71" y="63"/>
                  </a:cubicBezTo>
                  <a:cubicBezTo>
                    <a:pt x="71" y="63"/>
                    <a:pt x="72" y="63"/>
                    <a:pt x="72" y="63"/>
                  </a:cubicBezTo>
                  <a:close/>
                  <a:moveTo>
                    <a:pt x="76" y="6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lose/>
                  <a:moveTo>
                    <a:pt x="72" y="61"/>
                  </a:move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2" y="61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7"/>
                    <a:pt x="67" y="67"/>
                  </a:cubicBezTo>
                  <a:cubicBezTo>
                    <a:pt x="68" y="67"/>
                    <a:pt x="69" y="66"/>
                    <a:pt x="68" y="67"/>
                  </a:cubicBezTo>
                  <a:close/>
                  <a:moveTo>
                    <a:pt x="68" y="69"/>
                  </a:moveTo>
                  <a:cubicBezTo>
                    <a:pt x="68" y="68"/>
                    <a:pt x="69" y="68"/>
                    <a:pt x="69" y="68"/>
                  </a:cubicBezTo>
                  <a:cubicBezTo>
                    <a:pt x="69" y="68"/>
                    <a:pt x="69" y="68"/>
                    <a:pt x="70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69" y="68"/>
                    <a:pt x="69" y="68"/>
                    <a:pt x="69" y="69"/>
                  </a:cubicBezTo>
                  <a:cubicBezTo>
                    <a:pt x="69" y="69"/>
                    <a:pt x="69" y="68"/>
                    <a:pt x="68" y="69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8"/>
                  </a:cubicBezTo>
                  <a:lnTo>
                    <a:pt x="69" y="67"/>
                  </a:lnTo>
                  <a:close/>
                  <a:moveTo>
                    <a:pt x="73" y="71"/>
                  </a:moveTo>
                  <a:cubicBezTo>
                    <a:pt x="72" y="72"/>
                    <a:pt x="73" y="72"/>
                    <a:pt x="72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71"/>
                    <a:pt x="72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2" y="71"/>
                    <a:pt x="73" y="71"/>
                  </a:cubicBezTo>
                  <a:close/>
                  <a:moveTo>
                    <a:pt x="71" y="69"/>
                  </a:moveTo>
                  <a:cubicBezTo>
                    <a:pt x="71" y="69"/>
                    <a:pt x="72" y="69"/>
                    <a:pt x="72" y="68"/>
                  </a:cubicBezTo>
                  <a:cubicBezTo>
                    <a:pt x="72" y="68"/>
                    <a:pt x="72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2" y="68"/>
                    <a:pt x="72" y="68"/>
                    <a:pt x="73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8"/>
                    <a:pt x="73" y="68"/>
                    <a:pt x="73" y="67"/>
                  </a:cubicBezTo>
                  <a:cubicBezTo>
                    <a:pt x="73" y="67"/>
                    <a:pt x="73" y="68"/>
                    <a:pt x="73" y="68"/>
                  </a:cubicBezTo>
                  <a:cubicBezTo>
                    <a:pt x="73" y="68"/>
                    <a:pt x="73" y="67"/>
                    <a:pt x="73" y="68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3" y="68"/>
                  </a:cubicBezTo>
                  <a:cubicBezTo>
                    <a:pt x="74" y="68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5" y="67"/>
                    <a:pt x="75" y="67"/>
                  </a:cubicBezTo>
                  <a:cubicBezTo>
                    <a:pt x="75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5" y="67"/>
                    <a:pt x="74" y="67"/>
                    <a:pt x="75" y="67"/>
                  </a:cubicBezTo>
                  <a:cubicBezTo>
                    <a:pt x="74" y="67"/>
                    <a:pt x="74" y="67"/>
                    <a:pt x="74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5" y="67"/>
                    <a:pt x="75" y="67"/>
                    <a:pt x="76" y="67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6" y="66"/>
                    <a:pt x="76" y="67"/>
                    <a:pt x="76" y="66"/>
                  </a:cubicBezTo>
                  <a:cubicBezTo>
                    <a:pt x="76" y="67"/>
                    <a:pt x="76" y="67"/>
                    <a:pt x="75" y="67"/>
                  </a:cubicBezTo>
                  <a:cubicBezTo>
                    <a:pt x="76" y="67"/>
                    <a:pt x="75" y="67"/>
                    <a:pt x="76" y="67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7"/>
                  </a:cubicBezTo>
                  <a:cubicBezTo>
                    <a:pt x="75" y="67"/>
                    <a:pt x="76" y="67"/>
                    <a:pt x="76" y="67"/>
                  </a:cubicBezTo>
                  <a:cubicBezTo>
                    <a:pt x="76" y="67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7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8" y="68"/>
                    <a:pt x="77" y="68"/>
                    <a:pt x="77" y="68"/>
                  </a:cubicBezTo>
                  <a:cubicBezTo>
                    <a:pt x="77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8" y="69"/>
                    <a:pt x="77" y="68"/>
                  </a:cubicBezTo>
                  <a:cubicBezTo>
                    <a:pt x="77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6" y="69"/>
                    <a:pt x="76" y="68"/>
                  </a:cubicBezTo>
                  <a:cubicBezTo>
                    <a:pt x="76" y="68"/>
                    <a:pt x="76" y="68"/>
                    <a:pt x="77" y="68"/>
                  </a:cubicBezTo>
                  <a:cubicBezTo>
                    <a:pt x="77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9"/>
                    <a:pt x="76" y="68"/>
                    <a:pt x="76" y="69"/>
                  </a:cubicBezTo>
                  <a:cubicBezTo>
                    <a:pt x="76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8"/>
                    <a:pt x="76" y="68"/>
                  </a:cubicBezTo>
                  <a:cubicBezTo>
                    <a:pt x="75" y="68"/>
                    <a:pt x="75" y="68"/>
                    <a:pt x="75" y="69"/>
                  </a:cubicBezTo>
                  <a:cubicBezTo>
                    <a:pt x="75" y="69"/>
                    <a:pt x="74" y="68"/>
                    <a:pt x="75" y="68"/>
                  </a:cubicBezTo>
                  <a:cubicBezTo>
                    <a:pt x="74" y="68"/>
                    <a:pt x="74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4" y="68"/>
                    <a:pt x="74" y="68"/>
                  </a:cubicBezTo>
                  <a:cubicBezTo>
                    <a:pt x="74" y="68"/>
                    <a:pt x="73" y="69"/>
                    <a:pt x="73" y="68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2" y="69"/>
                  </a:cubicBezTo>
                  <a:cubicBezTo>
                    <a:pt x="73" y="69"/>
                    <a:pt x="72" y="69"/>
                    <a:pt x="72" y="69"/>
                  </a:cubicBezTo>
                  <a:cubicBezTo>
                    <a:pt x="73" y="69"/>
                    <a:pt x="73" y="69"/>
                    <a:pt x="73" y="68"/>
                  </a:cubicBezTo>
                  <a:cubicBezTo>
                    <a:pt x="73" y="68"/>
                    <a:pt x="72" y="69"/>
                    <a:pt x="72" y="69"/>
                  </a:cubicBezTo>
                  <a:cubicBezTo>
                    <a:pt x="72" y="69"/>
                    <a:pt x="71" y="69"/>
                    <a:pt x="71" y="69"/>
                  </a:cubicBezTo>
                  <a:close/>
                  <a:moveTo>
                    <a:pt x="76" y="68"/>
                  </a:move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lose/>
                  <a:moveTo>
                    <a:pt x="75" y="68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6" y="68"/>
                    <a:pt x="75" y="68"/>
                    <a:pt x="75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4" y="68"/>
                    <a:pt x="74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69" y="66"/>
                  </a:moveTo>
                  <a:cubicBezTo>
                    <a:pt x="69" y="65"/>
                    <a:pt x="70" y="66"/>
                    <a:pt x="70" y="65"/>
                  </a:cubicBezTo>
                  <a:cubicBezTo>
                    <a:pt x="70" y="66"/>
                    <a:pt x="70" y="65"/>
                    <a:pt x="69" y="66"/>
                  </a:cubicBezTo>
                  <a:close/>
                  <a:moveTo>
                    <a:pt x="74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3"/>
                  </a:cubicBezTo>
                  <a:cubicBezTo>
                    <a:pt x="74" y="73"/>
                    <a:pt x="74" y="73"/>
                    <a:pt x="74" y="72"/>
                  </a:cubicBezTo>
                  <a:close/>
                  <a:moveTo>
                    <a:pt x="75" y="64"/>
                  </a:moveTo>
                  <a:cubicBezTo>
                    <a:pt x="75" y="64"/>
                    <a:pt x="74" y="64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6" y="63"/>
                    <a:pt x="76" y="64"/>
                  </a:cubicBezTo>
                  <a:cubicBezTo>
                    <a:pt x="76" y="64"/>
                    <a:pt x="75" y="64"/>
                    <a:pt x="75" y="64"/>
                  </a:cubicBezTo>
                  <a:close/>
                  <a:moveTo>
                    <a:pt x="74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3" y="63"/>
                    <a:pt x="74" y="63"/>
                    <a:pt x="74" y="62"/>
                  </a:cubicBezTo>
                  <a:close/>
                  <a:moveTo>
                    <a:pt x="110" y="44"/>
                  </a:moveTo>
                  <a:cubicBezTo>
                    <a:pt x="110" y="44"/>
                    <a:pt x="111" y="43"/>
                    <a:pt x="111" y="43"/>
                  </a:cubicBezTo>
                  <a:cubicBezTo>
                    <a:pt x="112" y="43"/>
                    <a:pt x="111" y="43"/>
                    <a:pt x="111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2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2"/>
                    <a:pt x="115" y="41"/>
                    <a:pt x="116" y="41"/>
                  </a:cubicBezTo>
                  <a:cubicBezTo>
                    <a:pt x="115" y="42"/>
                    <a:pt x="114" y="42"/>
                    <a:pt x="114" y="42"/>
                  </a:cubicBezTo>
                  <a:cubicBezTo>
                    <a:pt x="114" y="42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6" y="42"/>
                    <a:pt x="115" y="42"/>
                  </a:cubicBezTo>
                  <a:cubicBezTo>
                    <a:pt x="114" y="42"/>
                    <a:pt x="115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3"/>
                  </a:cubicBezTo>
                  <a:cubicBezTo>
                    <a:pt x="114" y="43"/>
                    <a:pt x="114" y="42"/>
                    <a:pt x="113" y="43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5" y="42"/>
                    <a:pt x="115" y="42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5" y="42"/>
                    <a:pt x="115" y="42"/>
                  </a:cubicBezTo>
                  <a:cubicBezTo>
                    <a:pt x="114" y="43"/>
                    <a:pt x="114" y="43"/>
                    <a:pt x="113" y="44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3" y="44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5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4" y="44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4"/>
                    <a:pt x="113" y="44"/>
                    <a:pt x="112" y="44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2" y="44"/>
                  </a:cubicBezTo>
                  <a:cubicBezTo>
                    <a:pt x="112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4"/>
                  </a:cubicBezTo>
                  <a:cubicBezTo>
                    <a:pt x="111" y="45"/>
                    <a:pt x="111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09" y="45"/>
                  </a:cubicBezTo>
                  <a:cubicBezTo>
                    <a:pt x="110" y="45"/>
                    <a:pt x="109" y="45"/>
                    <a:pt x="109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1" y="44"/>
                    <a:pt x="111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3"/>
                  </a:cubicBezTo>
                  <a:cubicBezTo>
                    <a:pt x="112" y="43"/>
                    <a:pt x="111" y="44"/>
                    <a:pt x="111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1" y="43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0" y="45"/>
                    <a:pt x="110" y="44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7" y="45"/>
                    <a:pt x="108" y="45"/>
                    <a:pt x="108" y="46"/>
                  </a:cubicBezTo>
                  <a:cubicBezTo>
                    <a:pt x="108" y="46"/>
                    <a:pt x="107" y="46"/>
                    <a:pt x="107" y="46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7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5" y="47"/>
                    <a:pt x="105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6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6" y="46"/>
                    <a:pt x="106" y="46"/>
                  </a:cubicBezTo>
                  <a:cubicBezTo>
                    <a:pt x="105" y="46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4" y="47"/>
                    <a:pt x="104" y="48"/>
                    <a:pt x="103" y="48"/>
                  </a:cubicBez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2" y="48"/>
                    <a:pt x="103" y="48"/>
                  </a:cubicBezTo>
                  <a:cubicBezTo>
                    <a:pt x="102" y="48"/>
                    <a:pt x="102" y="48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8"/>
                  </a:cubicBezTo>
                  <a:cubicBezTo>
                    <a:pt x="101" y="48"/>
                    <a:pt x="101" y="49"/>
                    <a:pt x="101" y="49"/>
                  </a:cubicBezTo>
                  <a:cubicBezTo>
                    <a:pt x="100" y="49"/>
                    <a:pt x="99" y="50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8" y="50"/>
                    <a:pt x="98" y="50"/>
                  </a:cubicBezTo>
                  <a:cubicBezTo>
                    <a:pt x="98" y="50"/>
                    <a:pt x="99" y="50"/>
                    <a:pt x="98" y="50"/>
                  </a:cubicBezTo>
                  <a:cubicBezTo>
                    <a:pt x="98" y="50"/>
                    <a:pt x="99" y="50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100" y="49"/>
                  </a:cubicBezTo>
                  <a:cubicBezTo>
                    <a:pt x="100" y="49"/>
                    <a:pt x="101" y="48"/>
                    <a:pt x="102" y="48"/>
                  </a:cubicBezTo>
                  <a:cubicBezTo>
                    <a:pt x="102" y="48"/>
                    <a:pt x="102" y="48"/>
                    <a:pt x="101" y="48"/>
                  </a:cubicBezTo>
                  <a:cubicBezTo>
                    <a:pt x="101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1" y="48"/>
                    <a:pt x="101" y="48"/>
                    <a:pt x="101" y="49"/>
                  </a:cubicBezTo>
                  <a:cubicBezTo>
                    <a:pt x="101" y="49"/>
                    <a:pt x="101" y="48"/>
                    <a:pt x="100" y="49"/>
                  </a:cubicBezTo>
                  <a:cubicBezTo>
                    <a:pt x="100" y="48"/>
                    <a:pt x="101" y="48"/>
                    <a:pt x="101" y="48"/>
                  </a:cubicBezTo>
                  <a:cubicBezTo>
                    <a:pt x="100" y="48"/>
                    <a:pt x="100" y="49"/>
                    <a:pt x="100" y="49"/>
                  </a:cubicBezTo>
                  <a:cubicBezTo>
                    <a:pt x="100" y="49"/>
                    <a:pt x="100" y="49"/>
                    <a:pt x="99" y="49"/>
                  </a:cubicBezTo>
                  <a:cubicBezTo>
                    <a:pt x="99" y="49"/>
                    <a:pt x="100" y="49"/>
                    <a:pt x="100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8" y="49"/>
                    <a:pt x="98" y="50"/>
                    <a:pt x="97" y="50"/>
                  </a:cubicBezTo>
                  <a:cubicBezTo>
                    <a:pt x="97" y="51"/>
                    <a:pt x="97" y="50"/>
                    <a:pt x="98" y="50"/>
                  </a:cubicBezTo>
                  <a:cubicBezTo>
                    <a:pt x="97" y="51"/>
                    <a:pt x="98" y="50"/>
                    <a:pt x="97" y="50"/>
                  </a:cubicBezTo>
                  <a:cubicBezTo>
                    <a:pt x="97" y="51"/>
                    <a:pt x="98" y="50"/>
                    <a:pt x="97" y="51"/>
                  </a:cubicBezTo>
                  <a:cubicBezTo>
                    <a:pt x="97" y="51"/>
                    <a:pt x="98" y="50"/>
                    <a:pt x="98" y="50"/>
                  </a:cubicBezTo>
                  <a:cubicBezTo>
                    <a:pt x="97" y="51"/>
                    <a:pt x="98" y="51"/>
                    <a:pt x="97" y="51"/>
                  </a:cubicBezTo>
                  <a:cubicBezTo>
                    <a:pt x="97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0"/>
                    <a:pt x="99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9"/>
                  </a:cubicBezTo>
                  <a:cubicBezTo>
                    <a:pt x="101" y="49"/>
                    <a:pt x="101" y="49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2" y="50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4" y="49"/>
                    <a:pt x="104" y="48"/>
                  </a:cubicBezTo>
                  <a:cubicBezTo>
                    <a:pt x="105" y="48"/>
                    <a:pt x="105" y="48"/>
                    <a:pt x="106" y="48"/>
                  </a:cubicBezTo>
                  <a:cubicBezTo>
                    <a:pt x="106" y="48"/>
                    <a:pt x="106" y="48"/>
                    <a:pt x="107" y="47"/>
                  </a:cubicBezTo>
                  <a:cubicBezTo>
                    <a:pt x="107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5" y="48"/>
                  </a:cubicBezTo>
                  <a:cubicBezTo>
                    <a:pt x="105" y="48"/>
                    <a:pt x="106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9"/>
                    <a:pt x="105" y="48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3" y="49"/>
                    <a:pt x="104" y="50"/>
                    <a:pt x="104" y="50"/>
                  </a:cubicBezTo>
                  <a:cubicBezTo>
                    <a:pt x="104" y="50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50"/>
                    <a:pt x="104" y="50"/>
                  </a:cubicBezTo>
                  <a:cubicBezTo>
                    <a:pt x="104" y="50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5" y="49"/>
                    <a:pt x="105" y="49"/>
                  </a:cubicBezTo>
                  <a:cubicBezTo>
                    <a:pt x="105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4" y="51"/>
                    <a:pt x="104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0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2" y="51"/>
                  </a:cubicBezTo>
                  <a:cubicBezTo>
                    <a:pt x="102" y="51"/>
                    <a:pt x="102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0" y="52"/>
                  </a:cubicBezTo>
                  <a:cubicBezTo>
                    <a:pt x="100" y="52"/>
                    <a:pt x="100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1" y="51"/>
                    <a:pt x="101" y="51"/>
                  </a:cubicBezTo>
                  <a:cubicBezTo>
                    <a:pt x="101" y="51"/>
                    <a:pt x="102" y="51"/>
                    <a:pt x="102" y="51"/>
                  </a:cubicBezTo>
                  <a:cubicBezTo>
                    <a:pt x="102" y="50"/>
                    <a:pt x="101" y="51"/>
                    <a:pt x="101" y="51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1" y="50"/>
                    <a:pt x="102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1"/>
                    <a:pt x="101" y="51"/>
                  </a:cubicBezTo>
                  <a:cubicBezTo>
                    <a:pt x="101" y="51"/>
                    <a:pt x="101" y="50"/>
                    <a:pt x="101" y="51"/>
                  </a:cubicBezTo>
                  <a:cubicBezTo>
                    <a:pt x="101" y="51"/>
                    <a:pt x="101" y="51"/>
                    <a:pt x="101" y="50"/>
                  </a:cubicBez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2"/>
                    <a:pt x="99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99" y="52"/>
                    <a:pt x="99" y="52"/>
                    <a:pt x="98" y="52"/>
                  </a:cubicBezTo>
                  <a:cubicBezTo>
                    <a:pt x="98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2"/>
                    <a:pt x="98" y="52"/>
                  </a:cubicBezTo>
                  <a:cubicBezTo>
                    <a:pt x="98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7" y="53"/>
                    <a:pt x="98" y="53"/>
                  </a:cubicBezTo>
                  <a:cubicBezTo>
                    <a:pt x="98" y="53"/>
                    <a:pt x="98" y="52"/>
                    <a:pt x="99" y="52"/>
                  </a:cubicBezTo>
                  <a:cubicBezTo>
                    <a:pt x="99" y="52"/>
                    <a:pt x="99" y="52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8" y="52"/>
                    <a:pt x="99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6" y="52"/>
                    <a:pt x="97" y="52"/>
                    <a:pt x="97" y="53"/>
                  </a:cubicBezTo>
                  <a:cubicBezTo>
                    <a:pt x="97" y="53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6" y="52"/>
                    <a:pt x="96" y="53"/>
                    <a:pt x="96" y="53"/>
                  </a:cubicBezTo>
                  <a:cubicBezTo>
                    <a:pt x="96" y="52"/>
                    <a:pt x="97" y="52"/>
                    <a:pt x="98" y="52"/>
                  </a:cubicBezTo>
                  <a:cubicBezTo>
                    <a:pt x="98" y="51"/>
                    <a:pt x="98" y="51"/>
                    <a:pt x="98" y="52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8" y="51"/>
                    <a:pt x="97" y="52"/>
                    <a:pt x="97" y="52"/>
                  </a:cubicBezTo>
                  <a:cubicBezTo>
                    <a:pt x="96" y="52"/>
                    <a:pt x="97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5" y="52"/>
                    <a:pt x="95" y="52"/>
                    <a:pt x="95" y="53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4"/>
                  </a:cubicBezTo>
                  <a:cubicBezTo>
                    <a:pt x="93" y="54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4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4" y="52"/>
                    <a:pt x="95" y="5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2" y="52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2" y="52"/>
                    <a:pt x="92" y="52"/>
                    <a:pt x="91" y="52"/>
                  </a:cubicBezTo>
                  <a:cubicBezTo>
                    <a:pt x="91" y="52"/>
                    <a:pt x="92" y="52"/>
                    <a:pt x="92" y="52"/>
                  </a:cubicBezTo>
                  <a:cubicBezTo>
                    <a:pt x="92" y="53"/>
                    <a:pt x="92" y="53"/>
                    <a:pt x="91" y="53"/>
                  </a:cubicBezTo>
                  <a:cubicBezTo>
                    <a:pt x="91" y="53"/>
                    <a:pt x="92" y="53"/>
                    <a:pt x="91" y="52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4"/>
                    <a:pt x="89" y="54"/>
                  </a:cubicBezTo>
                  <a:cubicBezTo>
                    <a:pt x="89" y="54"/>
                    <a:pt x="89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5"/>
                    <a:pt x="88" y="55"/>
                  </a:cubicBezTo>
                  <a:cubicBezTo>
                    <a:pt x="88" y="55"/>
                    <a:pt x="87" y="55"/>
                    <a:pt x="87" y="56"/>
                  </a:cubicBezTo>
                  <a:cubicBezTo>
                    <a:pt x="87" y="56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7" y="55"/>
                    <a:pt x="87" y="55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5" y="55"/>
                    <a:pt x="86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7"/>
                    <a:pt x="84" y="56"/>
                  </a:cubicBezTo>
                  <a:cubicBezTo>
                    <a:pt x="84" y="56"/>
                    <a:pt x="84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2" y="57"/>
                    <a:pt x="82" y="57"/>
                    <a:pt x="81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6"/>
                    <a:pt x="83" y="56"/>
                  </a:cubicBezTo>
                  <a:cubicBezTo>
                    <a:pt x="83" y="56"/>
                    <a:pt x="84" y="56"/>
                    <a:pt x="84" y="55"/>
                  </a:cubicBezTo>
                  <a:cubicBezTo>
                    <a:pt x="84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4"/>
                    <a:pt x="87" y="54"/>
                  </a:cubicBezTo>
                  <a:cubicBezTo>
                    <a:pt x="87" y="54"/>
                    <a:pt x="86" y="54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5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5"/>
                    <a:pt x="85" y="55"/>
                  </a:cubicBezTo>
                  <a:cubicBezTo>
                    <a:pt x="85" y="55"/>
                    <a:pt x="85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6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6"/>
                    <a:pt x="83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3" y="55"/>
                    <a:pt x="83" y="55"/>
                  </a:cubicBezTo>
                  <a:cubicBezTo>
                    <a:pt x="82" y="55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1" y="56"/>
                    <a:pt x="81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2" y="56"/>
                    <a:pt x="82" y="56"/>
                    <a:pt x="81" y="56"/>
                  </a:cubicBezTo>
                  <a:cubicBezTo>
                    <a:pt x="81" y="57"/>
                    <a:pt x="82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7"/>
                    <a:pt x="79" y="58"/>
                  </a:cubicBezTo>
                  <a:cubicBezTo>
                    <a:pt x="79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79" y="58"/>
                    <a:pt x="79" y="58"/>
                  </a:cubicBezTo>
                  <a:cubicBezTo>
                    <a:pt x="79" y="58"/>
                    <a:pt x="80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8"/>
                  </a:cubicBezTo>
                  <a:cubicBezTo>
                    <a:pt x="78" y="58"/>
                    <a:pt x="78" y="57"/>
                    <a:pt x="78" y="58"/>
                  </a:cubicBezTo>
                  <a:cubicBezTo>
                    <a:pt x="78" y="58"/>
                    <a:pt x="78" y="58"/>
                    <a:pt x="78" y="57"/>
                  </a:cubicBezTo>
                  <a:cubicBezTo>
                    <a:pt x="79" y="57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7" y="58"/>
                    <a:pt x="78" y="57"/>
                  </a:cubicBezTo>
                  <a:cubicBezTo>
                    <a:pt x="78" y="57"/>
                    <a:pt x="77" y="57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6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6" y="58"/>
                    <a:pt x="76" y="58"/>
                  </a:cubicBezTo>
                  <a:cubicBezTo>
                    <a:pt x="76" y="58"/>
                    <a:pt x="77" y="58"/>
                    <a:pt x="76" y="58"/>
                  </a:cubicBezTo>
                  <a:cubicBezTo>
                    <a:pt x="76" y="58"/>
                    <a:pt x="76" y="58"/>
                    <a:pt x="76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5" y="58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73" y="59"/>
                    <a:pt x="74" y="59"/>
                    <a:pt x="74" y="58"/>
                  </a:cubicBezTo>
                  <a:cubicBezTo>
                    <a:pt x="74" y="58"/>
                    <a:pt x="74" y="58"/>
                    <a:pt x="75" y="58"/>
                  </a:cubicBezTo>
                  <a:cubicBezTo>
                    <a:pt x="75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5"/>
                  </a:cubicBezTo>
                  <a:cubicBezTo>
                    <a:pt x="78" y="55"/>
                    <a:pt x="78" y="56"/>
                    <a:pt x="78" y="5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4"/>
                    <a:pt x="80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2"/>
                    <a:pt x="87" y="51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90" y="50"/>
                    <a:pt x="89" y="50"/>
                    <a:pt x="89" y="50"/>
                  </a:cubicBezTo>
                  <a:cubicBezTo>
                    <a:pt x="89" y="50"/>
                    <a:pt x="89" y="49"/>
                    <a:pt x="90" y="49"/>
                  </a:cubicBezTo>
                  <a:cubicBezTo>
                    <a:pt x="90" y="49"/>
                    <a:pt x="90" y="50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49"/>
                  </a:cubicBezTo>
                  <a:cubicBezTo>
                    <a:pt x="92" y="49"/>
                    <a:pt x="91" y="49"/>
                    <a:pt x="92" y="48"/>
                  </a:cubicBezTo>
                  <a:cubicBezTo>
                    <a:pt x="92" y="48"/>
                    <a:pt x="91" y="49"/>
                    <a:pt x="91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3" y="48"/>
                    <a:pt x="93" y="47"/>
                  </a:cubicBezTo>
                  <a:cubicBezTo>
                    <a:pt x="93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6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6" y="47"/>
                    <a:pt x="96" y="46"/>
                  </a:cubicBezTo>
                  <a:cubicBezTo>
                    <a:pt x="96" y="46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4" y="48"/>
                    <a:pt x="93" y="48"/>
                    <a:pt x="92" y="49"/>
                  </a:cubicBezTo>
                  <a:cubicBezTo>
                    <a:pt x="92" y="49"/>
                    <a:pt x="92" y="48"/>
                    <a:pt x="92" y="49"/>
                  </a:cubicBezTo>
                  <a:cubicBezTo>
                    <a:pt x="91" y="49"/>
                    <a:pt x="89" y="50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6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1"/>
                  </a:cubicBezTo>
                  <a:cubicBezTo>
                    <a:pt x="88" y="52"/>
                    <a:pt x="89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ubicBezTo>
                    <a:pt x="88" y="52"/>
                    <a:pt x="89" y="51"/>
                    <a:pt x="89" y="51"/>
                  </a:cubicBezTo>
                  <a:cubicBezTo>
                    <a:pt x="89" y="52"/>
                    <a:pt x="89" y="52"/>
                    <a:pt x="88" y="52"/>
                  </a:cubicBezTo>
                  <a:cubicBezTo>
                    <a:pt x="89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7" y="52"/>
                    <a:pt x="86" y="52"/>
                  </a:cubicBezTo>
                  <a:cubicBezTo>
                    <a:pt x="86" y="53"/>
                    <a:pt x="87" y="52"/>
                    <a:pt x="87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8" y="53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1"/>
                  </a:cubicBezTo>
                  <a:cubicBezTo>
                    <a:pt x="90" y="51"/>
                    <a:pt x="90" y="51"/>
                    <a:pt x="90" y="52"/>
                  </a:cubicBezTo>
                  <a:cubicBezTo>
                    <a:pt x="90" y="51"/>
                    <a:pt x="90" y="51"/>
                    <a:pt x="91" y="51"/>
                  </a:cubicBezTo>
                  <a:cubicBezTo>
                    <a:pt x="91" y="51"/>
                    <a:pt x="91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0"/>
                    <a:pt x="93" y="50"/>
                    <a:pt x="94" y="5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2" y="50"/>
                    <a:pt x="92" y="51"/>
                    <a:pt x="92" y="50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1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5" y="49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7"/>
                    <a:pt x="97" y="47"/>
                  </a:cubicBezTo>
                  <a:cubicBezTo>
                    <a:pt x="96" y="47"/>
                    <a:pt x="96" y="48"/>
                    <a:pt x="96" y="47"/>
                  </a:cubicBezTo>
                  <a:cubicBezTo>
                    <a:pt x="96" y="47"/>
                    <a:pt x="96" y="47"/>
                    <a:pt x="97" y="47"/>
                  </a:cubicBezTo>
                  <a:cubicBezTo>
                    <a:pt x="97" y="47"/>
                    <a:pt x="96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6"/>
                    <a:pt x="97" y="46"/>
                  </a:cubicBezTo>
                  <a:cubicBezTo>
                    <a:pt x="97" y="46"/>
                    <a:pt x="97" y="46"/>
                    <a:pt x="98" y="46"/>
                  </a:cubicBezTo>
                  <a:cubicBezTo>
                    <a:pt x="98" y="46"/>
                    <a:pt x="97" y="46"/>
                    <a:pt x="97" y="46"/>
                  </a:cubicBezTo>
                  <a:cubicBezTo>
                    <a:pt x="97" y="46"/>
                    <a:pt x="98" y="46"/>
                    <a:pt x="98" y="46"/>
                  </a:cubicBezTo>
                  <a:cubicBezTo>
                    <a:pt x="99" y="45"/>
                    <a:pt x="100" y="45"/>
                    <a:pt x="101" y="44"/>
                  </a:cubicBezTo>
                  <a:cubicBezTo>
                    <a:pt x="101" y="45"/>
                    <a:pt x="101" y="44"/>
                    <a:pt x="101" y="44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0" y="45"/>
                  </a:cubicBezTo>
                  <a:cubicBezTo>
                    <a:pt x="100" y="45"/>
                    <a:pt x="101" y="45"/>
                    <a:pt x="101" y="45"/>
                  </a:cubicBezTo>
                  <a:cubicBezTo>
                    <a:pt x="100" y="45"/>
                    <a:pt x="99" y="45"/>
                    <a:pt x="100" y="46"/>
                  </a:cubicBezTo>
                  <a:cubicBezTo>
                    <a:pt x="100" y="46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6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4"/>
                    <a:pt x="102" y="45"/>
                    <a:pt x="102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4" y="44"/>
                    <a:pt x="103" y="44"/>
                  </a:cubicBezTo>
                  <a:cubicBezTo>
                    <a:pt x="104" y="43"/>
                    <a:pt x="103" y="44"/>
                    <a:pt x="103" y="44"/>
                  </a:cubicBezTo>
                  <a:cubicBezTo>
                    <a:pt x="103" y="44"/>
                    <a:pt x="103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2"/>
                    <a:pt x="105" y="42"/>
                    <a:pt x="105" y="42"/>
                  </a:cubicBezTo>
                  <a:cubicBezTo>
                    <a:pt x="105" y="42"/>
                    <a:pt x="106" y="42"/>
                    <a:pt x="106" y="41"/>
                  </a:cubicBezTo>
                  <a:cubicBezTo>
                    <a:pt x="106" y="41"/>
                    <a:pt x="107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8" y="40"/>
                    <a:pt x="108" y="41"/>
                  </a:cubicBezTo>
                  <a:cubicBezTo>
                    <a:pt x="108" y="40"/>
                    <a:pt x="108" y="41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8" y="40"/>
                    <a:pt x="108" y="40"/>
                  </a:cubicBezTo>
                  <a:cubicBezTo>
                    <a:pt x="108" y="40"/>
                    <a:pt x="107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2"/>
                    <a:pt x="105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2" y="43"/>
                    <a:pt x="100" y="45"/>
                    <a:pt x="97" y="46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7" y="46"/>
                    <a:pt x="97" y="46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6"/>
                    <a:pt x="97" y="45"/>
                  </a:cubicBezTo>
                  <a:cubicBezTo>
                    <a:pt x="97" y="45"/>
                    <a:pt x="97" y="45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5"/>
                    <a:pt x="98" y="45"/>
                    <a:pt x="98" y="45"/>
                  </a:cubicBezTo>
                  <a:cubicBezTo>
                    <a:pt x="99" y="45"/>
                    <a:pt x="99" y="44"/>
                    <a:pt x="99" y="44"/>
                  </a:cubicBezTo>
                  <a:cubicBezTo>
                    <a:pt x="99" y="44"/>
                    <a:pt x="99" y="44"/>
                    <a:pt x="99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3"/>
                  </a:cubicBezTo>
                  <a:cubicBezTo>
                    <a:pt x="101" y="43"/>
                    <a:pt x="101" y="43"/>
                    <a:pt x="102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3" y="43"/>
                    <a:pt x="102" y="43"/>
                  </a:cubicBezTo>
                  <a:cubicBezTo>
                    <a:pt x="104" y="42"/>
                    <a:pt x="107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9" y="40"/>
                    <a:pt x="109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8"/>
                  </a:cubicBezTo>
                  <a:cubicBezTo>
                    <a:pt x="111" y="38"/>
                    <a:pt x="111" y="39"/>
                    <a:pt x="111" y="39"/>
                  </a:cubicBezTo>
                  <a:cubicBezTo>
                    <a:pt x="110" y="39"/>
                    <a:pt x="109" y="39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8"/>
                    <a:pt x="112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2" y="39"/>
                  </a:cubicBezTo>
                  <a:cubicBezTo>
                    <a:pt x="112" y="39"/>
                    <a:pt x="113" y="38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9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9"/>
                    <a:pt x="113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8" y="42"/>
                    <a:pt x="107" y="42"/>
                  </a:cubicBezTo>
                  <a:cubicBezTo>
                    <a:pt x="107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1"/>
                  </a:cubicBezTo>
                  <a:cubicBezTo>
                    <a:pt x="109" y="41"/>
                    <a:pt x="108" y="42"/>
                    <a:pt x="108" y="42"/>
                  </a:cubicBezTo>
                  <a:cubicBezTo>
                    <a:pt x="108" y="42"/>
                    <a:pt x="108" y="41"/>
                    <a:pt x="109" y="42"/>
                  </a:cubicBezTo>
                  <a:cubicBezTo>
                    <a:pt x="109" y="41"/>
                    <a:pt x="108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2"/>
                    <a:pt x="108" y="42"/>
                  </a:cubicBezTo>
                  <a:cubicBezTo>
                    <a:pt x="109" y="42"/>
                    <a:pt x="109" y="42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1"/>
                  </a:cubicBezTo>
                  <a:cubicBezTo>
                    <a:pt x="110" y="41"/>
                    <a:pt x="111" y="41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0" y="41"/>
                    <a:pt x="110" y="41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1"/>
                    <a:pt x="112" y="41"/>
                  </a:cubicBezTo>
                  <a:cubicBezTo>
                    <a:pt x="112" y="42"/>
                    <a:pt x="111" y="42"/>
                    <a:pt x="111" y="42"/>
                  </a:cubicBezTo>
                  <a:cubicBezTo>
                    <a:pt x="110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09" y="42"/>
                    <a:pt x="109" y="42"/>
                  </a:cubicBezTo>
                  <a:cubicBezTo>
                    <a:pt x="109" y="42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8" y="43"/>
                    <a:pt x="107" y="44"/>
                    <a:pt x="108" y="43"/>
                  </a:cubicBezTo>
                  <a:cubicBezTo>
                    <a:pt x="107" y="44"/>
                    <a:pt x="107" y="43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4"/>
                    <a:pt x="106" y="44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ubicBezTo>
                    <a:pt x="106" y="44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5" y="45"/>
                    <a:pt x="105" y="45"/>
                  </a:cubicBezTo>
                  <a:cubicBezTo>
                    <a:pt x="105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5" y="45"/>
                  </a:cubicBezTo>
                  <a:cubicBezTo>
                    <a:pt x="106" y="45"/>
                    <a:pt x="107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3"/>
                    <a:pt x="108" y="43"/>
                    <a:pt x="108" y="44"/>
                  </a:cubicBezTo>
                  <a:cubicBezTo>
                    <a:pt x="108" y="43"/>
                    <a:pt x="108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10" y="43"/>
                    <a:pt x="110" y="43"/>
                  </a:cubicBezTo>
                  <a:cubicBezTo>
                    <a:pt x="110" y="43"/>
                    <a:pt x="110" y="44"/>
                    <a:pt x="110" y="43"/>
                  </a:cubicBezTo>
                  <a:cubicBezTo>
                    <a:pt x="109" y="44"/>
                    <a:pt x="108" y="44"/>
                    <a:pt x="108" y="45"/>
                  </a:cubicBezTo>
                  <a:cubicBezTo>
                    <a:pt x="108" y="45"/>
                    <a:pt x="108" y="44"/>
                    <a:pt x="108" y="44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9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10" y="44"/>
                    <a:pt x="110" y="44"/>
                    <a:pt x="111" y="43"/>
                  </a:cubicBezTo>
                  <a:cubicBezTo>
                    <a:pt x="110" y="44"/>
                    <a:pt x="109" y="45"/>
                    <a:pt x="108" y="45"/>
                  </a:cubicBezTo>
                  <a:cubicBezTo>
                    <a:pt x="108" y="44"/>
                    <a:pt x="110" y="44"/>
                    <a:pt x="111" y="43"/>
                  </a:cubicBezTo>
                  <a:cubicBezTo>
                    <a:pt x="111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0" y="43"/>
                    <a:pt x="110" y="44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0" y="55"/>
                    <a:pt x="80" y="55"/>
                  </a:cubicBezTo>
                  <a:cubicBezTo>
                    <a:pt x="81" y="55"/>
                    <a:pt x="81" y="54"/>
                    <a:pt x="81" y="54"/>
                  </a:cubicBezTo>
                  <a:close/>
                  <a:moveTo>
                    <a:pt x="91" y="49"/>
                  </a:moveTo>
                  <a:cubicBezTo>
                    <a:pt x="91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lose/>
                  <a:moveTo>
                    <a:pt x="81" y="55"/>
                  </a:moveTo>
                  <a:cubicBezTo>
                    <a:pt x="80" y="55"/>
                    <a:pt x="80" y="56"/>
                    <a:pt x="80" y="56"/>
                  </a:cubicBezTo>
                  <a:cubicBezTo>
                    <a:pt x="80" y="56"/>
                    <a:pt x="80" y="55"/>
                    <a:pt x="81" y="55"/>
                  </a:cubicBezTo>
                  <a:close/>
                  <a:moveTo>
                    <a:pt x="83" y="54"/>
                  </a:moveTo>
                  <a:cubicBezTo>
                    <a:pt x="84" y="54"/>
                    <a:pt x="84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4"/>
                    <a:pt x="84" y="54"/>
                  </a:cubicBezTo>
                  <a:cubicBezTo>
                    <a:pt x="84" y="54"/>
                    <a:pt x="84" y="53"/>
                    <a:pt x="84" y="53"/>
                  </a:cubicBezTo>
                  <a:cubicBezTo>
                    <a:pt x="83" y="54"/>
                    <a:pt x="82" y="54"/>
                    <a:pt x="81" y="55"/>
                  </a:cubicBezTo>
                  <a:cubicBezTo>
                    <a:pt x="82" y="55"/>
                    <a:pt x="83" y="54"/>
                    <a:pt x="83" y="54"/>
                  </a:cubicBezTo>
                  <a:cubicBezTo>
                    <a:pt x="83" y="54"/>
                    <a:pt x="84" y="54"/>
                    <a:pt x="83" y="54"/>
                  </a:cubicBezTo>
                  <a:close/>
                  <a:moveTo>
                    <a:pt x="78" y="57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6"/>
                    <a:pt x="79" y="56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6"/>
                  </a:cubicBezTo>
                  <a:cubicBezTo>
                    <a:pt x="79" y="57"/>
                    <a:pt x="78" y="57"/>
                    <a:pt x="78" y="57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6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0" y="57"/>
                  </a:moveTo>
                  <a:cubicBezTo>
                    <a:pt x="80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79" y="57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6"/>
                    <a:pt x="81" y="57"/>
                    <a:pt x="81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1" y="57"/>
                    <a:pt x="81" y="57"/>
                  </a:cubicBezTo>
                  <a:cubicBezTo>
                    <a:pt x="81" y="57"/>
                    <a:pt x="80" y="57"/>
                    <a:pt x="80" y="57"/>
                  </a:cubicBezTo>
                  <a:cubicBezTo>
                    <a:pt x="81" y="56"/>
                    <a:pt x="81" y="57"/>
                    <a:pt x="81" y="56"/>
                  </a:cubicBezTo>
                  <a:cubicBezTo>
                    <a:pt x="81" y="56"/>
                    <a:pt x="80" y="57"/>
                    <a:pt x="80" y="57"/>
                  </a:cubicBezTo>
                  <a:close/>
                  <a:moveTo>
                    <a:pt x="86" y="53"/>
                  </a:moveTo>
                  <a:cubicBezTo>
                    <a:pt x="87" y="54"/>
                    <a:pt x="87" y="53"/>
                    <a:pt x="88" y="53"/>
                  </a:cubicBezTo>
                  <a:cubicBezTo>
                    <a:pt x="88" y="52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5" y="54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4"/>
                    <a:pt x="85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5" y="54"/>
                    <a:pt x="85" y="53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3" y="55"/>
                    <a:pt x="83" y="55"/>
                  </a:cubicBezTo>
                  <a:cubicBezTo>
                    <a:pt x="84" y="54"/>
                    <a:pt x="84" y="54"/>
                    <a:pt x="85" y="54"/>
                  </a:cubicBezTo>
                  <a:cubicBezTo>
                    <a:pt x="85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3"/>
                  </a:cubicBezTo>
                  <a:close/>
                  <a:moveTo>
                    <a:pt x="86" y="54"/>
                  </a:moveTo>
                  <a:cubicBezTo>
                    <a:pt x="86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lose/>
                  <a:moveTo>
                    <a:pt x="103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lose/>
                  <a:moveTo>
                    <a:pt x="105" y="50"/>
                  </a:move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50"/>
                  </a:cubicBezTo>
                  <a:close/>
                  <a:moveTo>
                    <a:pt x="102" y="50"/>
                  </a:moveTo>
                  <a:cubicBezTo>
                    <a:pt x="102" y="50"/>
                    <a:pt x="102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1"/>
                    <a:pt x="102" y="51"/>
                  </a:cubicBezTo>
                  <a:cubicBezTo>
                    <a:pt x="102" y="51"/>
                    <a:pt x="103" y="50"/>
                    <a:pt x="102" y="51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1"/>
                    <a:pt x="102" y="50"/>
                    <a:pt x="102" y="50"/>
                  </a:cubicBezTo>
                  <a:close/>
                  <a:moveTo>
                    <a:pt x="102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lose/>
                  <a:moveTo>
                    <a:pt x="100" y="50"/>
                  </a:move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0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lose/>
                  <a:moveTo>
                    <a:pt x="95" y="52"/>
                  </a:move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lose/>
                  <a:moveTo>
                    <a:pt x="97" y="51"/>
                  </a:moveTo>
                  <a:cubicBezTo>
                    <a:pt x="97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2"/>
                    <a:pt x="96" y="52"/>
                    <a:pt x="95" y="52"/>
                  </a:cubicBezTo>
                  <a:cubicBezTo>
                    <a:pt x="96" y="52"/>
                    <a:pt x="95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1"/>
                    <a:pt x="96" y="52"/>
                    <a:pt x="96" y="51"/>
                  </a:cubicBezTo>
                  <a:close/>
                  <a:moveTo>
                    <a:pt x="97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6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9" y="44"/>
                    <a:pt x="109" y="44"/>
                  </a:cubicBezTo>
                  <a:cubicBezTo>
                    <a:pt x="109" y="44"/>
                    <a:pt x="109" y="44"/>
                    <a:pt x="108" y="44"/>
                  </a:cubicBezTo>
                  <a:close/>
                  <a:moveTo>
                    <a:pt x="106" y="45"/>
                  </a:move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6" y="45"/>
                    <a:pt x="106" y="45"/>
                  </a:cubicBezTo>
                  <a:close/>
                  <a:moveTo>
                    <a:pt x="104" y="46"/>
                  </a:moveTo>
                  <a:cubicBezTo>
                    <a:pt x="105" y="46"/>
                    <a:pt x="104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5"/>
                  </a:cubicBez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5" y="45"/>
                    <a:pt x="105" y="45"/>
                  </a:cubicBezTo>
                  <a:cubicBezTo>
                    <a:pt x="104" y="45"/>
                    <a:pt x="104" y="46"/>
                    <a:pt x="104" y="46"/>
                  </a:cubicBezTo>
                  <a:close/>
                  <a:moveTo>
                    <a:pt x="102" y="47"/>
                  </a:moveTo>
                  <a:cubicBezTo>
                    <a:pt x="103" y="47"/>
                    <a:pt x="103" y="47"/>
                    <a:pt x="104" y="47"/>
                  </a:cubicBezTo>
                  <a:cubicBezTo>
                    <a:pt x="104" y="47"/>
                    <a:pt x="104" y="47"/>
                    <a:pt x="104" y="46"/>
                  </a:cubicBez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2" y="47"/>
                  </a:cubicBezTo>
                  <a:close/>
                  <a:moveTo>
                    <a:pt x="99" y="48"/>
                  </a:moveTo>
                  <a:cubicBezTo>
                    <a:pt x="99" y="49"/>
                    <a:pt x="99" y="49"/>
                    <a:pt x="99" y="49"/>
                  </a:cubicBezTo>
                  <a:cubicBezTo>
                    <a:pt x="99" y="48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8"/>
                  </a:cubicBezTo>
                  <a:cubicBezTo>
                    <a:pt x="99" y="49"/>
                    <a:pt x="99" y="48"/>
                    <a:pt x="99" y="48"/>
                  </a:cubicBezTo>
                  <a:cubicBezTo>
                    <a:pt x="99" y="49"/>
                    <a:pt x="99" y="48"/>
                    <a:pt x="98" y="49"/>
                  </a:cubicBezTo>
                  <a:cubicBezTo>
                    <a:pt x="98" y="49"/>
                    <a:pt x="99" y="49"/>
                    <a:pt x="99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9" y="49"/>
                  </a:cubicBezTo>
                  <a:cubicBezTo>
                    <a:pt x="99" y="49"/>
                    <a:pt x="100" y="49"/>
                    <a:pt x="99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99" y="48"/>
                    <a:pt x="100" y="48"/>
                  </a:cubicBezTo>
                  <a:cubicBezTo>
                    <a:pt x="100" y="48"/>
                    <a:pt x="100" y="48"/>
                    <a:pt x="101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7"/>
                    <a:pt x="101" y="47"/>
                  </a:cubicBezTo>
                  <a:cubicBezTo>
                    <a:pt x="101" y="47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104" y="45"/>
                  </a:move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5"/>
                  </a:cubicBezTo>
                  <a:close/>
                  <a:moveTo>
                    <a:pt x="102" y="47"/>
                  </a:move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2" y="47"/>
                    <a:pt x="102" y="47"/>
                  </a:cubicBezTo>
                  <a:close/>
                  <a:moveTo>
                    <a:pt x="103" y="46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lose/>
                  <a:moveTo>
                    <a:pt x="101" y="47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7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8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1" y="47"/>
                  </a:cubicBezTo>
                  <a:cubicBezTo>
                    <a:pt x="101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1" y="47"/>
                  </a:cubicBezTo>
                  <a:close/>
                  <a:moveTo>
                    <a:pt x="99" y="48"/>
                  </a:moveTo>
                  <a:cubicBezTo>
                    <a:pt x="100" y="48"/>
                    <a:pt x="100" y="48"/>
                    <a:pt x="100" y="48"/>
                  </a:cubicBezTo>
                  <a:cubicBezTo>
                    <a:pt x="100" y="48"/>
                    <a:pt x="100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8" y="48"/>
                    <a:pt x="98" y="48"/>
                  </a:cubicBezTo>
                  <a:cubicBezTo>
                    <a:pt x="98" y="49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97" y="49"/>
                  </a:moveTo>
                  <a:cubicBezTo>
                    <a:pt x="97" y="49"/>
                    <a:pt x="97" y="49"/>
                    <a:pt x="97" y="49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96" y="50"/>
                  </a:moveTo>
                  <a:cubicBezTo>
                    <a:pt x="95" y="50"/>
                    <a:pt x="96" y="50"/>
                    <a:pt x="96" y="50"/>
                  </a:cubicBezTo>
                  <a:cubicBezTo>
                    <a:pt x="96" y="50"/>
                    <a:pt x="95" y="50"/>
                    <a:pt x="95" y="50"/>
                  </a:cubicBezTo>
                  <a:cubicBezTo>
                    <a:pt x="95" y="50"/>
                    <a:pt x="95" y="50"/>
                    <a:pt x="96" y="50"/>
                  </a:cubicBezTo>
                  <a:close/>
                  <a:moveTo>
                    <a:pt x="94" y="50"/>
                  </a:moveTo>
                  <a:cubicBezTo>
                    <a:pt x="94" y="50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0"/>
                    <a:pt x="94" y="50"/>
                  </a:cubicBezTo>
                  <a:close/>
                  <a:moveTo>
                    <a:pt x="102" y="46"/>
                  </a:moveTo>
                  <a:cubicBezTo>
                    <a:pt x="102" y="46"/>
                    <a:pt x="101" y="46"/>
                    <a:pt x="101" y="46"/>
                  </a:cubicBezTo>
                  <a:cubicBezTo>
                    <a:pt x="101" y="46"/>
                    <a:pt x="102" y="46"/>
                    <a:pt x="102" y="47"/>
                  </a:cubicBezTo>
                  <a:cubicBezTo>
                    <a:pt x="102" y="46"/>
                    <a:pt x="103" y="46"/>
                    <a:pt x="103" y="46"/>
                  </a:cubicBezTo>
                  <a:cubicBezTo>
                    <a:pt x="103" y="46"/>
                    <a:pt x="102" y="46"/>
                    <a:pt x="102" y="46"/>
                  </a:cubicBezTo>
                  <a:close/>
                  <a:moveTo>
                    <a:pt x="100" y="47"/>
                  </a:move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1" y="47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1" y="46"/>
                    <a:pt x="100" y="46"/>
                    <a:pt x="100" y="47"/>
                  </a:cubicBezTo>
                  <a:cubicBezTo>
                    <a:pt x="100" y="47"/>
                    <a:pt x="100" y="46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8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100" y="47"/>
                  </a:cubicBezTo>
                  <a:close/>
                  <a:moveTo>
                    <a:pt x="105" y="44"/>
                  </a:moveTo>
                  <a:cubicBezTo>
                    <a:pt x="105" y="44"/>
                    <a:pt x="105" y="44"/>
                    <a:pt x="106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lose/>
                  <a:moveTo>
                    <a:pt x="104" y="44"/>
                  </a:moveTo>
                  <a:cubicBezTo>
                    <a:pt x="104" y="44"/>
                    <a:pt x="105" y="44"/>
                    <a:pt x="104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4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4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8" y="43"/>
                    <a:pt x="107" y="43"/>
                  </a:cubicBez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6" y="44"/>
                  </a:cubicBezTo>
                  <a:close/>
                  <a:moveTo>
                    <a:pt x="106" y="43"/>
                  </a:move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7" y="44"/>
                    <a:pt x="106" y="43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8" y="43"/>
                  </a:moveTo>
                  <a:cubicBezTo>
                    <a:pt x="108" y="43"/>
                    <a:pt x="107" y="43"/>
                    <a:pt x="107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lose/>
                  <a:moveTo>
                    <a:pt x="109" y="42"/>
                  </a:moveTo>
                  <a:cubicBezTo>
                    <a:pt x="109" y="42"/>
                    <a:pt x="108" y="42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3"/>
                    <a:pt x="108" y="43"/>
                  </a:cubicBezTo>
                  <a:cubicBezTo>
                    <a:pt x="109" y="42"/>
                    <a:pt x="108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lose/>
                  <a:moveTo>
                    <a:pt x="110" y="41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lose/>
                  <a:moveTo>
                    <a:pt x="106" y="43"/>
                  </a:moveTo>
                  <a:cubicBezTo>
                    <a:pt x="106" y="43"/>
                    <a:pt x="106" y="43"/>
                    <a:pt x="106" y="44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6" y="43"/>
                    <a:pt x="106" y="43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8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lose/>
                  <a:moveTo>
                    <a:pt x="110" y="40"/>
                  </a:move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lose/>
                  <a:moveTo>
                    <a:pt x="108" y="41"/>
                  </a:move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ubicBezTo>
                    <a:pt x="109" y="40"/>
                    <a:pt x="109" y="40"/>
                    <a:pt x="108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06" y="42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lose/>
                  <a:moveTo>
                    <a:pt x="105" y="43"/>
                  </a:move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4"/>
                    <a:pt x="105" y="43"/>
                  </a:cubicBezTo>
                  <a:cubicBezTo>
                    <a:pt x="105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2"/>
                    <a:pt x="107" y="42"/>
                  </a:cubicBezTo>
                  <a:cubicBezTo>
                    <a:pt x="106" y="42"/>
                    <a:pt x="106" y="43"/>
                    <a:pt x="106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3"/>
                    <a:pt x="104" y="43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4"/>
                    <a:pt x="104" y="43"/>
                    <a:pt x="105" y="43"/>
                  </a:cubicBezTo>
                  <a:close/>
                  <a:moveTo>
                    <a:pt x="103" y="44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5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3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2" y="44"/>
                  </a:moveTo>
                  <a:cubicBezTo>
                    <a:pt x="103" y="44"/>
                    <a:pt x="103" y="44"/>
                    <a:pt x="103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2" y="44"/>
                  </a:cubicBezTo>
                  <a:close/>
                  <a:moveTo>
                    <a:pt x="99" y="46"/>
                  </a:move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99" y="46"/>
                    <a:pt x="99" y="46"/>
                  </a:cubicBezTo>
                  <a:close/>
                  <a:moveTo>
                    <a:pt x="99" y="46"/>
                  </a:move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8" y="46"/>
                    <a:pt x="99" y="47"/>
                  </a:cubicBezTo>
                  <a:cubicBezTo>
                    <a:pt x="99" y="46"/>
                    <a:pt x="99" y="47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lose/>
                  <a:moveTo>
                    <a:pt x="97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100" y="46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5"/>
                    <a:pt x="99" y="45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7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7" y="46"/>
                    <a:pt x="97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7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6" y="49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8" y="49"/>
                    <a:pt x="98" y="4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9" y="47"/>
                    <a:pt x="99" y="47"/>
                  </a:cubicBezTo>
                  <a:cubicBezTo>
                    <a:pt x="99" y="47"/>
                    <a:pt x="98" y="48"/>
                    <a:pt x="98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6"/>
                    <a:pt x="100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6"/>
                  </a:cubicBezTo>
                  <a:cubicBezTo>
                    <a:pt x="99" y="47"/>
                    <a:pt x="98" y="47"/>
                    <a:pt x="98" y="47"/>
                  </a:cubicBezTo>
                  <a:cubicBezTo>
                    <a:pt x="98" y="47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7" y="48"/>
                    <a:pt x="97" y="48"/>
                    <a:pt x="98" y="47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lose/>
                  <a:moveTo>
                    <a:pt x="95" y="50"/>
                  </a:moveTo>
                  <a:cubicBezTo>
                    <a:pt x="95" y="50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49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lose/>
                  <a:moveTo>
                    <a:pt x="96" y="49"/>
                  </a:moveTo>
                  <a:cubicBezTo>
                    <a:pt x="96" y="49"/>
                    <a:pt x="95" y="49"/>
                    <a:pt x="95" y="50"/>
                  </a:cubicBezTo>
                  <a:cubicBezTo>
                    <a:pt x="95" y="49"/>
                    <a:pt x="95" y="50"/>
                    <a:pt x="95" y="50"/>
                  </a:cubicBezTo>
                  <a:cubicBezTo>
                    <a:pt x="95" y="49"/>
                    <a:pt x="96" y="49"/>
                    <a:pt x="96" y="49"/>
                  </a:cubicBezTo>
                  <a:close/>
                  <a:moveTo>
                    <a:pt x="94" y="50"/>
                  </a:moveTo>
                  <a:cubicBezTo>
                    <a:pt x="93" y="50"/>
                    <a:pt x="93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1"/>
                    <a:pt x="92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0"/>
                    <a:pt x="94" y="50"/>
                  </a:cubicBezTo>
                  <a:cubicBezTo>
                    <a:pt x="94" y="51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lose/>
                  <a:moveTo>
                    <a:pt x="92" y="51"/>
                  </a:moveTo>
                  <a:cubicBezTo>
                    <a:pt x="92" y="51"/>
                    <a:pt x="91" y="51"/>
                    <a:pt x="91" y="52"/>
                  </a:cubicBezTo>
                  <a:cubicBezTo>
                    <a:pt x="91" y="51"/>
                    <a:pt x="92" y="51"/>
                    <a:pt x="92" y="51"/>
                  </a:cubicBezTo>
                  <a:close/>
                  <a:moveTo>
                    <a:pt x="88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8" y="53"/>
                  </a:cubicBezTo>
                  <a:cubicBezTo>
                    <a:pt x="87" y="53"/>
                    <a:pt x="88" y="53"/>
                    <a:pt x="88" y="53"/>
                  </a:cubicBezTo>
                  <a:close/>
                  <a:moveTo>
                    <a:pt x="87" y="54"/>
                  </a:moveTo>
                  <a:cubicBezTo>
                    <a:pt x="87" y="54"/>
                    <a:pt x="86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5"/>
                  </a:cubicBezTo>
                  <a:cubicBezTo>
                    <a:pt x="84" y="56"/>
                    <a:pt x="84" y="55"/>
                    <a:pt x="85" y="55"/>
                  </a:cubicBezTo>
                  <a:cubicBezTo>
                    <a:pt x="84" y="55"/>
                    <a:pt x="84" y="55"/>
                    <a:pt x="84" y="56"/>
                  </a:cubicBez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5"/>
                  </a:moveTo>
                  <a:cubicBezTo>
                    <a:pt x="85" y="55"/>
                    <a:pt x="85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lose/>
                  <a:moveTo>
                    <a:pt x="89" y="53"/>
                  </a:move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9" y="53"/>
                    <a:pt x="89" y="53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3" y="51"/>
                    <a:pt x="93" y="51"/>
                    <a:pt x="92" y="51"/>
                  </a:cubicBezTo>
                  <a:cubicBezTo>
                    <a:pt x="92" y="51"/>
                    <a:pt x="93" y="51"/>
                    <a:pt x="92" y="51"/>
                  </a:cubicBezTo>
                  <a:cubicBezTo>
                    <a:pt x="92" y="51"/>
                    <a:pt x="92" y="52"/>
                    <a:pt x="92" y="51"/>
                  </a:cubicBezTo>
                  <a:cubicBezTo>
                    <a:pt x="92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0" y="53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0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0" y="53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2"/>
                    <a:pt x="92" y="52"/>
                    <a:pt x="92" y="52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lnTo>
                    <a:pt x="94" y="51"/>
                  </a:lnTo>
                  <a:close/>
                  <a:moveTo>
                    <a:pt x="95" y="50"/>
                  </a:moveTo>
                  <a:cubicBezTo>
                    <a:pt x="95" y="50"/>
                    <a:pt x="95" y="50"/>
                    <a:pt x="94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5" y="51"/>
                    <a:pt x="95" y="51"/>
                    <a:pt x="95" y="50"/>
                  </a:cubicBezTo>
                  <a:close/>
                  <a:moveTo>
                    <a:pt x="98" y="49"/>
                  </a:move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lose/>
                  <a:moveTo>
                    <a:pt x="97" y="49"/>
                  </a:moveTo>
                  <a:cubicBezTo>
                    <a:pt x="98" y="49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8" y="50"/>
                    <a:pt x="98" y="50"/>
                  </a:cubicBezTo>
                  <a:cubicBezTo>
                    <a:pt x="98" y="49"/>
                    <a:pt x="99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7" y="49"/>
                    <a:pt x="97" y="49"/>
                  </a:cubicBezTo>
                  <a:cubicBezTo>
                    <a:pt x="97" y="50"/>
                    <a:pt x="97" y="49"/>
                    <a:pt x="97" y="49"/>
                  </a:cubicBezTo>
                  <a:close/>
                  <a:moveTo>
                    <a:pt x="93" y="52"/>
                  </a:moveTo>
                  <a:cubicBezTo>
                    <a:pt x="93" y="52"/>
                    <a:pt x="94" y="51"/>
                    <a:pt x="94" y="51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7" y="50"/>
                  </a:moveTo>
                  <a:cubicBezTo>
                    <a:pt x="97" y="50"/>
                    <a:pt x="97" y="50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7" y="50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96" y="50"/>
                  </a:moveTo>
                  <a:cubicBezTo>
                    <a:pt x="96" y="50"/>
                    <a:pt x="96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7" y="50"/>
                    <a:pt x="97" y="50"/>
                    <a:pt x="96" y="50"/>
                  </a:cubicBezTo>
                  <a:close/>
                  <a:moveTo>
                    <a:pt x="100" y="48"/>
                  </a:moveTo>
                  <a:cubicBezTo>
                    <a:pt x="100" y="48"/>
                    <a:pt x="101" y="48"/>
                    <a:pt x="101" y="48"/>
                  </a:cubicBezTo>
                  <a:cubicBezTo>
                    <a:pt x="101" y="48"/>
                    <a:pt x="100" y="48"/>
                    <a:pt x="100" y="48"/>
                  </a:cubicBezTo>
                  <a:close/>
                  <a:moveTo>
                    <a:pt x="103" y="47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3" y="47"/>
                  </a:move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4" y="47"/>
                  </a:moveTo>
                  <a:cubicBezTo>
                    <a:pt x="104" y="47"/>
                    <a:pt x="104" y="46"/>
                    <a:pt x="104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lose/>
                  <a:moveTo>
                    <a:pt x="103" y="47"/>
                  </a:moveTo>
                  <a:cubicBezTo>
                    <a:pt x="103" y="48"/>
                    <a:pt x="102" y="48"/>
                    <a:pt x="102" y="48"/>
                  </a:cubicBezTo>
                  <a:cubicBezTo>
                    <a:pt x="102" y="48"/>
                    <a:pt x="103" y="48"/>
                    <a:pt x="103" y="47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7" y="44"/>
                    <a:pt x="107" y="45"/>
                  </a:cubicBezTo>
                  <a:cubicBezTo>
                    <a:pt x="107" y="44"/>
                    <a:pt x="108" y="44"/>
                    <a:pt x="108" y="44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lose/>
                  <a:moveTo>
                    <a:pt x="112" y="43"/>
                  </a:move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lose/>
                  <a:moveTo>
                    <a:pt x="95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5" y="53"/>
                    <a:pt x="95" y="53"/>
                  </a:cubicBezTo>
                  <a:close/>
                  <a:moveTo>
                    <a:pt x="77" y="64"/>
                  </a:moveTo>
                  <a:cubicBezTo>
                    <a:pt x="77" y="64"/>
                    <a:pt x="78" y="64"/>
                    <a:pt x="78" y="64"/>
                  </a:cubicBezTo>
                  <a:cubicBezTo>
                    <a:pt x="78" y="64"/>
                    <a:pt x="78" y="64"/>
                    <a:pt x="77" y="64"/>
                  </a:cubicBezTo>
                  <a:cubicBezTo>
                    <a:pt x="77" y="64"/>
                    <a:pt x="78" y="65"/>
                    <a:pt x="77" y="65"/>
                  </a:cubicBezTo>
                  <a:cubicBezTo>
                    <a:pt x="77" y="64"/>
                    <a:pt x="77" y="64"/>
                    <a:pt x="77" y="64"/>
                  </a:cubicBezTo>
                  <a:close/>
                  <a:moveTo>
                    <a:pt x="80" y="68"/>
                  </a:moveTo>
                  <a:cubicBezTo>
                    <a:pt x="80" y="67"/>
                    <a:pt x="80" y="68"/>
                    <a:pt x="80" y="68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77" y="62"/>
                  </a:move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2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3"/>
                    <a:pt x="77" y="64"/>
                  </a:cubicBezTo>
                  <a:cubicBezTo>
                    <a:pt x="77" y="64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2"/>
                  </a:cubicBezTo>
                  <a:cubicBezTo>
                    <a:pt x="79" y="62"/>
                    <a:pt x="79" y="62"/>
                    <a:pt x="80" y="63"/>
                  </a:cubicBezTo>
                  <a:cubicBezTo>
                    <a:pt x="79" y="63"/>
                    <a:pt x="79" y="63"/>
                    <a:pt x="78" y="63"/>
                  </a:cubicBezTo>
                  <a:close/>
                  <a:moveTo>
                    <a:pt x="76" y="62"/>
                  </a:move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7" y="62"/>
                    <a:pt x="76" y="62"/>
                  </a:cubicBezTo>
                  <a:close/>
                  <a:moveTo>
                    <a:pt x="80" y="68"/>
                  </a:move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81" y="59"/>
                  </a:move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59"/>
                    <a:pt x="82" y="59"/>
                    <a:pt x="83" y="58"/>
                  </a:cubicBezTo>
                  <a:cubicBezTo>
                    <a:pt x="83" y="58"/>
                    <a:pt x="83" y="58"/>
                    <a:pt x="84" y="58"/>
                  </a:cubicBezTo>
                  <a:cubicBezTo>
                    <a:pt x="83" y="59"/>
                    <a:pt x="83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1" y="59"/>
                    <a:pt x="82" y="59"/>
                    <a:pt x="82" y="59"/>
                  </a:cubicBezTo>
                  <a:cubicBezTo>
                    <a:pt x="81" y="60"/>
                    <a:pt x="81" y="59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0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1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8" y="61"/>
                    <a:pt x="78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7" y="61"/>
                    <a:pt x="77" y="61"/>
                  </a:cubicBezTo>
                  <a:cubicBezTo>
                    <a:pt x="77" y="61"/>
                    <a:pt x="78" y="60"/>
                    <a:pt x="78" y="61"/>
                  </a:cubicBezTo>
                  <a:cubicBezTo>
                    <a:pt x="78" y="61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0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2" y="58"/>
                    <a:pt x="82" y="58"/>
                  </a:cubicBezTo>
                  <a:cubicBezTo>
                    <a:pt x="82" y="58"/>
                    <a:pt x="81" y="59"/>
                    <a:pt x="82" y="59"/>
                  </a:cubicBezTo>
                  <a:cubicBezTo>
                    <a:pt x="82" y="59"/>
                    <a:pt x="81" y="59"/>
                    <a:pt x="81" y="59"/>
                  </a:cubicBezTo>
                  <a:close/>
                  <a:moveTo>
                    <a:pt x="79" y="60"/>
                  </a:move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0" y="64"/>
                    <a:pt x="80" y="64"/>
                    <a:pt x="80" y="65"/>
                  </a:cubicBezTo>
                  <a:close/>
                  <a:moveTo>
                    <a:pt x="81" y="67"/>
                  </a:moveTo>
                  <a:cubicBezTo>
                    <a:pt x="81" y="66"/>
                    <a:pt x="81" y="66"/>
                    <a:pt x="81" y="67"/>
                  </a:cubicBezTo>
                  <a:cubicBezTo>
                    <a:pt x="81" y="67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2" y="66"/>
                    <a:pt x="81" y="66"/>
                    <a:pt x="81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5"/>
                    <a:pt x="83" y="65"/>
                    <a:pt x="83" y="66"/>
                  </a:cubicBezTo>
                  <a:cubicBezTo>
                    <a:pt x="82" y="66"/>
                    <a:pt x="82" y="66"/>
                    <a:pt x="81" y="67"/>
                  </a:cubicBezTo>
                  <a:close/>
                  <a:moveTo>
                    <a:pt x="81" y="66"/>
                  </a:move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5"/>
                    <a:pt x="82" y="65"/>
                  </a:cubicBezTo>
                  <a:cubicBezTo>
                    <a:pt x="82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4"/>
                  </a:cubicBezTo>
                  <a:cubicBezTo>
                    <a:pt x="81" y="64"/>
                    <a:pt x="81" y="64"/>
                    <a:pt x="81" y="65"/>
                  </a:cubicBezTo>
                  <a:cubicBezTo>
                    <a:pt x="81" y="64"/>
                    <a:pt x="81" y="64"/>
                    <a:pt x="82" y="64"/>
                  </a:cubicBezTo>
                  <a:cubicBezTo>
                    <a:pt x="82" y="64"/>
                    <a:pt x="81" y="64"/>
                    <a:pt x="81" y="65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3" y="64"/>
                    <a:pt x="82" y="64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2" y="64"/>
                    <a:pt x="82" y="64"/>
                  </a:cubicBezTo>
                  <a:cubicBezTo>
                    <a:pt x="82" y="64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3" y="64"/>
                    <a:pt x="84" y="64"/>
                    <a:pt x="84" y="63"/>
                  </a:cubicBezTo>
                  <a:cubicBezTo>
                    <a:pt x="84" y="63"/>
                    <a:pt x="84" y="64"/>
                    <a:pt x="85" y="64"/>
                  </a:cubicBezTo>
                  <a:cubicBezTo>
                    <a:pt x="84" y="64"/>
                    <a:pt x="83" y="65"/>
                    <a:pt x="82" y="65"/>
                  </a:cubicBezTo>
                  <a:cubicBezTo>
                    <a:pt x="82" y="65"/>
                    <a:pt x="81" y="65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lose/>
                  <a:moveTo>
                    <a:pt x="81" y="63"/>
                  </a:moveTo>
                  <a:cubicBezTo>
                    <a:pt x="81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2" y="62"/>
                  </a:cubicBezTo>
                  <a:cubicBezTo>
                    <a:pt x="82" y="62"/>
                    <a:pt x="82" y="62"/>
                    <a:pt x="81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3"/>
                    <a:pt x="82" y="63"/>
                    <a:pt x="81" y="63"/>
                  </a:cubicBezTo>
                  <a:close/>
                  <a:moveTo>
                    <a:pt x="82" y="63"/>
                  </a:move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3" y="63"/>
                    <a:pt x="83" y="63"/>
                  </a:cubicBezTo>
                  <a:cubicBezTo>
                    <a:pt x="83" y="63"/>
                    <a:pt x="83" y="63"/>
                    <a:pt x="82" y="63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8"/>
                    <a:pt x="81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7"/>
                    <a:pt x="80" y="58"/>
                  </a:cubicBezTo>
                  <a:cubicBezTo>
                    <a:pt x="80" y="57"/>
                    <a:pt x="80" y="58"/>
                    <a:pt x="80" y="58"/>
                  </a:cubicBezTo>
                  <a:cubicBezTo>
                    <a:pt x="80" y="57"/>
                    <a:pt x="80" y="57"/>
                    <a:pt x="81" y="57"/>
                  </a:cubicBezTo>
                  <a:close/>
                  <a:moveTo>
                    <a:pt x="83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4" y="61"/>
                  </a:cubicBezTo>
                  <a:cubicBezTo>
                    <a:pt x="84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0"/>
                    <a:pt x="84" y="60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3" y="61"/>
                  </a:cubicBezTo>
                  <a:cubicBezTo>
                    <a:pt x="83" y="62"/>
                    <a:pt x="84" y="61"/>
                    <a:pt x="84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3" y="61"/>
                    <a:pt x="83" y="61"/>
                  </a:cubicBezTo>
                  <a:close/>
                  <a:moveTo>
                    <a:pt x="84" y="62"/>
                  </a:move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3" y="62"/>
                    <a:pt x="83" y="62"/>
                  </a:cubicBezTo>
                  <a:cubicBezTo>
                    <a:pt x="83" y="63"/>
                    <a:pt x="83" y="62"/>
                    <a:pt x="83" y="62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9" y="62"/>
                  </a:moveTo>
                  <a:cubicBezTo>
                    <a:pt x="88" y="62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4"/>
                    <a:pt x="87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3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3"/>
                    <a:pt x="86" y="63"/>
                  </a:cubicBezTo>
                  <a:cubicBezTo>
                    <a:pt x="86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8" y="63"/>
                    <a:pt x="88" y="62"/>
                  </a:cubicBezTo>
                  <a:cubicBezTo>
                    <a:pt x="88" y="63"/>
                    <a:pt x="88" y="62"/>
                    <a:pt x="89" y="62"/>
                  </a:cubicBezTo>
                  <a:close/>
                  <a:moveTo>
                    <a:pt x="87" y="63"/>
                  </a:move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lose/>
                  <a:moveTo>
                    <a:pt x="84" y="61"/>
                  </a:move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4" y="61"/>
                    <a:pt x="84" y="61"/>
                  </a:cubicBezTo>
                  <a:close/>
                  <a:moveTo>
                    <a:pt x="86" y="61"/>
                  </a:move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5" y="61"/>
                    <a:pt x="85" y="61"/>
                  </a:cubicBezTo>
                  <a:cubicBezTo>
                    <a:pt x="85" y="61"/>
                    <a:pt x="85" y="60"/>
                    <a:pt x="86" y="60"/>
                  </a:cubicBezTo>
                  <a:cubicBezTo>
                    <a:pt x="86" y="60"/>
                    <a:pt x="86" y="61"/>
                    <a:pt x="86" y="61"/>
                  </a:cubicBezTo>
                  <a:cubicBezTo>
                    <a:pt x="86" y="61"/>
                    <a:pt x="86" y="60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0"/>
                    <a:pt x="86" y="61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8"/>
                    <a:pt x="89" y="58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60"/>
                  </a:cubicBezTo>
                  <a:cubicBezTo>
                    <a:pt x="88" y="60"/>
                    <a:pt x="88" y="60"/>
                    <a:pt x="88" y="59"/>
                  </a:cubicBezTo>
                  <a:cubicBezTo>
                    <a:pt x="87" y="60"/>
                    <a:pt x="87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5" y="63"/>
                    <a:pt x="85" y="63"/>
                    <a:pt x="85" y="64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6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3"/>
                  </a:cubicBezTo>
                  <a:cubicBezTo>
                    <a:pt x="86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85" y="57"/>
                  </a:moveTo>
                  <a:cubicBezTo>
                    <a:pt x="85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5" y="58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lose/>
                  <a:moveTo>
                    <a:pt x="86" y="59"/>
                  </a:move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59"/>
                    <a:pt x="85" y="59"/>
                    <a:pt x="86" y="59"/>
                  </a:cubicBezTo>
                  <a:cubicBezTo>
                    <a:pt x="86" y="59"/>
                    <a:pt x="87" y="58"/>
                    <a:pt x="87" y="58"/>
                  </a:cubicBezTo>
                  <a:cubicBezTo>
                    <a:pt x="87" y="59"/>
                    <a:pt x="87" y="59"/>
                    <a:pt x="86" y="59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4" y="59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6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3" y="57"/>
                  </a:moveTo>
                  <a:cubicBezTo>
                    <a:pt x="83" y="56"/>
                    <a:pt x="84" y="57"/>
                    <a:pt x="84" y="57"/>
                  </a:cubicBezTo>
                  <a:cubicBezTo>
                    <a:pt x="83" y="57"/>
                    <a:pt x="84" y="57"/>
                    <a:pt x="83" y="57"/>
                  </a:cubicBezTo>
                  <a:cubicBezTo>
                    <a:pt x="83" y="57"/>
                    <a:pt x="84" y="57"/>
                    <a:pt x="83" y="57"/>
                  </a:cubicBezTo>
                  <a:close/>
                  <a:moveTo>
                    <a:pt x="87" y="61"/>
                  </a:moveTo>
                  <a:cubicBezTo>
                    <a:pt x="87" y="62"/>
                    <a:pt x="87" y="61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7" y="61"/>
                    <a:pt x="87" y="61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7"/>
                    <a:pt x="88" y="57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6" y="57"/>
                  </a:cubicBezTo>
                  <a:cubicBezTo>
                    <a:pt x="86" y="57"/>
                    <a:pt x="86" y="57"/>
                    <a:pt x="85" y="58"/>
                  </a:cubicBezTo>
                  <a:cubicBezTo>
                    <a:pt x="85" y="57"/>
                    <a:pt x="87" y="57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lose/>
                  <a:moveTo>
                    <a:pt x="88" y="61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1"/>
                    <a:pt x="89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1" y="60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2" y="59"/>
                  </a:cubicBezTo>
                  <a:cubicBezTo>
                    <a:pt x="92" y="60"/>
                    <a:pt x="91" y="60"/>
                    <a:pt x="91" y="60"/>
                  </a:cubicBezTo>
                  <a:cubicBezTo>
                    <a:pt x="90" y="60"/>
                    <a:pt x="89" y="61"/>
                    <a:pt x="89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7" y="58"/>
                    <a:pt x="86" y="58"/>
                  </a:cubicBezTo>
                  <a:cubicBezTo>
                    <a:pt x="87" y="58"/>
                    <a:pt x="87" y="57"/>
                    <a:pt x="88" y="57"/>
                  </a:cubicBezTo>
                  <a:close/>
                  <a:moveTo>
                    <a:pt x="90" y="61"/>
                  </a:moveTo>
                  <a:cubicBezTo>
                    <a:pt x="89" y="61"/>
                    <a:pt x="89" y="61"/>
                    <a:pt x="89" y="62"/>
                  </a:cubicBezTo>
                  <a:cubicBezTo>
                    <a:pt x="89" y="61"/>
                    <a:pt x="89" y="61"/>
                    <a:pt x="90" y="61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7" y="55"/>
                    <a:pt x="87" y="55"/>
                  </a:cubicBezTo>
                  <a:close/>
                  <a:moveTo>
                    <a:pt x="90" y="58"/>
                  </a:move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2" y="57"/>
                    <a:pt x="92" y="57"/>
                  </a:cubicBezTo>
                  <a:cubicBezTo>
                    <a:pt x="91" y="57"/>
                    <a:pt x="91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0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8" y="52"/>
                    <a:pt x="87" y="53"/>
                  </a:cubicBezTo>
                  <a:close/>
                  <a:moveTo>
                    <a:pt x="93" y="61"/>
                  </a:moveTo>
                  <a:cubicBezTo>
                    <a:pt x="92" y="61"/>
                    <a:pt x="92" y="61"/>
                    <a:pt x="92" y="61"/>
                  </a:cubicBezTo>
                  <a:cubicBezTo>
                    <a:pt x="92" y="61"/>
                    <a:pt x="93" y="61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0"/>
                    <a:pt x="90" y="50"/>
                  </a:cubicBezTo>
                  <a:cubicBezTo>
                    <a:pt x="90" y="50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0" y="51"/>
                  </a:move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0"/>
                    <a:pt x="92" y="50"/>
                  </a:cubicBezTo>
                  <a:cubicBezTo>
                    <a:pt x="91" y="50"/>
                    <a:pt x="91" y="51"/>
                    <a:pt x="90" y="51"/>
                  </a:cubicBezTo>
                  <a:cubicBezTo>
                    <a:pt x="91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6" y="59"/>
                  </a:move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7"/>
                  </a:cubicBezTo>
                  <a:cubicBezTo>
                    <a:pt x="98" y="58"/>
                    <a:pt x="97" y="58"/>
                    <a:pt x="96" y="59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6" y="57"/>
                  </a:move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5" y="57"/>
                    <a:pt x="96" y="57"/>
                    <a:pt x="96" y="57"/>
                  </a:cubicBezTo>
                  <a:close/>
                  <a:moveTo>
                    <a:pt x="99" y="55"/>
                  </a:moveTo>
                  <a:cubicBezTo>
                    <a:pt x="98" y="55"/>
                    <a:pt x="97" y="56"/>
                    <a:pt x="96" y="56"/>
                  </a:cubicBezTo>
                  <a:cubicBezTo>
                    <a:pt x="96" y="56"/>
                    <a:pt x="96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7" y="55"/>
                  </a:cubicBezTo>
                  <a:cubicBezTo>
                    <a:pt x="96" y="55"/>
                    <a:pt x="96" y="56"/>
                    <a:pt x="96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6"/>
                    <a:pt x="96" y="56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100" y="53"/>
                    <a:pt x="101" y="53"/>
                  </a:cubicBezTo>
                  <a:cubicBezTo>
                    <a:pt x="101" y="53"/>
                    <a:pt x="100" y="53"/>
                    <a:pt x="100" y="53"/>
                  </a:cubicBezTo>
                  <a:cubicBezTo>
                    <a:pt x="100" y="54"/>
                    <a:pt x="99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8" y="54"/>
                    <a:pt x="98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9" y="55"/>
                    <a:pt x="99" y="54"/>
                    <a:pt x="99" y="54"/>
                  </a:cubicBezTo>
                  <a:cubicBezTo>
                    <a:pt x="99" y="55"/>
                    <a:pt x="99" y="54"/>
                    <a:pt x="99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7" y="57"/>
                    <a:pt x="97" y="56"/>
                  </a:cubicBezTo>
                  <a:close/>
                  <a:moveTo>
                    <a:pt x="98" y="54"/>
                  </a:moveTo>
                  <a:cubicBezTo>
                    <a:pt x="98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3"/>
                    <a:pt x="99" y="53"/>
                  </a:cubicBezTo>
                  <a:cubicBezTo>
                    <a:pt x="98" y="54"/>
                    <a:pt x="98" y="54"/>
                    <a:pt x="98" y="54"/>
                  </a:cubicBezTo>
                  <a:close/>
                  <a:moveTo>
                    <a:pt x="100" y="49"/>
                  </a:moveTo>
                  <a:cubicBezTo>
                    <a:pt x="100" y="49"/>
                    <a:pt x="100" y="49"/>
                    <a:pt x="100" y="48"/>
                  </a:cubicBezTo>
                  <a:cubicBezTo>
                    <a:pt x="100" y="49"/>
                    <a:pt x="100" y="49"/>
                    <a:pt x="100" y="49"/>
                  </a:cubicBezTo>
                  <a:cubicBezTo>
                    <a:pt x="100" y="49"/>
                    <a:pt x="100" y="49"/>
                    <a:pt x="100" y="49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3"/>
                  </a:cubicBezTo>
                  <a:cubicBezTo>
                    <a:pt x="104" y="53"/>
                    <a:pt x="105" y="52"/>
                    <a:pt x="105" y="52"/>
                  </a:cubicBezTo>
                  <a:cubicBezTo>
                    <a:pt x="105" y="53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5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3" y="53"/>
                  </a:cubicBezTo>
                  <a:cubicBezTo>
                    <a:pt x="103" y="53"/>
                    <a:pt x="104" y="53"/>
                    <a:pt x="103" y="53"/>
                  </a:cubicBezTo>
                  <a:cubicBezTo>
                    <a:pt x="104" y="53"/>
                    <a:pt x="104" y="52"/>
                    <a:pt x="105" y="52"/>
                  </a:cubicBezTo>
                  <a:close/>
                  <a:moveTo>
                    <a:pt x="105" y="53"/>
                  </a:moveTo>
                  <a:cubicBezTo>
                    <a:pt x="105" y="52"/>
                    <a:pt x="104" y="53"/>
                    <a:pt x="105" y="53"/>
                  </a:cubicBezTo>
                  <a:cubicBezTo>
                    <a:pt x="105" y="53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3"/>
                  </a:cubicBezTo>
                  <a:close/>
                  <a:moveTo>
                    <a:pt x="101" y="44"/>
                  </a:move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lose/>
                  <a:moveTo>
                    <a:pt x="105" y="48"/>
                  </a:moveTo>
                  <a:cubicBezTo>
                    <a:pt x="106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5" y="47"/>
                    <a:pt x="104" y="48"/>
                    <a:pt x="105" y="48"/>
                  </a:cubicBezTo>
                  <a:cubicBezTo>
                    <a:pt x="104" y="48"/>
                    <a:pt x="104" y="48"/>
                    <a:pt x="105" y="48"/>
                  </a:cubicBezTo>
                  <a:cubicBezTo>
                    <a:pt x="105" y="48"/>
                    <a:pt x="105" y="47"/>
                    <a:pt x="105" y="47"/>
                  </a:cubicBezTo>
                  <a:cubicBezTo>
                    <a:pt x="105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8" y="46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7"/>
                    <a:pt x="105" y="48"/>
                  </a:cubicBezTo>
                  <a:close/>
                  <a:moveTo>
                    <a:pt x="103" y="48"/>
                  </a:move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ubicBezTo>
                    <a:pt x="103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lose/>
                  <a:moveTo>
                    <a:pt x="103" y="44"/>
                  </a:move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3"/>
                    <a:pt x="102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4" y="43"/>
                  </a:cubicBezTo>
                  <a:cubicBezTo>
                    <a:pt x="103" y="43"/>
                    <a:pt x="103" y="43"/>
                    <a:pt x="103" y="44"/>
                  </a:cubicBezTo>
                  <a:close/>
                  <a:moveTo>
                    <a:pt x="107" y="51"/>
                  </a:moveTo>
                  <a:cubicBezTo>
                    <a:pt x="107" y="51"/>
                    <a:pt x="108" y="51"/>
                    <a:pt x="108" y="50"/>
                  </a:cubicBezTo>
                  <a:cubicBezTo>
                    <a:pt x="108" y="50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7" y="51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7" y="52"/>
                    <a:pt x="107" y="51"/>
                    <a:pt x="107" y="52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lose/>
                  <a:moveTo>
                    <a:pt x="103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2"/>
                    <a:pt x="102" y="42"/>
                    <a:pt x="102" y="43"/>
                  </a:cubicBezTo>
                  <a:cubicBezTo>
                    <a:pt x="102" y="42"/>
                    <a:pt x="103" y="42"/>
                    <a:pt x="103" y="42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10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0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8"/>
                    <a:pt x="116" y="38"/>
                  </a:cubicBezTo>
                  <a:cubicBezTo>
                    <a:pt x="115" y="38"/>
                    <a:pt x="115" y="38"/>
                    <a:pt x="115" y="39"/>
                  </a:cubicBezTo>
                  <a:close/>
                  <a:moveTo>
                    <a:pt x="111" y="40"/>
                  </a:moveTo>
                  <a:cubicBezTo>
                    <a:pt x="111" y="39"/>
                    <a:pt x="111" y="40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9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7" y="39"/>
                  </a:cubicBezTo>
                  <a:cubicBezTo>
                    <a:pt x="117" y="39"/>
                    <a:pt x="117" y="39"/>
                    <a:pt x="118" y="38"/>
                  </a:cubicBezTo>
                  <a:cubicBezTo>
                    <a:pt x="117" y="39"/>
                    <a:pt x="117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39"/>
                    <a:pt x="115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7" y="38"/>
                  </a:cubicBezTo>
                  <a:close/>
                  <a:moveTo>
                    <a:pt x="114" y="39"/>
                  </a:moveTo>
                  <a:cubicBezTo>
                    <a:pt x="114" y="39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lose/>
                  <a:moveTo>
                    <a:pt x="111" y="40"/>
                  </a:move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6" y="43"/>
                  </a:moveTo>
                  <a:cubicBezTo>
                    <a:pt x="116" y="43"/>
                    <a:pt x="116" y="43"/>
                    <a:pt x="116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6" y="42"/>
                    <a:pt x="116" y="43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7"/>
                    <a:pt x="113" y="37"/>
                  </a:cubicBezTo>
                  <a:cubicBezTo>
                    <a:pt x="113" y="38"/>
                    <a:pt x="113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4" y="38"/>
                  </a:move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3" y="38"/>
                    <a:pt x="114" y="38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7" y="36"/>
                  </a:cubicBezTo>
                  <a:cubicBezTo>
                    <a:pt x="116" y="36"/>
                    <a:pt x="116" y="37"/>
                    <a:pt x="115" y="37"/>
                  </a:cubicBezTo>
                  <a:cubicBezTo>
                    <a:pt x="115" y="37"/>
                    <a:pt x="114" y="38"/>
                    <a:pt x="114" y="37"/>
                  </a:cubicBezTo>
                  <a:cubicBezTo>
                    <a:pt x="114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5"/>
                  </a:cubicBezTo>
                  <a:cubicBezTo>
                    <a:pt x="118" y="35"/>
                    <a:pt x="117" y="35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5"/>
                    <a:pt x="118" y="36"/>
                    <a:pt x="118" y="35"/>
                  </a:cubicBezTo>
                  <a:cubicBezTo>
                    <a:pt x="118" y="36"/>
                    <a:pt x="117" y="36"/>
                    <a:pt x="117" y="36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7"/>
                    <a:pt x="118" y="37"/>
                    <a:pt x="118" y="37"/>
                  </a:cubicBezTo>
                  <a:close/>
                  <a:moveTo>
                    <a:pt x="116" y="38"/>
                  </a:moveTo>
                  <a:cubicBezTo>
                    <a:pt x="116" y="38"/>
                    <a:pt x="116" y="38"/>
                    <a:pt x="116" y="37"/>
                  </a:cubicBezTo>
                  <a:cubicBezTo>
                    <a:pt x="117" y="37"/>
                    <a:pt x="116" y="38"/>
                    <a:pt x="117" y="38"/>
                  </a:cubicBezTo>
                  <a:cubicBezTo>
                    <a:pt x="117" y="38"/>
                    <a:pt x="116" y="38"/>
                    <a:pt x="116" y="38"/>
                  </a:cubicBezTo>
                  <a:close/>
                  <a:moveTo>
                    <a:pt x="118" y="37"/>
                  </a:moveTo>
                  <a:cubicBezTo>
                    <a:pt x="118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8" y="37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7"/>
                  </a:cubicBezTo>
                  <a:cubicBezTo>
                    <a:pt x="117" y="37"/>
                    <a:pt x="117" y="38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17" y="37"/>
                  </a:moveTo>
                  <a:cubicBezTo>
                    <a:pt x="117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6"/>
                    <a:pt x="120" y="36"/>
                  </a:cubicBezTo>
                  <a:cubicBezTo>
                    <a:pt x="120" y="36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8" y="37"/>
                    <a:pt x="119" y="37"/>
                    <a:pt x="119" y="37"/>
                  </a:cubicBezTo>
                  <a:close/>
                  <a:moveTo>
                    <a:pt x="120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19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25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5"/>
                    <a:pt x="125" y="34"/>
                    <a:pt x="124" y="34"/>
                  </a:cubicBezTo>
                  <a:cubicBezTo>
                    <a:pt x="124" y="34"/>
                    <a:pt x="125" y="34"/>
                    <a:pt x="125" y="34"/>
                  </a:cubicBezTo>
                  <a:close/>
                  <a:moveTo>
                    <a:pt x="125" y="34"/>
                  </a:moveTo>
                  <a:cubicBezTo>
                    <a:pt x="125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5" y="34"/>
                    <a:pt x="125" y="34"/>
                  </a:cubicBezTo>
                  <a:cubicBezTo>
                    <a:pt x="125" y="34"/>
                    <a:pt x="126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9" y="30"/>
                  </a:moveTo>
                  <a:cubicBezTo>
                    <a:pt x="129" y="30"/>
                    <a:pt x="129" y="30"/>
                    <a:pt x="130" y="29"/>
                  </a:cubicBezTo>
                  <a:cubicBezTo>
                    <a:pt x="130" y="29"/>
                    <a:pt x="131" y="28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lose/>
                  <a:moveTo>
                    <a:pt x="130" y="29"/>
                  </a:moveTo>
                  <a:cubicBezTo>
                    <a:pt x="129" y="29"/>
                    <a:pt x="129" y="29"/>
                    <a:pt x="128" y="29"/>
                  </a:cubicBezTo>
                  <a:cubicBezTo>
                    <a:pt x="128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30" y="29"/>
                    <a:pt x="130" y="29"/>
                  </a:cubicBezTo>
                  <a:close/>
                  <a:moveTo>
                    <a:pt x="130" y="28"/>
                  </a:moveTo>
                  <a:cubicBezTo>
                    <a:pt x="131" y="28"/>
                    <a:pt x="130" y="28"/>
                    <a:pt x="130" y="29"/>
                  </a:cubicBezTo>
                  <a:cubicBezTo>
                    <a:pt x="130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0" y="28"/>
                  </a:cubicBezTo>
                  <a:close/>
                  <a:moveTo>
                    <a:pt x="135" y="26"/>
                  </a:moveTo>
                  <a:cubicBezTo>
                    <a:pt x="135" y="26"/>
                    <a:pt x="136" y="26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8" y="25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40" y="24"/>
                  </a:cubicBezTo>
                  <a:cubicBezTo>
                    <a:pt x="140" y="24"/>
                    <a:pt x="140" y="24"/>
                    <a:pt x="140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0" y="23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4"/>
                    <a:pt x="139" y="24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5"/>
                    <a:pt x="137" y="25"/>
                  </a:cubicBezTo>
                  <a:cubicBezTo>
                    <a:pt x="136" y="26"/>
                    <a:pt x="135" y="26"/>
                    <a:pt x="135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8"/>
                    <a:pt x="131" y="28"/>
                    <a:pt x="130" y="29"/>
                  </a:cubicBezTo>
                  <a:cubicBezTo>
                    <a:pt x="131" y="28"/>
                    <a:pt x="134" y="27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lose/>
                  <a:moveTo>
                    <a:pt x="131" y="29"/>
                  </a:move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lose/>
                  <a:moveTo>
                    <a:pt x="142" y="22"/>
                  </a:moveTo>
                  <a:cubicBezTo>
                    <a:pt x="141" y="23"/>
                    <a:pt x="139" y="23"/>
                    <a:pt x="138" y="24"/>
                  </a:cubicBezTo>
                  <a:cubicBezTo>
                    <a:pt x="139" y="23"/>
                    <a:pt x="141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7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0"/>
                    <a:pt x="147" y="20"/>
                    <a:pt x="147" y="20"/>
                  </a:cubicBezTo>
                  <a:cubicBezTo>
                    <a:pt x="147" y="20"/>
                    <a:pt x="146" y="20"/>
                    <a:pt x="146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6" y="21"/>
                    <a:pt x="146" y="20"/>
                    <a:pt x="146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52" y="16"/>
                  </a:moveTo>
                  <a:cubicBezTo>
                    <a:pt x="152" y="15"/>
                    <a:pt x="153" y="15"/>
                    <a:pt x="153" y="15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53" y="15"/>
                    <a:pt x="153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1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5"/>
                    <a:pt x="152" y="16"/>
                    <a:pt x="152" y="16"/>
                  </a:cubicBezTo>
                  <a:close/>
                  <a:moveTo>
                    <a:pt x="163" y="10"/>
                  </a:move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1" y="11"/>
                    <a:pt x="161" y="11"/>
                  </a:cubicBezTo>
                  <a:cubicBezTo>
                    <a:pt x="159" y="11"/>
                    <a:pt x="159" y="12"/>
                    <a:pt x="158" y="13"/>
                  </a:cubicBezTo>
                  <a:cubicBezTo>
                    <a:pt x="158" y="13"/>
                    <a:pt x="158" y="12"/>
                    <a:pt x="158" y="12"/>
                  </a:cubicBezTo>
                  <a:cubicBezTo>
                    <a:pt x="159" y="12"/>
                    <a:pt x="158" y="12"/>
                    <a:pt x="159" y="12"/>
                  </a:cubicBezTo>
                  <a:cubicBezTo>
                    <a:pt x="158" y="12"/>
                    <a:pt x="158" y="13"/>
                    <a:pt x="157" y="12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3"/>
                    <a:pt x="157" y="13"/>
                    <a:pt x="157" y="12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9" y="12"/>
                    <a:pt x="158" y="12"/>
                    <a:pt x="158" y="12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1"/>
                    <a:pt x="159" y="12"/>
                    <a:pt x="159" y="12"/>
                  </a:cubicBezTo>
                  <a:cubicBezTo>
                    <a:pt x="159" y="12"/>
                    <a:pt x="159" y="11"/>
                    <a:pt x="159" y="11"/>
                  </a:cubicBezTo>
                  <a:cubicBezTo>
                    <a:pt x="159" y="12"/>
                    <a:pt x="159" y="11"/>
                    <a:pt x="160" y="11"/>
                  </a:cubicBezTo>
                  <a:cubicBezTo>
                    <a:pt x="160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0"/>
                    <a:pt x="160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9"/>
                    <a:pt x="161" y="10"/>
                    <a:pt x="161" y="10"/>
                  </a:cubicBezTo>
                  <a:cubicBezTo>
                    <a:pt x="162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2" y="9"/>
                    <a:pt x="162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10"/>
                    <a:pt x="162" y="9"/>
                    <a:pt x="162" y="10"/>
                  </a:cubicBezTo>
                  <a:cubicBezTo>
                    <a:pt x="162" y="10"/>
                    <a:pt x="163" y="9"/>
                    <a:pt x="163" y="10"/>
                  </a:cubicBezTo>
                  <a:close/>
                  <a:moveTo>
                    <a:pt x="157" y="14"/>
                  </a:moveTo>
                  <a:cubicBezTo>
                    <a:pt x="158" y="13"/>
                    <a:pt x="158" y="13"/>
                    <a:pt x="158" y="13"/>
                  </a:cubicBezTo>
                  <a:cubicBezTo>
                    <a:pt x="158" y="13"/>
                    <a:pt x="158" y="13"/>
                    <a:pt x="157" y="14"/>
                  </a:cubicBezTo>
                  <a:close/>
                  <a:moveTo>
                    <a:pt x="159" y="13"/>
                  </a:moveTo>
                  <a:cubicBezTo>
                    <a:pt x="159" y="13"/>
                    <a:pt x="159" y="13"/>
                    <a:pt x="159" y="12"/>
                  </a:cubicBezTo>
                  <a:cubicBezTo>
                    <a:pt x="159" y="13"/>
                    <a:pt x="158" y="13"/>
                    <a:pt x="159" y="13"/>
                  </a:cubicBezTo>
                  <a:close/>
                  <a:moveTo>
                    <a:pt x="159" y="13"/>
                  </a:moveTo>
                  <a:cubicBezTo>
                    <a:pt x="160" y="13"/>
                    <a:pt x="160" y="12"/>
                    <a:pt x="160" y="12"/>
                  </a:cubicBezTo>
                  <a:cubicBezTo>
                    <a:pt x="160" y="12"/>
                    <a:pt x="159" y="13"/>
                    <a:pt x="159" y="13"/>
                  </a:cubicBezTo>
                  <a:close/>
                  <a:moveTo>
                    <a:pt x="166" y="7"/>
                  </a:moveTo>
                  <a:cubicBezTo>
                    <a:pt x="166" y="7"/>
                    <a:pt x="166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lose/>
                  <a:moveTo>
                    <a:pt x="169" y="8"/>
                  </a:moveTo>
                  <a:cubicBezTo>
                    <a:pt x="169" y="8"/>
                    <a:pt x="169" y="8"/>
                    <a:pt x="169" y="8"/>
                  </a:cubicBezTo>
                  <a:cubicBezTo>
                    <a:pt x="169" y="8"/>
                    <a:pt x="169" y="8"/>
                    <a:pt x="168" y="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8"/>
                    <a:pt x="169" y="8"/>
                    <a:pt x="169" y="8"/>
                  </a:cubicBezTo>
                  <a:close/>
                  <a:moveTo>
                    <a:pt x="169" y="7"/>
                  </a:moveTo>
                  <a:cubicBezTo>
                    <a:pt x="169" y="7"/>
                    <a:pt x="169" y="7"/>
                    <a:pt x="169" y="7"/>
                  </a:cubicBezTo>
                  <a:cubicBezTo>
                    <a:pt x="169" y="8"/>
                    <a:pt x="169" y="7"/>
                    <a:pt x="170" y="7"/>
                  </a:cubicBezTo>
                  <a:cubicBezTo>
                    <a:pt x="170" y="7"/>
                    <a:pt x="169" y="8"/>
                    <a:pt x="169" y="8"/>
                  </a:cubicBezTo>
                  <a:cubicBezTo>
                    <a:pt x="169" y="8"/>
                    <a:pt x="169" y="7"/>
                    <a:pt x="169" y="7"/>
                  </a:cubicBezTo>
                  <a:close/>
                  <a:moveTo>
                    <a:pt x="178" y="5"/>
                  </a:move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9" y="5"/>
                  </a:cubicBezTo>
                  <a:cubicBezTo>
                    <a:pt x="179" y="5"/>
                    <a:pt x="178" y="5"/>
                    <a:pt x="178" y="5"/>
                  </a:cubicBezTo>
                  <a:close/>
                  <a:moveTo>
                    <a:pt x="179" y="1"/>
                  </a:moveTo>
                  <a:cubicBezTo>
                    <a:pt x="179" y="1"/>
                    <a:pt x="179" y="1"/>
                    <a:pt x="180" y="1"/>
                  </a:cubicBezTo>
                  <a:cubicBezTo>
                    <a:pt x="179" y="1"/>
                    <a:pt x="179" y="1"/>
                    <a:pt x="179" y="1"/>
                  </a:cubicBezTo>
                  <a:close/>
                  <a:moveTo>
                    <a:pt x="22" y="103"/>
                  </a:moveTo>
                  <a:cubicBezTo>
                    <a:pt x="22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2" y="103"/>
                    <a:pt x="22" y="103"/>
                    <a:pt x="22" y="103"/>
                  </a:cubicBezTo>
                  <a:close/>
                  <a:moveTo>
                    <a:pt x="44" y="87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5" y="85"/>
                    <a:pt x="46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lose/>
                  <a:moveTo>
                    <a:pt x="44" y="82"/>
                  </a:moveTo>
                  <a:cubicBezTo>
                    <a:pt x="44" y="82"/>
                    <a:pt x="44" y="82"/>
                    <a:pt x="44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4" y="82"/>
                    <a:pt x="44" y="82"/>
                  </a:cubicBezTo>
                  <a:cubicBezTo>
                    <a:pt x="44" y="82"/>
                    <a:pt x="45" y="81"/>
                    <a:pt x="45" y="81"/>
                  </a:cubicBezTo>
                  <a:cubicBezTo>
                    <a:pt x="45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lose/>
                  <a:moveTo>
                    <a:pt x="50" y="74"/>
                  </a:move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50" y="75"/>
                    <a:pt x="50" y="74"/>
                  </a:cubicBezTo>
                  <a:close/>
                  <a:moveTo>
                    <a:pt x="55" y="79"/>
                  </a:moveTo>
                  <a:cubicBezTo>
                    <a:pt x="56" y="78"/>
                    <a:pt x="56" y="78"/>
                    <a:pt x="57" y="78"/>
                  </a:cubicBezTo>
                  <a:cubicBezTo>
                    <a:pt x="56" y="78"/>
                    <a:pt x="56" y="78"/>
                    <a:pt x="55" y="79"/>
                  </a:cubicBezTo>
                  <a:cubicBezTo>
                    <a:pt x="55" y="79"/>
                    <a:pt x="56" y="79"/>
                    <a:pt x="55" y="79"/>
                  </a:cubicBezTo>
                  <a:close/>
                  <a:moveTo>
                    <a:pt x="62" y="67"/>
                  </a:move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7"/>
                    <a:pt x="62" y="67"/>
                    <a:pt x="62" y="67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8" y="63"/>
                    <a:pt x="68" y="62"/>
                    <a:pt x="69" y="62"/>
                  </a:cubicBezTo>
                  <a:cubicBezTo>
                    <a:pt x="68" y="63"/>
                    <a:pt x="67" y="63"/>
                    <a:pt x="67" y="63"/>
                  </a:cubicBezTo>
                  <a:close/>
                  <a:moveTo>
                    <a:pt x="71" y="68"/>
                  </a:moveTo>
                  <a:cubicBezTo>
                    <a:pt x="71" y="68"/>
                    <a:pt x="71" y="67"/>
                    <a:pt x="71" y="6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lose/>
                  <a:moveTo>
                    <a:pt x="76" y="63"/>
                  </a:moveTo>
                  <a:cubicBezTo>
                    <a:pt x="76" y="63"/>
                    <a:pt x="76" y="63"/>
                    <a:pt x="76" y="64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5" y="63"/>
                    <a:pt x="76" y="63"/>
                    <a:pt x="76" y="63"/>
                  </a:cubicBezTo>
                  <a:close/>
                  <a:moveTo>
                    <a:pt x="83" y="65"/>
                  </a:moveTo>
                  <a:cubicBezTo>
                    <a:pt x="83" y="65"/>
                    <a:pt x="82" y="65"/>
                    <a:pt x="82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6"/>
                    <a:pt x="82" y="66"/>
                    <a:pt x="81" y="66"/>
                  </a:cubicBezTo>
                  <a:cubicBezTo>
                    <a:pt x="82" y="65"/>
                    <a:pt x="82" y="65"/>
                    <a:pt x="83" y="65"/>
                  </a:cubicBezTo>
                  <a:close/>
                  <a:moveTo>
                    <a:pt x="84" y="59"/>
                  </a:moveTo>
                  <a:cubicBezTo>
                    <a:pt x="83" y="60"/>
                    <a:pt x="83" y="60"/>
                    <a:pt x="82" y="60"/>
                  </a:cubicBezTo>
                  <a:cubicBezTo>
                    <a:pt x="82" y="60"/>
                    <a:pt x="82" y="60"/>
                    <a:pt x="82" y="61"/>
                  </a:cubicBezTo>
                  <a:cubicBezTo>
                    <a:pt x="82" y="61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1" y="61"/>
                    <a:pt x="81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1"/>
                    <a:pt x="81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0" y="61"/>
                    <a:pt x="81" y="61"/>
                    <a:pt x="80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2" y="60"/>
                    <a:pt x="81" y="61"/>
                    <a:pt x="82" y="60"/>
                  </a:cubicBezTo>
                  <a:cubicBezTo>
                    <a:pt x="81" y="60"/>
                    <a:pt x="81" y="60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2" y="60"/>
                    <a:pt x="82" y="59"/>
                  </a:cubicBezTo>
                  <a:cubicBezTo>
                    <a:pt x="82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4" y="59"/>
                  </a:cubicBezTo>
                  <a:close/>
                  <a:moveTo>
                    <a:pt x="84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59"/>
                    <a:pt x="84" y="59"/>
                    <a:pt x="84" y="60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9"/>
                    <a:pt x="84" y="59"/>
                    <a:pt x="84" y="59"/>
                  </a:cubicBezTo>
                  <a:close/>
                  <a:moveTo>
                    <a:pt x="89" y="58"/>
                  </a:moveTo>
                  <a:cubicBezTo>
                    <a:pt x="88" y="58"/>
                    <a:pt x="89" y="58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8"/>
                    <a:pt x="88" y="58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8"/>
                  </a:cubicBezTo>
                  <a:cubicBezTo>
                    <a:pt x="87" y="59"/>
                    <a:pt x="88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lose/>
                  <a:moveTo>
                    <a:pt x="92" y="60"/>
                  </a:moveTo>
                  <a:cubicBezTo>
                    <a:pt x="92" y="61"/>
                    <a:pt x="91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3" y="41"/>
                    <a:pt x="112" y="41"/>
                    <a:pt x="113" y="41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7D32FEA-B975-4DAD-89FB-FF1A56404813}"/>
                </a:ext>
              </a:extLst>
            </p:cNvPr>
            <p:cNvSpPr/>
            <p:nvPr/>
          </p:nvSpPr>
          <p:spPr bwMode="auto">
            <a:xfrm>
              <a:off x="6337768" y="3086100"/>
              <a:ext cx="2051014" cy="1674813"/>
            </a:xfrm>
            <a:custGeom>
              <a:avLst/>
              <a:gdLst>
                <a:gd name="connsiteX0" fmla="*/ 1084317 w 2051014"/>
                <a:gd name="connsiteY0" fmla="*/ 1449027 h 1674813"/>
                <a:gd name="connsiteX1" fmla="*/ 1106021 w 2051014"/>
                <a:gd name="connsiteY1" fmla="*/ 1452707 h 1674813"/>
                <a:gd name="connsiteX2" fmla="*/ 1083697 w 2051014"/>
                <a:gd name="connsiteY2" fmla="*/ 1464974 h 1674813"/>
                <a:gd name="connsiteX3" fmla="*/ 1066333 w 2051014"/>
                <a:gd name="connsiteY3" fmla="*/ 1452707 h 1674813"/>
                <a:gd name="connsiteX4" fmla="*/ 1084317 w 2051014"/>
                <a:gd name="connsiteY4" fmla="*/ 1449027 h 1674813"/>
                <a:gd name="connsiteX5" fmla="*/ 1105026 w 2051014"/>
                <a:gd name="connsiteY5" fmla="*/ 1235113 h 1674813"/>
                <a:gd name="connsiteX6" fmla="*/ 1057882 w 2051014"/>
                <a:gd name="connsiteY6" fmla="*/ 1250172 h 1674813"/>
                <a:gd name="connsiteX7" fmla="*/ 1059197 w 2051014"/>
                <a:gd name="connsiteY7" fmla="*/ 1259916 h 1674813"/>
                <a:gd name="connsiteX8" fmla="*/ 1057943 w 2051014"/>
                <a:gd name="connsiteY8" fmla="*/ 1264099 h 1674813"/>
                <a:gd name="connsiteX9" fmla="*/ 1062955 w 2051014"/>
                <a:gd name="connsiteY9" fmla="*/ 1267226 h 1674813"/>
                <a:gd name="connsiteX10" fmla="*/ 1102551 w 2051014"/>
                <a:gd name="connsiteY10" fmla="*/ 1279577 h 1674813"/>
                <a:gd name="connsiteX11" fmla="*/ 1105026 w 2051014"/>
                <a:gd name="connsiteY11" fmla="*/ 1235113 h 1674813"/>
                <a:gd name="connsiteX12" fmla="*/ 879820 w 2051014"/>
                <a:gd name="connsiteY12" fmla="*/ 1148655 h 1674813"/>
                <a:gd name="connsiteX13" fmla="*/ 892194 w 2051014"/>
                <a:gd name="connsiteY13" fmla="*/ 1195589 h 1674813"/>
                <a:gd name="connsiteX14" fmla="*/ 907043 w 2051014"/>
                <a:gd name="connsiteY14" fmla="*/ 1183238 h 1674813"/>
                <a:gd name="connsiteX15" fmla="*/ 879820 w 2051014"/>
                <a:gd name="connsiteY15" fmla="*/ 1148655 h 1674813"/>
                <a:gd name="connsiteX16" fmla="*/ 1540589 w 2051014"/>
                <a:gd name="connsiteY16" fmla="*/ 1106661 h 1674813"/>
                <a:gd name="connsiteX17" fmla="*/ 1508417 w 2051014"/>
                <a:gd name="connsiteY17" fmla="*/ 1116542 h 1674813"/>
                <a:gd name="connsiteX18" fmla="*/ 1406950 w 2051014"/>
                <a:gd name="connsiteY18" fmla="*/ 1148655 h 1674813"/>
                <a:gd name="connsiteX19" fmla="*/ 1340131 w 2051014"/>
                <a:gd name="connsiteY19" fmla="*/ 1173357 h 1674813"/>
                <a:gd name="connsiteX20" fmla="*/ 1330232 w 2051014"/>
                <a:gd name="connsiteY20" fmla="*/ 1188179 h 1674813"/>
                <a:gd name="connsiteX21" fmla="*/ 1332707 w 2051014"/>
                <a:gd name="connsiteY21" fmla="*/ 1249934 h 1674813"/>
                <a:gd name="connsiteX22" fmla="*/ 1337656 w 2051014"/>
                <a:gd name="connsiteY22" fmla="*/ 1284518 h 1674813"/>
                <a:gd name="connsiteX23" fmla="*/ 1345081 w 2051014"/>
                <a:gd name="connsiteY23" fmla="*/ 1343803 h 1674813"/>
                <a:gd name="connsiteX24" fmla="*/ 1540589 w 2051014"/>
                <a:gd name="connsiteY24" fmla="*/ 1106661 h 1674813"/>
                <a:gd name="connsiteX25" fmla="*/ 371323 w 2051014"/>
                <a:gd name="connsiteY25" fmla="*/ 983024 h 1674813"/>
                <a:gd name="connsiteX26" fmla="*/ 467817 w 2051014"/>
                <a:gd name="connsiteY26" fmla="*/ 1074471 h 1674813"/>
                <a:gd name="connsiteX27" fmla="*/ 217922 w 2051014"/>
                <a:gd name="connsiteY27" fmla="*/ 1353753 h 1674813"/>
                <a:gd name="connsiteX28" fmla="*/ 517301 w 2051014"/>
                <a:gd name="connsiteY28" fmla="*/ 1198047 h 1674813"/>
                <a:gd name="connsiteX29" fmla="*/ 490085 w 2051014"/>
                <a:gd name="connsiteY29" fmla="*/ 1566303 h 1674813"/>
                <a:gd name="connsiteX30" fmla="*/ 282251 w 2051014"/>
                <a:gd name="connsiteY30" fmla="*/ 1450142 h 1674813"/>
                <a:gd name="connsiteX31" fmla="*/ 262458 w 2051014"/>
                <a:gd name="connsiteY31" fmla="*/ 1603376 h 1674813"/>
                <a:gd name="connsiteX32" fmla="*/ 86789 w 2051014"/>
                <a:gd name="connsiteY32" fmla="*/ 1413069 h 1674813"/>
                <a:gd name="connsiteX33" fmla="*/ 257509 w 2051014"/>
                <a:gd name="connsiteY33" fmla="*/ 1153559 h 1674813"/>
                <a:gd name="connsiteX34" fmla="*/ 101634 w 2051014"/>
                <a:gd name="connsiteY34" fmla="*/ 1254892 h 1674813"/>
                <a:gd name="connsiteX35" fmla="*/ 39779 w 2051014"/>
                <a:gd name="connsiteY35" fmla="*/ 1205461 h 1674813"/>
                <a:gd name="connsiteX36" fmla="*/ 106582 w 2051014"/>
                <a:gd name="connsiteY36" fmla="*/ 1111543 h 1674813"/>
                <a:gd name="connsiteX37" fmla="*/ 371323 w 2051014"/>
                <a:gd name="connsiteY37" fmla="*/ 983024 h 1674813"/>
                <a:gd name="connsiteX38" fmla="*/ 1072854 w 2051014"/>
                <a:gd name="connsiteY38" fmla="*/ 958448 h 1674813"/>
                <a:gd name="connsiteX39" fmla="*/ 872396 w 2051014"/>
                <a:gd name="connsiteY39" fmla="*/ 1094310 h 1674813"/>
                <a:gd name="connsiteX40" fmla="*/ 902093 w 2051014"/>
                <a:gd name="connsiteY40" fmla="*/ 1148655 h 1674813"/>
                <a:gd name="connsiteX41" fmla="*/ 909518 w 2051014"/>
                <a:gd name="connsiteY41" fmla="*/ 1156066 h 1674813"/>
                <a:gd name="connsiteX42" fmla="*/ 951589 w 2051014"/>
                <a:gd name="connsiteY42" fmla="*/ 1156066 h 1674813"/>
                <a:gd name="connsiteX43" fmla="*/ 1020883 w 2051014"/>
                <a:gd name="connsiteY43" fmla="*/ 1116542 h 1674813"/>
                <a:gd name="connsiteX44" fmla="*/ 1087703 w 2051014"/>
                <a:gd name="connsiteY44" fmla="*/ 1079489 h 1674813"/>
                <a:gd name="connsiteX45" fmla="*/ 1072854 w 2051014"/>
                <a:gd name="connsiteY45" fmla="*/ 958448 h 1674813"/>
                <a:gd name="connsiteX46" fmla="*/ 294376 w 2051014"/>
                <a:gd name="connsiteY46" fmla="*/ 654981 h 1674813"/>
                <a:gd name="connsiteX47" fmla="*/ 385303 w 2051014"/>
                <a:gd name="connsiteY47" fmla="*/ 692078 h 1674813"/>
                <a:gd name="connsiteX48" fmla="*/ 516603 w 2051014"/>
                <a:gd name="connsiteY48" fmla="*/ 805488 h 1674813"/>
                <a:gd name="connsiteX49" fmla="*/ 541376 w 2051014"/>
                <a:gd name="connsiteY49" fmla="*/ 840004 h 1674813"/>
                <a:gd name="connsiteX50" fmla="*/ 526512 w 2051014"/>
                <a:gd name="connsiteY50" fmla="*/ 869590 h 1674813"/>
                <a:gd name="connsiteX51" fmla="*/ 496784 w 2051014"/>
                <a:gd name="connsiteY51" fmla="*/ 879451 h 1674813"/>
                <a:gd name="connsiteX52" fmla="*/ 372916 w 2051014"/>
                <a:gd name="connsiteY52" fmla="*/ 911502 h 1674813"/>
                <a:gd name="connsiteX53" fmla="*/ 338233 w 2051014"/>
                <a:gd name="connsiteY53" fmla="*/ 936157 h 1674813"/>
                <a:gd name="connsiteX54" fmla="*/ 382825 w 2051014"/>
                <a:gd name="connsiteY54" fmla="*/ 946018 h 1674813"/>
                <a:gd name="connsiteX55" fmla="*/ 360529 w 2051014"/>
                <a:gd name="connsiteY55" fmla="*/ 963276 h 1674813"/>
                <a:gd name="connsiteX56" fmla="*/ 251526 w 2051014"/>
                <a:gd name="connsiteY56" fmla="*/ 943553 h 1674813"/>
                <a:gd name="connsiteX57" fmla="*/ 73156 w 2051014"/>
                <a:gd name="connsiteY57" fmla="*/ 807954 h 1674813"/>
                <a:gd name="connsiteX58" fmla="*/ 6268 w 2051014"/>
                <a:gd name="connsiteY58" fmla="*/ 729060 h 1674813"/>
                <a:gd name="connsiteX59" fmla="*/ 3790 w 2051014"/>
                <a:gd name="connsiteY59" fmla="*/ 699474 h 1674813"/>
                <a:gd name="connsiteX60" fmla="*/ 21132 w 2051014"/>
                <a:gd name="connsiteY60" fmla="*/ 692078 h 1674813"/>
                <a:gd name="connsiteX61" fmla="*/ 157386 w 2051014"/>
                <a:gd name="connsiteY61" fmla="*/ 664958 h 1674813"/>
                <a:gd name="connsiteX62" fmla="*/ 236662 w 2051014"/>
                <a:gd name="connsiteY62" fmla="*/ 660027 h 1674813"/>
                <a:gd name="connsiteX63" fmla="*/ 258958 w 2051014"/>
                <a:gd name="connsiteY63" fmla="*/ 657562 h 1674813"/>
                <a:gd name="connsiteX64" fmla="*/ 294376 w 2051014"/>
                <a:gd name="connsiteY64" fmla="*/ 654981 h 1674813"/>
                <a:gd name="connsiteX65" fmla="*/ 1033257 w 2051014"/>
                <a:gd name="connsiteY65" fmla="*/ 195148 h 1674813"/>
                <a:gd name="connsiteX66" fmla="*/ 1038207 w 2051014"/>
                <a:gd name="connsiteY66" fmla="*/ 402647 h 1674813"/>
                <a:gd name="connsiteX67" fmla="*/ 1050581 w 2051014"/>
                <a:gd name="connsiteY67" fmla="*/ 343361 h 1674813"/>
                <a:gd name="connsiteX68" fmla="*/ 1050581 w 2051014"/>
                <a:gd name="connsiteY68" fmla="*/ 335951 h 1674813"/>
                <a:gd name="connsiteX69" fmla="*/ 1040682 w 2051014"/>
                <a:gd name="connsiteY69" fmla="*/ 212439 h 1674813"/>
                <a:gd name="connsiteX70" fmla="*/ 1033257 w 2051014"/>
                <a:gd name="connsiteY70" fmla="*/ 195148 h 1674813"/>
                <a:gd name="connsiteX71" fmla="*/ 1040682 w 2051014"/>
                <a:gd name="connsiteY71" fmla="*/ 0 h 1674813"/>
                <a:gd name="connsiteX72" fmla="*/ 1053055 w 2051014"/>
                <a:gd name="connsiteY72" fmla="*/ 2470 h 1674813"/>
                <a:gd name="connsiteX73" fmla="*/ 1152047 w 2051014"/>
                <a:gd name="connsiteY73" fmla="*/ 61756 h 1674813"/>
                <a:gd name="connsiteX74" fmla="*/ 1278261 w 2051014"/>
                <a:gd name="connsiteY74" fmla="*/ 153154 h 1674813"/>
                <a:gd name="connsiteX75" fmla="*/ 1332707 w 2051014"/>
                <a:gd name="connsiteY75" fmla="*/ 182797 h 1674813"/>
                <a:gd name="connsiteX76" fmla="*/ 1476244 w 2051014"/>
                <a:gd name="connsiteY76" fmla="*/ 293957 h 1674813"/>
                <a:gd name="connsiteX77" fmla="*/ 1491093 w 2051014"/>
                <a:gd name="connsiteY77" fmla="*/ 316189 h 1674813"/>
                <a:gd name="connsiteX78" fmla="*/ 1488618 w 2051014"/>
                <a:gd name="connsiteY78" fmla="*/ 321129 h 1674813"/>
                <a:gd name="connsiteX79" fmla="*/ 1444072 w 2051014"/>
                <a:gd name="connsiteY79" fmla="*/ 306308 h 1674813"/>
                <a:gd name="connsiteX80" fmla="*/ 1421799 w 2051014"/>
                <a:gd name="connsiteY80" fmla="*/ 345831 h 1674813"/>
                <a:gd name="connsiteX81" fmla="*/ 1409425 w 2051014"/>
                <a:gd name="connsiteY81" fmla="*/ 370534 h 1674813"/>
                <a:gd name="connsiteX82" fmla="*/ 1394576 w 2051014"/>
                <a:gd name="connsiteY82" fmla="*/ 419938 h 1674813"/>
                <a:gd name="connsiteX83" fmla="*/ 1392102 w 2051014"/>
                <a:gd name="connsiteY83" fmla="*/ 429819 h 1674813"/>
                <a:gd name="connsiteX84" fmla="*/ 1382202 w 2051014"/>
                <a:gd name="connsiteY84" fmla="*/ 489105 h 1674813"/>
                <a:gd name="connsiteX85" fmla="*/ 1374778 w 2051014"/>
                <a:gd name="connsiteY85" fmla="*/ 543449 h 1674813"/>
                <a:gd name="connsiteX86" fmla="*/ 1503467 w 2051014"/>
                <a:gd name="connsiteY86" fmla="*/ 595324 h 1674813"/>
                <a:gd name="connsiteX87" fmla="*/ 1788068 w 2051014"/>
                <a:gd name="connsiteY87" fmla="*/ 758359 h 1674813"/>
                <a:gd name="connsiteX88" fmla="*/ 1983576 w 2051014"/>
                <a:gd name="connsiteY88" fmla="*/ 943626 h 1674813"/>
                <a:gd name="connsiteX89" fmla="*/ 2040496 w 2051014"/>
                <a:gd name="connsiteY89" fmla="*/ 1025144 h 1674813"/>
                <a:gd name="connsiteX90" fmla="*/ 2042971 w 2051014"/>
                <a:gd name="connsiteY90" fmla="*/ 1096780 h 1674813"/>
                <a:gd name="connsiteX91" fmla="*/ 2045446 w 2051014"/>
                <a:gd name="connsiteY91" fmla="*/ 1114072 h 1674813"/>
                <a:gd name="connsiteX92" fmla="*/ 2042971 w 2051014"/>
                <a:gd name="connsiteY92" fmla="*/ 1126423 h 1674813"/>
                <a:gd name="connsiteX93" fmla="*/ 1934080 w 2051014"/>
                <a:gd name="connsiteY93" fmla="*/ 1353684 h 1674813"/>
                <a:gd name="connsiteX94" fmla="*/ 1815291 w 2051014"/>
                <a:gd name="connsiteY94" fmla="*/ 1551302 h 1674813"/>
                <a:gd name="connsiteX95" fmla="*/ 1721249 w 2051014"/>
                <a:gd name="connsiteY95" fmla="*/ 1669873 h 1674813"/>
                <a:gd name="connsiteX96" fmla="*/ 1713824 w 2051014"/>
                <a:gd name="connsiteY96" fmla="*/ 1674813 h 1674813"/>
                <a:gd name="connsiteX97" fmla="*/ 1763320 w 2051014"/>
                <a:gd name="connsiteY97" fmla="*/ 1578474 h 1674813"/>
                <a:gd name="connsiteX98" fmla="*/ 1708875 w 2051014"/>
                <a:gd name="connsiteY98" fmla="*/ 1650111 h 1674813"/>
                <a:gd name="connsiteX99" fmla="*/ 1731148 w 2051014"/>
                <a:gd name="connsiteY99" fmla="*/ 1561183 h 1674813"/>
                <a:gd name="connsiteX100" fmla="*/ 1671753 w 2051014"/>
                <a:gd name="connsiteY100" fmla="*/ 1613058 h 1674813"/>
                <a:gd name="connsiteX101" fmla="*/ 1686602 w 2051014"/>
                <a:gd name="connsiteY101" fmla="*/ 1524129 h 1674813"/>
                <a:gd name="connsiteX102" fmla="*/ 1671753 w 2051014"/>
                <a:gd name="connsiteY102" fmla="*/ 1536481 h 1674813"/>
                <a:gd name="connsiteX103" fmla="*/ 1595034 w 2051014"/>
                <a:gd name="connsiteY103" fmla="*/ 1620468 h 1674813"/>
                <a:gd name="connsiteX104" fmla="*/ 1548013 w 2051014"/>
                <a:gd name="connsiteY104" fmla="*/ 1642700 h 1674813"/>
                <a:gd name="connsiteX105" fmla="*/ 1471295 w 2051014"/>
                <a:gd name="connsiteY105" fmla="*/ 1640230 h 1674813"/>
                <a:gd name="connsiteX106" fmla="*/ 1426749 w 2051014"/>
                <a:gd name="connsiteY106" fmla="*/ 1632819 h 1674813"/>
                <a:gd name="connsiteX107" fmla="*/ 1354980 w 2051014"/>
                <a:gd name="connsiteY107" fmla="*/ 1610587 h 1674813"/>
                <a:gd name="connsiteX108" fmla="*/ 1295585 w 2051014"/>
                <a:gd name="connsiteY108" fmla="*/ 1583415 h 1674813"/>
                <a:gd name="connsiteX109" fmla="*/ 1288160 w 2051014"/>
                <a:gd name="connsiteY109" fmla="*/ 1561183 h 1674813"/>
                <a:gd name="connsiteX110" fmla="*/ 1305484 w 2051014"/>
                <a:gd name="connsiteY110" fmla="*/ 1536481 h 1674813"/>
                <a:gd name="connsiteX111" fmla="*/ 1342606 w 2051014"/>
                <a:gd name="connsiteY111" fmla="*/ 1457433 h 1674813"/>
                <a:gd name="connsiteX112" fmla="*/ 1340131 w 2051014"/>
                <a:gd name="connsiteY112" fmla="*/ 1447552 h 1674813"/>
                <a:gd name="connsiteX113" fmla="*/ 1295585 w 2051014"/>
                <a:gd name="connsiteY113" fmla="*/ 1477195 h 1674813"/>
                <a:gd name="connsiteX114" fmla="*/ 1260938 w 2051014"/>
                <a:gd name="connsiteY114" fmla="*/ 1487076 h 1674813"/>
                <a:gd name="connsiteX115" fmla="*/ 1196593 w 2051014"/>
                <a:gd name="connsiteY115" fmla="*/ 1496957 h 1674813"/>
                <a:gd name="connsiteX116" fmla="*/ 1152047 w 2051014"/>
                <a:gd name="connsiteY116" fmla="*/ 1501897 h 1674813"/>
                <a:gd name="connsiteX117" fmla="*/ 1137198 w 2051014"/>
                <a:gd name="connsiteY117" fmla="*/ 1484606 h 1674813"/>
                <a:gd name="connsiteX118" fmla="*/ 1142148 w 2051014"/>
                <a:gd name="connsiteY118" fmla="*/ 1447552 h 1674813"/>
                <a:gd name="connsiteX119" fmla="*/ 1186694 w 2051014"/>
                <a:gd name="connsiteY119" fmla="*/ 1435201 h 1674813"/>
                <a:gd name="connsiteX120" fmla="*/ 1154522 w 2051014"/>
                <a:gd name="connsiteY120" fmla="*/ 1408029 h 1674813"/>
                <a:gd name="connsiteX121" fmla="*/ 1010984 w 2051014"/>
                <a:gd name="connsiteY121" fmla="*/ 1277107 h 1674813"/>
                <a:gd name="connsiteX122" fmla="*/ 997992 w 2051014"/>
                <a:gd name="connsiteY122" fmla="*/ 1261668 h 1674813"/>
                <a:gd name="connsiteX123" fmla="*/ 997474 w 2051014"/>
                <a:gd name="connsiteY123" fmla="*/ 1256324 h 1674813"/>
                <a:gd name="connsiteX124" fmla="*/ 994895 w 2051014"/>
                <a:gd name="connsiteY124" fmla="*/ 1254703 h 1674813"/>
                <a:gd name="connsiteX125" fmla="*/ 997243 w 2051014"/>
                <a:gd name="connsiteY125" fmla="*/ 1253947 h 1674813"/>
                <a:gd name="connsiteX126" fmla="*/ 996135 w 2051014"/>
                <a:gd name="connsiteY126" fmla="*/ 1242524 h 1674813"/>
                <a:gd name="connsiteX127" fmla="*/ 996135 w 2051014"/>
                <a:gd name="connsiteY127" fmla="*/ 1227702 h 1674813"/>
                <a:gd name="connsiteX128" fmla="*/ 978812 w 2051014"/>
                <a:gd name="connsiteY128" fmla="*/ 1207941 h 1674813"/>
                <a:gd name="connsiteX129" fmla="*/ 956539 w 2051014"/>
                <a:gd name="connsiteY129" fmla="*/ 1230173 h 1674813"/>
                <a:gd name="connsiteX130" fmla="*/ 919417 w 2051014"/>
                <a:gd name="connsiteY130" fmla="*/ 1264756 h 1674813"/>
                <a:gd name="connsiteX131" fmla="*/ 902093 w 2051014"/>
                <a:gd name="connsiteY131" fmla="*/ 1267226 h 1674813"/>
                <a:gd name="connsiteX132" fmla="*/ 902093 w 2051014"/>
                <a:gd name="connsiteY132" fmla="*/ 1316630 h 1674813"/>
                <a:gd name="connsiteX133" fmla="*/ 897144 w 2051014"/>
                <a:gd name="connsiteY133" fmla="*/ 1375916 h 1674813"/>
                <a:gd name="connsiteX134" fmla="*/ 894669 w 2051014"/>
                <a:gd name="connsiteY134" fmla="*/ 1405559 h 1674813"/>
                <a:gd name="connsiteX135" fmla="*/ 889719 w 2051014"/>
                <a:gd name="connsiteY135" fmla="*/ 1427791 h 1674813"/>
                <a:gd name="connsiteX136" fmla="*/ 862497 w 2051014"/>
                <a:gd name="connsiteY136" fmla="*/ 1452493 h 1674813"/>
                <a:gd name="connsiteX137" fmla="*/ 845173 w 2051014"/>
                <a:gd name="connsiteY137" fmla="*/ 1445082 h 1674813"/>
                <a:gd name="connsiteX138" fmla="*/ 803102 w 2051014"/>
                <a:gd name="connsiteY138" fmla="*/ 1417910 h 1674813"/>
                <a:gd name="connsiteX139" fmla="*/ 778354 w 2051014"/>
                <a:gd name="connsiteY139" fmla="*/ 1432731 h 1674813"/>
                <a:gd name="connsiteX140" fmla="*/ 780829 w 2051014"/>
                <a:gd name="connsiteY140" fmla="*/ 1454963 h 1674813"/>
                <a:gd name="connsiteX141" fmla="*/ 785778 w 2051014"/>
                <a:gd name="connsiteY141" fmla="*/ 1472255 h 1674813"/>
                <a:gd name="connsiteX142" fmla="*/ 763505 w 2051014"/>
                <a:gd name="connsiteY142" fmla="*/ 1487076 h 1674813"/>
                <a:gd name="connsiteX143" fmla="*/ 716484 w 2051014"/>
                <a:gd name="connsiteY143" fmla="*/ 1482136 h 1674813"/>
                <a:gd name="connsiteX144" fmla="*/ 610068 w 2051014"/>
                <a:gd name="connsiteY144" fmla="*/ 1361095 h 1674813"/>
                <a:gd name="connsiteX145" fmla="*/ 590270 w 2051014"/>
                <a:gd name="connsiteY145" fmla="*/ 1296869 h 1674813"/>
                <a:gd name="connsiteX146" fmla="*/ 595219 w 2051014"/>
                <a:gd name="connsiteY146" fmla="*/ 1175828 h 1674813"/>
                <a:gd name="connsiteX147" fmla="*/ 607593 w 2051014"/>
                <a:gd name="connsiteY147" fmla="*/ 1158536 h 1674813"/>
                <a:gd name="connsiteX148" fmla="*/ 654614 w 2051014"/>
                <a:gd name="connsiteY148" fmla="*/ 1131364 h 1674813"/>
                <a:gd name="connsiteX149" fmla="*/ 669463 w 2051014"/>
                <a:gd name="connsiteY149" fmla="*/ 1104191 h 1674813"/>
                <a:gd name="connsiteX150" fmla="*/ 679362 w 2051014"/>
                <a:gd name="connsiteY150" fmla="*/ 1010322 h 1674813"/>
                <a:gd name="connsiteX151" fmla="*/ 681837 w 2051014"/>
                <a:gd name="connsiteY151" fmla="*/ 886811 h 1674813"/>
                <a:gd name="connsiteX152" fmla="*/ 679362 w 2051014"/>
                <a:gd name="connsiteY152" fmla="*/ 847288 h 1674813"/>
                <a:gd name="connsiteX153" fmla="*/ 674413 w 2051014"/>
                <a:gd name="connsiteY153" fmla="*/ 800353 h 1674813"/>
                <a:gd name="connsiteX154" fmla="*/ 657089 w 2051014"/>
                <a:gd name="connsiteY154" fmla="*/ 681782 h 1674813"/>
                <a:gd name="connsiteX155" fmla="*/ 639766 w 2051014"/>
                <a:gd name="connsiteY155" fmla="*/ 560741 h 1674813"/>
                <a:gd name="connsiteX156" fmla="*/ 644715 w 2051014"/>
                <a:gd name="connsiteY156" fmla="*/ 518747 h 1674813"/>
                <a:gd name="connsiteX157" fmla="*/ 676887 w 2051014"/>
                <a:gd name="connsiteY157" fmla="*/ 526158 h 1674813"/>
                <a:gd name="connsiteX158" fmla="*/ 822900 w 2051014"/>
                <a:gd name="connsiteY158" fmla="*/ 644729 h 1674813"/>
                <a:gd name="connsiteX159" fmla="*/ 872396 w 2051014"/>
                <a:gd name="connsiteY159" fmla="*/ 706485 h 1674813"/>
                <a:gd name="connsiteX160" fmla="*/ 882295 w 2051014"/>
                <a:gd name="connsiteY160" fmla="*/ 743538 h 1674813"/>
                <a:gd name="connsiteX161" fmla="*/ 862497 w 2051014"/>
                <a:gd name="connsiteY161" fmla="*/ 748479 h 1674813"/>
                <a:gd name="connsiteX162" fmla="*/ 867446 w 2051014"/>
                <a:gd name="connsiteY162" fmla="*/ 768240 h 1674813"/>
                <a:gd name="connsiteX163" fmla="*/ 864971 w 2051014"/>
                <a:gd name="connsiteY163" fmla="*/ 770711 h 1674813"/>
                <a:gd name="connsiteX164" fmla="*/ 850123 w 2051014"/>
                <a:gd name="connsiteY164" fmla="*/ 750949 h 1674813"/>
                <a:gd name="connsiteX165" fmla="*/ 845173 w 2051014"/>
                <a:gd name="connsiteY165" fmla="*/ 753419 h 1674813"/>
                <a:gd name="connsiteX166" fmla="*/ 850123 w 2051014"/>
                <a:gd name="connsiteY166" fmla="*/ 785532 h 1674813"/>
                <a:gd name="connsiteX167" fmla="*/ 860022 w 2051014"/>
                <a:gd name="connsiteY167" fmla="*/ 891752 h 1674813"/>
                <a:gd name="connsiteX168" fmla="*/ 852598 w 2051014"/>
                <a:gd name="connsiteY168" fmla="*/ 936216 h 1674813"/>
                <a:gd name="connsiteX169" fmla="*/ 867446 w 2051014"/>
                <a:gd name="connsiteY169" fmla="*/ 928805 h 1674813"/>
                <a:gd name="connsiteX170" fmla="*/ 941690 w 2051014"/>
                <a:gd name="connsiteY170" fmla="*/ 874460 h 1674813"/>
                <a:gd name="connsiteX171" fmla="*/ 1030782 w 2051014"/>
                <a:gd name="connsiteY171" fmla="*/ 807764 h 1674813"/>
                <a:gd name="connsiteX172" fmla="*/ 1045631 w 2051014"/>
                <a:gd name="connsiteY172" fmla="*/ 775651 h 1674813"/>
                <a:gd name="connsiteX173" fmla="*/ 1025833 w 2051014"/>
                <a:gd name="connsiteY173" fmla="*/ 595324 h 1674813"/>
                <a:gd name="connsiteX174" fmla="*/ 991186 w 2051014"/>
                <a:gd name="connsiteY174" fmla="*/ 368063 h 1674813"/>
                <a:gd name="connsiteX175" fmla="*/ 976337 w 2051014"/>
                <a:gd name="connsiteY175" fmla="*/ 224790 h 1674813"/>
                <a:gd name="connsiteX176" fmla="*/ 986236 w 2051014"/>
                <a:gd name="connsiteY176" fmla="*/ 83988 h 1674813"/>
                <a:gd name="connsiteX177" fmla="*/ 988711 w 2051014"/>
                <a:gd name="connsiteY177" fmla="*/ 61756 h 1674813"/>
                <a:gd name="connsiteX178" fmla="*/ 1035732 w 2051014"/>
                <a:gd name="connsiteY178" fmla="*/ 12351 h 1674813"/>
                <a:gd name="connsiteX179" fmla="*/ 1040682 w 2051014"/>
                <a:gd name="connsiteY179" fmla="*/ 0 h 167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051014" h="1674813">
                  <a:moveTo>
                    <a:pt x="1084317" y="1449027"/>
                  </a:moveTo>
                  <a:cubicBezTo>
                    <a:pt x="1089278" y="1449027"/>
                    <a:pt x="1094859" y="1450254"/>
                    <a:pt x="1106021" y="1452707"/>
                  </a:cubicBezTo>
                  <a:cubicBezTo>
                    <a:pt x="1101060" y="1469881"/>
                    <a:pt x="1098580" y="1474788"/>
                    <a:pt x="1083697" y="1464974"/>
                  </a:cubicBezTo>
                  <a:cubicBezTo>
                    <a:pt x="1078736" y="1462521"/>
                    <a:pt x="1073775" y="1457614"/>
                    <a:pt x="1066333" y="1452707"/>
                  </a:cubicBezTo>
                  <a:cubicBezTo>
                    <a:pt x="1075015" y="1450254"/>
                    <a:pt x="1079356" y="1449027"/>
                    <a:pt x="1084317" y="1449027"/>
                  </a:cubicBezTo>
                  <a:close/>
                  <a:moveTo>
                    <a:pt x="1105026" y="1235113"/>
                  </a:moveTo>
                  <a:lnTo>
                    <a:pt x="1057882" y="1250172"/>
                  </a:lnTo>
                  <a:lnTo>
                    <a:pt x="1059197" y="1259916"/>
                  </a:lnTo>
                  <a:lnTo>
                    <a:pt x="1057943" y="1264099"/>
                  </a:lnTo>
                  <a:lnTo>
                    <a:pt x="1062955" y="1267226"/>
                  </a:lnTo>
                  <a:cubicBezTo>
                    <a:pt x="1075329" y="1274637"/>
                    <a:pt x="1090177" y="1289458"/>
                    <a:pt x="1102551" y="1279577"/>
                  </a:cubicBezTo>
                  <a:cubicBezTo>
                    <a:pt x="1112450" y="1269696"/>
                    <a:pt x="1109976" y="1252405"/>
                    <a:pt x="1105026" y="1235113"/>
                  </a:cubicBezTo>
                  <a:close/>
                  <a:moveTo>
                    <a:pt x="879820" y="1148655"/>
                  </a:moveTo>
                  <a:cubicBezTo>
                    <a:pt x="877345" y="1170887"/>
                    <a:pt x="879820" y="1183238"/>
                    <a:pt x="892194" y="1195589"/>
                  </a:cubicBezTo>
                  <a:cubicBezTo>
                    <a:pt x="897144" y="1190649"/>
                    <a:pt x="904568" y="1185709"/>
                    <a:pt x="907043" y="1183238"/>
                  </a:cubicBezTo>
                  <a:cubicBezTo>
                    <a:pt x="897144" y="1170887"/>
                    <a:pt x="889719" y="1163476"/>
                    <a:pt x="879820" y="1148655"/>
                  </a:cubicBezTo>
                  <a:close/>
                  <a:moveTo>
                    <a:pt x="1540589" y="1106661"/>
                  </a:moveTo>
                  <a:cubicBezTo>
                    <a:pt x="1525740" y="1111602"/>
                    <a:pt x="1518316" y="1114072"/>
                    <a:pt x="1508417" y="1116542"/>
                  </a:cubicBezTo>
                  <a:cubicBezTo>
                    <a:pt x="1476244" y="1128893"/>
                    <a:pt x="1444072" y="1143715"/>
                    <a:pt x="1406950" y="1148655"/>
                  </a:cubicBezTo>
                  <a:cubicBezTo>
                    <a:pt x="1384677" y="1153596"/>
                    <a:pt x="1362404" y="1163476"/>
                    <a:pt x="1340131" y="1173357"/>
                  </a:cubicBezTo>
                  <a:cubicBezTo>
                    <a:pt x="1335181" y="1175828"/>
                    <a:pt x="1330232" y="1183238"/>
                    <a:pt x="1330232" y="1188179"/>
                  </a:cubicBezTo>
                  <a:cubicBezTo>
                    <a:pt x="1330232" y="1210411"/>
                    <a:pt x="1330232" y="1230173"/>
                    <a:pt x="1332707" y="1249934"/>
                  </a:cubicBezTo>
                  <a:cubicBezTo>
                    <a:pt x="1332707" y="1262286"/>
                    <a:pt x="1335181" y="1272166"/>
                    <a:pt x="1337656" y="1284518"/>
                  </a:cubicBezTo>
                  <a:cubicBezTo>
                    <a:pt x="1340131" y="1304279"/>
                    <a:pt x="1342606" y="1324041"/>
                    <a:pt x="1345081" y="1343803"/>
                  </a:cubicBezTo>
                  <a:cubicBezTo>
                    <a:pt x="1424274" y="1277107"/>
                    <a:pt x="1486144" y="1198060"/>
                    <a:pt x="1540589" y="1106661"/>
                  </a:cubicBezTo>
                  <a:close/>
                  <a:moveTo>
                    <a:pt x="371323" y="983024"/>
                  </a:moveTo>
                  <a:cubicBezTo>
                    <a:pt x="440601" y="973138"/>
                    <a:pt x="472766" y="1039869"/>
                    <a:pt x="467817" y="1074471"/>
                  </a:cubicBezTo>
                  <a:cubicBezTo>
                    <a:pt x="462869" y="1111543"/>
                    <a:pt x="212973" y="1309265"/>
                    <a:pt x="217922" y="1353753"/>
                  </a:cubicBezTo>
                  <a:cubicBezTo>
                    <a:pt x="225344" y="1400711"/>
                    <a:pt x="457920" y="1188161"/>
                    <a:pt x="517301" y="1198047"/>
                  </a:cubicBezTo>
                  <a:cubicBezTo>
                    <a:pt x="574208" y="1207933"/>
                    <a:pt x="544518" y="1541588"/>
                    <a:pt x="490085" y="1566303"/>
                  </a:cubicBezTo>
                  <a:cubicBezTo>
                    <a:pt x="438127" y="1588547"/>
                    <a:pt x="306993" y="1514401"/>
                    <a:pt x="282251" y="1450142"/>
                  </a:cubicBezTo>
                  <a:cubicBezTo>
                    <a:pt x="255035" y="1385882"/>
                    <a:pt x="262458" y="1603376"/>
                    <a:pt x="262458" y="1603376"/>
                  </a:cubicBezTo>
                  <a:cubicBezTo>
                    <a:pt x="262458" y="1603376"/>
                    <a:pt x="66995" y="1519344"/>
                    <a:pt x="86789" y="1413069"/>
                  </a:cubicBezTo>
                  <a:cubicBezTo>
                    <a:pt x="89263" y="1403183"/>
                    <a:pt x="158541" y="1262306"/>
                    <a:pt x="257509" y="1153559"/>
                  </a:cubicBezTo>
                  <a:cubicBezTo>
                    <a:pt x="257509" y="1153559"/>
                    <a:pt x="148644" y="1269721"/>
                    <a:pt x="101634" y="1254892"/>
                  </a:cubicBezTo>
                  <a:cubicBezTo>
                    <a:pt x="89263" y="1252420"/>
                    <a:pt x="54624" y="1254892"/>
                    <a:pt x="39779" y="1205461"/>
                  </a:cubicBezTo>
                  <a:cubicBezTo>
                    <a:pt x="24933" y="1158502"/>
                    <a:pt x="106582" y="1111543"/>
                    <a:pt x="106582" y="1111543"/>
                  </a:cubicBezTo>
                  <a:cubicBezTo>
                    <a:pt x="106582" y="1111543"/>
                    <a:pt x="299571" y="992910"/>
                    <a:pt x="371323" y="983024"/>
                  </a:cubicBezTo>
                  <a:close/>
                  <a:moveTo>
                    <a:pt x="1072854" y="958448"/>
                  </a:moveTo>
                  <a:cubicBezTo>
                    <a:pt x="1003560" y="1005382"/>
                    <a:pt x="936740" y="1049846"/>
                    <a:pt x="872396" y="1094310"/>
                  </a:cubicBezTo>
                  <a:cubicBezTo>
                    <a:pt x="869921" y="1121483"/>
                    <a:pt x="879820" y="1138774"/>
                    <a:pt x="902093" y="1148655"/>
                  </a:cubicBezTo>
                  <a:cubicBezTo>
                    <a:pt x="904568" y="1151125"/>
                    <a:pt x="907043" y="1153596"/>
                    <a:pt x="909518" y="1156066"/>
                  </a:cubicBezTo>
                  <a:cubicBezTo>
                    <a:pt x="929316" y="1168417"/>
                    <a:pt x="931791" y="1168417"/>
                    <a:pt x="951589" y="1156066"/>
                  </a:cubicBezTo>
                  <a:cubicBezTo>
                    <a:pt x="973862" y="1141244"/>
                    <a:pt x="993661" y="1123953"/>
                    <a:pt x="1020883" y="1116542"/>
                  </a:cubicBezTo>
                  <a:cubicBezTo>
                    <a:pt x="1045631" y="1106661"/>
                    <a:pt x="1062955" y="1089370"/>
                    <a:pt x="1087703" y="1079489"/>
                  </a:cubicBezTo>
                  <a:cubicBezTo>
                    <a:pt x="1082753" y="1039965"/>
                    <a:pt x="1080278" y="1002912"/>
                    <a:pt x="1072854" y="958448"/>
                  </a:cubicBezTo>
                  <a:close/>
                  <a:moveTo>
                    <a:pt x="294376" y="654981"/>
                  </a:moveTo>
                  <a:cubicBezTo>
                    <a:pt x="328169" y="656946"/>
                    <a:pt x="357433" y="671738"/>
                    <a:pt x="385303" y="692078"/>
                  </a:cubicBezTo>
                  <a:cubicBezTo>
                    <a:pt x="434850" y="724129"/>
                    <a:pt x="479442" y="761110"/>
                    <a:pt x="516603" y="805488"/>
                  </a:cubicBezTo>
                  <a:cubicBezTo>
                    <a:pt x="526512" y="815350"/>
                    <a:pt x="533944" y="827677"/>
                    <a:pt x="541376" y="840004"/>
                  </a:cubicBezTo>
                  <a:cubicBezTo>
                    <a:pt x="548808" y="857262"/>
                    <a:pt x="546331" y="864659"/>
                    <a:pt x="526512" y="869590"/>
                  </a:cubicBezTo>
                  <a:cubicBezTo>
                    <a:pt x="516603" y="874521"/>
                    <a:pt x="506693" y="876986"/>
                    <a:pt x="496784" y="879451"/>
                  </a:cubicBezTo>
                  <a:cubicBezTo>
                    <a:pt x="454669" y="889313"/>
                    <a:pt x="415031" y="899175"/>
                    <a:pt x="372916" y="911502"/>
                  </a:cubicBezTo>
                  <a:cubicBezTo>
                    <a:pt x="358052" y="913968"/>
                    <a:pt x="348143" y="923829"/>
                    <a:pt x="338233" y="936157"/>
                  </a:cubicBezTo>
                  <a:cubicBezTo>
                    <a:pt x="355575" y="941087"/>
                    <a:pt x="367961" y="943553"/>
                    <a:pt x="382825" y="946018"/>
                  </a:cubicBezTo>
                  <a:cubicBezTo>
                    <a:pt x="377871" y="958346"/>
                    <a:pt x="370439" y="960811"/>
                    <a:pt x="360529" y="963276"/>
                  </a:cubicBezTo>
                  <a:cubicBezTo>
                    <a:pt x="323369" y="973138"/>
                    <a:pt x="286209" y="960811"/>
                    <a:pt x="251526" y="943553"/>
                  </a:cubicBezTo>
                  <a:cubicBezTo>
                    <a:pt x="184637" y="909037"/>
                    <a:pt x="127658" y="859728"/>
                    <a:pt x="73156" y="807954"/>
                  </a:cubicBezTo>
                  <a:cubicBezTo>
                    <a:pt x="48383" y="783299"/>
                    <a:pt x="23609" y="758645"/>
                    <a:pt x="6268" y="729060"/>
                  </a:cubicBezTo>
                  <a:cubicBezTo>
                    <a:pt x="1313" y="719198"/>
                    <a:pt x="-3642" y="711802"/>
                    <a:pt x="3790" y="699474"/>
                  </a:cubicBezTo>
                  <a:cubicBezTo>
                    <a:pt x="8745" y="697009"/>
                    <a:pt x="13700" y="692078"/>
                    <a:pt x="21132" y="692078"/>
                  </a:cubicBezTo>
                  <a:cubicBezTo>
                    <a:pt x="65724" y="682216"/>
                    <a:pt x="112794" y="672355"/>
                    <a:pt x="157386" y="664958"/>
                  </a:cubicBezTo>
                  <a:cubicBezTo>
                    <a:pt x="184637" y="660027"/>
                    <a:pt x="209411" y="662493"/>
                    <a:pt x="236662" y="660027"/>
                  </a:cubicBezTo>
                  <a:cubicBezTo>
                    <a:pt x="244094" y="660027"/>
                    <a:pt x="251526" y="660027"/>
                    <a:pt x="258958" y="657562"/>
                  </a:cubicBezTo>
                  <a:cubicBezTo>
                    <a:pt x="271345" y="655096"/>
                    <a:pt x="283112" y="654326"/>
                    <a:pt x="294376" y="654981"/>
                  </a:cubicBezTo>
                  <a:close/>
                  <a:moveTo>
                    <a:pt x="1033257" y="195148"/>
                  </a:moveTo>
                  <a:cubicBezTo>
                    <a:pt x="1028308" y="247022"/>
                    <a:pt x="1015934" y="370534"/>
                    <a:pt x="1038207" y="402647"/>
                  </a:cubicBezTo>
                  <a:cubicBezTo>
                    <a:pt x="1043156" y="382885"/>
                    <a:pt x="1048106" y="363123"/>
                    <a:pt x="1050581" y="343361"/>
                  </a:cubicBezTo>
                  <a:cubicBezTo>
                    <a:pt x="1050581" y="340891"/>
                    <a:pt x="1050581" y="338421"/>
                    <a:pt x="1050581" y="335951"/>
                  </a:cubicBezTo>
                  <a:cubicBezTo>
                    <a:pt x="1048106" y="293957"/>
                    <a:pt x="1043156" y="254433"/>
                    <a:pt x="1040682" y="212439"/>
                  </a:cubicBezTo>
                  <a:cubicBezTo>
                    <a:pt x="1040682" y="207499"/>
                    <a:pt x="1035732" y="205029"/>
                    <a:pt x="1033257" y="195148"/>
                  </a:cubicBezTo>
                  <a:close/>
                  <a:moveTo>
                    <a:pt x="1040682" y="0"/>
                  </a:moveTo>
                  <a:cubicBezTo>
                    <a:pt x="1045631" y="0"/>
                    <a:pt x="1050581" y="0"/>
                    <a:pt x="1053055" y="2470"/>
                  </a:cubicBezTo>
                  <a:cubicBezTo>
                    <a:pt x="1085228" y="22232"/>
                    <a:pt x="1119875" y="39523"/>
                    <a:pt x="1152047" y="61756"/>
                  </a:cubicBezTo>
                  <a:cubicBezTo>
                    <a:pt x="1194118" y="88928"/>
                    <a:pt x="1236190" y="123511"/>
                    <a:pt x="1278261" y="153154"/>
                  </a:cubicBezTo>
                  <a:cubicBezTo>
                    <a:pt x="1295585" y="165505"/>
                    <a:pt x="1315383" y="175386"/>
                    <a:pt x="1332707" y="182797"/>
                  </a:cubicBezTo>
                  <a:cubicBezTo>
                    <a:pt x="1389627" y="209969"/>
                    <a:pt x="1436648" y="247022"/>
                    <a:pt x="1476244" y="293957"/>
                  </a:cubicBezTo>
                  <a:cubicBezTo>
                    <a:pt x="1483669" y="301367"/>
                    <a:pt x="1486144" y="308778"/>
                    <a:pt x="1491093" y="316189"/>
                  </a:cubicBezTo>
                  <a:cubicBezTo>
                    <a:pt x="1491093" y="318659"/>
                    <a:pt x="1488618" y="321129"/>
                    <a:pt x="1488618" y="321129"/>
                  </a:cubicBezTo>
                  <a:cubicBezTo>
                    <a:pt x="1476244" y="316189"/>
                    <a:pt x="1461396" y="311248"/>
                    <a:pt x="1444072" y="306308"/>
                  </a:cubicBezTo>
                  <a:cubicBezTo>
                    <a:pt x="1436648" y="318659"/>
                    <a:pt x="1429223" y="331010"/>
                    <a:pt x="1421799" y="345831"/>
                  </a:cubicBezTo>
                  <a:cubicBezTo>
                    <a:pt x="1416850" y="353242"/>
                    <a:pt x="1414375" y="363123"/>
                    <a:pt x="1409425" y="370534"/>
                  </a:cubicBezTo>
                  <a:cubicBezTo>
                    <a:pt x="1397051" y="385355"/>
                    <a:pt x="1389627" y="400176"/>
                    <a:pt x="1394576" y="419938"/>
                  </a:cubicBezTo>
                  <a:cubicBezTo>
                    <a:pt x="1394576" y="422408"/>
                    <a:pt x="1394576" y="427349"/>
                    <a:pt x="1392102" y="429819"/>
                  </a:cubicBezTo>
                  <a:cubicBezTo>
                    <a:pt x="1382202" y="447111"/>
                    <a:pt x="1382202" y="469343"/>
                    <a:pt x="1382202" y="489105"/>
                  </a:cubicBezTo>
                  <a:cubicBezTo>
                    <a:pt x="1379728" y="508866"/>
                    <a:pt x="1377253" y="526158"/>
                    <a:pt x="1374778" y="543449"/>
                  </a:cubicBezTo>
                  <a:cubicBezTo>
                    <a:pt x="1419324" y="560741"/>
                    <a:pt x="1461396" y="578033"/>
                    <a:pt x="1503467" y="595324"/>
                  </a:cubicBezTo>
                  <a:cubicBezTo>
                    <a:pt x="1604934" y="634848"/>
                    <a:pt x="1701450" y="689193"/>
                    <a:pt x="1788068" y="758359"/>
                  </a:cubicBezTo>
                  <a:cubicBezTo>
                    <a:pt x="1857362" y="815175"/>
                    <a:pt x="1924181" y="874460"/>
                    <a:pt x="1983576" y="943626"/>
                  </a:cubicBezTo>
                  <a:cubicBezTo>
                    <a:pt x="2005849" y="968329"/>
                    <a:pt x="2023173" y="995501"/>
                    <a:pt x="2040496" y="1025144"/>
                  </a:cubicBezTo>
                  <a:cubicBezTo>
                    <a:pt x="2055345" y="1047376"/>
                    <a:pt x="2052870" y="1072078"/>
                    <a:pt x="2042971" y="1096780"/>
                  </a:cubicBezTo>
                  <a:cubicBezTo>
                    <a:pt x="2040496" y="1101721"/>
                    <a:pt x="2030597" y="1109132"/>
                    <a:pt x="2045446" y="1114072"/>
                  </a:cubicBezTo>
                  <a:cubicBezTo>
                    <a:pt x="2045446" y="1114072"/>
                    <a:pt x="2042971" y="1121483"/>
                    <a:pt x="2042971" y="1126423"/>
                  </a:cubicBezTo>
                  <a:cubicBezTo>
                    <a:pt x="2005849" y="1203000"/>
                    <a:pt x="1971202" y="1279577"/>
                    <a:pt x="1934080" y="1353684"/>
                  </a:cubicBezTo>
                  <a:cubicBezTo>
                    <a:pt x="1899433" y="1422850"/>
                    <a:pt x="1862312" y="1489546"/>
                    <a:pt x="1815291" y="1551302"/>
                  </a:cubicBezTo>
                  <a:cubicBezTo>
                    <a:pt x="1785593" y="1590826"/>
                    <a:pt x="1753421" y="1630349"/>
                    <a:pt x="1721249" y="1669873"/>
                  </a:cubicBezTo>
                  <a:cubicBezTo>
                    <a:pt x="1718774" y="1672343"/>
                    <a:pt x="1716299" y="1672343"/>
                    <a:pt x="1713824" y="1674813"/>
                  </a:cubicBezTo>
                  <a:cubicBezTo>
                    <a:pt x="1728673" y="1640230"/>
                    <a:pt x="1750946" y="1613058"/>
                    <a:pt x="1763320" y="1578474"/>
                  </a:cubicBezTo>
                  <a:cubicBezTo>
                    <a:pt x="1736097" y="1595766"/>
                    <a:pt x="1728673" y="1627879"/>
                    <a:pt x="1708875" y="1650111"/>
                  </a:cubicBezTo>
                  <a:cubicBezTo>
                    <a:pt x="1711349" y="1620468"/>
                    <a:pt x="1733623" y="1595766"/>
                    <a:pt x="1731148" y="1561183"/>
                  </a:cubicBezTo>
                  <a:cubicBezTo>
                    <a:pt x="1703925" y="1568593"/>
                    <a:pt x="1698975" y="1603177"/>
                    <a:pt x="1671753" y="1613058"/>
                  </a:cubicBezTo>
                  <a:cubicBezTo>
                    <a:pt x="1664328" y="1580945"/>
                    <a:pt x="1694026" y="1558713"/>
                    <a:pt x="1686602" y="1524129"/>
                  </a:cubicBezTo>
                  <a:cubicBezTo>
                    <a:pt x="1679177" y="1529070"/>
                    <a:pt x="1674228" y="1534010"/>
                    <a:pt x="1671753" y="1536481"/>
                  </a:cubicBezTo>
                  <a:cubicBezTo>
                    <a:pt x="1649480" y="1568593"/>
                    <a:pt x="1624732" y="1595766"/>
                    <a:pt x="1595034" y="1620468"/>
                  </a:cubicBezTo>
                  <a:cubicBezTo>
                    <a:pt x="1580186" y="1632819"/>
                    <a:pt x="1565337" y="1640230"/>
                    <a:pt x="1548013" y="1642700"/>
                  </a:cubicBezTo>
                  <a:cubicBezTo>
                    <a:pt x="1523265" y="1642700"/>
                    <a:pt x="1496043" y="1645170"/>
                    <a:pt x="1471295" y="1640230"/>
                  </a:cubicBezTo>
                  <a:cubicBezTo>
                    <a:pt x="1456446" y="1635290"/>
                    <a:pt x="1441597" y="1635290"/>
                    <a:pt x="1426749" y="1632819"/>
                  </a:cubicBezTo>
                  <a:cubicBezTo>
                    <a:pt x="1399526" y="1632819"/>
                    <a:pt x="1377253" y="1625409"/>
                    <a:pt x="1354980" y="1610587"/>
                  </a:cubicBezTo>
                  <a:cubicBezTo>
                    <a:pt x="1335181" y="1600706"/>
                    <a:pt x="1320333" y="1585885"/>
                    <a:pt x="1295585" y="1583415"/>
                  </a:cubicBezTo>
                  <a:cubicBezTo>
                    <a:pt x="1280736" y="1583415"/>
                    <a:pt x="1280736" y="1573534"/>
                    <a:pt x="1288160" y="1561183"/>
                  </a:cubicBezTo>
                  <a:cubicBezTo>
                    <a:pt x="1293110" y="1553772"/>
                    <a:pt x="1300534" y="1546361"/>
                    <a:pt x="1305484" y="1536481"/>
                  </a:cubicBezTo>
                  <a:cubicBezTo>
                    <a:pt x="1325282" y="1514249"/>
                    <a:pt x="1335181" y="1487076"/>
                    <a:pt x="1342606" y="1457433"/>
                  </a:cubicBezTo>
                  <a:cubicBezTo>
                    <a:pt x="1342606" y="1457433"/>
                    <a:pt x="1340131" y="1454963"/>
                    <a:pt x="1340131" y="1447552"/>
                  </a:cubicBezTo>
                  <a:cubicBezTo>
                    <a:pt x="1325282" y="1457433"/>
                    <a:pt x="1310434" y="1467314"/>
                    <a:pt x="1295585" y="1477195"/>
                  </a:cubicBezTo>
                  <a:cubicBezTo>
                    <a:pt x="1285686" y="1484606"/>
                    <a:pt x="1275787" y="1489546"/>
                    <a:pt x="1260938" y="1487076"/>
                  </a:cubicBezTo>
                  <a:cubicBezTo>
                    <a:pt x="1238665" y="1487076"/>
                    <a:pt x="1218866" y="1487076"/>
                    <a:pt x="1196593" y="1496957"/>
                  </a:cubicBezTo>
                  <a:cubicBezTo>
                    <a:pt x="1184219" y="1504368"/>
                    <a:pt x="1166896" y="1501897"/>
                    <a:pt x="1152047" y="1501897"/>
                  </a:cubicBezTo>
                  <a:cubicBezTo>
                    <a:pt x="1139673" y="1501897"/>
                    <a:pt x="1137198" y="1496957"/>
                    <a:pt x="1137198" y="1484606"/>
                  </a:cubicBezTo>
                  <a:cubicBezTo>
                    <a:pt x="1137198" y="1472255"/>
                    <a:pt x="1139673" y="1462374"/>
                    <a:pt x="1142148" y="1447552"/>
                  </a:cubicBezTo>
                  <a:cubicBezTo>
                    <a:pt x="1154522" y="1445082"/>
                    <a:pt x="1169371" y="1440142"/>
                    <a:pt x="1186694" y="1435201"/>
                  </a:cubicBezTo>
                  <a:cubicBezTo>
                    <a:pt x="1174320" y="1422850"/>
                    <a:pt x="1164421" y="1415439"/>
                    <a:pt x="1154522" y="1408029"/>
                  </a:cubicBezTo>
                  <a:cubicBezTo>
                    <a:pt x="1107501" y="1363565"/>
                    <a:pt x="1058005" y="1321571"/>
                    <a:pt x="1010984" y="1277107"/>
                  </a:cubicBezTo>
                  <a:cubicBezTo>
                    <a:pt x="1004797" y="1272167"/>
                    <a:pt x="1000467" y="1267226"/>
                    <a:pt x="997992" y="1261668"/>
                  </a:cubicBezTo>
                  <a:lnTo>
                    <a:pt x="997474" y="1256324"/>
                  </a:lnTo>
                  <a:lnTo>
                    <a:pt x="994895" y="1254703"/>
                  </a:lnTo>
                  <a:lnTo>
                    <a:pt x="997243" y="1253947"/>
                  </a:lnTo>
                  <a:lnTo>
                    <a:pt x="996135" y="1242524"/>
                  </a:lnTo>
                  <a:cubicBezTo>
                    <a:pt x="996135" y="1237583"/>
                    <a:pt x="996135" y="1232643"/>
                    <a:pt x="996135" y="1227702"/>
                  </a:cubicBezTo>
                  <a:cubicBezTo>
                    <a:pt x="993661" y="1220292"/>
                    <a:pt x="991186" y="1207941"/>
                    <a:pt x="978812" y="1207941"/>
                  </a:cubicBezTo>
                  <a:cubicBezTo>
                    <a:pt x="966438" y="1210411"/>
                    <a:pt x="956539" y="1217821"/>
                    <a:pt x="956539" y="1230173"/>
                  </a:cubicBezTo>
                  <a:cubicBezTo>
                    <a:pt x="951589" y="1264756"/>
                    <a:pt x="951589" y="1264756"/>
                    <a:pt x="919417" y="1264756"/>
                  </a:cubicBezTo>
                  <a:cubicBezTo>
                    <a:pt x="914467" y="1264756"/>
                    <a:pt x="907043" y="1264756"/>
                    <a:pt x="902093" y="1267226"/>
                  </a:cubicBezTo>
                  <a:cubicBezTo>
                    <a:pt x="892194" y="1284518"/>
                    <a:pt x="897144" y="1301809"/>
                    <a:pt x="902093" y="1316630"/>
                  </a:cubicBezTo>
                  <a:cubicBezTo>
                    <a:pt x="907043" y="1338862"/>
                    <a:pt x="911992" y="1356154"/>
                    <a:pt x="897144" y="1375916"/>
                  </a:cubicBezTo>
                  <a:cubicBezTo>
                    <a:pt x="892194" y="1383327"/>
                    <a:pt x="894669" y="1395678"/>
                    <a:pt x="894669" y="1405559"/>
                  </a:cubicBezTo>
                  <a:cubicBezTo>
                    <a:pt x="892194" y="1412969"/>
                    <a:pt x="894669" y="1422850"/>
                    <a:pt x="889719" y="1427791"/>
                  </a:cubicBezTo>
                  <a:cubicBezTo>
                    <a:pt x="882295" y="1437672"/>
                    <a:pt x="872396" y="1445082"/>
                    <a:pt x="862497" y="1452493"/>
                  </a:cubicBezTo>
                  <a:cubicBezTo>
                    <a:pt x="857547" y="1452493"/>
                    <a:pt x="850123" y="1447552"/>
                    <a:pt x="845173" y="1445082"/>
                  </a:cubicBezTo>
                  <a:cubicBezTo>
                    <a:pt x="830324" y="1435201"/>
                    <a:pt x="817950" y="1425320"/>
                    <a:pt x="803102" y="1417910"/>
                  </a:cubicBezTo>
                  <a:cubicBezTo>
                    <a:pt x="788253" y="1410499"/>
                    <a:pt x="778354" y="1415439"/>
                    <a:pt x="778354" y="1432731"/>
                  </a:cubicBezTo>
                  <a:cubicBezTo>
                    <a:pt x="778354" y="1440142"/>
                    <a:pt x="778354" y="1447552"/>
                    <a:pt x="780829" y="1454963"/>
                  </a:cubicBezTo>
                  <a:cubicBezTo>
                    <a:pt x="780829" y="1459904"/>
                    <a:pt x="783303" y="1464844"/>
                    <a:pt x="785778" y="1472255"/>
                  </a:cubicBezTo>
                  <a:cubicBezTo>
                    <a:pt x="778354" y="1477195"/>
                    <a:pt x="770929" y="1484606"/>
                    <a:pt x="763505" y="1487076"/>
                  </a:cubicBezTo>
                  <a:cubicBezTo>
                    <a:pt x="741232" y="1499427"/>
                    <a:pt x="736282" y="1499427"/>
                    <a:pt x="716484" y="1482136"/>
                  </a:cubicBezTo>
                  <a:cubicBezTo>
                    <a:pt x="676887" y="1445082"/>
                    <a:pt x="642240" y="1405559"/>
                    <a:pt x="610068" y="1361095"/>
                  </a:cubicBezTo>
                  <a:cubicBezTo>
                    <a:pt x="595219" y="1341333"/>
                    <a:pt x="595219" y="1319101"/>
                    <a:pt x="590270" y="1296869"/>
                  </a:cubicBezTo>
                  <a:cubicBezTo>
                    <a:pt x="585320" y="1254875"/>
                    <a:pt x="587795" y="1215351"/>
                    <a:pt x="595219" y="1175828"/>
                  </a:cubicBezTo>
                  <a:cubicBezTo>
                    <a:pt x="597694" y="1168417"/>
                    <a:pt x="602644" y="1163476"/>
                    <a:pt x="607593" y="1158536"/>
                  </a:cubicBezTo>
                  <a:cubicBezTo>
                    <a:pt x="622442" y="1148655"/>
                    <a:pt x="637291" y="1138774"/>
                    <a:pt x="654614" y="1131364"/>
                  </a:cubicBezTo>
                  <a:cubicBezTo>
                    <a:pt x="664514" y="1123953"/>
                    <a:pt x="669463" y="1116542"/>
                    <a:pt x="669463" y="1104191"/>
                  </a:cubicBezTo>
                  <a:cubicBezTo>
                    <a:pt x="671938" y="1072078"/>
                    <a:pt x="676887" y="1039965"/>
                    <a:pt x="679362" y="1010322"/>
                  </a:cubicBezTo>
                  <a:cubicBezTo>
                    <a:pt x="681837" y="968329"/>
                    <a:pt x="681837" y="928805"/>
                    <a:pt x="681837" y="886811"/>
                  </a:cubicBezTo>
                  <a:cubicBezTo>
                    <a:pt x="681837" y="874460"/>
                    <a:pt x="681837" y="859639"/>
                    <a:pt x="679362" y="847288"/>
                  </a:cubicBezTo>
                  <a:cubicBezTo>
                    <a:pt x="679362" y="832466"/>
                    <a:pt x="674413" y="815175"/>
                    <a:pt x="674413" y="800353"/>
                  </a:cubicBezTo>
                  <a:cubicBezTo>
                    <a:pt x="666988" y="760830"/>
                    <a:pt x="662039" y="721306"/>
                    <a:pt x="657089" y="681782"/>
                  </a:cubicBezTo>
                  <a:cubicBezTo>
                    <a:pt x="652140" y="639788"/>
                    <a:pt x="644715" y="600265"/>
                    <a:pt x="639766" y="560741"/>
                  </a:cubicBezTo>
                  <a:cubicBezTo>
                    <a:pt x="637291" y="545920"/>
                    <a:pt x="634816" y="531098"/>
                    <a:pt x="644715" y="518747"/>
                  </a:cubicBezTo>
                  <a:cubicBezTo>
                    <a:pt x="657089" y="513807"/>
                    <a:pt x="666988" y="521217"/>
                    <a:pt x="676887" y="526158"/>
                  </a:cubicBezTo>
                  <a:cubicBezTo>
                    <a:pt x="731333" y="558271"/>
                    <a:pt x="780829" y="597794"/>
                    <a:pt x="822900" y="644729"/>
                  </a:cubicBezTo>
                  <a:cubicBezTo>
                    <a:pt x="840224" y="664491"/>
                    <a:pt x="852598" y="686723"/>
                    <a:pt x="872396" y="706485"/>
                  </a:cubicBezTo>
                  <a:cubicBezTo>
                    <a:pt x="882295" y="718836"/>
                    <a:pt x="877345" y="733657"/>
                    <a:pt x="882295" y="743538"/>
                  </a:cubicBezTo>
                  <a:cubicBezTo>
                    <a:pt x="877345" y="746008"/>
                    <a:pt x="869921" y="748479"/>
                    <a:pt x="862497" y="748479"/>
                  </a:cubicBezTo>
                  <a:cubicBezTo>
                    <a:pt x="862497" y="755889"/>
                    <a:pt x="864971" y="760830"/>
                    <a:pt x="867446" y="768240"/>
                  </a:cubicBezTo>
                  <a:cubicBezTo>
                    <a:pt x="867446" y="768240"/>
                    <a:pt x="867446" y="768240"/>
                    <a:pt x="864971" y="770711"/>
                  </a:cubicBezTo>
                  <a:cubicBezTo>
                    <a:pt x="860022" y="763300"/>
                    <a:pt x="855072" y="758359"/>
                    <a:pt x="850123" y="750949"/>
                  </a:cubicBezTo>
                  <a:cubicBezTo>
                    <a:pt x="847648" y="750949"/>
                    <a:pt x="847648" y="750949"/>
                    <a:pt x="845173" y="753419"/>
                  </a:cubicBezTo>
                  <a:cubicBezTo>
                    <a:pt x="847648" y="763300"/>
                    <a:pt x="850123" y="775651"/>
                    <a:pt x="850123" y="785532"/>
                  </a:cubicBezTo>
                  <a:cubicBezTo>
                    <a:pt x="855072" y="820115"/>
                    <a:pt x="857547" y="857168"/>
                    <a:pt x="860022" y="891752"/>
                  </a:cubicBezTo>
                  <a:cubicBezTo>
                    <a:pt x="860022" y="904103"/>
                    <a:pt x="855072" y="918924"/>
                    <a:pt x="852598" y="936216"/>
                  </a:cubicBezTo>
                  <a:cubicBezTo>
                    <a:pt x="860022" y="933745"/>
                    <a:pt x="864971" y="931275"/>
                    <a:pt x="867446" y="928805"/>
                  </a:cubicBezTo>
                  <a:cubicBezTo>
                    <a:pt x="892194" y="911513"/>
                    <a:pt x="916942" y="891752"/>
                    <a:pt x="941690" y="874460"/>
                  </a:cubicBezTo>
                  <a:cubicBezTo>
                    <a:pt x="971387" y="852228"/>
                    <a:pt x="1001085" y="829996"/>
                    <a:pt x="1030782" y="807764"/>
                  </a:cubicBezTo>
                  <a:cubicBezTo>
                    <a:pt x="1045631" y="800353"/>
                    <a:pt x="1048106" y="790472"/>
                    <a:pt x="1045631" y="775651"/>
                  </a:cubicBezTo>
                  <a:cubicBezTo>
                    <a:pt x="1040682" y="716366"/>
                    <a:pt x="1033257" y="654610"/>
                    <a:pt x="1025833" y="595324"/>
                  </a:cubicBezTo>
                  <a:cubicBezTo>
                    <a:pt x="1015934" y="521217"/>
                    <a:pt x="1001085" y="444640"/>
                    <a:pt x="991186" y="368063"/>
                  </a:cubicBezTo>
                  <a:cubicBezTo>
                    <a:pt x="983761" y="321129"/>
                    <a:pt x="973862" y="271725"/>
                    <a:pt x="976337" y="224790"/>
                  </a:cubicBezTo>
                  <a:cubicBezTo>
                    <a:pt x="978812" y="177856"/>
                    <a:pt x="976337" y="130922"/>
                    <a:pt x="986236" y="83988"/>
                  </a:cubicBezTo>
                  <a:cubicBezTo>
                    <a:pt x="988711" y="76577"/>
                    <a:pt x="988711" y="69166"/>
                    <a:pt x="988711" y="61756"/>
                  </a:cubicBezTo>
                  <a:cubicBezTo>
                    <a:pt x="991186" y="32113"/>
                    <a:pt x="1003560" y="17291"/>
                    <a:pt x="1035732" y="12351"/>
                  </a:cubicBezTo>
                  <a:cubicBezTo>
                    <a:pt x="1035732" y="9881"/>
                    <a:pt x="1038207" y="4940"/>
                    <a:pt x="10406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28F8B5E-874A-45B5-B850-688503D0E515}"/>
                </a:ext>
              </a:extLst>
            </p:cNvPr>
            <p:cNvSpPr/>
            <p:nvPr/>
          </p:nvSpPr>
          <p:spPr bwMode="auto">
            <a:xfrm>
              <a:off x="5486401" y="4868863"/>
              <a:ext cx="239713" cy="207963"/>
            </a:xfrm>
            <a:custGeom>
              <a:avLst/>
              <a:gdLst>
                <a:gd name="T0" fmla="*/ 3 w 97"/>
                <a:gd name="T1" fmla="*/ 79 h 84"/>
                <a:gd name="T2" fmla="*/ 0 w 97"/>
                <a:gd name="T3" fmla="*/ 76 h 84"/>
                <a:gd name="T4" fmla="*/ 5 w 97"/>
                <a:gd name="T5" fmla="*/ 71 h 84"/>
                <a:gd name="T6" fmla="*/ 10 w 97"/>
                <a:gd name="T7" fmla="*/ 66 h 84"/>
                <a:gd name="T8" fmla="*/ 15 w 97"/>
                <a:gd name="T9" fmla="*/ 59 h 84"/>
                <a:gd name="T10" fmla="*/ 19 w 97"/>
                <a:gd name="T11" fmla="*/ 49 h 84"/>
                <a:gd name="T12" fmla="*/ 22 w 97"/>
                <a:gd name="T13" fmla="*/ 38 h 84"/>
                <a:gd name="T14" fmla="*/ 22 w 97"/>
                <a:gd name="T15" fmla="*/ 22 h 84"/>
                <a:gd name="T16" fmla="*/ 31 w 97"/>
                <a:gd name="T17" fmla="*/ 22 h 84"/>
                <a:gd name="T18" fmla="*/ 31 w 97"/>
                <a:gd name="T19" fmla="*/ 39 h 84"/>
                <a:gd name="T20" fmla="*/ 30 w 97"/>
                <a:gd name="T21" fmla="*/ 39 h 84"/>
                <a:gd name="T22" fmla="*/ 27 w 97"/>
                <a:gd name="T23" fmla="*/ 53 h 84"/>
                <a:gd name="T24" fmla="*/ 33 w 97"/>
                <a:gd name="T25" fmla="*/ 49 h 84"/>
                <a:gd name="T26" fmla="*/ 47 w 97"/>
                <a:gd name="T27" fmla="*/ 68 h 84"/>
                <a:gd name="T28" fmla="*/ 40 w 97"/>
                <a:gd name="T29" fmla="*/ 73 h 84"/>
                <a:gd name="T30" fmla="*/ 27 w 97"/>
                <a:gd name="T31" fmla="*/ 55 h 84"/>
                <a:gd name="T32" fmla="*/ 20 w 97"/>
                <a:gd name="T33" fmla="*/ 67 h 84"/>
                <a:gd name="T34" fmla="*/ 14 w 97"/>
                <a:gd name="T35" fmla="*/ 75 h 84"/>
                <a:gd name="T36" fmla="*/ 8 w 97"/>
                <a:gd name="T37" fmla="*/ 81 h 84"/>
                <a:gd name="T38" fmla="*/ 5 w 97"/>
                <a:gd name="T39" fmla="*/ 83 h 84"/>
                <a:gd name="T40" fmla="*/ 3 w 97"/>
                <a:gd name="T41" fmla="*/ 79 h 84"/>
                <a:gd name="T42" fmla="*/ 4 w 97"/>
                <a:gd name="T43" fmla="*/ 30 h 84"/>
                <a:gd name="T44" fmla="*/ 1 w 97"/>
                <a:gd name="T45" fmla="*/ 27 h 84"/>
                <a:gd name="T46" fmla="*/ 8 w 97"/>
                <a:gd name="T47" fmla="*/ 19 h 84"/>
                <a:gd name="T48" fmla="*/ 13 w 97"/>
                <a:gd name="T49" fmla="*/ 10 h 84"/>
                <a:gd name="T50" fmla="*/ 19 w 97"/>
                <a:gd name="T51" fmla="*/ 0 h 84"/>
                <a:gd name="T52" fmla="*/ 27 w 97"/>
                <a:gd name="T53" fmla="*/ 3 h 84"/>
                <a:gd name="T54" fmla="*/ 21 w 97"/>
                <a:gd name="T55" fmla="*/ 15 h 84"/>
                <a:gd name="T56" fmla="*/ 15 w 97"/>
                <a:gd name="T57" fmla="*/ 24 h 84"/>
                <a:gd name="T58" fmla="*/ 10 w 97"/>
                <a:gd name="T59" fmla="*/ 30 h 84"/>
                <a:gd name="T60" fmla="*/ 7 w 97"/>
                <a:gd name="T61" fmla="*/ 33 h 84"/>
                <a:gd name="T62" fmla="*/ 4 w 97"/>
                <a:gd name="T63" fmla="*/ 30 h 84"/>
                <a:gd name="T64" fmla="*/ 76 w 97"/>
                <a:gd name="T65" fmla="*/ 9 h 84"/>
                <a:gd name="T66" fmla="*/ 28 w 97"/>
                <a:gd name="T67" fmla="*/ 9 h 84"/>
                <a:gd name="T68" fmla="*/ 28 w 97"/>
                <a:gd name="T69" fmla="*/ 1 h 84"/>
                <a:gd name="T70" fmla="*/ 80 w 97"/>
                <a:gd name="T71" fmla="*/ 1 h 84"/>
                <a:gd name="T72" fmla="*/ 97 w 97"/>
                <a:gd name="T73" fmla="*/ 26 h 84"/>
                <a:gd name="T74" fmla="*/ 90 w 97"/>
                <a:gd name="T75" fmla="*/ 31 h 84"/>
                <a:gd name="T76" fmla="*/ 76 w 97"/>
                <a:gd name="T77" fmla="*/ 9 h 84"/>
                <a:gd name="T78" fmla="*/ 71 w 97"/>
                <a:gd name="T79" fmla="*/ 39 h 84"/>
                <a:gd name="T80" fmla="*/ 70 w 97"/>
                <a:gd name="T81" fmla="*/ 45 h 84"/>
                <a:gd name="T82" fmla="*/ 69 w 97"/>
                <a:gd name="T83" fmla="*/ 50 h 84"/>
                <a:gd name="T84" fmla="*/ 73 w 97"/>
                <a:gd name="T85" fmla="*/ 47 h 84"/>
                <a:gd name="T86" fmla="*/ 94 w 97"/>
                <a:gd name="T87" fmla="*/ 78 h 84"/>
                <a:gd name="T88" fmla="*/ 87 w 97"/>
                <a:gd name="T89" fmla="*/ 83 h 84"/>
                <a:gd name="T90" fmla="*/ 67 w 97"/>
                <a:gd name="T91" fmla="*/ 54 h 84"/>
                <a:gd name="T92" fmla="*/ 61 w 97"/>
                <a:gd name="T93" fmla="*/ 66 h 84"/>
                <a:gd name="T94" fmla="*/ 54 w 97"/>
                <a:gd name="T95" fmla="*/ 75 h 84"/>
                <a:gd name="T96" fmla="*/ 48 w 97"/>
                <a:gd name="T97" fmla="*/ 81 h 84"/>
                <a:gd name="T98" fmla="*/ 46 w 97"/>
                <a:gd name="T99" fmla="*/ 84 h 84"/>
                <a:gd name="T100" fmla="*/ 43 w 97"/>
                <a:gd name="T101" fmla="*/ 80 h 84"/>
                <a:gd name="T102" fmla="*/ 40 w 97"/>
                <a:gd name="T103" fmla="*/ 77 h 84"/>
                <a:gd name="T104" fmla="*/ 45 w 97"/>
                <a:gd name="T105" fmla="*/ 72 h 84"/>
                <a:gd name="T106" fmla="*/ 51 w 97"/>
                <a:gd name="T107" fmla="*/ 66 h 84"/>
                <a:gd name="T108" fmla="*/ 56 w 97"/>
                <a:gd name="T109" fmla="*/ 58 h 84"/>
                <a:gd name="T110" fmla="*/ 60 w 97"/>
                <a:gd name="T111" fmla="*/ 49 h 84"/>
                <a:gd name="T112" fmla="*/ 63 w 97"/>
                <a:gd name="T113" fmla="*/ 38 h 84"/>
                <a:gd name="T114" fmla="*/ 63 w 97"/>
                <a:gd name="T115" fmla="*/ 22 h 84"/>
                <a:gd name="T116" fmla="*/ 71 w 97"/>
                <a:gd name="T117" fmla="*/ 22 h 84"/>
                <a:gd name="T118" fmla="*/ 71 w 97"/>
                <a:gd name="T11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84">
                  <a:moveTo>
                    <a:pt x="3" y="7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4"/>
                    <a:pt x="4" y="73"/>
                    <a:pt x="5" y="71"/>
                  </a:cubicBezTo>
                  <a:cubicBezTo>
                    <a:pt x="7" y="70"/>
                    <a:pt x="9" y="68"/>
                    <a:pt x="10" y="66"/>
                  </a:cubicBezTo>
                  <a:cubicBezTo>
                    <a:pt x="12" y="64"/>
                    <a:pt x="14" y="61"/>
                    <a:pt x="15" y="59"/>
                  </a:cubicBezTo>
                  <a:cubicBezTo>
                    <a:pt x="17" y="56"/>
                    <a:pt x="18" y="53"/>
                    <a:pt x="19" y="49"/>
                  </a:cubicBezTo>
                  <a:cubicBezTo>
                    <a:pt x="21" y="46"/>
                    <a:pt x="21" y="42"/>
                    <a:pt x="22" y="38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4"/>
                    <a:pt x="29" y="49"/>
                    <a:pt x="27" y="53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5" y="59"/>
                    <a:pt x="23" y="63"/>
                    <a:pt x="20" y="67"/>
                  </a:cubicBezTo>
                  <a:cubicBezTo>
                    <a:pt x="18" y="70"/>
                    <a:pt x="16" y="73"/>
                    <a:pt x="14" y="75"/>
                  </a:cubicBezTo>
                  <a:cubicBezTo>
                    <a:pt x="11" y="78"/>
                    <a:pt x="9" y="80"/>
                    <a:pt x="8" y="81"/>
                  </a:cubicBezTo>
                  <a:cubicBezTo>
                    <a:pt x="6" y="82"/>
                    <a:pt x="6" y="83"/>
                    <a:pt x="5" y="83"/>
                  </a:cubicBezTo>
                  <a:lnTo>
                    <a:pt x="3" y="79"/>
                  </a:lnTo>
                  <a:close/>
                  <a:moveTo>
                    <a:pt x="4" y="30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4" y="24"/>
                    <a:pt x="6" y="22"/>
                    <a:pt x="8" y="19"/>
                  </a:cubicBezTo>
                  <a:cubicBezTo>
                    <a:pt x="9" y="17"/>
                    <a:pt x="11" y="14"/>
                    <a:pt x="13" y="10"/>
                  </a:cubicBezTo>
                  <a:cubicBezTo>
                    <a:pt x="15" y="7"/>
                    <a:pt x="17" y="4"/>
                    <a:pt x="19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5" y="7"/>
                    <a:pt x="23" y="11"/>
                    <a:pt x="21" y="15"/>
                  </a:cubicBezTo>
                  <a:cubicBezTo>
                    <a:pt x="19" y="18"/>
                    <a:pt x="17" y="21"/>
                    <a:pt x="15" y="24"/>
                  </a:cubicBezTo>
                  <a:cubicBezTo>
                    <a:pt x="13" y="27"/>
                    <a:pt x="11" y="29"/>
                    <a:pt x="10" y="30"/>
                  </a:cubicBezTo>
                  <a:cubicBezTo>
                    <a:pt x="8" y="32"/>
                    <a:pt x="8" y="33"/>
                    <a:pt x="7" y="33"/>
                  </a:cubicBezTo>
                  <a:lnTo>
                    <a:pt x="4" y="30"/>
                  </a:lnTo>
                  <a:close/>
                  <a:moveTo>
                    <a:pt x="76" y="9"/>
                  </a:moveTo>
                  <a:cubicBezTo>
                    <a:pt x="28" y="9"/>
                    <a:pt x="28" y="9"/>
                    <a:pt x="28" y="9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0" y="31"/>
                    <a:pt x="90" y="31"/>
                    <a:pt x="90" y="31"/>
                  </a:cubicBezTo>
                  <a:lnTo>
                    <a:pt x="76" y="9"/>
                  </a:lnTo>
                  <a:close/>
                  <a:moveTo>
                    <a:pt x="71" y="39"/>
                  </a:moveTo>
                  <a:cubicBezTo>
                    <a:pt x="71" y="41"/>
                    <a:pt x="71" y="43"/>
                    <a:pt x="70" y="45"/>
                  </a:cubicBezTo>
                  <a:cubicBezTo>
                    <a:pt x="70" y="47"/>
                    <a:pt x="69" y="48"/>
                    <a:pt x="69" y="50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9"/>
                    <a:pt x="63" y="63"/>
                    <a:pt x="61" y="66"/>
                  </a:cubicBezTo>
                  <a:cubicBezTo>
                    <a:pt x="58" y="70"/>
                    <a:pt x="56" y="73"/>
                    <a:pt x="54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7" y="83"/>
                    <a:pt x="46" y="83"/>
                    <a:pt x="46" y="84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2" y="75"/>
                    <a:pt x="44" y="73"/>
                    <a:pt x="45" y="72"/>
                  </a:cubicBezTo>
                  <a:cubicBezTo>
                    <a:pt x="47" y="70"/>
                    <a:pt x="49" y="68"/>
                    <a:pt x="51" y="66"/>
                  </a:cubicBezTo>
                  <a:cubicBezTo>
                    <a:pt x="52" y="63"/>
                    <a:pt x="54" y="61"/>
                    <a:pt x="56" y="58"/>
                  </a:cubicBezTo>
                  <a:cubicBezTo>
                    <a:pt x="57" y="55"/>
                    <a:pt x="59" y="52"/>
                    <a:pt x="60" y="49"/>
                  </a:cubicBezTo>
                  <a:cubicBezTo>
                    <a:pt x="61" y="45"/>
                    <a:pt x="62" y="42"/>
                    <a:pt x="63" y="3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39"/>
                    <a:pt x="71" y="39"/>
                    <a:pt x="71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66DA7A2-F28C-4316-AB1C-3048E03FD11B}"/>
                </a:ext>
              </a:extLst>
            </p:cNvPr>
            <p:cNvSpPr/>
            <p:nvPr/>
          </p:nvSpPr>
          <p:spPr bwMode="auto">
            <a:xfrm>
              <a:off x="5756276" y="4868863"/>
              <a:ext cx="239713" cy="207963"/>
            </a:xfrm>
            <a:custGeom>
              <a:avLst/>
              <a:gdLst>
                <a:gd name="T0" fmla="*/ 82 w 151"/>
                <a:gd name="T1" fmla="*/ 14 h 131"/>
                <a:gd name="T2" fmla="*/ 151 w 151"/>
                <a:gd name="T3" fmla="*/ 14 h 131"/>
                <a:gd name="T4" fmla="*/ 151 w 151"/>
                <a:gd name="T5" fmla="*/ 28 h 131"/>
                <a:gd name="T6" fmla="*/ 82 w 151"/>
                <a:gd name="T7" fmla="*/ 28 h 131"/>
                <a:gd name="T8" fmla="*/ 82 w 151"/>
                <a:gd name="T9" fmla="*/ 47 h 131"/>
                <a:gd name="T10" fmla="*/ 140 w 151"/>
                <a:gd name="T11" fmla="*/ 47 h 131"/>
                <a:gd name="T12" fmla="*/ 140 w 151"/>
                <a:gd name="T13" fmla="*/ 61 h 131"/>
                <a:gd name="T14" fmla="*/ 11 w 151"/>
                <a:gd name="T15" fmla="*/ 61 h 131"/>
                <a:gd name="T16" fmla="*/ 11 w 151"/>
                <a:gd name="T17" fmla="*/ 47 h 131"/>
                <a:gd name="T18" fmla="*/ 68 w 151"/>
                <a:gd name="T19" fmla="*/ 47 h 131"/>
                <a:gd name="T20" fmla="*/ 68 w 151"/>
                <a:gd name="T21" fmla="*/ 28 h 131"/>
                <a:gd name="T22" fmla="*/ 0 w 151"/>
                <a:gd name="T23" fmla="*/ 28 h 131"/>
                <a:gd name="T24" fmla="*/ 0 w 151"/>
                <a:gd name="T25" fmla="*/ 14 h 131"/>
                <a:gd name="T26" fmla="*/ 68 w 151"/>
                <a:gd name="T27" fmla="*/ 14 h 131"/>
                <a:gd name="T28" fmla="*/ 68 w 151"/>
                <a:gd name="T29" fmla="*/ 0 h 131"/>
                <a:gd name="T30" fmla="*/ 82 w 151"/>
                <a:gd name="T31" fmla="*/ 0 h 131"/>
                <a:gd name="T32" fmla="*/ 82 w 151"/>
                <a:gd name="T33" fmla="*/ 14 h 131"/>
                <a:gd name="T34" fmla="*/ 0 w 151"/>
                <a:gd name="T35" fmla="*/ 125 h 131"/>
                <a:gd name="T36" fmla="*/ 17 w 151"/>
                <a:gd name="T37" fmla="*/ 80 h 131"/>
                <a:gd name="T38" fmla="*/ 29 w 151"/>
                <a:gd name="T39" fmla="*/ 84 h 131"/>
                <a:gd name="T40" fmla="*/ 14 w 151"/>
                <a:gd name="T41" fmla="*/ 128 h 131"/>
                <a:gd name="T42" fmla="*/ 0 w 151"/>
                <a:gd name="T43" fmla="*/ 125 h 131"/>
                <a:gd name="T44" fmla="*/ 51 w 151"/>
                <a:gd name="T45" fmla="*/ 80 h 131"/>
                <a:gd name="T46" fmla="*/ 51 w 151"/>
                <a:gd name="T47" fmla="*/ 117 h 131"/>
                <a:gd name="T48" fmla="*/ 123 w 151"/>
                <a:gd name="T49" fmla="*/ 117 h 131"/>
                <a:gd name="T50" fmla="*/ 123 w 151"/>
                <a:gd name="T51" fmla="*/ 131 h 131"/>
                <a:gd name="T52" fmla="*/ 37 w 151"/>
                <a:gd name="T53" fmla="*/ 131 h 131"/>
                <a:gd name="T54" fmla="*/ 37 w 151"/>
                <a:gd name="T55" fmla="*/ 80 h 131"/>
                <a:gd name="T56" fmla="*/ 51 w 151"/>
                <a:gd name="T57" fmla="*/ 80 h 131"/>
                <a:gd name="T58" fmla="*/ 82 w 151"/>
                <a:gd name="T59" fmla="*/ 72 h 131"/>
                <a:gd name="T60" fmla="*/ 99 w 151"/>
                <a:gd name="T61" fmla="*/ 105 h 131"/>
                <a:gd name="T62" fmla="*/ 87 w 151"/>
                <a:gd name="T63" fmla="*/ 111 h 131"/>
                <a:gd name="T64" fmla="*/ 71 w 151"/>
                <a:gd name="T65" fmla="*/ 77 h 131"/>
                <a:gd name="T66" fmla="*/ 82 w 151"/>
                <a:gd name="T67" fmla="*/ 72 h 131"/>
                <a:gd name="T68" fmla="*/ 121 w 151"/>
                <a:gd name="T69" fmla="*/ 84 h 131"/>
                <a:gd name="T70" fmla="*/ 134 w 151"/>
                <a:gd name="T71" fmla="*/ 80 h 131"/>
                <a:gd name="T72" fmla="*/ 149 w 151"/>
                <a:gd name="T73" fmla="*/ 125 h 131"/>
                <a:gd name="T74" fmla="*/ 137 w 151"/>
                <a:gd name="T75" fmla="*/ 128 h 131"/>
                <a:gd name="T76" fmla="*/ 121 w 151"/>
                <a:gd name="T77" fmla="*/ 8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131">
                  <a:moveTo>
                    <a:pt x="82" y="14"/>
                  </a:moveTo>
                  <a:lnTo>
                    <a:pt x="151" y="14"/>
                  </a:lnTo>
                  <a:lnTo>
                    <a:pt x="151" y="28"/>
                  </a:lnTo>
                  <a:lnTo>
                    <a:pt x="82" y="28"/>
                  </a:lnTo>
                  <a:lnTo>
                    <a:pt x="82" y="47"/>
                  </a:lnTo>
                  <a:lnTo>
                    <a:pt x="140" y="47"/>
                  </a:lnTo>
                  <a:lnTo>
                    <a:pt x="140" y="61"/>
                  </a:lnTo>
                  <a:lnTo>
                    <a:pt x="11" y="61"/>
                  </a:lnTo>
                  <a:lnTo>
                    <a:pt x="11" y="47"/>
                  </a:lnTo>
                  <a:lnTo>
                    <a:pt x="68" y="47"/>
                  </a:lnTo>
                  <a:lnTo>
                    <a:pt x="68" y="28"/>
                  </a:lnTo>
                  <a:lnTo>
                    <a:pt x="0" y="28"/>
                  </a:lnTo>
                  <a:lnTo>
                    <a:pt x="0" y="14"/>
                  </a:lnTo>
                  <a:lnTo>
                    <a:pt x="68" y="14"/>
                  </a:lnTo>
                  <a:lnTo>
                    <a:pt x="68" y="0"/>
                  </a:lnTo>
                  <a:lnTo>
                    <a:pt x="82" y="0"/>
                  </a:lnTo>
                  <a:lnTo>
                    <a:pt x="82" y="14"/>
                  </a:lnTo>
                  <a:close/>
                  <a:moveTo>
                    <a:pt x="0" y="125"/>
                  </a:moveTo>
                  <a:lnTo>
                    <a:pt x="17" y="80"/>
                  </a:lnTo>
                  <a:lnTo>
                    <a:pt x="29" y="84"/>
                  </a:lnTo>
                  <a:lnTo>
                    <a:pt x="14" y="128"/>
                  </a:lnTo>
                  <a:lnTo>
                    <a:pt x="0" y="125"/>
                  </a:lnTo>
                  <a:close/>
                  <a:moveTo>
                    <a:pt x="51" y="80"/>
                  </a:moveTo>
                  <a:lnTo>
                    <a:pt x="51" y="117"/>
                  </a:lnTo>
                  <a:lnTo>
                    <a:pt x="123" y="117"/>
                  </a:lnTo>
                  <a:lnTo>
                    <a:pt x="123" y="131"/>
                  </a:lnTo>
                  <a:lnTo>
                    <a:pt x="37" y="131"/>
                  </a:lnTo>
                  <a:lnTo>
                    <a:pt x="37" y="80"/>
                  </a:lnTo>
                  <a:lnTo>
                    <a:pt x="51" y="80"/>
                  </a:lnTo>
                  <a:close/>
                  <a:moveTo>
                    <a:pt x="82" y="72"/>
                  </a:moveTo>
                  <a:lnTo>
                    <a:pt x="99" y="105"/>
                  </a:lnTo>
                  <a:lnTo>
                    <a:pt x="87" y="111"/>
                  </a:lnTo>
                  <a:lnTo>
                    <a:pt x="71" y="77"/>
                  </a:lnTo>
                  <a:lnTo>
                    <a:pt x="82" y="72"/>
                  </a:lnTo>
                  <a:close/>
                  <a:moveTo>
                    <a:pt x="121" y="84"/>
                  </a:moveTo>
                  <a:lnTo>
                    <a:pt x="134" y="80"/>
                  </a:lnTo>
                  <a:lnTo>
                    <a:pt x="149" y="125"/>
                  </a:lnTo>
                  <a:lnTo>
                    <a:pt x="137" y="128"/>
                  </a:lnTo>
                  <a:lnTo>
                    <a:pt x="121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850B374-A9CA-4A0D-B08E-271422E2A5EC}"/>
                </a:ext>
              </a:extLst>
            </p:cNvPr>
            <p:cNvSpPr/>
            <p:nvPr/>
          </p:nvSpPr>
          <p:spPr bwMode="auto">
            <a:xfrm>
              <a:off x="6022976" y="4868863"/>
              <a:ext cx="244475" cy="211138"/>
            </a:xfrm>
            <a:custGeom>
              <a:avLst/>
              <a:gdLst>
                <a:gd name="T0" fmla="*/ 99 w 99"/>
                <a:gd name="T1" fmla="*/ 71 h 85"/>
                <a:gd name="T2" fmla="*/ 87 w 99"/>
                <a:gd name="T3" fmla="*/ 83 h 85"/>
                <a:gd name="T4" fmla="*/ 83 w 99"/>
                <a:gd name="T5" fmla="*/ 81 h 85"/>
                <a:gd name="T6" fmla="*/ 73 w 99"/>
                <a:gd name="T7" fmla="*/ 73 h 85"/>
                <a:gd name="T8" fmla="*/ 62 w 99"/>
                <a:gd name="T9" fmla="*/ 75 h 85"/>
                <a:gd name="T10" fmla="*/ 49 w 99"/>
                <a:gd name="T11" fmla="*/ 77 h 85"/>
                <a:gd name="T12" fmla="*/ 65 w 99"/>
                <a:gd name="T13" fmla="*/ 60 h 85"/>
                <a:gd name="T14" fmla="*/ 60 w 99"/>
                <a:gd name="T15" fmla="*/ 38 h 85"/>
                <a:gd name="T16" fmla="*/ 16 w 99"/>
                <a:gd name="T17" fmla="*/ 20 h 85"/>
                <a:gd name="T18" fmla="*/ 38 w 99"/>
                <a:gd name="T19" fmla="*/ 34 h 85"/>
                <a:gd name="T20" fmla="*/ 47 w 99"/>
                <a:gd name="T21" fmla="*/ 32 h 85"/>
                <a:gd name="T22" fmla="*/ 44 w 99"/>
                <a:gd name="T23" fmla="*/ 74 h 85"/>
                <a:gd name="T24" fmla="*/ 23 w 99"/>
                <a:gd name="T25" fmla="*/ 77 h 85"/>
                <a:gd name="T26" fmla="*/ 37 w 99"/>
                <a:gd name="T27" fmla="*/ 68 h 85"/>
                <a:gd name="T28" fmla="*/ 38 w 99"/>
                <a:gd name="T29" fmla="*/ 43 h 85"/>
                <a:gd name="T30" fmla="*/ 14 w 99"/>
                <a:gd name="T31" fmla="*/ 60 h 85"/>
                <a:gd name="T32" fmla="*/ 9 w 99"/>
                <a:gd name="T33" fmla="*/ 81 h 85"/>
                <a:gd name="T34" fmla="*/ 4 w 99"/>
                <a:gd name="T35" fmla="*/ 83 h 85"/>
                <a:gd name="T36" fmla="*/ 3 w 99"/>
                <a:gd name="T37" fmla="*/ 70 h 85"/>
                <a:gd name="T38" fmla="*/ 7 w 99"/>
                <a:gd name="T39" fmla="*/ 40 h 85"/>
                <a:gd name="T40" fmla="*/ 60 w 99"/>
                <a:gd name="T41" fmla="*/ 12 h 85"/>
                <a:gd name="T42" fmla="*/ 69 w 99"/>
                <a:gd name="T43" fmla="*/ 0 h 85"/>
                <a:gd name="T44" fmla="*/ 79 w 99"/>
                <a:gd name="T45" fmla="*/ 12 h 85"/>
                <a:gd name="T46" fmla="*/ 83 w 99"/>
                <a:gd name="T47" fmla="*/ 0 h 85"/>
                <a:gd name="T48" fmla="*/ 96 w 99"/>
                <a:gd name="T49" fmla="*/ 12 h 85"/>
                <a:gd name="T50" fmla="*/ 69 w 99"/>
                <a:gd name="T51" fmla="*/ 20 h 85"/>
                <a:gd name="T52" fmla="*/ 69 w 99"/>
                <a:gd name="T53" fmla="*/ 45 h 85"/>
                <a:gd name="T54" fmla="*/ 76 w 99"/>
                <a:gd name="T55" fmla="*/ 44 h 85"/>
                <a:gd name="T56" fmla="*/ 83 w 99"/>
                <a:gd name="T57" fmla="*/ 34 h 85"/>
                <a:gd name="T58" fmla="*/ 91 w 99"/>
                <a:gd name="T59" fmla="*/ 37 h 85"/>
                <a:gd name="T60" fmla="*/ 87 w 99"/>
                <a:gd name="T61" fmla="*/ 44 h 85"/>
                <a:gd name="T62" fmla="*/ 75 w 99"/>
                <a:gd name="T63" fmla="*/ 61 h 85"/>
                <a:gd name="T64" fmla="*/ 87 w 99"/>
                <a:gd name="T6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9" h="85">
                  <a:moveTo>
                    <a:pt x="92" y="6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6" y="82"/>
                  </a:cubicBezTo>
                  <a:cubicBezTo>
                    <a:pt x="85" y="82"/>
                    <a:pt x="84" y="81"/>
                    <a:pt x="83" y="81"/>
                  </a:cubicBezTo>
                  <a:cubicBezTo>
                    <a:pt x="81" y="80"/>
                    <a:pt x="80" y="79"/>
                    <a:pt x="78" y="77"/>
                  </a:cubicBezTo>
                  <a:cubicBezTo>
                    <a:pt x="77" y="76"/>
                    <a:pt x="75" y="75"/>
                    <a:pt x="73" y="73"/>
                  </a:cubicBezTo>
                  <a:cubicBezTo>
                    <a:pt x="72" y="72"/>
                    <a:pt x="71" y="70"/>
                    <a:pt x="69" y="68"/>
                  </a:cubicBezTo>
                  <a:cubicBezTo>
                    <a:pt x="67" y="70"/>
                    <a:pt x="65" y="73"/>
                    <a:pt x="62" y="75"/>
                  </a:cubicBezTo>
                  <a:cubicBezTo>
                    <a:pt x="60" y="78"/>
                    <a:pt x="57" y="81"/>
                    <a:pt x="54" y="83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4"/>
                    <a:pt x="54" y="71"/>
                    <a:pt x="57" y="68"/>
                  </a:cubicBezTo>
                  <a:cubicBezTo>
                    <a:pt x="60" y="65"/>
                    <a:pt x="62" y="63"/>
                    <a:pt x="65" y="60"/>
                  </a:cubicBezTo>
                  <a:cubicBezTo>
                    <a:pt x="63" y="57"/>
                    <a:pt x="62" y="54"/>
                    <a:pt x="61" y="50"/>
                  </a:cubicBezTo>
                  <a:cubicBezTo>
                    <a:pt x="61" y="46"/>
                    <a:pt x="60" y="42"/>
                    <a:pt x="60" y="3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6" y="72"/>
                    <a:pt x="44" y="74"/>
                  </a:cubicBezTo>
                  <a:cubicBezTo>
                    <a:pt x="42" y="76"/>
                    <a:pt x="40" y="77"/>
                    <a:pt x="37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7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9"/>
                    <a:pt x="15" y="55"/>
                    <a:pt x="14" y="60"/>
                  </a:cubicBezTo>
                  <a:cubicBezTo>
                    <a:pt x="13" y="65"/>
                    <a:pt x="13" y="69"/>
                    <a:pt x="12" y="73"/>
                  </a:cubicBezTo>
                  <a:cubicBezTo>
                    <a:pt x="11" y="77"/>
                    <a:pt x="10" y="79"/>
                    <a:pt x="9" y="81"/>
                  </a:cubicBezTo>
                  <a:cubicBezTo>
                    <a:pt x="8" y="84"/>
                    <a:pt x="7" y="85"/>
                    <a:pt x="7" y="85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7"/>
                    <a:pt x="3" y="73"/>
                    <a:pt x="3" y="70"/>
                  </a:cubicBezTo>
                  <a:cubicBezTo>
                    <a:pt x="4" y="66"/>
                    <a:pt x="5" y="62"/>
                    <a:pt x="6" y="57"/>
                  </a:cubicBezTo>
                  <a:cubicBezTo>
                    <a:pt x="7" y="52"/>
                    <a:pt x="7" y="46"/>
                    <a:pt x="7" y="4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41"/>
                    <a:pt x="69" y="43"/>
                    <a:pt x="69" y="45"/>
                  </a:cubicBezTo>
                  <a:cubicBezTo>
                    <a:pt x="70" y="48"/>
                    <a:pt x="70" y="50"/>
                    <a:pt x="71" y="52"/>
                  </a:cubicBezTo>
                  <a:cubicBezTo>
                    <a:pt x="73" y="49"/>
                    <a:pt x="75" y="47"/>
                    <a:pt x="76" y="44"/>
                  </a:cubicBezTo>
                  <a:cubicBezTo>
                    <a:pt x="78" y="42"/>
                    <a:pt x="79" y="40"/>
                    <a:pt x="80" y="38"/>
                  </a:cubicBezTo>
                  <a:cubicBezTo>
                    <a:pt x="82" y="37"/>
                    <a:pt x="82" y="35"/>
                    <a:pt x="83" y="34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1" y="37"/>
                    <a:pt x="91" y="38"/>
                    <a:pt x="90" y="39"/>
                  </a:cubicBezTo>
                  <a:cubicBezTo>
                    <a:pt x="89" y="40"/>
                    <a:pt x="88" y="42"/>
                    <a:pt x="87" y="44"/>
                  </a:cubicBezTo>
                  <a:cubicBezTo>
                    <a:pt x="85" y="47"/>
                    <a:pt x="84" y="49"/>
                    <a:pt x="82" y="52"/>
                  </a:cubicBezTo>
                  <a:cubicBezTo>
                    <a:pt x="80" y="55"/>
                    <a:pt x="77" y="58"/>
                    <a:pt x="75" y="61"/>
                  </a:cubicBezTo>
                  <a:cubicBezTo>
                    <a:pt x="77" y="64"/>
                    <a:pt x="79" y="67"/>
                    <a:pt x="81" y="69"/>
                  </a:cubicBezTo>
                  <a:cubicBezTo>
                    <a:pt x="84" y="71"/>
                    <a:pt x="86" y="72"/>
                    <a:pt x="87" y="73"/>
                  </a:cubicBezTo>
                  <a:lnTo>
                    <a:pt x="9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02D361B-C3A4-4D4A-9FD1-0B1B428015B0}"/>
                </a:ext>
              </a:extLst>
            </p:cNvPr>
            <p:cNvSpPr/>
            <p:nvPr/>
          </p:nvSpPr>
          <p:spPr bwMode="auto">
            <a:xfrm>
              <a:off x="6294438" y="4868863"/>
              <a:ext cx="242888" cy="211138"/>
            </a:xfrm>
            <a:custGeom>
              <a:avLst/>
              <a:gdLst>
                <a:gd name="T0" fmla="*/ 98 w 98"/>
                <a:gd name="T1" fmla="*/ 73 h 85"/>
                <a:gd name="T2" fmla="*/ 85 w 98"/>
                <a:gd name="T3" fmla="*/ 82 h 85"/>
                <a:gd name="T4" fmla="*/ 77 w 98"/>
                <a:gd name="T5" fmla="*/ 72 h 85"/>
                <a:gd name="T6" fmla="*/ 69 w 98"/>
                <a:gd name="T7" fmla="*/ 84 h 85"/>
                <a:gd name="T8" fmla="*/ 68 w 98"/>
                <a:gd name="T9" fmla="*/ 71 h 85"/>
                <a:gd name="T10" fmla="*/ 70 w 98"/>
                <a:gd name="T11" fmla="*/ 51 h 85"/>
                <a:gd name="T12" fmla="*/ 68 w 98"/>
                <a:gd name="T13" fmla="*/ 18 h 85"/>
                <a:gd name="T14" fmla="*/ 42 w 98"/>
                <a:gd name="T15" fmla="*/ 29 h 85"/>
                <a:gd name="T16" fmla="*/ 55 w 98"/>
                <a:gd name="T17" fmla="*/ 27 h 85"/>
                <a:gd name="T18" fmla="*/ 64 w 98"/>
                <a:gd name="T19" fmla="*/ 68 h 85"/>
                <a:gd name="T20" fmla="*/ 54 w 98"/>
                <a:gd name="T21" fmla="*/ 78 h 85"/>
                <a:gd name="T22" fmla="*/ 43 w 98"/>
                <a:gd name="T23" fmla="*/ 69 h 85"/>
                <a:gd name="T24" fmla="*/ 55 w 98"/>
                <a:gd name="T25" fmla="*/ 68 h 85"/>
                <a:gd name="T26" fmla="*/ 42 w 98"/>
                <a:gd name="T27" fmla="*/ 37 h 85"/>
                <a:gd name="T28" fmla="*/ 41 w 98"/>
                <a:gd name="T29" fmla="*/ 60 h 85"/>
                <a:gd name="T30" fmla="*/ 36 w 98"/>
                <a:gd name="T31" fmla="*/ 81 h 85"/>
                <a:gd name="T32" fmla="*/ 26 w 98"/>
                <a:gd name="T33" fmla="*/ 82 h 85"/>
                <a:gd name="T34" fmla="*/ 29 w 98"/>
                <a:gd name="T35" fmla="*/ 74 h 85"/>
                <a:gd name="T36" fmla="*/ 0 w 98"/>
                <a:gd name="T37" fmla="*/ 75 h 85"/>
                <a:gd name="T38" fmla="*/ 10 w 98"/>
                <a:gd name="T39" fmla="*/ 24 h 85"/>
                <a:gd name="T40" fmla="*/ 1 w 98"/>
                <a:gd name="T41" fmla="*/ 15 h 85"/>
                <a:gd name="T42" fmla="*/ 10 w 98"/>
                <a:gd name="T43" fmla="*/ 3 h 85"/>
                <a:gd name="T44" fmla="*/ 19 w 98"/>
                <a:gd name="T45" fmla="*/ 15 h 85"/>
                <a:gd name="T46" fmla="*/ 28 w 98"/>
                <a:gd name="T47" fmla="*/ 24 h 85"/>
                <a:gd name="T48" fmla="*/ 19 w 98"/>
                <a:gd name="T49" fmla="*/ 69 h 85"/>
                <a:gd name="T50" fmla="*/ 29 w 98"/>
                <a:gd name="T51" fmla="*/ 74 h 85"/>
                <a:gd name="T52" fmla="*/ 32 w 98"/>
                <a:gd name="T53" fmla="*/ 61 h 85"/>
                <a:gd name="T54" fmla="*/ 33 w 98"/>
                <a:gd name="T55" fmla="*/ 46 h 85"/>
                <a:gd name="T56" fmla="*/ 68 w 98"/>
                <a:gd name="T57" fmla="*/ 9 h 85"/>
                <a:gd name="T58" fmla="*/ 77 w 98"/>
                <a:gd name="T59" fmla="*/ 0 h 85"/>
                <a:gd name="T60" fmla="*/ 81 w 98"/>
                <a:gd name="T61" fmla="*/ 9 h 85"/>
                <a:gd name="T62" fmla="*/ 86 w 98"/>
                <a:gd name="T63" fmla="*/ 0 h 85"/>
                <a:gd name="T64" fmla="*/ 94 w 98"/>
                <a:gd name="T65" fmla="*/ 9 h 85"/>
                <a:gd name="T66" fmla="*/ 77 w 98"/>
                <a:gd name="T67" fmla="*/ 18 h 85"/>
                <a:gd name="T68" fmla="*/ 77 w 98"/>
                <a:gd name="T69" fmla="*/ 44 h 85"/>
                <a:gd name="T70" fmla="*/ 81 w 98"/>
                <a:gd name="T71" fmla="*/ 43 h 85"/>
                <a:gd name="T72" fmla="*/ 85 w 98"/>
                <a:gd name="T73" fmla="*/ 32 h 85"/>
                <a:gd name="T74" fmla="*/ 94 w 98"/>
                <a:gd name="T75" fmla="*/ 33 h 85"/>
                <a:gd name="T76" fmla="*/ 91 w 98"/>
                <a:gd name="T77" fmla="*/ 42 h 85"/>
                <a:gd name="T78" fmla="*/ 82 w 98"/>
                <a:gd name="T79" fmla="*/ 63 h 85"/>
                <a:gd name="T80" fmla="*/ 88 w 98"/>
                <a:gd name="T8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8" h="85">
                  <a:moveTo>
                    <a:pt x="92" y="68"/>
                  </a:moveTo>
                  <a:cubicBezTo>
                    <a:pt x="98" y="73"/>
                    <a:pt x="98" y="73"/>
                    <a:pt x="98" y="73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5" y="82"/>
                    <a:pt x="84" y="81"/>
                    <a:pt x="82" y="79"/>
                  </a:cubicBezTo>
                  <a:cubicBezTo>
                    <a:pt x="81" y="78"/>
                    <a:pt x="79" y="75"/>
                    <a:pt x="77" y="72"/>
                  </a:cubicBezTo>
                  <a:cubicBezTo>
                    <a:pt x="76" y="74"/>
                    <a:pt x="75" y="76"/>
                    <a:pt x="73" y="78"/>
                  </a:cubicBezTo>
                  <a:cubicBezTo>
                    <a:pt x="72" y="80"/>
                    <a:pt x="70" y="82"/>
                    <a:pt x="69" y="84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4" y="76"/>
                    <a:pt x="66" y="74"/>
                    <a:pt x="68" y="71"/>
                  </a:cubicBezTo>
                  <a:cubicBezTo>
                    <a:pt x="70" y="68"/>
                    <a:pt x="71" y="65"/>
                    <a:pt x="73" y="63"/>
                  </a:cubicBezTo>
                  <a:cubicBezTo>
                    <a:pt x="71" y="59"/>
                    <a:pt x="70" y="55"/>
                    <a:pt x="70" y="51"/>
                  </a:cubicBezTo>
                  <a:cubicBezTo>
                    <a:pt x="69" y="47"/>
                    <a:pt x="68" y="42"/>
                    <a:pt x="68" y="36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71"/>
                    <a:pt x="63" y="73"/>
                    <a:pt x="61" y="75"/>
                  </a:cubicBezTo>
                  <a:cubicBezTo>
                    <a:pt x="59" y="77"/>
                    <a:pt x="57" y="78"/>
                    <a:pt x="54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5" y="69"/>
                    <a:pt x="55" y="69"/>
                    <a:pt x="55" y="6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0"/>
                    <a:pt x="41" y="55"/>
                    <a:pt x="41" y="60"/>
                  </a:cubicBezTo>
                  <a:cubicBezTo>
                    <a:pt x="40" y="64"/>
                    <a:pt x="39" y="68"/>
                    <a:pt x="38" y="72"/>
                  </a:cubicBezTo>
                  <a:cubicBezTo>
                    <a:pt x="37" y="76"/>
                    <a:pt x="37" y="78"/>
                    <a:pt x="36" y="81"/>
                  </a:cubicBezTo>
                  <a:cubicBezTo>
                    <a:pt x="35" y="83"/>
                    <a:pt x="35" y="84"/>
                    <a:pt x="35" y="85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1"/>
                    <a:pt x="27" y="80"/>
                  </a:cubicBezTo>
                  <a:cubicBezTo>
                    <a:pt x="28" y="78"/>
                    <a:pt x="28" y="77"/>
                    <a:pt x="29" y="74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2"/>
                    <a:pt x="30" y="70"/>
                    <a:pt x="30" y="68"/>
                  </a:cubicBezTo>
                  <a:cubicBezTo>
                    <a:pt x="31" y="66"/>
                    <a:pt x="31" y="64"/>
                    <a:pt x="32" y="61"/>
                  </a:cubicBezTo>
                  <a:cubicBezTo>
                    <a:pt x="32" y="59"/>
                    <a:pt x="33" y="56"/>
                    <a:pt x="33" y="54"/>
                  </a:cubicBezTo>
                  <a:cubicBezTo>
                    <a:pt x="33" y="51"/>
                    <a:pt x="33" y="48"/>
                    <a:pt x="33" y="4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39"/>
                    <a:pt x="77" y="42"/>
                    <a:pt x="77" y="44"/>
                  </a:cubicBezTo>
                  <a:cubicBezTo>
                    <a:pt x="78" y="46"/>
                    <a:pt x="78" y="49"/>
                    <a:pt x="78" y="51"/>
                  </a:cubicBezTo>
                  <a:cubicBezTo>
                    <a:pt x="79" y="48"/>
                    <a:pt x="81" y="45"/>
                    <a:pt x="81" y="43"/>
                  </a:cubicBezTo>
                  <a:cubicBezTo>
                    <a:pt x="82" y="40"/>
                    <a:pt x="83" y="38"/>
                    <a:pt x="84" y="36"/>
                  </a:cubicBezTo>
                  <a:cubicBezTo>
                    <a:pt x="84" y="34"/>
                    <a:pt x="85" y="33"/>
                    <a:pt x="85" y="32"/>
                  </a:cubicBezTo>
                  <a:cubicBezTo>
                    <a:pt x="85" y="31"/>
                    <a:pt x="86" y="30"/>
                    <a:pt x="86" y="30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4"/>
                    <a:pt x="93" y="35"/>
                  </a:cubicBezTo>
                  <a:cubicBezTo>
                    <a:pt x="93" y="37"/>
                    <a:pt x="92" y="40"/>
                    <a:pt x="91" y="42"/>
                  </a:cubicBezTo>
                  <a:cubicBezTo>
                    <a:pt x="90" y="45"/>
                    <a:pt x="89" y="48"/>
                    <a:pt x="87" y="52"/>
                  </a:cubicBezTo>
                  <a:cubicBezTo>
                    <a:pt x="86" y="55"/>
                    <a:pt x="84" y="59"/>
                    <a:pt x="82" y="63"/>
                  </a:cubicBezTo>
                  <a:cubicBezTo>
                    <a:pt x="83" y="65"/>
                    <a:pt x="84" y="67"/>
                    <a:pt x="85" y="69"/>
                  </a:cubicBezTo>
                  <a:cubicBezTo>
                    <a:pt x="86" y="70"/>
                    <a:pt x="87" y="71"/>
                    <a:pt x="88" y="72"/>
                  </a:cubicBezTo>
                  <a:lnTo>
                    <a:pt x="92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B3EAEDB-188A-436F-BB32-ED1F059AABE7}"/>
                </a:ext>
              </a:extLst>
            </p:cNvPr>
            <p:cNvSpPr/>
            <p:nvPr/>
          </p:nvSpPr>
          <p:spPr bwMode="auto">
            <a:xfrm>
              <a:off x="6642101" y="4867275"/>
              <a:ext cx="247650" cy="209550"/>
            </a:xfrm>
            <a:custGeom>
              <a:avLst/>
              <a:gdLst>
                <a:gd name="T0" fmla="*/ 11 w 100"/>
                <a:gd name="T1" fmla="*/ 76 h 85"/>
                <a:gd name="T2" fmla="*/ 13 w 100"/>
                <a:gd name="T3" fmla="*/ 76 h 85"/>
                <a:gd name="T4" fmla="*/ 13 w 100"/>
                <a:gd name="T5" fmla="*/ 74 h 85"/>
                <a:gd name="T6" fmla="*/ 13 w 100"/>
                <a:gd name="T7" fmla="*/ 62 h 85"/>
                <a:gd name="T8" fmla="*/ 3 w 100"/>
                <a:gd name="T9" fmla="*/ 66 h 85"/>
                <a:gd name="T10" fmla="*/ 0 w 100"/>
                <a:gd name="T11" fmla="*/ 58 h 85"/>
                <a:gd name="T12" fmla="*/ 13 w 100"/>
                <a:gd name="T13" fmla="*/ 52 h 85"/>
                <a:gd name="T14" fmla="*/ 13 w 100"/>
                <a:gd name="T15" fmla="*/ 20 h 85"/>
                <a:gd name="T16" fmla="*/ 2 w 100"/>
                <a:gd name="T17" fmla="*/ 20 h 85"/>
                <a:gd name="T18" fmla="*/ 2 w 100"/>
                <a:gd name="T19" fmla="*/ 12 h 85"/>
                <a:gd name="T20" fmla="*/ 13 w 100"/>
                <a:gd name="T21" fmla="*/ 12 h 85"/>
                <a:gd name="T22" fmla="*/ 13 w 100"/>
                <a:gd name="T23" fmla="*/ 1 h 85"/>
                <a:gd name="T24" fmla="*/ 22 w 100"/>
                <a:gd name="T25" fmla="*/ 1 h 85"/>
                <a:gd name="T26" fmla="*/ 22 w 100"/>
                <a:gd name="T27" fmla="*/ 12 h 85"/>
                <a:gd name="T28" fmla="*/ 33 w 100"/>
                <a:gd name="T29" fmla="*/ 12 h 85"/>
                <a:gd name="T30" fmla="*/ 33 w 100"/>
                <a:gd name="T31" fmla="*/ 20 h 85"/>
                <a:gd name="T32" fmla="*/ 22 w 100"/>
                <a:gd name="T33" fmla="*/ 20 h 85"/>
                <a:gd name="T34" fmla="*/ 22 w 100"/>
                <a:gd name="T35" fmla="*/ 49 h 85"/>
                <a:gd name="T36" fmla="*/ 31 w 100"/>
                <a:gd name="T37" fmla="*/ 45 h 85"/>
                <a:gd name="T38" fmla="*/ 34 w 100"/>
                <a:gd name="T39" fmla="*/ 53 h 85"/>
                <a:gd name="T40" fmla="*/ 22 w 100"/>
                <a:gd name="T41" fmla="*/ 58 h 85"/>
                <a:gd name="T42" fmla="*/ 22 w 100"/>
                <a:gd name="T43" fmla="*/ 74 h 85"/>
                <a:gd name="T44" fmla="*/ 19 w 100"/>
                <a:gd name="T45" fmla="*/ 82 h 85"/>
                <a:gd name="T46" fmla="*/ 11 w 100"/>
                <a:gd name="T47" fmla="*/ 85 h 85"/>
                <a:gd name="T48" fmla="*/ 2 w 100"/>
                <a:gd name="T49" fmla="*/ 85 h 85"/>
                <a:gd name="T50" fmla="*/ 2 w 100"/>
                <a:gd name="T51" fmla="*/ 76 h 85"/>
                <a:gd name="T52" fmla="*/ 11 w 100"/>
                <a:gd name="T53" fmla="*/ 76 h 85"/>
                <a:gd name="T54" fmla="*/ 91 w 100"/>
                <a:gd name="T55" fmla="*/ 69 h 85"/>
                <a:gd name="T56" fmla="*/ 100 w 100"/>
                <a:gd name="T57" fmla="*/ 69 h 85"/>
                <a:gd name="T58" fmla="*/ 100 w 100"/>
                <a:gd name="T59" fmla="*/ 75 h 85"/>
                <a:gd name="T60" fmla="*/ 97 w 100"/>
                <a:gd name="T61" fmla="*/ 82 h 85"/>
                <a:gd name="T62" fmla="*/ 90 w 100"/>
                <a:gd name="T63" fmla="*/ 85 h 85"/>
                <a:gd name="T64" fmla="*/ 78 w 100"/>
                <a:gd name="T65" fmla="*/ 85 h 85"/>
                <a:gd name="T66" fmla="*/ 78 w 100"/>
                <a:gd name="T67" fmla="*/ 35 h 85"/>
                <a:gd name="T68" fmla="*/ 53 w 100"/>
                <a:gd name="T69" fmla="*/ 35 h 85"/>
                <a:gd name="T70" fmla="*/ 53 w 100"/>
                <a:gd name="T71" fmla="*/ 45 h 85"/>
                <a:gd name="T72" fmla="*/ 51 w 100"/>
                <a:gd name="T73" fmla="*/ 60 h 85"/>
                <a:gd name="T74" fmla="*/ 45 w 100"/>
                <a:gd name="T75" fmla="*/ 72 h 85"/>
                <a:gd name="T76" fmla="*/ 40 w 100"/>
                <a:gd name="T77" fmla="*/ 81 h 85"/>
                <a:gd name="T78" fmla="*/ 38 w 100"/>
                <a:gd name="T79" fmla="*/ 85 h 85"/>
                <a:gd name="T80" fmla="*/ 31 w 100"/>
                <a:gd name="T81" fmla="*/ 79 h 85"/>
                <a:gd name="T82" fmla="*/ 33 w 100"/>
                <a:gd name="T83" fmla="*/ 76 h 85"/>
                <a:gd name="T84" fmla="*/ 38 w 100"/>
                <a:gd name="T85" fmla="*/ 69 h 85"/>
                <a:gd name="T86" fmla="*/ 42 w 100"/>
                <a:gd name="T87" fmla="*/ 58 h 85"/>
                <a:gd name="T88" fmla="*/ 44 w 100"/>
                <a:gd name="T89" fmla="*/ 45 h 85"/>
                <a:gd name="T90" fmla="*/ 44 w 100"/>
                <a:gd name="T91" fmla="*/ 26 h 85"/>
                <a:gd name="T92" fmla="*/ 78 w 100"/>
                <a:gd name="T93" fmla="*/ 26 h 85"/>
                <a:gd name="T94" fmla="*/ 78 w 100"/>
                <a:gd name="T95" fmla="*/ 24 h 85"/>
                <a:gd name="T96" fmla="*/ 86 w 100"/>
                <a:gd name="T97" fmla="*/ 24 h 85"/>
                <a:gd name="T98" fmla="*/ 86 w 100"/>
                <a:gd name="T99" fmla="*/ 76 h 85"/>
                <a:gd name="T100" fmla="*/ 90 w 100"/>
                <a:gd name="T101" fmla="*/ 76 h 85"/>
                <a:gd name="T102" fmla="*/ 91 w 100"/>
                <a:gd name="T103" fmla="*/ 75 h 85"/>
                <a:gd name="T104" fmla="*/ 91 w 100"/>
                <a:gd name="T105" fmla="*/ 69 h 85"/>
                <a:gd name="T106" fmla="*/ 36 w 100"/>
                <a:gd name="T107" fmla="*/ 10 h 85"/>
                <a:gd name="T108" fmla="*/ 61 w 100"/>
                <a:gd name="T109" fmla="*/ 10 h 85"/>
                <a:gd name="T110" fmla="*/ 58 w 100"/>
                <a:gd name="T111" fmla="*/ 4 h 85"/>
                <a:gd name="T112" fmla="*/ 66 w 100"/>
                <a:gd name="T113" fmla="*/ 0 h 85"/>
                <a:gd name="T114" fmla="*/ 70 w 100"/>
                <a:gd name="T115" fmla="*/ 10 h 85"/>
                <a:gd name="T116" fmla="*/ 98 w 100"/>
                <a:gd name="T117" fmla="*/ 10 h 85"/>
                <a:gd name="T118" fmla="*/ 98 w 100"/>
                <a:gd name="T119" fmla="*/ 18 h 85"/>
                <a:gd name="T120" fmla="*/ 36 w 100"/>
                <a:gd name="T121" fmla="*/ 18 h 85"/>
                <a:gd name="T122" fmla="*/ 36 w 100"/>
                <a:gd name="T123" fmla="*/ 1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85">
                  <a:moveTo>
                    <a:pt x="11" y="76"/>
                  </a:moveTo>
                  <a:cubicBezTo>
                    <a:pt x="12" y="76"/>
                    <a:pt x="12" y="76"/>
                    <a:pt x="13" y="76"/>
                  </a:cubicBezTo>
                  <a:cubicBezTo>
                    <a:pt x="13" y="75"/>
                    <a:pt x="13" y="75"/>
                    <a:pt x="13" y="7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7"/>
                    <a:pt x="21" y="80"/>
                    <a:pt x="19" y="82"/>
                  </a:cubicBezTo>
                  <a:cubicBezTo>
                    <a:pt x="17" y="84"/>
                    <a:pt x="14" y="85"/>
                    <a:pt x="11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76"/>
                    <a:pt x="2" y="76"/>
                    <a:pt x="2" y="76"/>
                  </a:cubicBezTo>
                  <a:lnTo>
                    <a:pt x="11" y="76"/>
                  </a:lnTo>
                  <a:close/>
                  <a:moveTo>
                    <a:pt x="91" y="69"/>
                  </a:moveTo>
                  <a:cubicBezTo>
                    <a:pt x="100" y="69"/>
                    <a:pt x="100" y="69"/>
                    <a:pt x="100" y="69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8"/>
                    <a:pt x="99" y="80"/>
                    <a:pt x="97" y="82"/>
                  </a:cubicBezTo>
                  <a:cubicBezTo>
                    <a:pt x="95" y="84"/>
                    <a:pt x="93" y="85"/>
                    <a:pt x="90" y="85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50"/>
                    <a:pt x="52" y="55"/>
                    <a:pt x="51" y="60"/>
                  </a:cubicBezTo>
                  <a:cubicBezTo>
                    <a:pt x="49" y="65"/>
                    <a:pt x="47" y="69"/>
                    <a:pt x="45" y="72"/>
                  </a:cubicBezTo>
                  <a:cubicBezTo>
                    <a:pt x="44" y="76"/>
                    <a:pt x="42" y="79"/>
                    <a:pt x="40" y="81"/>
                  </a:cubicBezTo>
                  <a:cubicBezTo>
                    <a:pt x="39" y="83"/>
                    <a:pt x="38" y="85"/>
                    <a:pt x="38" y="85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9"/>
                    <a:pt x="32" y="78"/>
                    <a:pt x="33" y="76"/>
                  </a:cubicBezTo>
                  <a:cubicBezTo>
                    <a:pt x="35" y="74"/>
                    <a:pt x="36" y="72"/>
                    <a:pt x="38" y="69"/>
                  </a:cubicBezTo>
                  <a:cubicBezTo>
                    <a:pt x="39" y="66"/>
                    <a:pt x="41" y="62"/>
                    <a:pt x="42" y="58"/>
                  </a:cubicBezTo>
                  <a:cubicBezTo>
                    <a:pt x="44" y="54"/>
                    <a:pt x="44" y="49"/>
                    <a:pt x="44" y="4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6"/>
                    <a:pt x="91" y="76"/>
                    <a:pt x="91" y="75"/>
                  </a:cubicBezTo>
                  <a:lnTo>
                    <a:pt x="91" y="69"/>
                  </a:lnTo>
                  <a:close/>
                  <a:moveTo>
                    <a:pt x="36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55B4E54-1C60-4BB4-A146-870D9C28B648}"/>
                </a:ext>
              </a:extLst>
            </p:cNvPr>
            <p:cNvSpPr/>
            <p:nvPr/>
          </p:nvSpPr>
          <p:spPr bwMode="auto">
            <a:xfrm>
              <a:off x="6916738" y="4868863"/>
              <a:ext cx="239713" cy="207963"/>
            </a:xfrm>
            <a:custGeom>
              <a:avLst/>
              <a:gdLst>
                <a:gd name="T0" fmla="*/ 53 w 97"/>
                <a:gd name="T1" fmla="*/ 44 h 84"/>
                <a:gd name="T2" fmla="*/ 53 w 97"/>
                <a:gd name="T3" fmla="*/ 76 h 84"/>
                <a:gd name="T4" fmla="*/ 80 w 97"/>
                <a:gd name="T5" fmla="*/ 76 h 84"/>
                <a:gd name="T6" fmla="*/ 81 w 97"/>
                <a:gd name="T7" fmla="*/ 75 h 84"/>
                <a:gd name="T8" fmla="*/ 81 w 97"/>
                <a:gd name="T9" fmla="*/ 50 h 84"/>
                <a:gd name="T10" fmla="*/ 90 w 97"/>
                <a:gd name="T11" fmla="*/ 50 h 84"/>
                <a:gd name="T12" fmla="*/ 90 w 97"/>
                <a:gd name="T13" fmla="*/ 75 h 84"/>
                <a:gd name="T14" fmla="*/ 87 w 97"/>
                <a:gd name="T15" fmla="*/ 82 h 84"/>
                <a:gd name="T16" fmla="*/ 80 w 97"/>
                <a:gd name="T17" fmla="*/ 84 h 84"/>
                <a:gd name="T18" fmla="*/ 7 w 97"/>
                <a:gd name="T19" fmla="*/ 84 h 84"/>
                <a:gd name="T20" fmla="*/ 7 w 97"/>
                <a:gd name="T21" fmla="*/ 50 h 84"/>
                <a:gd name="T22" fmla="*/ 15 w 97"/>
                <a:gd name="T23" fmla="*/ 50 h 84"/>
                <a:gd name="T24" fmla="*/ 15 w 97"/>
                <a:gd name="T25" fmla="*/ 76 h 84"/>
                <a:gd name="T26" fmla="*/ 44 w 97"/>
                <a:gd name="T27" fmla="*/ 76 h 84"/>
                <a:gd name="T28" fmla="*/ 44 w 97"/>
                <a:gd name="T29" fmla="*/ 44 h 84"/>
                <a:gd name="T30" fmla="*/ 0 w 97"/>
                <a:gd name="T31" fmla="*/ 44 h 84"/>
                <a:gd name="T32" fmla="*/ 0 w 97"/>
                <a:gd name="T33" fmla="*/ 35 h 84"/>
                <a:gd name="T34" fmla="*/ 44 w 97"/>
                <a:gd name="T35" fmla="*/ 35 h 84"/>
                <a:gd name="T36" fmla="*/ 44 w 97"/>
                <a:gd name="T37" fmla="*/ 18 h 84"/>
                <a:gd name="T38" fmla="*/ 6 w 97"/>
                <a:gd name="T39" fmla="*/ 18 h 84"/>
                <a:gd name="T40" fmla="*/ 6 w 97"/>
                <a:gd name="T41" fmla="*/ 9 h 84"/>
                <a:gd name="T42" fmla="*/ 44 w 97"/>
                <a:gd name="T43" fmla="*/ 9 h 84"/>
                <a:gd name="T44" fmla="*/ 44 w 97"/>
                <a:gd name="T45" fmla="*/ 0 h 84"/>
                <a:gd name="T46" fmla="*/ 53 w 97"/>
                <a:gd name="T47" fmla="*/ 0 h 84"/>
                <a:gd name="T48" fmla="*/ 53 w 97"/>
                <a:gd name="T49" fmla="*/ 9 h 84"/>
                <a:gd name="T50" fmla="*/ 91 w 97"/>
                <a:gd name="T51" fmla="*/ 9 h 84"/>
                <a:gd name="T52" fmla="*/ 91 w 97"/>
                <a:gd name="T53" fmla="*/ 18 h 84"/>
                <a:gd name="T54" fmla="*/ 53 w 97"/>
                <a:gd name="T55" fmla="*/ 18 h 84"/>
                <a:gd name="T56" fmla="*/ 53 w 97"/>
                <a:gd name="T57" fmla="*/ 35 h 84"/>
                <a:gd name="T58" fmla="*/ 97 w 97"/>
                <a:gd name="T59" fmla="*/ 35 h 84"/>
                <a:gd name="T60" fmla="*/ 97 w 97"/>
                <a:gd name="T61" fmla="*/ 44 h 84"/>
                <a:gd name="T62" fmla="*/ 53 w 97"/>
                <a:gd name="T63" fmla="*/ 4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84">
                  <a:moveTo>
                    <a:pt x="53" y="44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6"/>
                    <a:pt x="81" y="75"/>
                    <a:pt x="81" y="75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7"/>
                    <a:pt x="89" y="80"/>
                    <a:pt x="87" y="82"/>
                  </a:cubicBezTo>
                  <a:cubicBezTo>
                    <a:pt x="85" y="83"/>
                    <a:pt x="83" y="84"/>
                    <a:pt x="80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44"/>
                    <a:pt x="97" y="44"/>
                    <a:pt x="97" y="44"/>
                  </a:cubicBezTo>
                  <a:lnTo>
                    <a:pt x="53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F6CB4A4-E354-48FC-85C0-0F094C58F11C}"/>
                </a:ext>
              </a:extLst>
            </p:cNvPr>
            <p:cNvSpPr/>
            <p:nvPr/>
          </p:nvSpPr>
          <p:spPr bwMode="auto">
            <a:xfrm>
              <a:off x="7186613" y="4867275"/>
              <a:ext cx="236538" cy="212725"/>
            </a:xfrm>
            <a:custGeom>
              <a:avLst/>
              <a:gdLst>
                <a:gd name="T0" fmla="*/ 22 w 96"/>
                <a:gd name="T1" fmla="*/ 16 h 86"/>
                <a:gd name="T2" fmla="*/ 20 w 96"/>
                <a:gd name="T3" fmla="*/ 64 h 86"/>
                <a:gd name="T4" fmla="*/ 11 w 96"/>
                <a:gd name="T5" fmla="*/ 82 h 86"/>
                <a:gd name="T6" fmla="*/ 5 w 96"/>
                <a:gd name="T7" fmla="*/ 83 h 86"/>
                <a:gd name="T8" fmla="*/ 7 w 96"/>
                <a:gd name="T9" fmla="*/ 73 h 86"/>
                <a:gd name="T10" fmla="*/ 13 w 96"/>
                <a:gd name="T11" fmla="*/ 56 h 86"/>
                <a:gd name="T12" fmla="*/ 0 w 96"/>
                <a:gd name="T13" fmla="*/ 53 h 86"/>
                <a:gd name="T14" fmla="*/ 13 w 96"/>
                <a:gd name="T15" fmla="*/ 31 h 86"/>
                <a:gd name="T16" fmla="*/ 4 w 96"/>
                <a:gd name="T17" fmla="*/ 17 h 86"/>
                <a:gd name="T18" fmla="*/ 13 w 96"/>
                <a:gd name="T19" fmla="*/ 7 h 86"/>
                <a:gd name="T20" fmla="*/ 48 w 96"/>
                <a:gd name="T21" fmla="*/ 4 h 86"/>
                <a:gd name="T22" fmla="*/ 60 w 96"/>
                <a:gd name="T23" fmla="*/ 7 h 86"/>
                <a:gd name="T24" fmla="*/ 96 w 96"/>
                <a:gd name="T25" fmla="*/ 16 h 86"/>
                <a:gd name="T26" fmla="*/ 26 w 96"/>
                <a:gd name="T27" fmla="*/ 76 h 86"/>
                <a:gd name="T28" fmla="*/ 37 w 96"/>
                <a:gd name="T29" fmla="*/ 73 h 86"/>
                <a:gd name="T30" fmla="*/ 32 w 96"/>
                <a:gd name="T31" fmla="*/ 66 h 86"/>
                <a:gd name="T32" fmla="*/ 58 w 96"/>
                <a:gd name="T33" fmla="*/ 65 h 86"/>
                <a:gd name="T34" fmla="*/ 75 w 96"/>
                <a:gd name="T35" fmla="*/ 56 h 86"/>
                <a:gd name="T36" fmla="*/ 30 w 96"/>
                <a:gd name="T37" fmla="*/ 48 h 86"/>
                <a:gd name="T38" fmla="*/ 78 w 96"/>
                <a:gd name="T39" fmla="*/ 46 h 86"/>
                <a:gd name="T40" fmla="*/ 87 w 96"/>
                <a:gd name="T41" fmla="*/ 58 h 86"/>
                <a:gd name="T42" fmla="*/ 78 w 96"/>
                <a:gd name="T43" fmla="*/ 65 h 86"/>
                <a:gd name="T44" fmla="*/ 93 w 96"/>
                <a:gd name="T45" fmla="*/ 77 h 86"/>
                <a:gd name="T46" fmla="*/ 58 w 96"/>
                <a:gd name="T47" fmla="*/ 75 h 86"/>
                <a:gd name="T48" fmla="*/ 36 w 96"/>
                <a:gd name="T49" fmla="*/ 82 h 86"/>
                <a:gd name="T50" fmla="*/ 25 w 96"/>
                <a:gd name="T51" fmla="*/ 85 h 86"/>
                <a:gd name="T52" fmla="*/ 85 w 96"/>
                <a:gd name="T53" fmla="*/ 17 h 86"/>
                <a:gd name="T54" fmla="*/ 93 w 96"/>
                <a:gd name="T55" fmla="*/ 34 h 86"/>
                <a:gd name="T56" fmla="*/ 76 w 96"/>
                <a:gd name="T57" fmla="*/ 42 h 86"/>
                <a:gd name="T58" fmla="*/ 41 w 96"/>
                <a:gd name="T59" fmla="*/ 28 h 86"/>
                <a:gd name="T60" fmla="*/ 36 w 96"/>
                <a:gd name="T61" fmla="*/ 40 h 86"/>
                <a:gd name="T62" fmla="*/ 30 w 96"/>
                <a:gd name="T63" fmla="*/ 45 h 86"/>
                <a:gd name="T64" fmla="*/ 27 w 96"/>
                <a:gd name="T65" fmla="*/ 36 h 86"/>
                <a:gd name="T66" fmla="*/ 32 w 96"/>
                <a:gd name="T67" fmla="*/ 31 h 86"/>
                <a:gd name="T68" fmla="*/ 33 w 96"/>
                <a:gd name="T69" fmla="*/ 19 h 86"/>
                <a:gd name="T70" fmla="*/ 76 w 96"/>
                <a:gd name="T71" fmla="*/ 1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6">
                  <a:moveTo>
                    <a:pt x="96" y="16"/>
                  </a:moveTo>
                  <a:cubicBezTo>
                    <a:pt x="22" y="16"/>
                    <a:pt x="22" y="16"/>
                    <a:pt x="22" y="1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5"/>
                    <a:pt x="21" y="60"/>
                    <a:pt x="20" y="64"/>
                  </a:cubicBezTo>
                  <a:cubicBezTo>
                    <a:pt x="18" y="68"/>
                    <a:pt x="17" y="71"/>
                    <a:pt x="15" y="75"/>
                  </a:cubicBezTo>
                  <a:cubicBezTo>
                    <a:pt x="14" y="78"/>
                    <a:pt x="12" y="80"/>
                    <a:pt x="11" y="82"/>
                  </a:cubicBezTo>
                  <a:cubicBezTo>
                    <a:pt x="10" y="84"/>
                    <a:pt x="9" y="85"/>
                    <a:pt x="9" y="86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" y="78"/>
                    <a:pt x="5" y="75"/>
                    <a:pt x="7" y="73"/>
                  </a:cubicBezTo>
                  <a:cubicBezTo>
                    <a:pt x="8" y="71"/>
                    <a:pt x="9" y="68"/>
                    <a:pt x="10" y="65"/>
                  </a:cubicBezTo>
                  <a:cubicBezTo>
                    <a:pt x="11" y="62"/>
                    <a:pt x="12" y="59"/>
                    <a:pt x="13" y="5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96" y="7"/>
                    <a:pt x="96" y="7"/>
                    <a:pt x="96" y="7"/>
                  </a:cubicBezTo>
                  <a:lnTo>
                    <a:pt x="96" y="16"/>
                  </a:lnTo>
                  <a:close/>
                  <a:moveTo>
                    <a:pt x="24" y="76"/>
                  </a:moveTo>
                  <a:cubicBezTo>
                    <a:pt x="24" y="76"/>
                    <a:pt x="24" y="76"/>
                    <a:pt x="26" y="76"/>
                  </a:cubicBezTo>
                  <a:cubicBezTo>
                    <a:pt x="27" y="76"/>
                    <a:pt x="28" y="75"/>
                    <a:pt x="30" y="75"/>
                  </a:cubicBezTo>
                  <a:cubicBezTo>
                    <a:pt x="32" y="74"/>
                    <a:pt x="34" y="74"/>
                    <a:pt x="37" y="73"/>
                  </a:cubicBezTo>
                  <a:cubicBezTo>
                    <a:pt x="39" y="72"/>
                    <a:pt x="42" y="71"/>
                    <a:pt x="45" y="70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61" y="64"/>
                    <a:pt x="64" y="63"/>
                    <a:pt x="67" y="61"/>
                  </a:cubicBezTo>
                  <a:cubicBezTo>
                    <a:pt x="69" y="60"/>
                    <a:pt x="72" y="58"/>
                    <a:pt x="75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3" y="61"/>
                    <a:pt x="81" y="63"/>
                    <a:pt x="78" y="65"/>
                  </a:cubicBezTo>
                  <a:cubicBezTo>
                    <a:pt x="75" y="66"/>
                    <a:pt x="72" y="68"/>
                    <a:pt x="69" y="69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4" y="76"/>
                    <a:pt x="50" y="78"/>
                    <a:pt x="46" y="79"/>
                  </a:cubicBezTo>
                  <a:cubicBezTo>
                    <a:pt x="42" y="80"/>
                    <a:pt x="39" y="81"/>
                    <a:pt x="36" y="82"/>
                  </a:cubicBezTo>
                  <a:cubicBezTo>
                    <a:pt x="33" y="83"/>
                    <a:pt x="30" y="84"/>
                    <a:pt x="29" y="84"/>
                  </a:cubicBezTo>
                  <a:cubicBezTo>
                    <a:pt x="27" y="84"/>
                    <a:pt x="26" y="85"/>
                    <a:pt x="25" y="85"/>
                  </a:cubicBezTo>
                  <a:lnTo>
                    <a:pt x="24" y="76"/>
                  </a:lnTo>
                  <a:close/>
                  <a:moveTo>
                    <a:pt x="85" y="17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30"/>
                    <a:pt x="40" y="33"/>
                    <a:pt x="39" y="35"/>
                  </a:cubicBezTo>
                  <a:cubicBezTo>
                    <a:pt x="38" y="37"/>
                    <a:pt x="37" y="38"/>
                    <a:pt x="36" y="40"/>
                  </a:cubicBezTo>
                  <a:cubicBezTo>
                    <a:pt x="35" y="41"/>
                    <a:pt x="33" y="42"/>
                    <a:pt x="32" y="43"/>
                  </a:cubicBezTo>
                  <a:cubicBezTo>
                    <a:pt x="31" y="44"/>
                    <a:pt x="30" y="44"/>
                    <a:pt x="30" y="4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7" y="37"/>
                    <a:pt x="27" y="36"/>
                  </a:cubicBezTo>
                  <a:cubicBezTo>
                    <a:pt x="28" y="35"/>
                    <a:pt x="29" y="35"/>
                    <a:pt x="30" y="34"/>
                  </a:cubicBezTo>
                  <a:cubicBezTo>
                    <a:pt x="31" y="33"/>
                    <a:pt x="31" y="32"/>
                    <a:pt x="32" y="31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7"/>
                    <a:pt x="76" y="17"/>
                    <a:pt x="76" y="17"/>
                  </a:cubicBezTo>
                  <a:lnTo>
                    <a:pt x="8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A7A663F-C9A2-4053-8D23-DD91D4125E21}"/>
                </a:ext>
              </a:extLst>
            </p:cNvPr>
            <p:cNvSpPr/>
            <p:nvPr/>
          </p:nvSpPr>
          <p:spPr bwMode="auto">
            <a:xfrm>
              <a:off x="7453313" y="4868863"/>
              <a:ext cx="238125" cy="207963"/>
            </a:xfrm>
            <a:custGeom>
              <a:avLst/>
              <a:gdLst>
                <a:gd name="T0" fmla="*/ 12 w 96"/>
                <a:gd name="T1" fmla="*/ 44 h 84"/>
                <a:gd name="T2" fmla="*/ 9 w 96"/>
                <a:gd name="T3" fmla="*/ 58 h 84"/>
                <a:gd name="T4" fmla="*/ 0 w 96"/>
                <a:gd name="T5" fmla="*/ 57 h 84"/>
                <a:gd name="T6" fmla="*/ 3 w 96"/>
                <a:gd name="T7" fmla="*/ 43 h 84"/>
                <a:gd name="T8" fmla="*/ 4 w 96"/>
                <a:gd name="T9" fmla="*/ 16 h 84"/>
                <a:gd name="T10" fmla="*/ 13 w 96"/>
                <a:gd name="T11" fmla="*/ 33 h 84"/>
                <a:gd name="T12" fmla="*/ 16 w 96"/>
                <a:gd name="T13" fmla="*/ 84 h 84"/>
                <a:gd name="T14" fmla="*/ 24 w 96"/>
                <a:gd name="T15" fmla="*/ 0 h 84"/>
                <a:gd name="T16" fmla="*/ 31 w 96"/>
                <a:gd name="T17" fmla="*/ 22 h 84"/>
                <a:gd name="T18" fmla="*/ 24 w 96"/>
                <a:gd name="T19" fmla="*/ 31 h 84"/>
                <a:gd name="T20" fmla="*/ 69 w 96"/>
                <a:gd name="T21" fmla="*/ 13 h 84"/>
                <a:gd name="T22" fmla="*/ 91 w 96"/>
                <a:gd name="T23" fmla="*/ 17 h 84"/>
                <a:gd name="T24" fmla="*/ 69 w 96"/>
                <a:gd name="T25" fmla="*/ 25 h 84"/>
                <a:gd name="T26" fmla="*/ 96 w 96"/>
                <a:gd name="T27" fmla="*/ 29 h 84"/>
                <a:gd name="T28" fmla="*/ 33 w 96"/>
                <a:gd name="T29" fmla="*/ 37 h 84"/>
                <a:gd name="T30" fmla="*/ 60 w 96"/>
                <a:gd name="T31" fmla="*/ 29 h 84"/>
                <a:gd name="T32" fmla="*/ 37 w 96"/>
                <a:gd name="T33" fmla="*/ 25 h 84"/>
                <a:gd name="T34" fmla="*/ 60 w 96"/>
                <a:gd name="T35" fmla="*/ 17 h 84"/>
                <a:gd name="T36" fmla="*/ 33 w 96"/>
                <a:gd name="T37" fmla="*/ 13 h 84"/>
                <a:gd name="T38" fmla="*/ 60 w 96"/>
                <a:gd name="T39" fmla="*/ 5 h 84"/>
                <a:gd name="T40" fmla="*/ 69 w 96"/>
                <a:gd name="T41" fmla="*/ 0 h 84"/>
                <a:gd name="T42" fmla="*/ 96 w 96"/>
                <a:gd name="T43" fmla="*/ 5 h 84"/>
                <a:gd name="T44" fmla="*/ 69 w 96"/>
                <a:gd name="T45" fmla="*/ 13 h 84"/>
                <a:gd name="T46" fmla="*/ 83 w 96"/>
                <a:gd name="T47" fmla="*/ 74 h 84"/>
                <a:gd name="T48" fmla="*/ 45 w 96"/>
                <a:gd name="T49" fmla="*/ 72 h 84"/>
                <a:gd name="T50" fmla="*/ 37 w 96"/>
                <a:gd name="T51" fmla="*/ 84 h 84"/>
                <a:gd name="T52" fmla="*/ 83 w 96"/>
                <a:gd name="T53" fmla="*/ 41 h 84"/>
                <a:gd name="T54" fmla="*/ 92 w 96"/>
                <a:gd name="T55" fmla="*/ 39 h 84"/>
                <a:gd name="T56" fmla="*/ 89 w 96"/>
                <a:gd name="T57" fmla="*/ 81 h 84"/>
                <a:gd name="T58" fmla="*/ 74 w 96"/>
                <a:gd name="T59" fmla="*/ 84 h 84"/>
                <a:gd name="T60" fmla="*/ 82 w 96"/>
                <a:gd name="T61" fmla="*/ 75 h 84"/>
                <a:gd name="T62" fmla="*/ 45 w 96"/>
                <a:gd name="T63" fmla="*/ 52 h 84"/>
                <a:gd name="T64" fmla="*/ 83 w 96"/>
                <a:gd name="T65" fmla="*/ 49 h 84"/>
                <a:gd name="T66" fmla="*/ 83 w 96"/>
                <a:gd name="T67" fmla="*/ 64 h 84"/>
                <a:gd name="T68" fmla="*/ 45 w 96"/>
                <a:gd name="T69" fmla="*/ 61 h 84"/>
                <a:gd name="T70" fmla="*/ 83 w 96"/>
                <a:gd name="T71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4">
                  <a:moveTo>
                    <a:pt x="13" y="33"/>
                  </a:moveTo>
                  <a:cubicBezTo>
                    <a:pt x="13" y="37"/>
                    <a:pt x="12" y="40"/>
                    <a:pt x="12" y="44"/>
                  </a:cubicBezTo>
                  <a:cubicBezTo>
                    <a:pt x="11" y="47"/>
                    <a:pt x="11" y="50"/>
                    <a:pt x="10" y="53"/>
                  </a:cubicBezTo>
                  <a:cubicBezTo>
                    <a:pt x="10" y="55"/>
                    <a:pt x="9" y="57"/>
                    <a:pt x="9" y="58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" y="55"/>
                    <a:pt x="1" y="53"/>
                    <a:pt x="2" y="50"/>
                  </a:cubicBezTo>
                  <a:cubicBezTo>
                    <a:pt x="3" y="48"/>
                    <a:pt x="3" y="46"/>
                    <a:pt x="3" y="43"/>
                  </a:cubicBezTo>
                  <a:cubicBezTo>
                    <a:pt x="4" y="40"/>
                    <a:pt x="4" y="36"/>
                    <a:pt x="4" y="3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3" y="16"/>
                    <a:pt x="13" y="16"/>
                    <a:pt x="13" y="16"/>
                  </a:cubicBezTo>
                  <a:lnTo>
                    <a:pt x="13" y="33"/>
                  </a:lnTo>
                  <a:close/>
                  <a:moveTo>
                    <a:pt x="24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4" y="31"/>
                    <a:pt x="24" y="31"/>
                    <a:pt x="24" y="31"/>
                  </a:cubicBezTo>
                  <a:lnTo>
                    <a:pt x="24" y="84"/>
                  </a:lnTo>
                  <a:close/>
                  <a:moveTo>
                    <a:pt x="69" y="13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13"/>
                    <a:pt x="96" y="13"/>
                    <a:pt x="96" y="13"/>
                  </a:cubicBezTo>
                  <a:lnTo>
                    <a:pt x="69" y="13"/>
                  </a:lnTo>
                  <a:close/>
                  <a:moveTo>
                    <a:pt x="82" y="75"/>
                  </a:moveTo>
                  <a:cubicBezTo>
                    <a:pt x="83" y="75"/>
                    <a:pt x="83" y="75"/>
                    <a:pt x="83" y="74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7"/>
                    <a:pt x="91" y="79"/>
                    <a:pt x="89" y="81"/>
                  </a:cubicBezTo>
                  <a:cubicBezTo>
                    <a:pt x="87" y="83"/>
                    <a:pt x="85" y="84"/>
                    <a:pt x="82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lnTo>
                    <a:pt x="82" y="75"/>
                  </a:lnTo>
                  <a:close/>
                  <a:moveTo>
                    <a:pt x="45" y="49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49"/>
                    <a:pt x="83" y="49"/>
                    <a:pt x="83" y="49"/>
                  </a:cubicBezTo>
                  <a:lnTo>
                    <a:pt x="45" y="49"/>
                  </a:lnTo>
                  <a:close/>
                  <a:moveTo>
                    <a:pt x="83" y="64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4"/>
                    <a:pt x="45" y="64"/>
                    <a:pt x="45" y="64"/>
                  </a:cubicBezTo>
                  <a:lnTo>
                    <a:pt x="83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A0D79742-D6BB-484B-9695-BC081689C5BD}"/>
              </a:ext>
            </a:extLst>
          </p:cNvPr>
          <p:cNvGrpSpPr/>
          <p:nvPr/>
        </p:nvGrpSpPr>
        <p:grpSpPr>
          <a:xfrm>
            <a:off x="4813798" y="2016622"/>
            <a:ext cx="3661810" cy="829858"/>
            <a:chOff x="4813798" y="2016622"/>
            <a:chExt cx="3661810" cy="829858"/>
          </a:xfrm>
        </p:grpSpPr>
        <p:sp>
          <p:nvSpPr>
            <p:cNvPr id="47" name="对话气泡: 圆角矩形 46">
              <a:extLst>
                <a:ext uri="{FF2B5EF4-FFF2-40B4-BE49-F238E27FC236}">
                  <a16:creationId xmlns:a16="http://schemas.microsoft.com/office/drawing/2014/main" id="{2766D537-838E-40AD-A391-23149DC0B162}"/>
                </a:ext>
              </a:extLst>
            </p:cNvPr>
            <p:cNvSpPr/>
            <p:nvPr/>
          </p:nvSpPr>
          <p:spPr>
            <a:xfrm rot="21155127">
              <a:off x="4813798" y="2016622"/>
              <a:ext cx="3661810" cy="829858"/>
            </a:xfrm>
            <a:prstGeom prst="wedgeRoundRectCallout">
              <a:avLst>
                <a:gd name="adj1" fmla="val 58038"/>
                <a:gd name="adj2" fmla="val 90304"/>
                <a:gd name="adj3" fmla="val 16667"/>
              </a:avLst>
            </a:prstGeom>
            <a:solidFill>
              <a:schemeClr val="accent2"/>
            </a:solidFill>
            <a:ln cap="rnd">
              <a:solidFill>
                <a:schemeClr val="bg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48" name="图形 47">
              <a:extLst>
                <a:ext uri="{FF2B5EF4-FFF2-40B4-BE49-F238E27FC236}">
                  <a16:creationId xmlns:a16="http://schemas.microsoft.com/office/drawing/2014/main" id="{7064BDC8-37F1-416F-8F93-605F47A5F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21149762">
              <a:off x="5051015" y="2168877"/>
              <a:ext cx="3139811" cy="5494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正确佩带口罩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2056274" y="299640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latin typeface="Impact" panose="020B0806030902050204" pitchFamily="34" charset="0"/>
              </a:rPr>
              <a:t>/03</a:t>
            </a:r>
            <a:endParaRPr lang="zh-CN" altLang="en-US" sz="80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549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正确佩带口罩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FA4F42FC-B404-4169-9288-AE3000C422DD}"/>
              </a:ext>
            </a:extLst>
          </p:cNvPr>
          <p:cNvSpPr/>
          <p:nvPr/>
        </p:nvSpPr>
        <p:spPr>
          <a:xfrm rot="10800000">
            <a:off x="6098599" y="1311500"/>
            <a:ext cx="2117500" cy="2117500"/>
          </a:xfrm>
          <a:custGeom>
            <a:avLst/>
            <a:gdLst>
              <a:gd name="connsiteX0" fmla="*/ 1221434 w 2442868"/>
              <a:gd name="connsiteY0" fmla="*/ 2442868 h 2442868"/>
              <a:gd name="connsiteX1" fmla="*/ 0 w 2442868"/>
              <a:gd name="connsiteY1" fmla="*/ 1221434 h 2442868"/>
              <a:gd name="connsiteX2" fmla="*/ 1 w 2442868"/>
              <a:gd name="connsiteY2" fmla="*/ 1221434 h 2442868"/>
              <a:gd name="connsiteX3" fmla="*/ 1221435 w 2442868"/>
              <a:gd name="connsiteY3" fmla="*/ 0 h 2442868"/>
              <a:gd name="connsiteX4" fmla="*/ 1493563 w 2442868"/>
              <a:gd name="connsiteY4" fmla="*/ 0 h 2442868"/>
              <a:gd name="connsiteX5" fmla="*/ 1396545 w 2442868"/>
              <a:gd name="connsiteY5" fmla="*/ 4899 h 2442868"/>
              <a:gd name="connsiteX6" fmla="*/ 544335 w 2442868"/>
              <a:gd name="connsiteY6" fmla="*/ 949265 h 2442868"/>
              <a:gd name="connsiteX7" fmla="*/ 544334 w 2442868"/>
              <a:gd name="connsiteY7" fmla="*/ 949265 h 2442868"/>
              <a:gd name="connsiteX8" fmla="*/ 1493601 w 2442868"/>
              <a:gd name="connsiteY8" fmla="*/ 1898532 h 2442868"/>
              <a:gd name="connsiteX9" fmla="*/ 2442868 w 2442868"/>
              <a:gd name="connsiteY9" fmla="*/ 949265 h 2442868"/>
              <a:gd name="connsiteX10" fmla="*/ 2442868 w 2442868"/>
              <a:gd name="connsiteY10" fmla="*/ 1221434 h 2442868"/>
              <a:gd name="connsiteX11" fmla="*/ 1221434 w 2442868"/>
              <a:gd name="connsiteY11" fmla="*/ 2442868 h 2442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2868" h="2442868">
                <a:moveTo>
                  <a:pt x="1221434" y="2442868"/>
                </a:moveTo>
                <a:cubicBezTo>
                  <a:pt x="546855" y="2442868"/>
                  <a:pt x="0" y="1896013"/>
                  <a:pt x="0" y="1221434"/>
                </a:cubicBezTo>
                <a:lnTo>
                  <a:pt x="1" y="1221434"/>
                </a:lnTo>
                <a:cubicBezTo>
                  <a:pt x="1" y="546855"/>
                  <a:pt x="546856" y="0"/>
                  <a:pt x="1221435" y="0"/>
                </a:cubicBezTo>
                <a:lnTo>
                  <a:pt x="1493563" y="0"/>
                </a:lnTo>
                <a:lnTo>
                  <a:pt x="1396545" y="4899"/>
                </a:lnTo>
                <a:cubicBezTo>
                  <a:pt x="917871" y="53511"/>
                  <a:pt x="544335" y="457766"/>
                  <a:pt x="544335" y="949265"/>
                </a:cubicBezTo>
                <a:lnTo>
                  <a:pt x="544334" y="949265"/>
                </a:lnTo>
                <a:cubicBezTo>
                  <a:pt x="544334" y="1473531"/>
                  <a:pt x="969335" y="1898532"/>
                  <a:pt x="1493601" y="1898532"/>
                </a:cubicBezTo>
                <a:cubicBezTo>
                  <a:pt x="2017867" y="1898532"/>
                  <a:pt x="2442868" y="1473531"/>
                  <a:pt x="2442868" y="949265"/>
                </a:cubicBezTo>
                <a:lnTo>
                  <a:pt x="2442868" y="1221434"/>
                </a:lnTo>
                <a:cubicBezTo>
                  <a:pt x="2442868" y="1896013"/>
                  <a:pt x="1896013" y="2442868"/>
                  <a:pt x="1221434" y="2442868"/>
                </a:cubicBezTo>
                <a:close/>
              </a:path>
            </a:pathLst>
          </a:cu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9383F3B2-BAF3-48D6-BA40-B7AAC1DBD2CA}"/>
              </a:ext>
            </a:extLst>
          </p:cNvPr>
          <p:cNvSpPr/>
          <p:nvPr/>
        </p:nvSpPr>
        <p:spPr>
          <a:xfrm rot="10800000" flipV="1">
            <a:off x="6098599" y="3429000"/>
            <a:ext cx="2117500" cy="2117500"/>
          </a:xfrm>
          <a:custGeom>
            <a:avLst/>
            <a:gdLst>
              <a:gd name="connsiteX0" fmla="*/ 1221434 w 2442868"/>
              <a:gd name="connsiteY0" fmla="*/ 2442868 h 2442868"/>
              <a:gd name="connsiteX1" fmla="*/ 0 w 2442868"/>
              <a:gd name="connsiteY1" fmla="*/ 1221434 h 2442868"/>
              <a:gd name="connsiteX2" fmla="*/ 1 w 2442868"/>
              <a:gd name="connsiteY2" fmla="*/ 1221434 h 2442868"/>
              <a:gd name="connsiteX3" fmla="*/ 1221435 w 2442868"/>
              <a:gd name="connsiteY3" fmla="*/ 0 h 2442868"/>
              <a:gd name="connsiteX4" fmla="*/ 1493563 w 2442868"/>
              <a:gd name="connsiteY4" fmla="*/ 0 h 2442868"/>
              <a:gd name="connsiteX5" fmla="*/ 1396545 w 2442868"/>
              <a:gd name="connsiteY5" fmla="*/ 4899 h 2442868"/>
              <a:gd name="connsiteX6" fmla="*/ 544335 w 2442868"/>
              <a:gd name="connsiteY6" fmla="*/ 949265 h 2442868"/>
              <a:gd name="connsiteX7" fmla="*/ 544334 w 2442868"/>
              <a:gd name="connsiteY7" fmla="*/ 949265 h 2442868"/>
              <a:gd name="connsiteX8" fmla="*/ 1493601 w 2442868"/>
              <a:gd name="connsiteY8" fmla="*/ 1898532 h 2442868"/>
              <a:gd name="connsiteX9" fmla="*/ 2442868 w 2442868"/>
              <a:gd name="connsiteY9" fmla="*/ 949265 h 2442868"/>
              <a:gd name="connsiteX10" fmla="*/ 2442868 w 2442868"/>
              <a:gd name="connsiteY10" fmla="*/ 1221434 h 2442868"/>
              <a:gd name="connsiteX11" fmla="*/ 1221434 w 2442868"/>
              <a:gd name="connsiteY11" fmla="*/ 2442868 h 2442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2868" h="2442868">
                <a:moveTo>
                  <a:pt x="1221434" y="2442868"/>
                </a:moveTo>
                <a:cubicBezTo>
                  <a:pt x="546855" y="2442868"/>
                  <a:pt x="0" y="1896013"/>
                  <a:pt x="0" y="1221434"/>
                </a:cubicBezTo>
                <a:lnTo>
                  <a:pt x="1" y="1221434"/>
                </a:lnTo>
                <a:cubicBezTo>
                  <a:pt x="1" y="546855"/>
                  <a:pt x="546856" y="0"/>
                  <a:pt x="1221435" y="0"/>
                </a:cubicBezTo>
                <a:lnTo>
                  <a:pt x="1493563" y="0"/>
                </a:lnTo>
                <a:lnTo>
                  <a:pt x="1396545" y="4899"/>
                </a:lnTo>
                <a:cubicBezTo>
                  <a:pt x="917871" y="53511"/>
                  <a:pt x="544335" y="457766"/>
                  <a:pt x="544335" y="949265"/>
                </a:cubicBezTo>
                <a:lnTo>
                  <a:pt x="544334" y="949265"/>
                </a:lnTo>
                <a:cubicBezTo>
                  <a:pt x="544334" y="1473531"/>
                  <a:pt x="969335" y="1898532"/>
                  <a:pt x="1493601" y="1898532"/>
                </a:cubicBezTo>
                <a:cubicBezTo>
                  <a:pt x="2017867" y="1898532"/>
                  <a:pt x="2442868" y="1473531"/>
                  <a:pt x="2442868" y="949265"/>
                </a:cubicBezTo>
                <a:lnTo>
                  <a:pt x="2442868" y="1221434"/>
                </a:lnTo>
                <a:cubicBezTo>
                  <a:pt x="2442868" y="1896013"/>
                  <a:pt x="1896013" y="2442868"/>
                  <a:pt x="1221434" y="2442868"/>
                </a:cubicBezTo>
                <a:close/>
              </a:path>
            </a:pathLst>
          </a:cu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1E454CB-6B29-4F6D-9CD4-E80AC838CD56}"/>
              </a:ext>
            </a:extLst>
          </p:cNvPr>
          <p:cNvSpPr/>
          <p:nvPr/>
        </p:nvSpPr>
        <p:spPr>
          <a:xfrm rot="10800000" flipH="1">
            <a:off x="3975901" y="1311500"/>
            <a:ext cx="2117500" cy="2117500"/>
          </a:xfrm>
          <a:custGeom>
            <a:avLst/>
            <a:gdLst>
              <a:gd name="connsiteX0" fmla="*/ 1221434 w 2442868"/>
              <a:gd name="connsiteY0" fmla="*/ 2442868 h 2442868"/>
              <a:gd name="connsiteX1" fmla="*/ 0 w 2442868"/>
              <a:gd name="connsiteY1" fmla="*/ 1221434 h 2442868"/>
              <a:gd name="connsiteX2" fmla="*/ 1 w 2442868"/>
              <a:gd name="connsiteY2" fmla="*/ 1221434 h 2442868"/>
              <a:gd name="connsiteX3" fmla="*/ 1221435 w 2442868"/>
              <a:gd name="connsiteY3" fmla="*/ 0 h 2442868"/>
              <a:gd name="connsiteX4" fmla="*/ 1493563 w 2442868"/>
              <a:gd name="connsiteY4" fmla="*/ 0 h 2442868"/>
              <a:gd name="connsiteX5" fmla="*/ 1396545 w 2442868"/>
              <a:gd name="connsiteY5" fmla="*/ 4899 h 2442868"/>
              <a:gd name="connsiteX6" fmla="*/ 544335 w 2442868"/>
              <a:gd name="connsiteY6" fmla="*/ 949265 h 2442868"/>
              <a:gd name="connsiteX7" fmla="*/ 544334 w 2442868"/>
              <a:gd name="connsiteY7" fmla="*/ 949265 h 2442868"/>
              <a:gd name="connsiteX8" fmla="*/ 1493601 w 2442868"/>
              <a:gd name="connsiteY8" fmla="*/ 1898532 h 2442868"/>
              <a:gd name="connsiteX9" fmla="*/ 2442868 w 2442868"/>
              <a:gd name="connsiteY9" fmla="*/ 949265 h 2442868"/>
              <a:gd name="connsiteX10" fmla="*/ 2442868 w 2442868"/>
              <a:gd name="connsiteY10" fmla="*/ 1221434 h 2442868"/>
              <a:gd name="connsiteX11" fmla="*/ 1221434 w 2442868"/>
              <a:gd name="connsiteY11" fmla="*/ 2442868 h 2442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2868" h="2442868">
                <a:moveTo>
                  <a:pt x="1221434" y="2442868"/>
                </a:moveTo>
                <a:cubicBezTo>
                  <a:pt x="546855" y="2442868"/>
                  <a:pt x="0" y="1896013"/>
                  <a:pt x="0" y="1221434"/>
                </a:cubicBezTo>
                <a:lnTo>
                  <a:pt x="1" y="1221434"/>
                </a:lnTo>
                <a:cubicBezTo>
                  <a:pt x="1" y="546855"/>
                  <a:pt x="546856" y="0"/>
                  <a:pt x="1221435" y="0"/>
                </a:cubicBezTo>
                <a:lnTo>
                  <a:pt x="1493563" y="0"/>
                </a:lnTo>
                <a:lnTo>
                  <a:pt x="1396545" y="4899"/>
                </a:lnTo>
                <a:cubicBezTo>
                  <a:pt x="917871" y="53511"/>
                  <a:pt x="544335" y="457766"/>
                  <a:pt x="544335" y="949265"/>
                </a:cubicBezTo>
                <a:lnTo>
                  <a:pt x="544334" y="949265"/>
                </a:lnTo>
                <a:cubicBezTo>
                  <a:pt x="544334" y="1473531"/>
                  <a:pt x="969335" y="1898532"/>
                  <a:pt x="1493601" y="1898532"/>
                </a:cubicBezTo>
                <a:cubicBezTo>
                  <a:pt x="2017867" y="1898532"/>
                  <a:pt x="2442868" y="1473531"/>
                  <a:pt x="2442868" y="949265"/>
                </a:cubicBezTo>
                <a:lnTo>
                  <a:pt x="2442868" y="1221434"/>
                </a:lnTo>
                <a:cubicBezTo>
                  <a:pt x="2442868" y="1896013"/>
                  <a:pt x="1896013" y="2442868"/>
                  <a:pt x="1221434" y="2442868"/>
                </a:cubicBezTo>
                <a:close/>
              </a:path>
            </a:pathLst>
          </a:cu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7F16844B-80B0-4D0B-A583-8228363EA040}"/>
              </a:ext>
            </a:extLst>
          </p:cNvPr>
          <p:cNvSpPr/>
          <p:nvPr/>
        </p:nvSpPr>
        <p:spPr>
          <a:xfrm rot="10800000" flipH="1" flipV="1">
            <a:off x="3975901" y="3429000"/>
            <a:ext cx="2117500" cy="2117500"/>
          </a:xfrm>
          <a:custGeom>
            <a:avLst/>
            <a:gdLst>
              <a:gd name="connsiteX0" fmla="*/ 1221434 w 2442868"/>
              <a:gd name="connsiteY0" fmla="*/ 2442868 h 2442868"/>
              <a:gd name="connsiteX1" fmla="*/ 0 w 2442868"/>
              <a:gd name="connsiteY1" fmla="*/ 1221434 h 2442868"/>
              <a:gd name="connsiteX2" fmla="*/ 1 w 2442868"/>
              <a:gd name="connsiteY2" fmla="*/ 1221434 h 2442868"/>
              <a:gd name="connsiteX3" fmla="*/ 1221435 w 2442868"/>
              <a:gd name="connsiteY3" fmla="*/ 0 h 2442868"/>
              <a:gd name="connsiteX4" fmla="*/ 1493563 w 2442868"/>
              <a:gd name="connsiteY4" fmla="*/ 0 h 2442868"/>
              <a:gd name="connsiteX5" fmla="*/ 1396545 w 2442868"/>
              <a:gd name="connsiteY5" fmla="*/ 4899 h 2442868"/>
              <a:gd name="connsiteX6" fmla="*/ 544335 w 2442868"/>
              <a:gd name="connsiteY6" fmla="*/ 949265 h 2442868"/>
              <a:gd name="connsiteX7" fmla="*/ 544334 w 2442868"/>
              <a:gd name="connsiteY7" fmla="*/ 949265 h 2442868"/>
              <a:gd name="connsiteX8" fmla="*/ 1493601 w 2442868"/>
              <a:gd name="connsiteY8" fmla="*/ 1898532 h 2442868"/>
              <a:gd name="connsiteX9" fmla="*/ 2442868 w 2442868"/>
              <a:gd name="connsiteY9" fmla="*/ 949265 h 2442868"/>
              <a:gd name="connsiteX10" fmla="*/ 2442868 w 2442868"/>
              <a:gd name="connsiteY10" fmla="*/ 1221434 h 2442868"/>
              <a:gd name="connsiteX11" fmla="*/ 1221434 w 2442868"/>
              <a:gd name="connsiteY11" fmla="*/ 2442868 h 2442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442868" h="2442868">
                <a:moveTo>
                  <a:pt x="1221434" y="2442868"/>
                </a:moveTo>
                <a:cubicBezTo>
                  <a:pt x="546855" y="2442868"/>
                  <a:pt x="0" y="1896013"/>
                  <a:pt x="0" y="1221434"/>
                </a:cubicBezTo>
                <a:lnTo>
                  <a:pt x="1" y="1221434"/>
                </a:lnTo>
                <a:cubicBezTo>
                  <a:pt x="1" y="546855"/>
                  <a:pt x="546856" y="0"/>
                  <a:pt x="1221435" y="0"/>
                </a:cubicBezTo>
                <a:lnTo>
                  <a:pt x="1493563" y="0"/>
                </a:lnTo>
                <a:lnTo>
                  <a:pt x="1396545" y="4899"/>
                </a:lnTo>
                <a:cubicBezTo>
                  <a:pt x="917871" y="53511"/>
                  <a:pt x="544335" y="457766"/>
                  <a:pt x="544335" y="949265"/>
                </a:cubicBezTo>
                <a:lnTo>
                  <a:pt x="544334" y="949265"/>
                </a:lnTo>
                <a:cubicBezTo>
                  <a:pt x="544334" y="1473531"/>
                  <a:pt x="969335" y="1898532"/>
                  <a:pt x="1493601" y="1898532"/>
                </a:cubicBezTo>
                <a:cubicBezTo>
                  <a:pt x="2017867" y="1898532"/>
                  <a:pt x="2442868" y="1473531"/>
                  <a:pt x="2442868" y="949265"/>
                </a:cubicBezTo>
                <a:lnTo>
                  <a:pt x="2442868" y="1221434"/>
                </a:lnTo>
                <a:cubicBezTo>
                  <a:pt x="2442868" y="1896013"/>
                  <a:pt x="1896013" y="2442868"/>
                  <a:pt x="1221434" y="2442868"/>
                </a:cubicBezTo>
                <a:close/>
              </a:path>
            </a:pathLst>
          </a:custGeom>
          <a:solidFill>
            <a:schemeClr val="bg1">
              <a:lumMod val="95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E402BEF0-E811-4B4C-838F-8CDAAE4685C0}"/>
              </a:ext>
            </a:extLst>
          </p:cNvPr>
          <p:cNvSpPr/>
          <p:nvPr/>
        </p:nvSpPr>
        <p:spPr>
          <a:xfrm>
            <a:off x="5003292" y="2409444"/>
            <a:ext cx="2185416" cy="2185416"/>
          </a:xfrm>
          <a:prstGeom prst="ellipse">
            <a:avLst/>
          </a:prstGeom>
          <a:solidFill>
            <a:schemeClr val="accent1"/>
          </a:solidFill>
          <a:ln w="57150" cmpd="thickThin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 defTabSz="914377"/>
            <a:r>
              <a:rPr lang="en-US" altLang="zh-CN" sz="2000" b="1" i="1"/>
              <a:t>…te</a:t>
            </a:r>
            <a:r>
              <a:rPr lang="en-US" altLang="zh-CN" sz="100" b="1" i="1"/>
              <a:t> </a:t>
            </a:r>
            <a:r>
              <a:rPr lang="en-US" altLang="zh-CN" sz="2000" b="1" i="1"/>
              <a:t>xt</a:t>
            </a:r>
            <a:endParaRPr lang="zh-CN" altLang="en-US" sz="2000" b="1" i="1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C29BADD0-55BE-45C4-9DCE-CC7307321147}"/>
              </a:ext>
            </a:extLst>
          </p:cNvPr>
          <p:cNvSpPr/>
          <p:nvPr/>
        </p:nvSpPr>
        <p:spPr>
          <a:xfrm>
            <a:off x="6694932" y="3931920"/>
            <a:ext cx="612648" cy="61264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ABD7621A-264C-44E2-A239-D1E768F60295}"/>
              </a:ext>
            </a:extLst>
          </p:cNvPr>
          <p:cNvSpPr/>
          <p:nvPr/>
        </p:nvSpPr>
        <p:spPr bwMode="auto">
          <a:xfrm>
            <a:off x="6841236" y="4115644"/>
            <a:ext cx="320040" cy="245200"/>
          </a:xfrm>
          <a:custGeom>
            <a:avLst/>
            <a:gdLst>
              <a:gd name="T0" fmla="*/ 633 w 718"/>
              <a:gd name="T1" fmla="*/ 0 h 549"/>
              <a:gd name="T2" fmla="*/ 549 w 718"/>
              <a:gd name="T3" fmla="*/ 84 h 549"/>
              <a:gd name="T4" fmla="*/ 578 w 718"/>
              <a:gd name="T5" fmla="*/ 148 h 549"/>
              <a:gd name="T6" fmla="*/ 475 w 718"/>
              <a:gd name="T7" fmla="*/ 302 h 549"/>
              <a:gd name="T8" fmla="*/ 443 w 718"/>
              <a:gd name="T9" fmla="*/ 296 h 549"/>
              <a:gd name="T10" fmla="*/ 369 w 718"/>
              <a:gd name="T11" fmla="*/ 340 h 549"/>
              <a:gd name="T12" fmla="*/ 310 w 718"/>
              <a:gd name="T13" fmla="*/ 305 h 549"/>
              <a:gd name="T14" fmla="*/ 316 w 718"/>
              <a:gd name="T15" fmla="*/ 275 h 549"/>
              <a:gd name="T16" fmla="*/ 232 w 718"/>
              <a:gd name="T17" fmla="*/ 190 h 549"/>
              <a:gd name="T18" fmla="*/ 147 w 718"/>
              <a:gd name="T19" fmla="*/ 275 h 549"/>
              <a:gd name="T20" fmla="*/ 176 w 718"/>
              <a:gd name="T21" fmla="*/ 338 h 549"/>
              <a:gd name="T22" fmla="*/ 133 w 718"/>
              <a:gd name="T23" fmla="*/ 396 h 549"/>
              <a:gd name="T24" fmla="*/ 84 w 718"/>
              <a:gd name="T25" fmla="*/ 380 h 549"/>
              <a:gd name="T26" fmla="*/ 0 w 718"/>
              <a:gd name="T27" fmla="*/ 465 h 549"/>
              <a:gd name="T28" fmla="*/ 84 w 718"/>
              <a:gd name="T29" fmla="*/ 549 h 549"/>
              <a:gd name="T30" fmla="*/ 168 w 718"/>
              <a:gd name="T31" fmla="*/ 465 h 549"/>
              <a:gd name="T32" fmla="*/ 148 w 718"/>
              <a:gd name="T33" fmla="*/ 411 h 549"/>
              <a:gd name="T34" fmla="*/ 194 w 718"/>
              <a:gd name="T35" fmla="*/ 350 h 549"/>
              <a:gd name="T36" fmla="*/ 232 w 718"/>
              <a:gd name="T37" fmla="*/ 359 h 549"/>
              <a:gd name="T38" fmla="*/ 300 w 718"/>
              <a:gd name="T39" fmla="*/ 324 h 549"/>
              <a:gd name="T40" fmla="*/ 361 w 718"/>
              <a:gd name="T41" fmla="*/ 360 h 549"/>
              <a:gd name="T42" fmla="*/ 359 w 718"/>
              <a:gd name="T43" fmla="*/ 380 h 549"/>
              <a:gd name="T44" fmla="*/ 443 w 718"/>
              <a:gd name="T45" fmla="*/ 465 h 549"/>
              <a:gd name="T46" fmla="*/ 528 w 718"/>
              <a:gd name="T47" fmla="*/ 380 h 549"/>
              <a:gd name="T48" fmla="*/ 494 w 718"/>
              <a:gd name="T49" fmla="*/ 313 h 549"/>
              <a:gd name="T50" fmla="*/ 596 w 718"/>
              <a:gd name="T51" fmla="*/ 160 h 549"/>
              <a:gd name="T52" fmla="*/ 633 w 718"/>
              <a:gd name="T53" fmla="*/ 169 h 549"/>
              <a:gd name="T54" fmla="*/ 718 w 718"/>
              <a:gd name="T55" fmla="*/ 84 h 549"/>
              <a:gd name="T56" fmla="*/ 633 w 718"/>
              <a:gd name="T57" fmla="*/ 0 h 549"/>
              <a:gd name="T58" fmla="*/ 84 w 718"/>
              <a:gd name="T59" fmla="*/ 507 h 549"/>
              <a:gd name="T60" fmla="*/ 42 w 718"/>
              <a:gd name="T61" fmla="*/ 465 h 549"/>
              <a:gd name="T62" fmla="*/ 84 w 718"/>
              <a:gd name="T63" fmla="*/ 422 h 549"/>
              <a:gd name="T64" fmla="*/ 126 w 718"/>
              <a:gd name="T65" fmla="*/ 465 h 549"/>
              <a:gd name="T66" fmla="*/ 84 w 718"/>
              <a:gd name="T67" fmla="*/ 507 h 549"/>
              <a:gd name="T68" fmla="*/ 232 w 718"/>
              <a:gd name="T69" fmla="*/ 317 h 549"/>
              <a:gd name="T70" fmla="*/ 190 w 718"/>
              <a:gd name="T71" fmla="*/ 275 h 549"/>
              <a:gd name="T72" fmla="*/ 232 w 718"/>
              <a:gd name="T73" fmla="*/ 233 h 549"/>
              <a:gd name="T74" fmla="*/ 274 w 718"/>
              <a:gd name="T75" fmla="*/ 275 h 549"/>
              <a:gd name="T76" fmla="*/ 232 w 718"/>
              <a:gd name="T77" fmla="*/ 317 h 549"/>
              <a:gd name="T78" fmla="*/ 443 w 718"/>
              <a:gd name="T79" fmla="*/ 422 h 549"/>
              <a:gd name="T80" fmla="*/ 401 w 718"/>
              <a:gd name="T81" fmla="*/ 380 h 549"/>
              <a:gd name="T82" fmla="*/ 443 w 718"/>
              <a:gd name="T83" fmla="*/ 338 h 549"/>
              <a:gd name="T84" fmla="*/ 486 w 718"/>
              <a:gd name="T85" fmla="*/ 380 h 549"/>
              <a:gd name="T86" fmla="*/ 443 w 718"/>
              <a:gd name="T87" fmla="*/ 422 h 549"/>
              <a:gd name="T88" fmla="*/ 633 w 718"/>
              <a:gd name="T89" fmla="*/ 127 h 549"/>
              <a:gd name="T90" fmla="*/ 591 w 718"/>
              <a:gd name="T91" fmla="*/ 84 h 549"/>
              <a:gd name="T92" fmla="*/ 633 w 718"/>
              <a:gd name="T93" fmla="*/ 42 h 549"/>
              <a:gd name="T94" fmla="*/ 675 w 718"/>
              <a:gd name="T95" fmla="*/ 84 h 549"/>
              <a:gd name="T96" fmla="*/ 633 w 718"/>
              <a:gd name="T97" fmla="*/ 12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8" h="549">
                <a:moveTo>
                  <a:pt x="633" y="0"/>
                </a:moveTo>
                <a:cubicBezTo>
                  <a:pt x="587" y="0"/>
                  <a:pt x="549" y="38"/>
                  <a:pt x="549" y="84"/>
                </a:cubicBezTo>
                <a:cubicBezTo>
                  <a:pt x="549" y="110"/>
                  <a:pt x="561" y="132"/>
                  <a:pt x="578" y="148"/>
                </a:cubicBezTo>
                <a:cubicBezTo>
                  <a:pt x="475" y="302"/>
                  <a:pt x="475" y="302"/>
                  <a:pt x="475" y="302"/>
                </a:cubicBezTo>
                <a:cubicBezTo>
                  <a:pt x="466" y="298"/>
                  <a:pt x="455" y="296"/>
                  <a:pt x="443" y="296"/>
                </a:cubicBezTo>
                <a:cubicBezTo>
                  <a:pt x="411" y="296"/>
                  <a:pt x="383" y="314"/>
                  <a:pt x="369" y="340"/>
                </a:cubicBezTo>
                <a:cubicBezTo>
                  <a:pt x="310" y="305"/>
                  <a:pt x="310" y="305"/>
                  <a:pt x="310" y="305"/>
                </a:cubicBezTo>
                <a:cubicBezTo>
                  <a:pt x="314" y="296"/>
                  <a:pt x="316" y="285"/>
                  <a:pt x="316" y="275"/>
                </a:cubicBezTo>
                <a:cubicBezTo>
                  <a:pt x="316" y="228"/>
                  <a:pt x="278" y="190"/>
                  <a:pt x="232" y="190"/>
                </a:cubicBezTo>
                <a:cubicBezTo>
                  <a:pt x="185" y="190"/>
                  <a:pt x="147" y="228"/>
                  <a:pt x="147" y="275"/>
                </a:cubicBezTo>
                <a:cubicBezTo>
                  <a:pt x="147" y="300"/>
                  <a:pt x="159" y="322"/>
                  <a:pt x="176" y="338"/>
                </a:cubicBezTo>
                <a:cubicBezTo>
                  <a:pt x="133" y="396"/>
                  <a:pt x="133" y="396"/>
                  <a:pt x="133" y="396"/>
                </a:cubicBezTo>
                <a:cubicBezTo>
                  <a:pt x="119" y="386"/>
                  <a:pt x="102" y="380"/>
                  <a:pt x="84" y="380"/>
                </a:cubicBezTo>
                <a:cubicBezTo>
                  <a:pt x="38" y="380"/>
                  <a:pt x="0" y="418"/>
                  <a:pt x="0" y="465"/>
                </a:cubicBezTo>
                <a:cubicBezTo>
                  <a:pt x="0" y="511"/>
                  <a:pt x="38" y="549"/>
                  <a:pt x="84" y="549"/>
                </a:cubicBezTo>
                <a:cubicBezTo>
                  <a:pt x="130" y="549"/>
                  <a:pt x="168" y="511"/>
                  <a:pt x="168" y="465"/>
                </a:cubicBezTo>
                <a:cubicBezTo>
                  <a:pt x="168" y="444"/>
                  <a:pt x="160" y="425"/>
                  <a:pt x="148" y="411"/>
                </a:cubicBezTo>
                <a:cubicBezTo>
                  <a:pt x="194" y="350"/>
                  <a:pt x="194" y="350"/>
                  <a:pt x="194" y="350"/>
                </a:cubicBezTo>
                <a:cubicBezTo>
                  <a:pt x="205" y="355"/>
                  <a:pt x="218" y="359"/>
                  <a:pt x="232" y="359"/>
                </a:cubicBezTo>
                <a:cubicBezTo>
                  <a:pt x="260" y="359"/>
                  <a:pt x="285" y="345"/>
                  <a:pt x="300" y="324"/>
                </a:cubicBezTo>
                <a:cubicBezTo>
                  <a:pt x="361" y="360"/>
                  <a:pt x="361" y="360"/>
                  <a:pt x="361" y="360"/>
                </a:cubicBezTo>
                <a:cubicBezTo>
                  <a:pt x="360" y="367"/>
                  <a:pt x="359" y="373"/>
                  <a:pt x="359" y="380"/>
                </a:cubicBezTo>
                <a:cubicBezTo>
                  <a:pt x="359" y="427"/>
                  <a:pt x="397" y="465"/>
                  <a:pt x="443" y="465"/>
                </a:cubicBezTo>
                <a:cubicBezTo>
                  <a:pt x="490" y="465"/>
                  <a:pt x="528" y="427"/>
                  <a:pt x="528" y="380"/>
                </a:cubicBezTo>
                <a:cubicBezTo>
                  <a:pt x="528" y="352"/>
                  <a:pt x="514" y="328"/>
                  <a:pt x="494" y="313"/>
                </a:cubicBezTo>
                <a:cubicBezTo>
                  <a:pt x="596" y="160"/>
                  <a:pt x="596" y="160"/>
                  <a:pt x="596" y="160"/>
                </a:cubicBezTo>
                <a:cubicBezTo>
                  <a:pt x="607" y="165"/>
                  <a:pt x="620" y="169"/>
                  <a:pt x="633" y="169"/>
                </a:cubicBezTo>
                <a:cubicBezTo>
                  <a:pt x="680" y="169"/>
                  <a:pt x="718" y="131"/>
                  <a:pt x="718" y="84"/>
                </a:cubicBezTo>
                <a:cubicBezTo>
                  <a:pt x="718" y="38"/>
                  <a:pt x="680" y="0"/>
                  <a:pt x="633" y="0"/>
                </a:cubicBezTo>
                <a:close/>
                <a:moveTo>
                  <a:pt x="84" y="507"/>
                </a:moveTo>
                <a:cubicBezTo>
                  <a:pt x="61" y="507"/>
                  <a:pt x="42" y="488"/>
                  <a:pt x="42" y="465"/>
                </a:cubicBezTo>
                <a:cubicBezTo>
                  <a:pt x="42" y="441"/>
                  <a:pt x="61" y="422"/>
                  <a:pt x="84" y="422"/>
                </a:cubicBezTo>
                <a:cubicBezTo>
                  <a:pt x="107" y="422"/>
                  <a:pt x="126" y="441"/>
                  <a:pt x="126" y="465"/>
                </a:cubicBezTo>
                <a:cubicBezTo>
                  <a:pt x="126" y="488"/>
                  <a:pt x="107" y="507"/>
                  <a:pt x="84" y="507"/>
                </a:cubicBezTo>
                <a:close/>
                <a:moveTo>
                  <a:pt x="232" y="317"/>
                </a:moveTo>
                <a:cubicBezTo>
                  <a:pt x="209" y="317"/>
                  <a:pt x="190" y="298"/>
                  <a:pt x="190" y="275"/>
                </a:cubicBezTo>
                <a:cubicBezTo>
                  <a:pt x="190" y="251"/>
                  <a:pt x="209" y="233"/>
                  <a:pt x="232" y="233"/>
                </a:cubicBezTo>
                <a:cubicBezTo>
                  <a:pt x="255" y="233"/>
                  <a:pt x="274" y="251"/>
                  <a:pt x="274" y="275"/>
                </a:cubicBezTo>
                <a:cubicBezTo>
                  <a:pt x="274" y="298"/>
                  <a:pt x="255" y="317"/>
                  <a:pt x="232" y="317"/>
                </a:cubicBezTo>
                <a:close/>
                <a:moveTo>
                  <a:pt x="443" y="422"/>
                </a:moveTo>
                <a:cubicBezTo>
                  <a:pt x="420" y="422"/>
                  <a:pt x="401" y="403"/>
                  <a:pt x="401" y="380"/>
                </a:cubicBezTo>
                <a:cubicBezTo>
                  <a:pt x="401" y="357"/>
                  <a:pt x="420" y="338"/>
                  <a:pt x="443" y="338"/>
                </a:cubicBezTo>
                <a:cubicBezTo>
                  <a:pt x="467" y="338"/>
                  <a:pt x="486" y="357"/>
                  <a:pt x="486" y="380"/>
                </a:cubicBezTo>
                <a:cubicBezTo>
                  <a:pt x="486" y="403"/>
                  <a:pt x="467" y="422"/>
                  <a:pt x="443" y="422"/>
                </a:cubicBezTo>
                <a:close/>
                <a:moveTo>
                  <a:pt x="633" y="127"/>
                </a:moveTo>
                <a:cubicBezTo>
                  <a:pt x="610" y="127"/>
                  <a:pt x="591" y="108"/>
                  <a:pt x="591" y="84"/>
                </a:cubicBezTo>
                <a:cubicBezTo>
                  <a:pt x="591" y="61"/>
                  <a:pt x="610" y="42"/>
                  <a:pt x="633" y="42"/>
                </a:cubicBezTo>
                <a:cubicBezTo>
                  <a:pt x="657" y="42"/>
                  <a:pt x="675" y="61"/>
                  <a:pt x="675" y="84"/>
                </a:cubicBezTo>
                <a:cubicBezTo>
                  <a:pt x="675" y="108"/>
                  <a:pt x="657" y="127"/>
                  <a:pt x="633" y="1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98C52007-22C3-47B2-BDF7-1AA20C84B156}"/>
              </a:ext>
            </a:extLst>
          </p:cNvPr>
          <p:cNvSpPr/>
          <p:nvPr/>
        </p:nvSpPr>
        <p:spPr>
          <a:xfrm>
            <a:off x="4866132" y="3931920"/>
            <a:ext cx="612648" cy="61264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77A2DC90-2E46-4032-AEFE-18E3BF1EE2FB}"/>
              </a:ext>
            </a:extLst>
          </p:cNvPr>
          <p:cNvSpPr/>
          <p:nvPr/>
        </p:nvSpPr>
        <p:spPr bwMode="auto">
          <a:xfrm>
            <a:off x="5012436" y="4115644"/>
            <a:ext cx="320040" cy="245200"/>
          </a:xfrm>
          <a:custGeom>
            <a:avLst/>
            <a:gdLst>
              <a:gd name="T0" fmla="*/ 633 w 718"/>
              <a:gd name="T1" fmla="*/ 0 h 549"/>
              <a:gd name="T2" fmla="*/ 549 w 718"/>
              <a:gd name="T3" fmla="*/ 84 h 549"/>
              <a:gd name="T4" fmla="*/ 578 w 718"/>
              <a:gd name="T5" fmla="*/ 148 h 549"/>
              <a:gd name="T6" fmla="*/ 475 w 718"/>
              <a:gd name="T7" fmla="*/ 302 h 549"/>
              <a:gd name="T8" fmla="*/ 443 w 718"/>
              <a:gd name="T9" fmla="*/ 296 h 549"/>
              <a:gd name="T10" fmla="*/ 369 w 718"/>
              <a:gd name="T11" fmla="*/ 340 h 549"/>
              <a:gd name="T12" fmla="*/ 310 w 718"/>
              <a:gd name="T13" fmla="*/ 305 h 549"/>
              <a:gd name="T14" fmla="*/ 316 w 718"/>
              <a:gd name="T15" fmla="*/ 275 h 549"/>
              <a:gd name="T16" fmla="*/ 232 w 718"/>
              <a:gd name="T17" fmla="*/ 190 h 549"/>
              <a:gd name="T18" fmla="*/ 147 w 718"/>
              <a:gd name="T19" fmla="*/ 275 h 549"/>
              <a:gd name="T20" fmla="*/ 176 w 718"/>
              <a:gd name="T21" fmla="*/ 338 h 549"/>
              <a:gd name="T22" fmla="*/ 133 w 718"/>
              <a:gd name="T23" fmla="*/ 396 h 549"/>
              <a:gd name="T24" fmla="*/ 84 w 718"/>
              <a:gd name="T25" fmla="*/ 380 h 549"/>
              <a:gd name="T26" fmla="*/ 0 w 718"/>
              <a:gd name="T27" fmla="*/ 465 h 549"/>
              <a:gd name="T28" fmla="*/ 84 w 718"/>
              <a:gd name="T29" fmla="*/ 549 h 549"/>
              <a:gd name="T30" fmla="*/ 168 w 718"/>
              <a:gd name="T31" fmla="*/ 465 h 549"/>
              <a:gd name="T32" fmla="*/ 148 w 718"/>
              <a:gd name="T33" fmla="*/ 411 h 549"/>
              <a:gd name="T34" fmla="*/ 194 w 718"/>
              <a:gd name="T35" fmla="*/ 350 h 549"/>
              <a:gd name="T36" fmla="*/ 232 w 718"/>
              <a:gd name="T37" fmla="*/ 359 h 549"/>
              <a:gd name="T38" fmla="*/ 300 w 718"/>
              <a:gd name="T39" fmla="*/ 324 h 549"/>
              <a:gd name="T40" fmla="*/ 361 w 718"/>
              <a:gd name="T41" fmla="*/ 360 h 549"/>
              <a:gd name="T42" fmla="*/ 359 w 718"/>
              <a:gd name="T43" fmla="*/ 380 h 549"/>
              <a:gd name="T44" fmla="*/ 443 w 718"/>
              <a:gd name="T45" fmla="*/ 465 h 549"/>
              <a:gd name="T46" fmla="*/ 528 w 718"/>
              <a:gd name="T47" fmla="*/ 380 h 549"/>
              <a:gd name="T48" fmla="*/ 494 w 718"/>
              <a:gd name="T49" fmla="*/ 313 h 549"/>
              <a:gd name="T50" fmla="*/ 596 w 718"/>
              <a:gd name="T51" fmla="*/ 160 h 549"/>
              <a:gd name="T52" fmla="*/ 633 w 718"/>
              <a:gd name="T53" fmla="*/ 169 h 549"/>
              <a:gd name="T54" fmla="*/ 718 w 718"/>
              <a:gd name="T55" fmla="*/ 84 h 549"/>
              <a:gd name="T56" fmla="*/ 633 w 718"/>
              <a:gd name="T57" fmla="*/ 0 h 549"/>
              <a:gd name="T58" fmla="*/ 84 w 718"/>
              <a:gd name="T59" fmla="*/ 507 h 549"/>
              <a:gd name="T60" fmla="*/ 42 w 718"/>
              <a:gd name="T61" fmla="*/ 465 h 549"/>
              <a:gd name="T62" fmla="*/ 84 w 718"/>
              <a:gd name="T63" fmla="*/ 422 h 549"/>
              <a:gd name="T64" fmla="*/ 126 w 718"/>
              <a:gd name="T65" fmla="*/ 465 h 549"/>
              <a:gd name="T66" fmla="*/ 84 w 718"/>
              <a:gd name="T67" fmla="*/ 507 h 549"/>
              <a:gd name="T68" fmla="*/ 232 w 718"/>
              <a:gd name="T69" fmla="*/ 317 h 549"/>
              <a:gd name="T70" fmla="*/ 190 w 718"/>
              <a:gd name="T71" fmla="*/ 275 h 549"/>
              <a:gd name="T72" fmla="*/ 232 w 718"/>
              <a:gd name="T73" fmla="*/ 233 h 549"/>
              <a:gd name="T74" fmla="*/ 274 w 718"/>
              <a:gd name="T75" fmla="*/ 275 h 549"/>
              <a:gd name="T76" fmla="*/ 232 w 718"/>
              <a:gd name="T77" fmla="*/ 317 h 549"/>
              <a:gd name="T78" fmla="*/ 443 w 718"/>
              <a:gd name="T79" fmla="*/ 422 h 549"/>
              <a:gd name="T80" fmla="*/ 401 w 718"/>
              <a:gd name="T81" fmla="*/ 380 h 549"/>
              <a:gd name="T82" fmla="*/ 443 w 718"/>
              <a:gd name="T83" fmla="*/ 338 h 549"/>
              <a:gd name="T84" fmla="*/ 486 w 718"/>
              <a:gd name="T85" fmla="*/ 380 h 549"/>
              <a:gd name="T86" fmla="*/ 443 w 718"/>
              <a:gd name="T87" fmla="*/ 422 h 549"/>
              <a:gd name="T88" fmla="*/ 633 w 718"/>
              <a:gd name="T89" fmla="*/ 127 h 549"/>
              <a:gd name="T90" fmla="*/ 591 w 718"/>
              <a:gd name="T91" fmla="*/ 84 h 549"/>
              <a:gd name="T92" fmla="*/ 633 w 718"/>
              <a:gd name="T93" fmla="*/ 42 h 549"/>
              <a:gd name="T94" fmla="*/ 675 w 718"/>
              <a:gd name="T95" fmla="*/ 84 h 549"/>
              <a:gd name="T96" fmla="*/ 633 w 718"/>
              <a:gd name="T97" fmla="*/ 12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8" h="549">
                <a:moveTo>
                  <a:pt x="633" y="0"/>
                </a:moveTo>
                <a:cubicBezTo>
                  <a:pt x="587" y="0"/>
                  <a:pt x="549" y="38"/>
                  <a:pt x="549" y="84"/>
                </a:cubicBezTo>
                <a:cubicBezTo>
                  <a:pt x="549" y="110"/>
                  <a:pt x="561" y="132"/>
                  <a:pt x="578" y="148"/>
                </a:cubicBezTo>
                <a:cubicBezTo>
                  <a:pt x="475" y="302"/>
                  <a:pt x="475" y="302"/>
                  <a:pt x="475" y="302"/>
                </a:cubicBezTo>
                <a:cubicBezTo>
                  <a:pt x="466" y="298"/>
                  <a:pt x="455" y="296"/>
                  <a:pt x="443" y="296"/>
                </a:cubicBezTo>
                <a:cubicBezTo>
                  <a:pt x="411" y="296"/>
                  <a:pt x="383" y="314"/>
                  <a:pt x="369" y="340"/>
                </a:cubicBezTo>
                <a:cubicBezTo>
                  <a:pt x="310" y="305"/>
                  <a:pt x="310" y="305"/>
                  <a:pt x="310" y="305"/>
                </a:cubicBezTo>
                <a:cubicBezTo>
                  <a:pt x="314" y="296"/>
                  <a:pt x="316" y="285"/>
                  <a:pt x="316" y="275"/>
                </a:cubicBezTo>
                <a:cubicBezTo>
                  <a:pt x="316" y="228"/>
                  <a:pt x="278" y="190"/>
                  <a:pt x="232" y="190"/>
                </a:cubicBezTo>
                <a:cubicBezTo>
                  <a:pt x="185" y="190"/>
                  <a:pt x="147" y="228"/>
                  <a:pt x="147" y="275"/>
                </a:cubicBezTo>
                <a:cubicBezTo>
                  <a:pt x="147" y="300"/>
                  <a:pt x="159" y="322"/>
                  <a:pt x="176" y="338"/>
                </a:cubicBezTo>
                <a:cubicBezTo>
                  <a:pt x="133" y="396"/>
                  <a:pt x="133" y="396"/>
                  <a:pt x="133" y="396"/>
                </a:cubicBezTo>
                <a:cubicBezTo>
                  <a:pt x="119" y="386"/>
                  <a:pt x="102" y="380"/>
                  <a:pt x="84" y="380"/>
                </a:cubicBezTo>
                <a:cubicBezTo>
                  <a:pt x="38" y="380"/>
                  <a:pt x="0" y="418"/>
                  <a:pt x="0" y="465"/>
                </a:cubicBezTo>
                <a:cubicBezTo>
                  <a:pt x="0" y="511"/>
                  <a:pt x="38" y="549"/>
                  <a:pt x="84" y="549"/>
                </a:cubicBezTo>
                <a:cubicBezTo>
                  <a:pt x="130" y="549"/>
                  <a:pt x="168" y="511"/>
                  <a:pt x="168" y="465"/>
                </a:cubicBezTo>
                <a:cubicBezTo>
                  <a:pt x="168" y="444"/>
                  <a:pt x="160" y="425"/>
                  <a:pt x="148" y="411"/>
                </a:cubicBezTo>
                <a:cubicBezTo>
                  <a:pt x="194" y="350"/>
                  <a:pt x="194" y="350"/>
                  <a:pt x="194" y="350"/>
                </a:cubicBezTo>
                <a:cubicBezTo>
                  <a:pt x="205" y="355"/>
                  <a:pt x="218" y="359"/>
                  <a:pt x="232" y="359"/>
                </a:cubicBezTo>
                <a:cubicBezTo>
                  <a:pt x="260" y="359"/>
                  <a:pt x="285" y="345"/>
                  <a:pt x="300" y="324"/>
                </a:cubicBezTo>
                <a:cubicBezTo>
                  <a:pt x="361" y="360"/>
                  <a:pt x="361" y="360"/>
                  <a:pt x="361" y="360"/>
                </a:cubicBezTo>
                <a:cubicBezTo>
                  <a:pt x="360" y="367"/>
                  <a:pt x="359" y="373"/>
                  <a:pt x="359" y="380"/>
                </a:cubicBezTo>
                <a:cubicBezTo>
                  <a:pt x="359" y="427"/>
                  <a:pt x="397" y="465"/>
                  <a:pt x="443" y="465"/>
                </a:cubicBezTo>
                <a:cubicBezTo>
                  <a:pt x="490" y="465"/>
                  <a:pt x="528" y="427"/>
                  <a:pt x="528" y="380"/>
                </a:cubicBezTo>
                <a:cubicBezTo>
                  <a:pt x="528" y="352"/>
                  <a:pt x="514" y="328"/>
                  <a:pt x="494" y="313"/>
                </a:cubicBezTo>
                <a:cubicBezTo>
                  <a:pt x="596" y="160"/>
                  <a:pt x="596" y="160"/>
                  <a:pt x="596" y="160"/>
                </a:cubicBezTo>
                <a:cubicBezTo>
                  <a:pt x="607" y="165"/>
                  <a:pt x="620" y="169"/>
                  <a:pt x="633" y="169"/>
                </a:cubicBezTo>
                <a:cubicBezTo>
                  <a:pt x="680" y="169"/>
                  <a:pt x="718" y="131"/>
                  <a:pt x="718" y="84"/>
                </a:cubicBezTo>
                <a:cubicBezTo>
                  <a:pt x="718" y="38"/>
                  <a:pt x="680" y="0"/>
                  <a:pt x="633" y="0"/>
                </a:cubicBezTo>
                <a:close/>
                <a:moveTo>
                  <a:pt x="84" y="507"/>
                </a:moveTo>
                <a:cubicBezTo>
                  <a:pt x="61" y="507"/>
                  <a:pt x="42" y="488"/>
                  <a:pt x="42" y="465"/>
                </a:cubicBezTo>
                <a:cubicBezTo>
                  <a:pt x="42" y="441"/>
                  <a:pt x="61" y="422"/>
                  <a:pt x="84" y="422"/>
                </a:cubicBezTo>
                <a:cubicBezTo>
                  <a:pt x="107" y="422"/>
                  <a:pt x="126" y="441"/>
                  <a:pt x="126" y="465"/>
                </a:cubicBezTo>
                <a:cubicBezTo>
                  <a:pt x="126" y="488"/>
                  <a:pt x="107" y="507"/>
                  <a:pt x="84" y="507"/>
                </a:cubicBezTo>
                <a:close/>
                <a:moveTo>
                  <a:pt x="232" y="317"/>
                </a:moveTo>
                <a:cubicBezTo>
                  <a:pt x="209" y="317"/>
                  <a:pt x="190" y="298"/>
                  <a:pt x="190" y="275"/>
                </a:cubicBezTo>
                <a:cubicBezTo>
                  <a:pt x="190" y="251"/>
                  <a:pt x="209" y="233"/>
                  <a:pt x="232" y="233"/>
                </a:cubicBezTo>
                <a:cubicBezTo>
                  <a:pt x="255" y="233"/>
                  <a:pt x="274" y="251"/>
                  <a:pt x="274" y="275"/>
                </a:cubicBezTo>
                <a:cubicBezTo>
                  <a:pt x="274" y="298"/>
                  <a:pt x="255" y="317"/>
                  <a:pt x="232" y="317"/>
                </a:cubicBezTo>
                <a:close/>
                <a:moveTo>
                  <a:pt x="443" y="422"/>
                </a:moveTo>
                <a:cubicBezTo>
                  <a:pt x="420" y="422"/>
                  <a:pt x="401" y="403"/>
                  <a:pt x="401" y="380"/>
                </a:cubicBezTo>
                <a:cubicBezTo>
                  <a:pt x="401" y="357"/>
                  <a:pt x="420" y="338"/>
                  <a:pt x="443" y="338"/>
                </a:cubicBezTo>
                <a:cubicBezTo>
                  <a:pt x="467" y="338"/>
                  <a:pt x="486" y="357"/>
                  <a:pt x="486" y="380"/>
                </a:cubicBezTo>
                <a:cubicBezTo>
                  <a:pt x="486" y="403"/>
                  <a:pt x="467" y="422"/>
                  <a:pt x="443" y="422"/>
                </a:cubicBezTo>
                <a:close/>
                <a:moveTo>
                  <a:pt x="633" y="127"/>
                </a:moveTo>
                <a:cubicBezTo>
                  <a:pt x="610" y="127"/>
                  <a:pt x="591" y="108"/>
                  <a:pt x="591" y="84"/>
                </a:cubicBezTo>
                <a:cubicBezTo>
                  <a:pt x="591" y="61"/>
                  <a:pt x="610" y="42"/>
                  <a:pt x="633" y="42"/>
                </a:cubicBezTo>
                <a:cubicBezTo>
                  <a:pt x="657" y="42"/>
                  <a:pt x="675" y="61"/>
                  <a:pt x="675" y="84"/>
                </a:cubicBezTo>
                <a:cubicBezTo>
                  <a:pt x="675" y="108"/>
                  <a:pt x="657" y="127"/>
                  <a:pt x="633" y="1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5269A96D-6CF6-4858-8C80-0DA8EAE9DE9A}"/>
              </a:ext>
            </a:extLst>
          </p:cNvPr>
          <p:cNvSpPr/>
          <p:nvPr/>
        </p:nvSpPr>
        <p:spPr>
          <a:xfrm>
            <a:off x="6694932" y="2510029"/>
            <a:ext cx="612648" cy="61264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5FA93738-E22A-4A05-B8DA-D5F84D3B37FA}"/>
              </a:ext>
            </a:extLst>
          </p:cNvPr>
          <p:cNvSpPr/>
          <p:nvPr/>
        </p:nvSpPr>
        <p:spPr bwMode="auto">
          <a:xfrm>
            <a:off x="6841236" y="2693753"/>
            <a:ext cx="320040" cy="245200"/>
          </a:xfrm>
          <a:custGeom>
            <a:avLst/>
            <a:gdLst>
              <a:gd name="T0" fmla="*/ 633 w 718"/>
              <a:gd name="T1" fmla="*/ 0 h 549"/>
              <a:gd name="T2" fmla="*/ 549 w 718"/>
              <a:gd name="T3" fmla="*/ 84 h 549"/>
              <a:gd name="T4" fmla="*/ 578 w 718"/>
              <a:gd name="T5" fmla="*/ 148 h 549"/>
              <a:gd name="T6" fmla="*/ 475 w 718"/>
              <a:gd name="T7" fmla="*/ 302 h 549"/>
              <a:gd name="T8" fmla="*/ 443 w 718"/>
              <a:gd name="T9" fmla="*/ 296 h 549"/>
              <a:gd name="T10" fmla="*/ 369 w 718"/>
              <a:gd name="T11" fmla="*/ 340 h 549"/>
              <a:gd name="T12" fmla="*/ 310 w 718"/>
              <a:gd name="T13" fmla="*/ 305 h 549"/>
              <a:gd name="T14" fmla="*/ 316 w 718"/>
              <a:gd name="T15" fmla="*/ 275 h 549"/>
              <a:gd name="T16" fmla="*/ 232 w 718"/>
              <a:gd name="T17" fmla="*/ 190 h 549"/>
              <a:gd name="T18" fmla="*/ 147 w 718"/>
              <a:gd name="T19" fmla="*/ 275 h 549"/>
              <a:gd name="T20" fmla="*/ 176 w 718"/>
              <a:gd name="T21" fmla="*/ 338 h 549"/>
              <a:gd name="T22" fmla="*/ 133 w 718"/>
              <a:gd name="T23" fmla="*/ 396 h 549"/>
              <a:gd name="T24" fmla="*/ 84 w 718"/>
              <a:gd name="T25" fmla="*/ 380 h 549"/>
              <a:gd name="T26" fmla="*/ 0 w 718"/>
              <a:gd name="T27" fmla="*/ 465 h 549"/>
              <a:gd name="T28" fmla="*/ 84 w 718"/>
              <a:gd name="T29" fmla="*/ 549 h 549"/>
              <a:gd name="T30" fmla="*/ 168 w 718"/>
              <a:gd name="T31" fmla="*/ 465 h 549"/>
              <a:gd name="T32" fmla="*/ 148 w 718"/>
              <a:gd name="T33" fmla="*/ 411 h 549"/>
              <a:gd name="T34" fmla="*/ 194 w 718"/>
              <a:gd name="T35" fmla="*/ 350 h 549"/>
              <a:gd name="T36" fmla="*/ 232 w 718"/>
              <a:gd name="T37" fmla="*/ 359 h 549"/>
              <a:gd name="T38" fmla="*/ 300 w 718"/>
              <a:gd name="T39" fmla="*/ 324 h 549"/>
              <a:gd name="T40" fmla="*/ 361 w 718"/>
              <a:gd name="T41" fmla="*/ 360 h 549"/>
              <a:gd name="T42" fmla="*/ 359 w 718"/>
              <a:gd name="T43" fmla="*/ 380 h 549"/>
              <a:gd name="T44" fmla="*/ 443 w 718"/>
              <a:gd name="T45" fmla="*/ 465 h 549"/>
              <a:gd name="T46" fmla="*/ 528 w 718"/>
              <a:gd name="T47" fmla="*/ 380 h 549"/>
              <a:gd name="T48" fmla="*/ 494 w 718"/>
              <a:gd name="T49" fmla="*/ 313 h 549"/>
              <a:gd name="T50" fmla="*/ 596 w 718"/>
              <a:gd name="T51" fmla="*/ 160 h 549"/>
              <a:gd name="T52" fmla="*/ 633 w 718"/>
              <a:gd name="T53" fmla="*/ 169 h 549"/>
              <a:gd name="T54" fmla="*/ 718 w 718"/>
              <a:gd name="T55" fmla="*/ 84 h 549"/>
              <a:gd name="T56" fmla="*/ 633 w 718"/>
              <a:gd name="T57" fmla="*/ 0 h 549"/>
              <a:gd name="T58" fmla="*/ 84 w 718"/>
              <a:gd name="T59" fmla="*/ 507 h 549"/>
              <a:gd name="T60" fmla="*/ 42 w 718"/>
              <a:gd name="T61" fmla="*/ 465 h 549"/>
              <a:gd name="T62" fmla="*/ 84 w 718"/>
              <a:gd name="T63" fmla="*/ 422 h 549"/>
              <a:gd name="T64" fmla="*/ 126 w 718"/>
              <a:gd name="T65" fmla="*/ 465 h 549"/>
              <a:gd name="T66" fmla="*/ 84 w 718"/>
              <a:gd name="T67" fmla="*/ 507 h 549"/>
              <a:gd name="T68" fmla="*/ 232 w 718"/>
              <a:gd name="T69" fmla="*/ 317 h 549"/>
              <a:gd name="T70" fmla="*/ 190 w 718"/>
              <a:gd name="T71" fmla="*/ 275 h 549"/>
              <a:gd name="T72" fmla="*/ 232 w 718"/>
              <a:gd name="T73" fmla="*/ 233 h 549"/>
              <a:gd name="T74" fmla="*/ 274 w 718"/>
              <a:gd name="T75" fmla="*/ 275 h 549"/>
              <a:gd name="T76" fmla="*/ 232 w 718"/>
              <a:gd name="T77" fmla="*/ 317 h 549"/>
              <a:gd name="T78" fmla="*/ 443 w 718"/>
              <a:gd name="T79" fmla="*/ 422 h 549"/>
              <a:gd name="T80" fmla="*/ 401 w 718"/>
              <a:gd name="T81" fmla="*/ 380 h 549"/>
              <a:gd name="T82" fmla="*/ 443 w 718"/>
              <a:gd name="T83" fmla="*/ 338 h 549"/>
              <a:gd name="T84" fmla="*/ 486 w 718"/>
              <a:gd name="T85" fmla="*/ 380 h 549"/>
              <a:gd name="T86" fmla="*/ 443 w 718"/>
              <a:gd name="T87" fmla="*/ 422 h 549"/>
              <a:gd name="T88" fmla="*/ 633 w 718"/>
              <a:gd name="T89" fmla="*/ 127 h 549"/>
              <a:gd name="T90" fmla="*/ 591 w 718"/>
              <a:gd name="T91" fmla="*/ 84 h 549"/>
              <a:gd name="T92" fmla="*/ 633 w 718"/>
              <a:gd name="T93" fmla="*/ 42 h 549"/>
              <a:gd name="T94" fmla="*/ 675 w 718"/>
              <a:gd name="T95" fmla="*/ 84 h 549"/>
              <a:gd name="T96" fmla="*/ 633 w 718"/>
              <a:gd name="T97" fmla="*/ 12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8" h="549">
                <a:moveTo>
                  <a:pt x="633" y="0"/>
                </a:moveTo>
                <a:cubicBezTo>
                  <a:pt x="587" y="0"/>
                  <a:pt x="549" y="38"/>
                  <a:pt x="549" y="84"/>
                </a:cubicBezTo>
                <a:cubicBezTo>
                  <a:pt x="549" y="110"/>
                  <a:pt x="561" y="132"/>
                  <a:pt x="578" y="148"/>
                </a:cubicBezTo>
                <a:cubicBezTo>
                  <a:pt x="475" y="302"/>
                  <a:pt x="475" y="302"/>
                  <a:pt x="475" y="302"/>
                </a:cubicBezTo>
                <a:cubicBezTo>
                  <a:pt x="466" y="298"/>
                  <a:pt x="455" y="296"/>
                  <a:pt x="443" y="296"/>
                </a:cubicBezTo>
                <a:cubicBezTo>
                  <a:pt x="411" y="296"/>
                  <a:pt x="383" y="314"/>
                  <a:pt x="369" y="340"/>
                </a:cubicBezTo>
                <a:cubicBezTo>
                  <a:pt x="310" y="305"/>
                  <a:pt x="310" y="305"/>
                  <a:pt x="310" y="305"/>
                </a:cubicBezTo>
                <a:cubicBezTo>
                  <a:pt x="314" y="296"/>
                  <a:pt x="316" y="285"/>
                  <a:pt x="316" y="275"/>
                </a:cubicBezTo>
                <a:cubicBezTo>
                  <a:pt x="316" y="228"/>
                  <a:pt x="278" y="190"/>
                  <a:pt x="232" y="190"/>
                </a:cubicBezTo>
                <a:cubicBezTo>
                  <a:pt x="185" y="190"/>
                  <a:pt x="147" y="228"/>
                  <a:pt x="147" y="275"/>
                </a:cubicBezTo>
                <a:cubicBezTo>
                  <a:pt x="147" y="300"/>
                  <a:pt x="159" y="322"/>
                  <a:pt x="176" y="338"/>
                </a:cubicBezTo>
                <a:cubicBezTo>
                  <a:pt x="133" y="396"/>
                  <a:pt x="133" y="396"/>
                  <a:pt x="133" y="396"/>
                </a:cubicBezTo>
                <a:cubicBezTo>
                  <a:pt x="119" y="386"/>
                  <a:pt x="102" y="380"/>
                  <a:pt x="84" y="380"/>
                </a:cubicBezTo>
                <a:cubicBezTo>
                  <a:pt x="38" y="380"/>
                  <a:pt x="0" y="418"/>
                  <a:pt x="0" y="465"/>
                </a:cubicBezTo>
                <a:cubicBezTo>
                  <a:pt x="0" y="511"/>
                  <a:pt x="38" y="549"/>
                  <a:pt x="84" y="549"/>
                </a:cubicBezTo>
                <a:cubicBezTo>
                  <a:pt x="130" y="549"/>
                  <a:pt x="168" y="511"/>
                  <a:pt x="168" y="465"/>
                </a:cubicBezTo>
                <a:cubicBezTo>
                  <a:pt x="168" y="444"/>
                  <a:pt x="160" y="425"/>
                  <a:pt x="148" y="411"/>
                </a:cubicBezTo>
                <a:cubicBezTo>
                  <a:pt x="194" y="350"/>
                  <a:pt x="194" y="350"/>
                  <a:pt x="194" y="350"/>
                </a:cubicBezTo>
                <a:cubicBezTo>
                  <a:pt x="205" y="355"/>
                  <a:pt x="218" y="359"/>
                  <a:pt x="232" y="359"/>
                </a:cubicBezTo>
                <a:cubicBezTo>
                  <a:pt x="260" y="359"/>
                  <a:pt x="285" y="345"/>
                  <a:pt x="300" y="324"/>
                </a:cubicBezTo>
                <a:cubicBezTo>
                  <a:pt x="361" y="360"/>
                  <a:pt x="361" y="360"/>
                  <a:pt x="361" y="360"/>
                </a:cubicBezTo>
                <a:cubicBezTo>
                  <a:pt x="360" y="367"/>
                  <a:pt x="359" y="373"/>
                  <a:pt x="359" y="380"/>
                </a:cubicBezTo>
                <a:cubicBezTo>
                  <a:pt x="359" y="427"/>
                  <a:pt x="397" y="465"/>
                  <a:pt x="443" y="465"/>
                </a:cubicBezTo>
                <a:cubicBezTo>
                  <a:pt x="490" y="465"/>
                  <a:pt x="528" y="427"/>
                  <a:pt x="528" y="380"/>
                </a:cubicBezTo>
                <a:cubicBezTo>
                  <a:pt x="528" y="352"/>
                  <a:pt x="514" y="328"/>
                  <a:pt x="494" y="313"/>
                </a:cubicBezTo>
                <a:cubicBezTo>
                  <a:pt x="596" y="160"/>
                  <a:pt x="596" y="160"/>
                  <a:pt x="596" y="160"/>
                </a:cubicBezTo>
                <a:cubicBezTo>
                  <a:pt x="607" y="165"/>
                  <a:pt x="620" y="169"/>
                  <a:pt x="633" y="169"/>
                </a:cubicBezTo>
                <a:cubicBezTo>
                  <a:pt x="680" y="169"/>
                  <a:pt x="718" y="131"/>
                  <a:pt x="718" y="84"/>
                </a:cubicBezTo>
                <a:cubicBezTo>
                  <a:pt x="718" y="38"/>
                  <a:pt x="680" y="0"/>
                  <a:pt x="633" y="0"/>
                </a:cubicBezTo>
                <a:close/>
                <a:moveTo>
                  <a:pt x="84" y="507"/>
                </a:moveTo>
                <a:cubicBezTo>
                  <a:pt x="61" y="507"/>
                  <a:pt x="42" y="488"/>
                  <a:pt x="42" y="465"/>
                </a:cubicBezTo>
                <a:cubicBezTo>
                  <a:pt x="42" y="441"/>
                  <a:pt x="61" y="422"/>
                  <a:pt x="84" y="422"/>
                </a:cubicBezTo>
                <a:cubicBezTo>
                  <a:pt x="107" y="422"/>
                  <a:pt x="126" y="441"/>
                  <a:pt x="126" y="465"/>
                </a:cubicBezTo>
                <a:cubicBezTo>
                  <a:pt x="126" y="488"/>
                  <a:pt x="107" y="507"/>
                  <a:pt x="84" y="507"/>
                </a:cubicBezTo>
                <a:close/>
                <a:moveTo>
                  <a:pt x="232" y="317"/>
                </a:moveTo>
                <a:cubicBezTo>
                  <a:pt x="209" y="317"/>
                  <a:pt x="190" y="298"/>
                  <a:pt x="190" y="275"/>
                </a:cubicBezTo>
                <a:cubicBezTo>
                  <a:pt x="190" y="251"/>
                  <a:pt x="209" y="233"/>
                  <a:pt x="232" y="233"/>
                </a:cubicBezTo>
                <a:cubicBezTo>
                  <a:pt x="255" y="233"/>
                  <a:pt x="274" y="251"/>
                  <a:pt x="274" y="275"/>
                </a:cubicBezTo>
                <a:cubicBezTo>
                  <a:pt x="274" y="298"/>
                  <a:pt x="255" y="317"/>
                  <a:pt x="232" y="317"/>
                </a:cubicBezTo>
                <a:close/>
                <a:moveTo>
                  <a:pt x="443" y="422"/>
                </a:moveTo>
                <a:cubicBezTo>
                  <a:pt x="420" y="422"/>
                  <a:pt x="401" y="403"/>
                  <a:pt x="401" y="380"/>
                </a:cubicBezTo>
                <a:cubicBezTo>
                  <a:pt x="401" y="357"/>
                  <a:pt x="420" y="338"/>
                  <a:pt x="443" y="338"/>
                </a:cubicBezTo>
                <a:cubicBezTo>
                  <a:pt x="467" y="338"/>
                  <a:pt x="486" y="357"/>
                  <a:pt x="486" y="380"/>
                </a:cubicBezTo>
                <a:cubicBezTo>
                  <a:pt x="486" y="403"/>
                  <a:pt x="467" y="422"/>
                  <a:pt x="443" y="422"/>
                </a:cubicBezTo>
                <a:close/>
                <a:moveTo>
                  <a:pt x="633" y="127"/>
                </a:moveTo>
                <a:cubicBezTo>
                  <a:pt x="610" y="127"/>
                  <a:pt x="591" y="108"/>
                  <a:pt x="591" y="84"/>
                </a:cubicBezTo>
                <a:cubicBezTo>
                  <a:pt x="591" y="61"/>
                  <a:pt x="610" y="42"/>
                  <a:pt x="633" y="42"/>
                </a:cubicBezTo>
                <a:cubicBezTo>
                  <a:pt x="657" y="42"/>
                  <a:pt x="675" y="61"/>
                  <a:pt x="675" y="84"/>
                </a:cubicBezTo>
                <a:cubicBezTo>
                  <a:pt x="675" y="108"/>
                  <a:pt x="657" y="127"/>
                  <a:pt x="633" y="1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6574026D-05E1-4602-924A-8B8874DA2E77}"/>
              </a:ext>
            </a:extLst>
          </p:cNvPr>
          <p:cNvSpPr/>
          <p:nvPr/>
        </p:nvSpPr>
        <p:spPr>
          <a:xfrm>
            <a:off x="4866132" y="2510029"/>
            <a:ext cx="612648" cy="612648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0285413D-5326-4188-8B11-477025C1EA2B}"/>
              </a:ext>
            </a:extLst>
          </p:cNvPr>
          <p:cNvSpPr/>
          <p:nvPr/>
        </p:nvSpPr>
        <p:spPr bwMode="auto">
          <a:xfrm>
            <a:off x="5012436" y="2693753"/>
            <a:ext cx="320040" cy="245200"/>
          </a:xfrm>
          <a:custGeom>
            <a:avLst/>
            <a:gdLst>
              <a:gd name="T0" fmla="*/ 633 w 718"/>
              <a:gd name="T1" fmla="*/ 0 h 549"/>
              <a:gd name="T2" fmla="*/ 549 w 718"/>
              <a:gd name="T3" fmla="*/ 84 h 549"/>
              <a:gd name="T4" fmla="*/ 578 w 718"/>
              <a:gd name="T5" fmla="*/ 148 h 549"/>
              <a:gd name="T6" fmla="*/ 475 w 718"/>
              <a:gd name="T7" fmla="*/ 302 h 549"/>
              <a:gd name="T8" fmla="*/ 443 w 718"/>
              <a:gd name="T9" fmla="*/ 296 h 549"/>
              <a:gd name="T10" fmla="*/ 369 w 718"/>
              <a:gd name="T11" fmla="*/ 340 h 549"/>
              <a:gd name="T12" fmla="*/ 310 w 718"/>
              <a:gd name="T13" fmla="*/ 305 h 549"/>
              <a:gd name="T14" fmla="*/ 316 w 718"/>
              <a:gd name="T15" fmla="*/ 275 h 549"/>
              <a:gd name="T16" fmla="*/ 232 w 718"/>
              <a:gd name="T17" fmla="*/ 190 h 549"/>
              <a:gd name="T18" fmla="*/ 147 w 718"/>
              <a:gd name="T19" fmla="*/ 275 h 549"/>
              <a:gd name="T20" fmla="*/ 176 w 718"/>
              <a:gd name="T21" fmla="*/ 338 h 549"/>
              <a:gd name="T22" fmla="*/ 133 w 718"/>
              <a:gd name="T23" fmla="*/ 396 h 549"/>
              <a:gd name="T24" fmla="*/ 84 w 718"/>
              <a:gd name="T25" fmla="*/ 380 h 549"/>
              <a:gd name="T26" fmla="*/ 0 w 718"/>
              <a:gd name="T27" fmla="*/ 465 h 549"/>
              <a:gd name="T28" fmla="*/ 84 w 718"/>
              <a:gd name="T29" fmla="*/ 549 h 549"/>
              <a:gd name="T30" fmla="*/ 168 w 718"/>
              <a:gd name="T31" fmla="*/ 465 h 549"/>
              <a:gd name="T32" fmla="*/ 148 w 718"/>
              <a:gd name="T33" fmla="*/ 411 h 549"/>
              <a:gd name="T34" fmla="*/ 194 w 718"/>
              <a:gd name="T35" fmla="*/ 350 h 549"/>
              <a:gd name="T36" fmla="*/ 232 w 718"/>
              <a:gd name="T37" fmla="*/ 359 h 549"/>
              <a:gd name="T38" fmla="*/ 300 w 718"/>
              <a:gd name="T39" fmla="*/ 324 h 549"/>
              <a:gd name="T40" fmla="*/ 361 w 718"/>
              <a:gd name="T41" fmla="*/ 360 h 549"/>
              <a:gd name="T42" fmla="*/ 359 w 718"/>
              <a:gd name="T43" fmla="*/ 380 h 549"/>
              <a:gd name="T44" fmla="*/ 443 w 718"/>
              <a:gd name="T45" fmla="*/ 465 h 549"/>
              <a:gd name="T46" fmla="*/ 528 w 718"/>
              <a:gd name="T47" fmla="*/ 380 h 549"/>
              <a:gd name="T48" fmla="*/ 494 w 718"/>
              <a:gd name="T49" fmla="*/ 313 h 549"/>
              <a:gd name="T50" fmla="*/ 596 w 718"/>
              <a:gd name="T51" fmla="*/ 160 h 549"/>
              <a:gd name="T52" fmla="*/ 633 w 718"/>
              <a:gd name="T53" fmla="*/ 169 h 549"/>
              <a:gd name="T54" fmla="*/ 718 w 718"/>
              <a:gd name="T55" fmla="*/ 84 h 549"/>
              <a:gd name="T56" fmla="*/ 633 w 718"/>
              <a:gd name="T57" fmla="*/ 0 h 549"/>
              <a:gd name="T58" fmla="*/ 84 w 718"/>
              <a:gd name="T59" fmla="*/ 507 h 549"/>
              <a:gd name="T60" fmla="*/ 42 w 718"/>
              <a:gd name="T61" fmla="*/ 465 h 549"/>
              <a:gd name="T62" fmla="*/ 84 w 718"/>
              <a:gd name="T63" fmla="*/ 422 h 549"/>
              <a:gd name="T64" fmla="*/ 126 w 718"/>
              <a:gd name="T65" fmla="*/ 465 h 549"/>
              <a:gd name="T66" fmla="*/ 84 w 718"/>
              <a:gd name="T67" fmla="*/ 507 h 549"/>
              <a:gd name="T68" fmla="*/ 232 w 718"/>
              <a:gd name="T69" fmla="*/ 317 h 549"/>
              <a:gd name="T70" fmla="*/ 190 w 718"/>
              <a:gd name="T71" fmla="*/ 275 h 549"/>
              <a:gd name="T72" fmla="*/ 232 w 718"/>
              <a:gd name="T73" fmla="*/ 233 h 549"/>
              <a:gd name="T74" fmla="*/ 274 w 718"/>
              <a:gd name="T75" fmla="*/ 275 h 549"/>
              <a:gd name="T76" fmla="*/ 232 w 718"/>
              <a:gd name="T77" fmla="*/ 317 h 549"/>
              <a:gd name="T78" fmla="*/ 443 w 718"/>
              <a:gd name="T79" fmla="*/ 422 h 549"/>
              <a:gd name="T80" fmla="*/ 401 w 718"/>
              <a:gd name="T81" fmla="*/ 380 h 549"/>
              <a:gd name="T82" fmla="*/ 443 w 718"/>
              <a:gd name="T83" fmla="*/ 338 h 549"/>
              <a:gd name="T84" fmla="*/ 486 w 718"/>
              <a:gd name="T85" fmla="*/ 380 h 549"/>
              <a:gd name="T86" fmla="*/ 443 w 718"/>
              <a:gd name="T87" fmla="*/ 422 h 549"/>
              <a:gd name="T88" fmla="*/ 633 w 718"/>
              <a:gd name="T89" fmla="*/ 127 h 549"/>
              <a:gd name="T90" fmla="*/ 591 w 718"/>
              <a:gd name="T91" fmla="*/ 84 h 549"/>
              <a:gd name="T92" fmla="*/ 633 w 718"/>
              <a:gd name="T93" fmla="*/ 42 h 549"/>
              <a:gd name="T94" fmla="*/ 675 w 718"/>
              <a:gd name="T95" fmla="*/ 84 h 549"/>
              <a:gd name="T96" fmla="*/ 633 w 718"/>
              <a:gd name="T97" fmla="*/ 12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18" h="549">
                <a:moveTo>
                  <a:pt x="633" y="0"/>
                </a:moveTo>
                <a:cubicBezTo>
                  <a:pt x="587" y="0"/>
                  <a:pt x="549" y="38"/>
                  <a:pt x="549" y="84"/>
                </a:cubicBezTo>
                <a:cubicBezTo>
                  <a:pt x="549" y="110"/>
                  <a:pt x="561" y="132"/>
                  <a:pt x="578" y="148"/>
                </a:cubicBezTo>
                <a:cubicBezTo>
                  <a:pt x="475" y="302"/>
                  <a:pt x="475" y="302"/>
                  <a:pt x="475" y="302"/>
                </a:cubicBezTo>
                <a:cubicBezTo>
                  <a:pt x="466" y="298"/>
                  <a:pt x="455" y="296"/>
                  <a:pt x="443" y="296"/>
                </a:cubicBezTo>
                <a:cubicBezTo>
                  <a:pt x="411" y="296"/>
                  <a:pt x="383" y="314"/>
                  <a:pt x="369" y="340"/>
                </a:cubicBezTo>
                <a:cubicBezTo>
                  <a:pt x="310" y="305"/>
                  <a:pt x="310" y="305"/>
                  <a:pt x="310" y="305"/>
                </a:cubicBezTo>
                <a:cubicBezTo>
                  <a:pt x="314" y="296"/>
                  <a:pt x="316" y="285"/>
                  <a:pt x="316" y="275"/>
                </a:cubicBezTo>
                <a:cubicBezTo>
                  <a:pt x="316" y="228"/>
                  <a:pt x="278" y="190"/>
                  <a:pt x="232" y="190"/>
                </a:cubicBezTo>
                <a:cubicBezTo>
                  <a:pt x="185" y="190"/>
                  <a:pt x="147" y="228"/>
                  <a:pt x="147" y="275"/>
                </a:cubicBezTo>
                <a:cubicBezTo>
                  <a:pt x="147" y="300"/>
                  <a:pt x="159" y="322"/>
                  <a:pt x="176" y="338"/>
                </a:cubicBezTo>
                <a:cubicBezTo>
                  <a:pt x="133" y="396"/>
                  <a:pt x="133" y="396"/>
                  <a:pt x="133" y="396"/>
                </a:cubicBezTo>
                <a:cubicBezTo>
                  <a:pt x="119" y="386"/>
                  <a:pt x="102" y="380"/>
                  <a:pt x="84" y="380"/>
                </a:cubicBezTo>
                <a:cubicBezTo>
                  <a:pt x="38" y="380"/>
                  <a:pt x="0" y="418"/>
                  <a:pt x="0" y="465"/>
                </a:cubicBezTo>
                <a:cubicBezTo>
                  <a:pt x="0" y="511"/>
                  <a:pt x="38" y="549"/>
                  <a:pt x="84" y="549"/>
                </a:cubicBezTo>
                <a:cubicBezTo>
                  <a:pt x="130" y="549"/>
                  <a:pt x="168" y="511"/>
                  <a:pt x="168" y="465"/>
                </a:cubicBezTo>
                <a:cubicBezTo>
                  <a:pt x="168" y="444"/>
                  <a:pt x="160" y="425"/>
                  <a:pt x="148" y="411"/>
                </a:cubicBezTo>
                <a:cubicBezTo>
                  <a:pt x="194" y="350"/>
                  <a:pt x="194" y="350"/>
                  <a:pt x="194" y="350"/>
                </a:cubicBezTo>
                <a:cubicBezTo>
                  <a:pt x="205" y="355"/>
                  <a:pt x="218" y="359"/>
                  <a:pt x="232" y="359"/>
                </a:cubicBezTo>
                <a:cubicBezTo>
                  <a:pt x="260" y="359"/>
                  <a:pt x="285" y="345"/>
                  <a:pt x="300" y="324"/>
                </a:cubicBezTo>
                <a:cubicBezTo>
                  <a:pt x="361" y="360"/>
                  <a:pt x="361" y="360"/>
                  <a:pt x="361" y="360"/>
                </a:cubicBezTo>
                <a:cubicBezTo>
                  <a:pt x="360" y="367"/>
                  <a:pt x="359" y="373"/>
                  <a:pt x="359" y="380"/>
                </a:cubicBezTo>
                <a:cubicBezTo>
                  <a:pt x="359" y="427"/>
                  <a:pt x="397" y="465"/>
                  <a:pt x="443" y="465"/>
                </a:cubicBezTo>
                <a:cubicBezTo>
                  <a:pt x="490" y="465"/>
                  <a:pt x="528" y="427"/>
                  <a:pt x="528" y="380"/>
                </a:cubicBezTo>
                <a:cubicBezTo>
                  <a:pt x="528" y="352"/>
                  <a:pt x="514" y="328"/>
                  <a:pt x="494" y="313"/>
                </a:cubicBezTo>
                <a:cubicBezTo>
                  <a:pt x="596" y="160"/>
                  <a:pt x="596" y="160"/>
                  <a:pt x="596" y="160"/>
                </a:cubicBezTo>
                <a:cubicBezTo>
                  <a:pt x="607" y="165"/>
                  <a:pt x="620" y="169"/>
                  <a:pt x="633" y="169"/>
                </a:cubicBezTo>
                <a:cubicBezTo>
                  <a:pt x="680" y="169"/>
                  <a:pt x="718" y="131"/>
                  <a:pt x="718" y="84"/>
                </a:cubicBezTo>
                <a:cubicBezTo>
                  <a:pt x="718" y="38"/>
                  <a:pt x="680" y="0"/>
                  <a:pt x="633" y="0"/>
                </a:cubicBezTo>
                <a:close/>
                <a:moveTo>
                  <a:pt x="84" y="507"/>
                </a:moveTo>
                <a:cubicBezTo>
                  <a:pt x="61" y="507"/>
                  <a:pt x="42" y="488"/>
                  <a:pt x="42" y="465"/>
                </a:cubicBezTo>
                <a:cubicBezTo>
                  <a:pt x="42" y="441"/>
                  <a:pt x="61" y="422"/>
                  <a:pt x="84" y="422"/>
                </a:cubicBezTo>
                <a:cubicBezTo>
                  <a:pt x="107" y="422"/>
                  <a:pt x="126" y="441"/>
                  <a:pt x="126" y="465"/>
                </a:cubicBezTo>
                <a:cubicBezTo>
                  <a:pt x="126" y="488"/>
                  <a:pt x="107" y="507"/>
                  <a:pt x="84" y="507"/>
                </a:cubicBezTo>
                <a:close/>
                <a:moveTo>
                  <a:pt x="232" y="317"/>
                </a:moveTo>
                <a:cubicBezTo>
                  <a:pt x="209" y="317"/>
                  <a:pt x="190" y="298"/>
                  <a:pt x="190" y="275"/>
                </a:cubicBezTo>
                <a:cubicBezTo>
                  <a:pt x="190" y="251"/>
                  <a:pt x="209" y="233"/>
                  <a:pt x="232" y="233"/>
                </a:cubicBezTo>
                <a:cubicBezTo>
                  <a:pt x="255" y="233"/>
                  <a:pt x="274" y="251"/>
                  <a:pt x="274" y="275"/>
                </a:cubicBezTo>
                <a:cubicBezTo>
                  <a:pt x="274" y="298"/>
                  <a:pt x="255" y="317"/>
                  <a:pt x="232" y="317"/>
                </a:cubicBezTo>
                <a:close/>
                <a:moveTo>
                  <a:pt x="443" y="422"/>
                </a:moveTo>
                <a:cubicBezTo>
                  <a:pt x="420" y="422"/>
                  <a:pt x="401" y="403"/>
                  <a:pt x="401" y="380"/>
                </a:cubicBezTo>
                <a:cubicBezTo>
                  <a:pt x="401" y="357"/>
                  <a:pt x="420" y="338"/>
                  <a:pt x="443" y="338"/>
                </a:cubicBezTo>
                <a:cubicBezTo>
                  <a:pt x="467" y="338"/>
                  <a:pt x="486" y="357"/>
                  <a:pt x="486" y="380"/>
                </a:cubicBezTo>
                <a:cubicBezTo>
                  <a:pt x="486" y="403"/>
                  <a:pt x="467" y="422"/>
                  <a:pt x="443" y="422"/>
                </a:cubicBezTo>
                <a:close/>
                <a:moveTo>
                  <a:pt x="633" y="127"/>
                </a:moveTo>
                <a:cubicBezTo>
                  <a:pt x="610" y="127"/>
                  <a:pt x="591" y="108"/>
                  <a:pt x="591" y="84"/>
                </a:cubicBezTo>
                <a:cubicBezTo>
                  <a:pt x="591" y="61"/>
                  <a:pt x="610" y="42"/>
                  <a:pt x="633" y="42"/>
                </a:cubicBezTo>
                <a:cubicBezTo>
                  <a:pt x="657" y="42"/>
                  <a:pt x="675" y="61"/>
                  <a:pt x="675" y="84"/>
                </a:cubicBezTo>
                <a:cubicBezTo>
                  <a:pt x="675" y="108"/>
                  <a:pt x="657" y="127"/>
                  <a:pt x="633" y="1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E077A7C3-BF26-453B-82AB-809422D6FA10}"/>
              </a:ext>
            </a:extLst>
          </p:cNvPr>
          <p:cNvCxnSpPr/>
          <p:nvPr/>
        </p:nvCxnSpPr>
        <p:spPr>
          <a:xfrm>
            <a:off x="669925" y="3429000"/>
            <a:ext cx="399351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BEFE49DB-2101-4CAF-917D-BCA7E59A4C79}"/>
              </a:ext>
            </a:extLst>
          </p:cNvPr>
          <p:cNvCxnSpPr/>
          <p:nvPr/>
        </p:nvCxnSpPr>
        <p:spPr>
          <a:xfrm>
            <a:off x="7526973" y="3429000"/>
            <a:ext cx="399351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>
            <a:extLst>
              <a:ext uri="{FF2B5EF4-FFF2-40B4-BE49-F238E27FC236}">
                <a16:creationId xmlns:a16="http://schemas.microsoft.com/office/drawing/2014/main" id="{EA3BE7ED-0D5E-4190-9B79-650DE04D3BEC}"/>
              </a:ext>
            </a:extLst>
          </p:cNvPr>
          <p:cNvSpPr/>
          <p:nvPr/>
        </p:nvSpPr>
        <p:spPr bwMode="auto">
          <a:xfrm>
            <a:off x="8256900" y="2555174"/>
            <a:ext cx="3262000" cy="80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Copy paste fonts. Choose the </a:t>
            </a:r>
            <a:r>
              <a:rPr lang="en-US" altLang="zh-CN" sz="1100"/>
              <a:t>only optio</a:t>
            </a:r>
            <a:r>
              <a:rPr lang="en-US" altLang="zh-CN" sz="100"/>
              <a:t> </a:t>
            </a:r>
            <a:r>
              <a:rPr lang="en-US" altLang="zh-CN" sz="1100"/>
              <a:t>n </a:t>
            </a:r>
            <a:r>
              <a:rPr lang="en-US" altLang="zh-CN" sz="1100" dirty="0"/>
              <a:t>to retain text.</a:t>
            </a:r>
          </a:p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7D8A072-5BFC-4D05-BF49-5A55A8820499}"/>
              </a:ext>
            </a:extLst>
          </p:cNvPr>
          <p:cNvSpPr txBox="1"/>
          <p:nvPr/>
        </p:nvSpPr>
        <p:spPr bwMode="auto">
          <a:xfrm>
            <a:off x="8256900" y="2142294"/>
            <a:ext cx="32620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/>
              <a:t>Text </a:t>
            </a:r>
            <a:r>
              <a:rPr lang="en-US" altLang="zh-CN" sz="100" b="1"/>
              <a:t> </a:t>
            </a:r>
            <a:r>
              <a:rPr lang="en-US" altLang="zh-CN" sz="1800" b="1"/>
              <a:t>here</a:t>
            </a:r>
            <a:endParaRPr lang="en-US" altLang="zh-CN" sz="1800" b="1" dirty="0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C8B38532-4082-4A0A-A6BE-65E8963786DE}"/>
              </a:ext>
            </a:extLst>
          </p:cNvPr>
          <p:cNvSpPr/>
          <p:nvPr/>
        </p:nvSpPr>
        <p:spPr bwMode="auto">
          <a:xfrm>
            <a:off x="8256900" y="4301940"/>
            <a:ext cx="3262000" cy="80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Copy paste fonts. Choose the </a:t>
            </a:r>
            <a:r>
              <a:rPr lang="en-US" altLang="zh-CN" sz="1100"/>
              <a:t>only optio</a:t>
            </a:r>
            <a:r>
              <a:rPr lang="en-US" altLang="zh-CN" sz="100"/>
              <a:t> </a:t>
            </a:r>
            <a:r>
              <a:rPr lang="en-US" altLang="zh-CN" sz="1100"/>
              <a:t>n </a:t>
            </a:r>
            <a:r>
              <a:rPr lang="en-US" altLang="zh-CN" sz="1100" dirty="0"/>
              <a:t>to retain text.</a:t>
            </a:r>
          </a:p>
          <a:p>
            <a:pPr algn="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10088A45-9779-408E-80BE-DBBAE69EC851}"/>
              </a:ext>
            </a:extLst>
          </p:cNvPr>
          <p:cNvSpPr txBox="1"/>
          <p:nvPr/>
        </p:nvSpPr>
        <p:spPr bwMode="auto">
          <a:xfrm>
            <a:off x="8256900" y="3889060"/>
            <a:ext cx="32620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/>
              <a:t>Text </a:t>
            </a:r>
            <a:r>
              <a:rPr lang="en-US" altLang="zh-CN" sz="100" b="1"/>
              <a:t> </a:t>
            </a:r>
            <a:r>
              <a:rPr lang="en-US" altLang="zh-CN" sz="1800" b="1"/>
              <a:t>here</a:t>
            </a:r>
            <a:endParaRPr lang="en-US" altLang="zh-CN" sz="1800" b="1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0A0FAD64-9579-4E72-8B6A-D26ED899BE36}"/>
              </a:ext>
            </a:extLst>
          </p:cNvPr>
          <p:cNvSpPr/>
          <p:nvPr/>
        </p:nvSpPr>
        <p:spPr bwMode="auto">
          <a:xfrm>
            <a:off x="673100" y="2573755"/>
            <a:ext cx="3262000" cy="80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Copy paste fonts. Choose the </a:t>
            </a:r>
            <a:r>
              <a:rPr lang="en-US" altLang="zh-CN" sz="1100"/>
              <a:t>only optio</a:t>
            </a:r>
            <a:r>
              <a:rPr lang="en-US" altLang="zh-CN" sz="100"/>
              <a:t> </a:t>
            </a:r>
            <a:r>
              <a:rPr lang="en-US" altLang="zh-CN" sz="1100"/>
              <a:t>n </a:t>
            </a:r>
            <a:r>
              <a:rPr lang="en-US" altLang="zh-CN" sz="1100" dirty="0"/>
              <a:t>to retain tex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B281C50-12DE-49CE-BC35-2FD461DC5182}"/>
              </a:ext>
            </a:extLst>
          </p:cNvPr>
          <p:cNvSpPr txBox="1"/>
          <p:nvPr/>
        </p:nvSpPr>
        <p:spPr bwMode="auto">
          <a:xfrm>
            <a:off x="673100" y="2160875"/>
            <a:ext cx="32620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/>
              <a:t>Text </a:t>
            </a:r>
            <a:r>
              <a:rPr lang="en-US" altLang="zh-CN" sz="100" b="1"/>
              <a:t> </a:t>
            </a:r>
            <a:r>
              <a:rPr lang="en-US" altLang="zh-CN" sz="1800" b="1"/>
              <a:t>here</a:t>
            </a:r>
            <a:endParaRPr lang="en-US" altLang="zh-CN" sz="1800" b="1" dirty="0"/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3016D717-A0BD-49FB-B538-6EDEE5761830}"/>
              </a:ext>
            </a:extLst>
          </p:cNvPr>
          <p:cNvSpPr/>
          <p:nvPr/>
        </p:nvSpPr>
        <p:spPr bwMode="auto">
          <a:xfrm>
            <a:off x="673100" y="4324652"/>
            <a:ext cx="3262000" cy="803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Copy paste fonts. Choose the </a:t>
            </a:r>
            <a:r>
              <a:rPr lang="en-US" altLang="zh-CN" sz="1100"/>
              <a:t>only optio</a:t>
            </a:r>
            <a:r>
              <a:rPr lang="en-US" altLang="zh-CN" sz="100"/>
              <a:t> </a:t>
            </a:r>
            <a:r>
              <a:rPr lang="en-US" altLang="zh-CN" sz="1100"/>
              <a:t>n </a:t>
            </a:r>
            <a:r>
              <a:rPr lang="en-US" altLang="zh-CN" sz="1100" dirty="0"/>
              <a:t>to retain tex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5272B15D-D651-4BF0-8B3E-4A25230A79AC}"/>
              </a:ext>
            </a:extLst>
          </p:cNvPr>
          <p:cNvSpPr txBox="1"/>
          <p:nvPr/>
        </p:nvSpPr>
        <p:spPr bwMode="auto">
          <a:xfrm>
            <a:off x="673100" y="3911772"/>
            <a:ext cx="3262000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800" b="1"/>
              <a:t>Text </a:t>
            </a:r>
            <a:r>
              <a:rPr lang="en-US" altLang="zh-CN" sz="100" b="1"/>
              <a:t> </a:t>
            </a:r>
            <a:r>
              <a:rPr lang="en-US" altLang="zh-CN" sz="1800" b="1"/>
              <a:t>here</a:t>
            </a:r>
            <a:endParaRPr lang="en-US" altLang="zh-CN" sz="1800" b="1" dirty="0"/>
          </a:p>
        </p:txBody>
      </p:sp>
    </p:spTree>
    <p:extLst>
      <p:ext uri="{BB962C8B-B14F-4D97-AF65-F5344CB8AC3E}">
        <p14:creationId xmlns:p14="http://schemas.microsoft.com/office/powerpoint/2010/main" val="19183003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正确佩带口罩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8676CDFC-E909-4A4D-94F3-A3D644D2C260}"/>
              </a:ext>
            </a:extLst>
          </p:cNvPr>
          <p:cNvCxnSpPr>
            <a:cxnSpLocks/>
          </p:cNvCxnSpPr>
          <p:nvPr/>
        </p:nvCxnSpPr>
        <p:spPr>
          <a:xfrm>
            <a:off x="5538788" y="3845535"/>
            <a:ext cx="0" cy="1376803"/>
          </a:xfrm>
          <a:prstGeom prst="line">
            <a:avLst/>
          </a:prstGeom>
          <a:ln w="635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360AB1E3-FAC1-4453-A2D3-0327F707D271}"/>
              </a:ext>
            </a:extLst>
          </p:cNvPr>
          <p:cNvCxnSpPr>
            <a:cxnSpLocks/>
            <a:stCxn id="33" idx="2"/>
          </p:cNvCxnSpPr>
          <p:nvPr/>
        </p:nvCxnSpPr>
        <p:spPr>
          <a:xfrm>
            <a:off x="5538788" y="2054762"/>
            <a:ext cx="0" cy="1376803"/>
          </a:xfrm>
          <a:prstGeom prst="line">
            <a:avLst/>
          </a:prstGeom>
          <a:ln w="635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菱形 32">
            <a:extLst>
              <a:ext uri="{FF2B5EF4-FFF2-40B4-BE49-F238E27FC236}">
                <a16:creationId xmlns:a16="http://schemas.microsoft.com/office/drawing/2014/main" id="{BB7867E7-FD99-4F18-9586-6AE50210AA38}"/>
              </a:ext>
            </a:extLst>
          </p:cNvPr>
          <p:cNvSpPr/>
          <p:nvPr/>
        </p:nvSpPr>
        <p:spPr>
          <a:xfrm flipH="1">
            <a:off x="5419309" y="1815804"/>
            <a:ext cx="238958" cy="23895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34" name="菱形 33">
            <a:extLst>
              <a:ext uri="{FF2B5EF4-FFF2-40B4-BE49-F238E27FC236}">
                <a16:creationId xmlns:a16="http://schemas.microsoft.com/office/drawing/2014/main" id="{07C6D637-714E-4FF5-95B6-BFBE20F04FDF}"/>
              </a:ext>
            </a:extLst>
          </p:cNvPr>
          <p:cNvSpPr/>
          <p:nvPr/>
        </p:nvSpPr>
        <p:spPr>
          <a:xfrm flipH="1">
            <a:off x="5419309" y="3519071"/>
            <a:ext cx="238958" cy="23895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35" name="菱形 34">
            <a:extLst>
              <a:ext uri="{FF2B5EF4-FFF2-40B4-BE49-F238E27FC236}">
                <a16:creationId xmlns:a16="http://schemas.microsoft.com/office/drawing/2014/main" id="{1F709A6A-CDC0-4D25-AADB-250F27C6CB38}"/>
              </a:ext>
            </a:extLst>
          </p:cNvPr>
          <p:cNvSpPr/>
          <p:nvPr/>
        </p:nvSpPr>
        <p:spPr>
          <a:xfrm flipH="1">
            <a:off x="5419309" y="5222338"/>
            <a:ext cx="238958" cy="23895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1791BE2B-FE19-4CAC-B9B1-02F2360489A0}"/>
              </a:ext>
            </a:extLst>
          </p:cNvPr>
          <p:cNvCxnSpPr>
            <a:cxnSpLocks/>
          </p:cNvCxnSpPr>
          <p:nvPr/>
        </p:nvCxnSpPr>
        <p:spPr>
          <a:xfrm>
            <a:off x="6653213" y="3845535"/>
            <a:ext cx="0" cy="1376803"/>
          </a:xfrm>
          <a:prstGeom prst="line">
            <a:avLst/>
          </a:prstGeom>
          <a:ln w="635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840FF532-BD76-47BF-9720-B662134DD6A6}"/>
              </a:ext>
            </a:extLst>
          </p:cNvPr>
          <p:cNvCxnSpPr>
            <a:cxnSpLocks/>
            <a:stCxn id="28" idx="2"/>
          </p:cNvCxnSpPr>
          <p:nvPr/>
        </p:nvCxnSpPr>
        <p:spPr>
          <a:xfrm>
            <a:off x="6653213" y="2054762"/>
            <a:ext cx="0" cy="1376803"/>
          </a:xfrm>
          <a:prstGeom prst="line">
            <a:avLst/>
          </a:prstGeom>
          <a:ln w="6350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菱形 27">
            <a:extLst>
              <a:ext uri="{FF2B5EF4-FFF2-40B4-BE49-F238E27FC236}">
                <a16:creationId xmlns:a16="http://schemas.microsoft.com/office/drawing/2014/main" id="{CCE6E189-B29C-4446-9BB4-2B4DCDCE9AF0}"/>
              </a:ext>
            </a:extLst>
          </p:cNvPr>
          <p:cNvSpPr/>
          <p:nvPr/>
        </p:nvSpPr>
        <p:spPr>
          <a:xfrm flipH="1">
            <a:off x="6533734" y="1815804"/>
            <a:ext cx="238958" cy="23895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29" name="菱形 28">
            <a:extLst>
              <a:ext uri="{FF2B5EF4-FFF2-40B4-BE49-F238E27FC236}">
                <a16:creationId xmlns:a16="http://schemas.microsoft.com/office/drawing/2014/main" id="{2FF97A07-2759-49BF-B261-AD2129F80A5B}"/>
              </a:ext>
            </a:extLst>
          </p:cNvPr>
          <p:cNvSpPr/>
          <p:nvPr/>
        </p:nvSpPr>
        <p:spPr>
          <a:xfrm flipH="1">
            <a:off x="6533734" y="3519071"/>
            <a:ext cx="238958" cy="238958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30" name="菱形 29">
            <a:extLst>
              <a:ext uri="{FF2B5EF4-FFF2-40B4-BE49-F238E27FC236}">
                <a16:creationId xmlns:a16="http://schemas.microsoft.com/office/drawing/2014/main" id="{0AF5675E-FAF5-4022-94D3-90D9AF6337D9}"/>
              </a:ext>
            </a:extLst>
          </p:cNvPr>
          <p:cNvSpPr/>
          <p:nvPr/>
        </p:nvSpPr>
        <p:spPr>
          <a:xfrm flipH="1">
            <a:off x="6533734" y="5222338"/>
            <a:ext cx="238958" cy="238958"/>
          </a:xfrm>
          <a:prstGeom prst="diamond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vi-VN" sz="90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D491C01-A3F7-4519-A008-C21BAA4F862A}"/>
              </a:ext>
            </a:extLst>
          </p:cNvPr>
          <p:cNvSpPr txBox="1"/>
          <p:nvPr/>
        </p:nvSpPr>
        <p:spPr>
          <a:xfrm>
            <a:off x="1957580" y="12828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BBDC8E5-707D-4065-B592-D7B0002BBF5C}"/>
              </a:ext>
            </a:extLst>
          </p:cNvPr>
          <p:cNvSpPr txBox="1"/>
          <p:nvPr/>
        </p:nvSpPr>
        <p:spPr>
          <a:xfrm>
            <a:off x="1957580" y="18098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C8733202-B9A0-48C7-A9C1-BE0B4EF3DD9B}"/>
              </a:ext>
            </a:extLst>
          </p:cNvPr>
          <p:cNvSpPr/>
          <p:nvPr/>
        </p:nvSpPr>
        <p:spPr>
          <a:xfrm>
            <a:off x="4475338" y="1533718"/>
            <a:ext cx="728737" cy="728737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5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6C50FAC-6457-4887-AD0D-6716222E5DBE}"/>
              </a:ext>
            </a:extLst>
          </p:cNvPr>
          <p:cNvSpPr txBox="1"/>
          <p:nvPr/>
        </p:nvSpPr>
        <p:spPr>
          <a:xfrm>
            <a:off x="1957580" y="29973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749BD529-8805-4BA5-91A6-768DB7B560C3}"/>
              </a:ext>
            </a:extLst>
          </p:cNvPr>
          <p:cNvSpPr txBox="1"/>
          <p:nvPr/>
        </p:nvSpPr>
        <p:spPr>
          <a:xfrm>
            <a:off x="1957580" y="35243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D19D59F3-8435-41A1-A9D0-A422C62B4C70}"/>
              </a:ext>
            </a:extLst>
          </p:cNvPr>
          <p:cNvSpPr/>
          <p:nvPr/>
        </p:nvSpPr>
        <p:spPr>
          <a:xfrm>
            <a:off x="4475338" y="3248218"/>
            <a:ext cx="728737" cy="728737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3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0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96F3EE2-58BC-46CB-938E-A9610648C51F}"/>
              </a:ext>
            </a:extLst>
          </p:cNvPr>
          <p:cNvSpPr txBox="1"/>
          <p:nvPr/>
        </p:nvSpPr>
        <p:spPr>
          <a:xfrm>
            <a:off x="1957580" y="47118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AA94B04-3D2C-49E5-81AC-884E890F177D}"/>
              </a:ext>
            </a:extLst>
          </p:cNvPr>
          <p:cNvSpPr txBox="1"/>
          <p:nvPr/>
        </p:nvSpPr>
        <p:spPr>
          <a:xfrm>
            <a:off x="1957580" y="52388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49AB43DB-C446-45C9-BDC2-48595837D4EF}"/>
              </a:ext>
            </a:extLst>
          </p:cNvPr>
          <p:cNvSpPr/>
          <p:nvPr/>
        </p:nvSpPr>
        <p:spPr>
          <a:xfrm>
            <a:off x="4475338" y="4962718"/>
            <a:ext cx="728737" cy="728737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5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10AAF67D-F2D8-49E2-9ECF-0D9E0B029BEB}"/>
              </a:ext>
            </a:extLst>
          </p:cNvPr>
          <p:cNvSpPr/>
          <p:nvPr/>
        </p:nvSpPr>
        <p:spPr>
          <a:xfrm>
            <a:off x="7150113" y="1533718"/>
            <a:ext cx="728737" cy="728737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5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8A3AAEBD-C65E-40D5-AE65-2A4CEEE5E316}"/>
              </a:ext>
            </a:extLst>
          </p:cNvPr>
          <p:cNvSpPr/>
          <p:nvPr/>
        </p:nvSpPr>
        <p:spPr>
          <a:xfrm>
            <a:off x="7150113" y="3248218"/>
            <a:ext cx="728737" cy="728737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3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0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8E374670-D9CF-4135-9752-72F8C914166D}"/>
              </a:ext>
            </a:extLst>
          </p:cNvPr>
          <p:cNvSpPr/>
          <p:nvPr/>
        </p:nvSpPr>
        <p:spPr>
          <a:xfrm>
            <a:off x="7150113" y="4962718"/>
            <a:ext cx="728737" cy="728737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  <a:r>
              <a:rPr lang="en-US" sz="100">
                <a:solidFill>
                  <a:schemeClr val="bg1"/>
                </a:solidFill>
              </a:rPr>
              <a:t> </a:t>
            </a:r>
            <a:r>
              <a:rPr lang="en-US" sz="1400">
                <a:solidFill>
                  <a:schemeClr val="bg1"/>
                </a:solidFill>
              </a:rPr>
              <a:t>5K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529955C2-42B2-4B26-8990-46B14E9FF728}"/>
              </a:ext>
            </a:extLst>
          </p:cNvPr>
          <p:cNvSpPr txBox="1"/>
          <p:nvPr/>
        </p:nvSpPr>
        <p:spPr>
          <a:xfrm>
            <a:off x="8034530" y="12828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C3F94D5A-D2AC-4FE5-BF65-1DE5CAB776E0}"/>
              </a:ext>
            </a:extLst>
          </p:cNvPr>
          <p:cNvSpPr txBox="1"/>
          <p:nvPr/>
        </p:nvSpPr>
        <p:spPr>
          <a:xfrm>
            <a:off x="8034530" y="18098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11B49BC5-9FFC-4621-AB4D-D6507F0EA7DC}"/>
              </a:ext>
            </a:extLst>
          </p:cNvPr>
          <p:cNvSpPr txBox="1"/>
          <p:nvPr/>
        </p:nvSpPr>
        <p:spPr>
          <a:xfrm>
            <a:off x="8034530" y="29973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C7E1D16A-4F1A-48E6-B2F0-EB180A8DBECB}"/>
              </a:ext>
            </a:extLst>
          </p:cNvPr>
          <p:cNvSpPr txBox="1"/>
          <p:nvPr/>
        </p:nvSpPr>
        <p:spPr>
          <a:xfrm>
            <a:off x="8034530" y="35243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898289D-E788-46D1-96BB-BDB32F07FEA3}"/>
              </a:ext>
            </a:extLst>
          </p:cNvPr>
          <p:cNvSpPr txBox="1"/>
          <p:nvPr/>
        </p:nvSpPr>
        <p:spPr>
          <a:xfrm>
            <a:off x="8034530" y="4711818"/>
            <a:ext cx="2410141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b="1"/>
              <a:t>Text</a:t>
            </a:r>
            <a:r>
              <a:rPr lang="en-US" altLang="zh-CN" sz="100" b="1"/>
              <a:t> </a:t>
            </a:r>
            <a:r>
              <a:rPr lang="en-US" altLang="zh-CN" sz="1600" b="1"/>
              <a:t> </a:t>
            </a:r>
            <a:r>
              <a:rPr lang="en-US" altLang="zh-CN" sz="1600" b="1" dirty="0"/>
              <a:t>here</a:t>
            </a:r>
            <a:endParaRPr lang="vi-VN" sz="1600" b="1" dirty="0"/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E134CC4F-D960-40E5-AEE5-6C6726AB5732}"/>
              </a:ext>
            </a:extLst>
          </p:cNvPr>
          <p:cNvSpPr txBox="1"/>
          <p:nvPr/>
        </p:nvSpPr>
        <p:spPr>
          <a:xfrm>
            <a:off x="8034530" y="5238874"/>
            <a:ext cx="2410141" cy="698715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</a:t>
            </a:r>
            <a:r>
              <a:rPr lang="en-US" altLang="zh-CN" sz="1100"/>
              <a:t>the o</a:t>
            </a:r>
            <a:r>
              <a:rPr lang="en-US" altLang="zh-CN" sz="100"/>
              <a:t> </a:t>
            </a:r>
            <a:r>
              <a:rPr lang="en-US" altLang="zh-CN" sz="1100"/>
              <a:t>nly </a:t>
            </a:r>
            <a:r>
              <a:rPr lang="en-US" altLang="zh-CN" sz="1100" dirty="0"/>
              <a:t>option to retain text……</a:t>
            </a:r>
          </a:p>
        </p:txBody>
      </p:sp>
    </p:spTree>
    <p:extLst>
      <p:ext uri="{BB962C8B-B14F-4D97-AF65-F5344CB8AC3E}">
        <p14:creationId xmlns:p14="http://schemas.microsoft.com/office/powerpoint/2010/main" val="1527686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正确佩带口罩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50036170-48F2-4D94-A1A0-79EE0E4A44AC}"/>
              </a:ext>
            </a:extLst>
          </p:cNvPr>
          <p:cNvSpPr/>
          <p:nvPr/>
        </p:nvSpPr>
        <p:spPr>
          <a:xfrm>
            <a:off x="669925" y="1383480"/>
            <a:ext cx="10850563" cy="1273998"/>
          </a:xfrm>
          <a:prstGeom prst="rect">
            <a:avLst/>
          </a:prstGeom>
          <a:ln>
            <a:solidFill>
              <a:srgbClr val="4C4948">
                <a:lumMod val="20000"/>
                <a:lumOff val="80000"/>
              </a:srgbClr>
            </a:solidFill>
          </a:ln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50000"/>
              </a:lnSpc>
              <a:spcAft>
                <a:spcPts val="601"/>
              </a:spcAft>
              <a:buClr>
                <a:srgbClr val="C70019"/>
              </a:buClr>
            </a:pPr>
            <a:endParaRPr lang="en-US" altLang="zh-CN" sz="1400" dirty="0">
              <a:solidFill>
                <a:srgbClr val="4C4948"/>
              </a:solidFill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422A65BF-0CBD-429D-A321-6E0002A3DBA8}"/>
              </a:ext>
            </a:extLst>
          </p:cNvPr>
          <p:cNvGrpSpPr/>
          <p:nvPr/>
        </p:nvGrpSpPr>
        <p:grpSpPr>
          <a:xfrm>
            <a:off x="743755" y="1176311"/>
            <a:ext cx="5038554" cy="414337"/>
            <a:chOff x="743755" y="1095763"/>
            <a:chExt cx="5038554" cy="414337"/>
          </a:xfrm>
        </p:grpSpPr>
        <p:sp>
          <p:nvSpPr>
            <p:cNvPr id="22" name="平行四边形 21">
              <a:extLst>
                <a:ext uri="{FF2B5EF4-FFF2-40B4-BE49-F238E27FC236}">
                  <a16:creationId xmlns:a16="http://schemas.microsoft.com/office/drawing/2014/main" id="{040B3956-274A-4400-9DAD-69F4DA2D1A67}"/>
                </a:ext>
              </a:extLst>
            </p:cNvPr>
            <p:cNvSpPr/>
            <p:nvPr/>
          </p:nvSpPr>
          <p:spPr>
            <a:xfrm>
              <a:off x="1184784" y="1131482"/>
              <a:ext cx="4597525" cy="342899"/>
            </a:xfrm>
            <a:prstGeom prst="parallelogram">
              <a:avLst/>
            </a:prstGeom>
            <a:solidFill>
              <a:schemeClr val="accent2"/>
            </a:solidFill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eaLnBrk="0" hangingPunct="0">
                <a:defRPr/>
              </a:pPr>
              <a:r>
                <a:rPr lang="en-US" altLang="zh-CN" sz="1400" b="1" kern="0">
                  <a:solidFill>
                    <a:schemeClr val="bg1"/>
                  </a:solidFill>
                </a:rPr>
                <a:t>Text he</a:t>
              </a:r>
              <a:r>
                <a:rPr lang="en-US" altLang="zh-CN" sz="100" b="1" kern="0">
                  <a:solidFill>
                    <a:schemeClr val="bg1"/>
                  </a:solidFill>
                </a:rPr>
                <a:t> </a:t>
              </a:r>
              <a:r>
                <a:rPr lang="en-US" altLang="zh-CN" sz="1400" b="1" kern="0">
                  <a:solidFill>
                    <a:schemeClr val="bg1"/>
                  </a:solidFill>
                </a:rPr>
                <a:t>re</a:t>
              </a:r>
              <a:endParaRPr lang="zh-CN" altLang="en-US" sz="1400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23" name="平行四边形 22">
              <a:extLst>
                <a:ext uri="{FF2B5EF4-FFF2-40B4-BE49-F238E27FC236}">
                  <a16:creationId xmlns:a16="http://schemas.microsoft.com/office/drawing/2014/main" id="{2AF831E6-2370-499B-A32F-B582A6175253}"/>
                </a:ext>
              </a:extLst>
            </p:cNvPr>
            <p:cNvSpPr/>
            <p:nvPr/>
          </p:nvSpPr>
          <p:spPr bwMode="auto">
            <a:xfrm>
              <a:off x="743755" y="1095763"/>
              <a:ext cx="695249" cy="41433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  <a:effectLst>
              <a:outerShdw sx="107000" sy="107000" algn="ctr" rotWithShape="0">
                <a:schemeClr val="bg1">
                  <a:alpha val="38000"/>
                </a:scheme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rmAutofit fontScale="85000" lnSpcReduction="20000"/>
            </a:bodyPr>
            <a:lstStyle/>
            <a:p>
              <a:pPr algn="ctr"/>
              <a:r>
                <a:rPr lang="en-US" altLang="zh-CN" kern="0" dirty="0">
                  <a:solidFill>
                    <a:schemeClr val="bg1"/>
                  </a:solidFill>
                </a:rPr>
                <a:t>1</a:t>
              </a:r>
              <a:endParaRPr lang="zh-CN" altLang="en-US" kern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矩形 20">
            <a:extLst>
              <a:ext uri="{FF2B5EF4-FFF2-40B4-BE49-F238E27FC236}">
                <a16:creationId xmlns:a16="http://schemas.microsoft.com/office/drawing/2014/main" id="{400155F2-B8F9-4325-9394-854342B22F0C}"/>
              </a:ext>
            </a:extLst>
          </p:cNvPr>
          <p:cNvSpPr/>
          <p:nvPr/>
        </p:nvSpPr>
        <p:spPr bwMode="auto">
          <a:xfrm>
            <a:off x="1439004" y="1638301"/>
            <a:ext cx="3230507" cy="101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F7B305B9-4878-4A15-9D9F-FB1EB94180AB}"/>
              </a:ext>
            </a:extLst>
          </p:cNvPr>
          <p:cNvSpPr/>
          <p:nvPr/>
        </p:nvSpPr>
        <p:spPr>
          <a:xfrm>
            <a:off x="669925" y="3128141"/>
            <a:ext cx="10850563" cy="1273998"/>
          </a:xfrm>
          <a:prstGeom prst="rect">
            <a:avLst/>
          </a:prstGeom>
          <a:ln>
            <a:solidFill>
              <a:srgbClr val="4C4948">
                <a:lumMod val="20000"/>
                <a:lumOff val="80000"/>
              </a:srgbClr>
            </a:solidFill>
          </a:ln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50000"/>
              </a:lnSpc>
              <a:spcAft>
                <a:spcPts val="601"/>
              </a:spcAft>
              <a:buClr>
                <a:srgbClr val="C70019"/>
              </a:buClr>
            </a:pPr>
            <a:endParaRPr lang="en-US" altLang="zh-CN" sz="1400" dirty="0">
              <a:solidFill>
                <a:srgbClr val="4C4948"/>
              </a:solidFill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7102A1EE-2FD2-4A9F-9F4D-B623CEB863F3}"/>
              </a:ext>
            </a:extLst>
          </p:cNvPr>
          <p:cNvGrpSpPr/>
          <p:nvPr/>
        </p:nvGrpSpPr>
        <p:grpSpPr>
          <a:xfrm>
            <a:off x="743755" y="2920972"/>
            <a:ext cx="7200095" cy="414337"/>
            <a:chOff x="743755" y="1095763"/>
            <a:chExt cx="7200095" cy="414337"/>
          </a:xfrm>
        </p:grpSpPr>
        <p:sp>
          <p:nvSpPr>
            <p:cNvPr id="17" name="平行四边形 16">
              <a:extLst>
                <a:ext uri="{FF2B5EF4-FFF2-40B4-BE49-F238E27FC236}">
                  <a16:creationId xmlns:a16="http://schemas.microsoft.com/office/drawing/2014/main" id="{AE7CCFAD-663C-4E42-AD7B-BF948A68B5ED}"/>
                </a:ext>
              </a:extLst>
            </p:cNvPr>
            <p:cNvSpPr/>
            <p:nvPr/>
          </p:nvSpPr>
          <p:spPr>
            <a:xfrm>
              <a:off x="1184784" y="1131482"/>
              <a:ext cx="6759066" cy="342899"/>
            </a:xfrm>
            <a:prstGeom prst="parallelogram">
              <a:avLst/>
            </a:prstGeom>
            <a:solidFill>
              <a:schemeClr val="accent1"/>
            </a:solidFill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eaLnBrk="0" hangingPunct="0"/>
              <a:r>
                <a:rPr lang="en-US" altLang="zh-CN" sz="1400" b="1" kern="0" dirty="0" err="1">
                  <a:solidFill>
                    <a:schemeClr val="bg1"/>
                  </a:solidFill>
                </a:rPr>
                <a:t>Te</a:t>
              </a:r>
              <a:r>
                <a:rPr lang="en-US" altLang="zh-CN" sz="100" b="1" kern="0" dirty="0">
                  <a:solidFill>
                    <a:schemeClr val="bg1"/>
                  </a:solidFill>
                </a:rPr>
                <a:t> </a:t>
              </a:r>
              <a:r>
                <a:rPr lang="en-US" altLang="zh-CN" sz="1400" b="1" kern="0" dirty="0" err="1">
                  <a:solidFill>
                    <a:schemeClr val="bg1"/>
                  </a:solidFill>
                </a:rPr>
                <a:t>xt</a:t>
              </a:r>
              <a:r>
                <a:rPr lang="en-US" altLang="zh-CN" sz="1400" b="1" kern="0" dirty="0">
                  <a:solidFill>
                    <a:schemeClr val="bg1"/>
                  </a:solidFill>
                </a:rPr>
                <a:t> here</a:t>
              </a:r>
              <a:endParaRPr lang="zh-CN" altLang="en-US" sz="1400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18" name="平行四边形 17">
              <a:extLst>
                <a:ext uri="{FF2B5EF4-FFF2-40B4-BE49-F238E27FC236}">
                  <a16:creationId xmlns:a16="http://schemas.microsoft.com/office/drawing/2014/main" id="{989B34B2-603F-4233-8244-ABE116A3C22D}"/>
                </a:ext>
              </a:extLst>
            </p:cNvPr>
            <p:cNvSpPr/>
            <p:nvPr/>
          </p:nvSpPr>
          <p:spPr bwMode="auto">
            <a:xfrm>
              <a:off x="743755" y="1095763"/>
              <a:ext cx="695249" cy="414337"/>
            </a:xfrm>
            <a:prstGeom prst="parallelogram">
              <a:avLst/>
            </a:prstGeom>
            <a:solidFill>
              <a:schemeClr val="accent1"/>
            </a:solidFill>
            <a:ln>
              <a:noFill/>
            </a:ln>
            <a:effectLst>
              <a:outerShdw sx="107000" sy="107000" algn="ctr" rotWithShape="0">
                <a:schemeClr val="bg1">
                  <a:alpha val="38000"/>
                </a:scheme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rmAutofit fontScale="85000" lnSpcReduction="20000"/>
            </a:bodyPr>
            <a:lstStyle/>
            <a:p>
              <a:pPr algn="ctr">
                <a:defRPr/>
              </a:pPr>
              <a:r>
                <a:rPr lang="en-US" altLang="zh-CN" b="1" i="1" kern="0">
                  <a:solidFill>
                    <a:schemeClr val="bg1"/>
                  </a:solidFill>
                </a:rPr>
                <a:t>2</a:t>
              </a:r>
              <a:endParaRPr lang="zh-CN" altLang="en-US" b="1" i="1" kern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40A8BE73-980B-4970-929C-06383BABBD19}"/>
              </a:ext>
            </a:extLst>
          </p:cNvPr>
          <p:cNvSpPr/>
          <p:nvPr/>
        </p:nvSpPr>
        <p:spPr bwMode="auto">
          <a:xfrm>
            <a:off x="1439004" y="3382962"/>
            <a:ext cx="3230507" cy="101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194159C-3BC7-4C61-BA5A-536C4E4090F0}"/>
              </a:ext>
            </a:extLst>
          </p:cNvPr>
          <p:cNvSpPr/>
          <p:nvPr/>
        </p:nvSpPr>
        <p:spPr>
          <a:xfrm>
            <a:off x="669925" y="4872802"/>
            <a:ext cx="10850563" cy="1273998"/>
          </a:xfrm>
          <a:prstGeom prst="rect">
            <a:avLst/>
          </a:prstGeom>
          <a:ln>
            <a:solidFill>
              <a:srgbClr val="4C4948">
                <a:lumMod val="20000"/>
                <a:lumOff val="80000"/>
              </a:srgbClr>
            </a:solidFill>
          </a:ln>
        </p:spPr>
        <p:txBody>
          <a:bodyPr wrap="square" lIns="91440" tIns="45720" rIns="91440" bIns="45720" anchor="t">
            <a:normAutofit/>
          </a:bodyPr>
          <a:lstStyle/>
          <a:p>
            <a:pPr>
              <a:lnSpc>
                <a:spcPct val="150000"/>
              </a:lnSpc>
              <a:spcAft>
                <a:spcPts val="601"/>
              </a:spcAft>
              <a:buClr>
                <a:srgbClr val="C70019"/>
              </a:buClr>
            </a:pPr>
            <a:endParaRPr lang="en-US" altLang="zh-CN" sz="1400" dirty="0">
              <a:solidFill>
                <a:srgbClr val="4C4948"/>
              </a:solidFill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61C3367-A48E-4D91-B34E-AFD6619130F9}"/>
              </a:ext>
            </a:extLst>
          </p:cNvPr>
          <p:cNvGrpSpPr/>
          <p:nvPr/>
        </p:nvGrpSpPr>
        <p:grpSpPr>
          <a:xfrm>
            <a:off x="743755" y="4665633"/>
            <a:ext cx="5038554" cy="414337"/>
            <a:chOff x="743755" y="1095763"/>
            <a:chExt cx="5038554" cy="414337"/>
          </a:xfrm>
        </p:grpSpPr>
        <p:sp>
          <p:nvSpPr>
            <p:cNvPr id="12" name="平行四边形 11">
              <a:extLst>
                <a:ext uri="{FF2B5EF4-FFF2-40B4-BE49-F238E27FC236}">
                  <a16:creationId xmlns:a16="http://schemas.microsoft.com/office/drawing/2014/main" id="{9A606C87-34ED-4D5D-ACDC-6337415D794A}"/>
                </a:ext>
              </a:extLst>
            </p:cNvPr>
            <p:cNvSpPr/>
            <p:nvPr/>
          </p:nvSpPr>
          <p:spPr>
            <a:xfrm>
              <a:off x="1184784" y="1131482"/>
              <a:ext cx="4597525" cy="342899"/>
            </a:xfrm>
            <a:prstGeom prst="parallelogram">
              <a:avLst/>
            </a:prstGeom>
            <a:solidFill>
              <a:schemeClr val="accent2"/>
            </a:solidFill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eaLnBrk="0" hangingPunct="0"/>
              <a:r>
                <a:rPr lang="en-US" altLang="zh-CN" sz="1400" b="1" kern="0" dirty="0" err="1">
                  <a:solidFill>
                    <a:schemeClr val="bg1"/>
                  </a:solidFill>
                </a:rPr>
                <a:t>Te</a:t>
              </a:r>
              <a:r>
                <a:rPr lang="en-US" altLang="zh-CN" sz="100" b="1" kern="0" dirty="0">
                  <a:solidFill>
                    <a:schemeClr val="bg1"/>
                  </a:solidFill>
                </a:rPr>
                <a:t> </a:t>
              </a:r>
              <a:r>
                <a:rPr lang="en-US" altLang="zh-CN" sz="1400" b="1" kern="0" dirty="0" err="1">
                  <a:solidFill>
                    <a:schemeClr val="bg1"/>
                  </a:solidFill>
                </a:rPr>
                <a:t>xt</a:t>
              </a:r>
              <a:r>
                <a:rPr lang="en-US" altLang="zh-CN" sz="1400" b="1" kern="0" dirty="0">
                  <a:solidFill>
                    <a:schemeClr val="bg1"/>
                  </a:solidFill>
                </a:rPr>
                <a:t> here</a:t>
              </a:r>
              <a:endParaRPr lang="zh-CN" altLang="en-US" sz="1400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13" name="平行四边形 12">
              <a:extLst>
                <a:ext uri="{FF2B5EF4-FFF2-40B4-BE49-F238E27FC236}">
                  <a16:creationId xmlns:a16="http://schemas.microsoft.com/office/drawing/2014/main" id="{50213DE4-0903-4E78-BBC8-3D863CDCF3BA}"/>
                </a:ext>
              </a:extLst>
            </p:cNvPr>
            <p:cNvSpPr/>
            <p:nvPr/>
          </p:nvSpPr>
          <p:spPr bwMode="auto">
            <a:xfrm>
              <a:off x="743755" y="1095763"/>
              <a:ext cx="695249" cy="41433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  <a:effectLst>
              <a:outerShdw sx="107000" sy="107000" algn="ctr" rotWithShape="0">
                <a:schemeClr val="bg1">
                  <a:alpha val="38000"/>
                </a:scheme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rmAutofit fontScale="85000" lnSpcReduction="20000"/>
            </a:bodyPr>
            <a:lstStyle/>
            <a:p>
              <a:pPr algn="ctr"/>
              <a:r>
                <a:rPr lang="en-US" altLang="zh-CN" kern="0">
                  <a:solidFill>
                    <a:srgbClr val="FFFFFF"/>
                  </a:solidFill>
                </a:rPr>
                <a:t>3</a:t>
              </a:r>
              <a:endParaRPr lang="zh-CN" altLang="en-US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矩形 10">
            <a:extLst>
              <a:ext uri="{FF2B5EF4-FFF2-40B4-BE49-F238E27FC236}">
                <a16:creationId xmlns:a16="http://schemas.microsoft.com/office/drawing/2014/main" id="{4FF976CC-BE23-46E8-A48B-D86E8C7164F1}"/>
              </a:ext>
            </a:extLst>
          </p:cNvPr>
          <p:cNvSpPr/>
          <p:nvPr/>
        </p:nvSpPr>
        <p:spPr bwMode="auto">
          <a:xfrm>
            <a:off x="1439004" y="5127623"/>
            <a:ext cx="3230507" cy="101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2826485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食品安全五大要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2056274" y="299640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latin typeface="Impact" panose="020B0806030902050204" pitchFamily="34" charset="0"/>
              </a:rPr>
              <a:t>/04</a:t>
            </a:r>
            <a:endParaRPr lang="zh-CN" altLang="en-US" sz="80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416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食品安全五大要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cxnSp>
        <p:nvCxnSpPr>
          <p:cNvPr id="6" name="直接连接符 5"/>
          <p:cNvCxnSpPr/>
          <p:nvPr/>
        </p:nvCxnSpPr>
        <p:spPr>
          <a:xfrm>
            <a:off x="673100" y="3638550"/>
            <a:ext cx="1084580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 bwMode="auto">
          <a:xfrm>
            <a:off x="1231154" y="3253830"/>
            <a:ext cx="813043" cy="76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altLang="zh-CN" sz="100" b="1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1</a:t>
            </a:r>
            <a:endParaRPr lang="en-US" altLang="zh-CN" sz="4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1" name="文本框 40"/>
          <p:cNvSpPr txBox="1"/>
          <p:nvPr/>
        </p:nvSpPr>
        <p:spPr bwMode="auto">
          <a:xfrm>
            <a:off x="1231154" y="4711019"/>
            <a:ext cx="238081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1231154" y="5217235"/>
            <a:ext cx="2380817" cy="66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39" name="椭圆 38"/>
          <p:cNvSpPr/>
          <p:nvPr/>
        </p:nvSpPr>
        <p:spPr>
          <a:xfrm>
            <a:off x="673100" y="4873797"/>
            <a:ext cx="558054" cy="558054"/>
          </a:xfrm>
          <a:prstGeom prst="ellipse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40" name="任意多边形: 形状 39"/>
          <p:cNvSpPr/>
          <p:nvPr/>
        </p:nvSpPr>
        <p:spPr>
          <a:xfrm>
            <a:off x="761675" y="4985752"/>
            <a:ext cx="380904" cy="334144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10" name="直接连接符 9"/>
          <p:cNvCxnSpPr>
            <a:stCxn id="7" idx="2"/>
          </p:cNvCxnSpPr>
          <p:nvPr/>
        </p:nvCxnSpPr>
        <p:spPr>
          <a:xfrm>
            <a:off x="1637676" y="4023271"/>
            <a:ext cx="0" cy="62415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>
            <a:stCxn id="12" idx="0"/>
          </p:cNvCxnSpPr>
          <p:nvPr/>
        </p:nvCxnSpPr>
        <p:spPr>
          <a:xfrm flipV="1">
            <a:off x="3614408" y="2629673"/>
            <a:ext cx="0" cy="624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 bwMode="auto">
          <a:xfrm>
            <a:off x="3207886" y="3253829"/>
            <a:ext cx="813043" cy="76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altLang="zh-CN" sz="100" b="1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2</a:t>
            </a:r>
            <a:endParaRPr lang="en-US" altLang="zh-CN" sz="4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7" name="文本框 36"/>
          <p:cNvSpPr txBox="1"/>
          <p:nvPr/>
        </p:nvSpPr>
        <p:spPr bwMode="auto">
          <a:xfrm>
            <a:off x="3207886" y="1392521"/>
            <a:ext cx="238081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3207886" y="1898737"/>
            <a:ext cx="2380817" cy="66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14" name="椭圆 13"/>
          <p:cNvSpPr/>
          <p:nvPr/>
        </p:nvSpPr>
        <p:spPr>
          <a:xfrm>
            <a:off x="2649832" y="1555299"/>
            <a:ext cx="558054" cy="558054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5" name="任意多边形: 形状 14"/>
          <p:cNvSpPr/>
          <p:nvPr/>
        </p:nvSpPr>
        <p:spPr>
          <a:xfrm>
            <a:off x="2734555" y="1662299"/>
            <a:ext cx="388608" cy="344054"/>
          </a:xfrm>
          <a:custGeom>
            <a:avLst/>
            <a:gdLst>
              <a:gd name="connsiteX0" fmla="*/ 65178 w 606964"/>
              <a:gd name="connsiteY0" fmla="*/ 207316 h 537378"/>
              <a:gd name="connsiteX1" fmla="*/ 87478 w 606964"/>
              <a:gd name="connsiteY1" fmla="*/ 475661 h 537378"/>
              <a:gd name="connsiteX2" fmla="*/ 104118 w 606964"/>
              <a:gd name="connsiteY2" fmla="*/ 475661 h 537378"/>
              <a:gd name="connsiteX3" fmla="*/ 189583 w 606964"/>
              <a:gd name="connsiteY3" fmla="*/ 207316 h 537378"/>
              <a:gd name="connsiteX4" fmla="*/ 22615 w 606964"/>
              <a:gd name="connsiteY4" fmla="*/ 145599 h 537378"/>
              <a:gd name="connsiteX5" fmla="*/ 584307 w 606964"/>
              <a:gd name="connsiteY5" fmla="*/ 145599 h 537378"/>
              <a:gd name="connsiteX6" fmla="*/ 602646 w 606964"/>
              <a:gd name="connsiteY6" fmla="*/ 154868 h 537378"/>
              <a:gd name="connsiteX7" fmla="*/ 605928 w 606964"/>
              <a:gd name="connsiteY7" fmla="*/ 174988 h 537378"/>
              <a:gd name="connsiteX8" fmla="*/ 495447 w 606964"/>
              <a:gd name="connsiteY8" fmla="*/ 521666 h 537378"/>
              <a:gd name="connsiteX9" fmla="*/ 473826 w 606964"/>
              <a:gd name="connsiteY9" fmla="*/ 537378 h 537378"/>
              <a:gd name="connsiteX10" fmla="*/ 51255 w 606964"/>
              <a:gd name="connsiteY10" fmla="*/ 537378 h 537378"/>
              <a:gd name="connsiteX11" fmla="*/ 28728 w 606964"/>
              <a:gd name="connsiteY11" fmla="*/ 516693 h 537378"/>
              <a:gd name="connsiteX12" fmla="*/ 89 w 606964"/>
              <a:gd name="connsiteY12" fmla="*/ 170015 h 537378"/>
              <a:gd name="connsiteX13" fmla="*/ 5975 w 606964"/>
              <a:gd name="connsiteY13" fmla="*/ 152833 h 537378"/>
              <a:gd name="connsiteX14" fmla="*/ 22615 w 606964"/>
              <a:gd name="connsiteY14" fmla="*/ 145599 h 537378"/>
              <a:gd name="connsiteX15" fmla="*/ 325526 w 606964"/>
              <a:gd name="connsiteY15" fmla="*/ 814 h 537378"/>
              <a:gd name="connsiteX16" fmla="*/ 333451 w 606964"/>
              <a:gd name="connsiteY16" fmla="*/ 1831 h 537378"/>
              <a:gd name="connsiteX17" fmla="*/ 335376 w 606964"/>
              <a:gd name="connsiteY17" fmla="*/ 9629 h 537378"/>
              <a:gd name="connsiteX18" fmla="*/ 321337 w 606964"/>
              <a:gd name="connsiteY18" fmla="*/ 44887 h 537378"/>
              <a:gd name="connsiteX19" fmla="*/ 389039 w 606964"/>
              <a:gd name="connsiteY19" fmla="*/ 44887 h 537378"/>
              <a:gd name="connsiteX20" fmla="*/ 394133 w 606964"/>
              <a:gd name="connsiteY20" fmla="*/ 47034 h 537378"/>
              <a:gd name="connsiteX21" fmla="*/ 396171 w 606964"/>
              <a:gd name="connsiteY21" fmla="*/ 52006 h 537378"/>
              <a:gd name="connsiteX22" fmla="*/ 396171 w 606964"/>
              <a:gd name="connsiteY22" fmla="*/ 72234 h 537378"/>
              <a:gd name="connsiteX23" fmla="*/ 389039 w 606964"/>
              <a:gd name="connsiteY23" fmla="*/ 79241 h 537378"/>
              <a:gd name="connsiteX24" fmla="*/ 321337 w 606964"/>
              <a:gd name="connsiteY24" fmla="*/ 79241 h 537378"/>
              <a:gd name="connsiteX25" fmla="*/ 335376 w 606964"/>
              <a:gd name="connsiteY25" fmla="*/ 114499 h 537378"/>
              <a:gd name="connsiteX26" fmla="*/ 333451 w 606964"/>
              <a:gd name="connsiteY26" fmla="*/ 122296 h 537378"/>
              <a:gd name="connsiteX27" fmla="*/ 325526 w 606964"/>
              <a:gd name="connsiteY27" fmla="*/ 123426 h 537378"/>
              <a:gd name="connsiteX28" fmla="*/ 218879 w 606964"/>
              <a:gd name="connsiteY28" fmla="*/ 68392 h 537378"/>
              <a:gd name="connsiteX29" fmla="*/ 215030 w 606964"/>
              <a:gd name="connsiteY29" fmla="*/ 62064 h 537378"/>
              <a:gd name="connsiteX30" fmla="*/ 218879 w 606964"/>
              <a:gd name="connsiteY30" fmla="*/ 55848 h 537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06964" h="537378">
                <a:moveTo>
                  <a:pt x="65178" y="207316"/>
                </a:moveTo>
                <a:lnTo>
                  <a:pt x="87478" y="475661"/>
                </a:lnTo>
                <a:lnTo>
                  <a:pt x="104118" y="475661"/>
                </a:lnTo>
                <a:lnTo>
                  <a:pt x="189583" y="207316"/>
                </a:lnTo>
                <a:close/>
                <a:moveTo>
                  <a:pt x="22615" y="145599"/>
                </a:moveTo>
                <a:lnTo>
                  <a:pt x="584307" y="145599"/>
                </a:lnTo>
                <a:cubicBezTo>
                  <a:pt x="591552" y="145599"/>
                  <a:pt x="598344" y="148990"/>
                  <a:pt x="602646" y="154868"/>
                </a:cubicBezTo>
                <a:cubicBezTo>
                  <a:pt x="606834" y="160633"/>
                  <a:pt x="608079" y="168206"/>
                  <a:pt x="605928" y="174988"/>
                </a:cubicBezTo>
                <a:lnTo>
                  <a:pt x="495447" y="521666"/>
                </a:lnTo>
                <a:cubicBezTo>
                  <a:pt x="492503" y="531048"/>
                  <a:pt x="483674" y="537378"/>
                  <a:pt x="473826" y="537378"/>
                </a:cubicBezTo>
                <a:lnTo>
                  <a:pt x="51255" y="537378"/>
                </a:lnTo>
                <a:cubicBezTo>
                  <a:pt x="39482" y="537378"/>
                  <a:pt x="29747" y="528448"/>
                  <a:pt x="28728" y="516693"/>
                </a:cubicBezTo>
                <a:lnTo>
                  <a:pt x="89" y="170015"/>
                </a:lnTo>
                <a:cubicBezTo>
                  <a:pt x="-477" y="163798"/>
                  <a:pt x="1674" y="157468"/>
                  <a:pt x="5975" y="152833"/>
                </a:cubicBezTo>
                <a:cubicBezTo>
                  <a:pt x="10277" y="148199"/>
                  <a:pt x="16276" y="145599"/>
                  <a:pt x="22615" y="145599"/>
                </a:cubicBezTo>
                <a:close/>
                <a:moveTo>
                  <a:pt x="325526" y="814"/>
                </a:moveTo>
                <a:cubicBezTo>
                  <a:pt x="328130" y="-542"/>
                  <a:pt x="331300" y="-203"/>
                  <a:pt x="333451" y="1831"/>
                </a:cubicBezTo>
                <a:cubicBezTo>
                  <a:pt x="335715" y="3752"/>
                  <a:pt x="336395" y="6917"/>
                  <a:pt x="335376" y="9629"/>
                </a:cubicBezTo>
                <a:lnTo>
                  <a:pt x="321337" y="44887"/>
                </a:lnTo>
                <a:lnTo>
                  <a:pt x="389039" y="44887"/>
                </a:lnTo>
                <a:cubicBezTo>
                  <a:pt x="390963" y="44887"/>
                  <a:pt x="392775" y="45678"/>
                  <a:pt x="394133" y="47034"/>
                </a:cubicBezTo>
                <a:cubicBezTo>
                  <a:pt x="395379" y="48277"/>
                  <a:pt x="396171" y="50085"/>
                  <a:pt x="396171" y="52006"/>
                </a:cubicBezTo>
                <a:lnTo>
                  <a:pt x="396171" y="72234"/>
                </a:lnTo>
                <a:cubicBezTo>
                  <a:pt x="396171" y="76077"/>
                  <a:pt x="393001" y="79241"/>
                  <a:pt x="389039" y="79241"/>
                </a:cubicBezTo>
                <a:lnTo>
                  <a:pt x="321337" y="79241"/>
                </a:lnTo>
                <a:lnTo>
                  <a:pt x="335376" y="114499"/>
                </a:lnTo>
                <a:cubicBezTo>
                  <a:pt x="336395" y="117211"/>
                  <a:pt x="335715" y="120375"/>
                  <a:pt x="333451" y="122296"/>
                </a:cubicBezTo>
                <a:cubicBezTo>
                  <a:pt x="331300" y="124330"/>
                  <a:pt x="328130" y="124782"/>
                  <a:pt x="325526" y="123426"/>
                </a:cubicBezTo>
                <a:lnTo>
                  <a:pt x="218879" y="68392"/>
                </a:lnTo>
                <a:cubicBezTo>
                  <a:pt x="216502" y="67149"/>
                  <a:pt x="215030" y="64663"/>
                  <a:pt x="215030" y="62064"/>
                </a:cubicBezTo>
                <a:cubicBezTo>
                  <a:pt x="215030" y="59465"/>
                  <a:pt x="216502" y="56978"/>
                  <a:pt x="218879" y="55848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6" name="文本框 15"/>
          <p:cNvSpPr txBox="1"/>
          <p:nvPr/>
        </p:nvSpPr>
        <p:spPr bwMode="auto">
          <a:xfrm>
            <a:off x="5184618" y="3253830"/>
            <a:ext cx="813043" cy="76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altLang="zh-CN" sz="100" b="1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3</a:t>
            </a:r>
            <a:endParaRPr lang="en-US" altLang="zh-CN" sz="4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5" name="文本框 34"/>
          <p:cNvSpPr txBox="1"/>
          <p:nvPr/>
        </p:nvSpPr>
        <p:spPr bwMode="auto">
          <a:xfrm>
            <a:off x="5184618" y="4711019"/>
            <a:ext cx="238081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5184618" y="5217235"/>
            <a:ext cx="2380817" cy="66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18" name="椭圆 17"/>
          <p:cNvSpPr/>
          <p:nvPr/>
        </p:nvSpPr>
        <p:spPr>
          <a:xfrm>
            <a:off x="4626564" y="4873797"/>
            <a:ext cx="558054" cy="558054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4715139" y="4997197"/>
            <a:ext cx="380904" cy="311254"/>
          </a:xfrm>
          <a:custGeom>
            <a:avLst/>
            <a:gdLst>
              <a:gd name="connsiteX0" fmla="*/ 149292 w 607427"/>
              <a:gd name="connsiteY0" fmla="*/ 421449 h 496357"/>
              <a:gd name="connsiteX1" fmla="*/ 120047 w 607427"/>
              <a:gd name="connsiteY1" fmla="*/ 450559 h 496357"/>
              <a:gd name="connsiteX2" fmla="*/ 149292 w 607427"/>
              <a:gd name="connsiteY2" fmla="*/ 479762 h 496357"/>
              <a:gd name="connsiteX3" fmla="*/ 178538 w 607427"/>
              <a:gd name="connsiteY3" fmla="*/ 450559 h 496357"/>
              <a:gd name="connsiteX4" fmla="*/ 149292 w 607427"/>
              <a:gd name="connsiteY4" fmla="*/ 421449 h 496357"/>
              <a:gd name="connsiteX5" fmla="*/ 350503 w 607427"/>
              <a:gd name="connsiteY5" fmla="*/ 138238 h 496357"/>
              <a:gd name="connsiteX6" fmla="*/ 426643 w 607427"/>
              <a:gd name="connsiteY6" fmla="*/ 138238 h 496357"/>
              <a:gd name="connsiteX7" fmla="*/ 444749 w 607427"/>
              <a:gd name="connsiteY7" fmla="*/ 156223 h 496357"/>
              <a:gd name="connsiteX8" fmla="*/ 444749 w 607427"/>
              <a:gd name="connsiteY8" fmla="*/ 178566 h 496357"/>
              <a:gd name="connsiteX9" fmla="*/ 447256 w 607427"/>
              <a:gd name="connsiteY9" fmla="*/ 181161 h 496357"/>
              <a:gd name="connsiteX10" fmla="*/ 589414 w 607427"/>
              <a:gd name="connsiteY10" fmla="*/ 181161 h 496357"/>
              <a:gd name="connsiteX11" fmla="*/ 607427 w 607427"/>
              <a:gd name="connsiteY11" fmla="*/ 199147 h 496357"/>
              <a:gd name="connsiteX12" fmla="*/ 607427 w 607427"/>
              <a:gd name="connsiteY12" fmla="*/ 333572 h 496357"/>
              <a:gd name="connsiteX13" fmla="*/ 589414 w 607427"/>
              <a:gd name="connsiteY13" fmla="*/ 351557 h 496357"/>
              <a:gd name="connsiteX14" fmla="*/ 350503 w 607427"/>
              <a:gd name="connsiteY14" fmla="*/ 351557 h 496357"/>
              <a:gd name="connsiteX15" fmla="*/ 332397 w 607427"/>
              <a:gd name="connsiteY15" fmla="*/ 333572 h 496357"/>
              <a:gd name="connsiteX16" fmla="*/ 332397 w 607427"/>
              <a:gd name="connsiteY16" fmla="*/ 312991 h 496357"/>
              <a:gd name="connsiteX17" fmla="*/ 332397 w 607427"/>
              <a:gd name="connsiteY17" fmla="*/ 283046 h 496357"/>
              <a:gd name="connsiteX18" fmla="*/ 219395 w 607427"/>
              <a:gd name="connsiteY18" fmla="*/ 283046 h 496357"/>
              <a:gd name="connsiteX19" fmla="*/ 219395 w 607427"/>
              <a:gd name="connsiteY19" fmla="*/ 312991 h 496357"/>
              <a:gd name="connsiteX20" fmla="*/ 219395 w 607427"/>
              <a:gd name="connsiteY20" fmla="*/ 318646 h 496357"/>
              <a:gd name="connsiteX21" fmla="*/ 208346 w 607427"/>
              <a:gd name="connsiteY21" fmla="*/ 335148 h 496357"/>
              <a:gd name="connsiteX22" fmla="*/ 188939 w 607427"/>
              <a:gd name="connsiteY22" fmla="*/ 331254 h 496357"/>
              <a:gd name="connsiteX23" fmla="*/ 170276 w 607427"/>
              <a:gd name="connsiteY23" fmla="*/ 312620 h 496357"/>
              <a:gd name="connsiteX24" fmla="*/ 133135 w 607427"/>
              <a:gd name="connsiteY24" fmla="*/ 275537 h 496357"/>
              <a:gd name="connsiteX25" fmla="*/ 133135 w 607427"/>
              <a:gd name="connsiteY25" fmla="*/ 250414 h 496357"/>
              <a:gd name="connsiteX26" fmla="*/ 170183 w 607427"/>
              <a:gd name="connsiteY26" fmla="*/ 213423 h 496357"/>
              <a:gd name="connsiteX27" fmla="*/ 188939 w 607427"/>
              <a:gd name="connsiteY27" fmla="*/ 194697 h 496357"/>
              <a:gd name="connsiteX28" fmla="*/ 208346 w 607427"/>
              <a:gd name="connsiteY28" fmla="*/ 190803 h 496357"/>
              <a:gd name="connsiteX29" fmla="*/ 219395 w 607427"/>
              <a:gd name="connsiteY29" fmla="*/ 207305 h 496357"/>
              <a:gd name="connsiteX30" fmla="*/ 219395 w 607427"/>
              <a:gd name="connsiteY30" fmla="*/ 213053 h 496357"/>
              <a:gd name="connsiteX31" fmla="*/ 219395 w 607427"/>
              <a:gd name="connsiteY31" fmla="*/ 242997 h 496357"/>
              <a:gd name="connsiteX32" fmla="*/ 332397 w 607427"/>
              <a:gd name="connsiteY32" fmla="*/ 242997 h 496357"/>
              <a:gd name="connsiteX33" fmla="*/ 332397 w 607427"/>
              <a:gd name="connsiteY33" fmla="*/ 213053 h 496357"/>
              <a:gd name="connsiteX34" fmla="*/ 332397 w 607427"/>
              <a:gd name="connsiteY34" fmla="*/ 156223 h 496357"/>
              <a:gd name="connsiteX35" fmla="*/ 350503 w 607427"/>
              <a:gd name="connsiteY35" fmla="*/ 138238 h 496357"/>
              <a:gd name="connsiteX36" fmla="*/ 40294 w 607427"/>
              <a:gd name="connsiteY36" fmla="*/ 0 h 496357"/>
              <a:gd name="connsiteX37" fmla="*/ 258198 w 607427"/>
              <a:gd name="connsiteY37" fmla="*/ 0 h 496357"/>
              <a:gd name="connsiteX38" fmla="*/ 298492 w 607427"/>
              <a:gd name="connsiteY38" fmla="*/ 44407 h 496357"/>
              <a:gd name="connsiteX39" fmla="*/ 298492 w 607427"/>
              <a:gd name="connsiteY39" fmla="*/ 213042 h 496357"/>
              <a:gd name="connsiteX40" fmla="*/ 258476 w 607427"/>
              <a:gd name="connsiteY40" fmla="*/ 213042 h 496357"/>
              <a:gd name="connsiteX41" fmla="*/ 258476 w 607427"/>
              <a:gd name="connsiteY41" fmla="*/ 44407 h 496357"/>
              <a:gd name="connsiteX42" fmla="*/ 256898 w 607427"/>
              <a:gd name="connsiteY42" fmla="*/ 39679 h 496357"/>
              <a:gd name="connsiteX43" fmla="*/ 40480 w 607427"/>
              <a:gd name="connsiteY43" fmla="*/ 39957 h 496357"/>
              <a:gd name="connsiteX44" fmla="*/ 40016 w 607427"/>
              <a:gd name="connsiteY44" fmla="*/ 44407 h 496357"/>
              <a:gd name="connsiteX45" fmla="*/ 40016 w 607427"/>
              <a:gd name="connsiteY45" fmla="*/ 403927 h 496357"/>
              <a:gd name="connsiteX46" fmla="*/ 258476 w 607427"/>
              <a:gd name="connsiteY46" fmla="*/ 403927 h 496357"/>
              <a:gd name="connsiteX47" fmla="*/ 258476 w 607427"/>
              <a:gd name="connsiteY47" fmla="*/ 312981 h 496357"/>
              <a:gd name="connsiteX48" fmla="*/ 298492 w 607427"/>
              <a:gd name="connsiteY48" fmla="*/ 312981 h 496357"/>
              <a:gd name="connsiteX49" fmla="*/ 298492 w 607427"/>
              <a:gd name="connsiteY49" fmla="*/ 451950 h 496357"/>
              <a:gd name="connsiteX50" fmla="*/ 258198 w 607427"/>
              <a:gd name="connsiteY50" fmla="*/ 496357 h 496357"/>
              <a:gd name="connsiteX51" fmla="*/ 40294 w 607427"/>
              <a:gd name="connsiteY51" fmla="*/ 496357 h 496357"/>
              <a:gd name="connsiteX52" fmla="*/ 0 w 607427"/>
              <a:gd name="connsiteY52" fmla="*/ 451950 h 496357"/>
              <a:gd name="connsiteX53" fmla="*/ 0 w 607427"/>
              <a:gd name="connsiteY53" fmla="*/ 44407 h 496357"/>
              <a:gd name="connsiteX54" fmla="*/ 40294 w 607427"/>
              <a:gd name="connsiteY54" fmla="*/ 0 h 496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607427" h="496357">
                <a:moveTo>
                  <a:pt x="149292" y="421449"/>
                </a:moveTo>
                <a:cubicBezTo>
                  <a:pt x="133138" y="421449"/>
                  <a:pt x="120047" y="434521"/>
                  <a:pt x="120047" y="450559"/>
                </a:cubicBezTo>
                <a:cubicBezTo>
                  <a:pt x="120047" y="466691"/>
                  <a:pt x="133138" y="479762"/>
                  <a:pt x="149292" y="479762"/>
                </a:cubicBezTo>
                <a:cubicBezTo>
                  <a:pt x="165447" y="479762"/>
                  <a:pt x="178538" y="466691"/>
                  <a:pt x="178538" y="450559"/>
                </a:cubicBezTo>
                <a:cubicBezTo>
                  <a:pt x="178538" y="434521"/>
                  <a:pt x="165447" y="421449"/>
                  <a:pt x="149292" y="421449"/>
                </a:cubicBezTo>
                <a:close/>
                <a:moveTo>
                  <a:pt x="350503" y="138238"/>
                </a:moveTo>
                <a:lnTo>
                  <a:pt x="426643" y="138238"/>
                </a:lnTo>
                <a:cubicBezTo>
                  <a:pt x="436671" y="138238"/>
                  <a:pt x="444749" y="146304"/>
                  <a:pt x="444749" y="156223"/>
                </a:cubicBezTo>
                <a:lnTo>
                  <a:pt x="444749" y="178566"/>
                </a:lnTo>
                <a:cubicBezTo>
                  <a:pt x="444749" y="179956"/>
                  <a:pt x="445863" y="181161"/>
                  <a:pt x="447256" y="181161"/>
                </a:cubicBezTo>
                <a:lnTo>
                  <a:pt x="589414" y="181161"/>
                </a:lnTo>
                <a:cubicBezTo>
                  <a:pt x="599349" y="181161"/>
                  <a:pt x="607427" y="189227"/>
                  <a:pt x="607427" y="199147"/>
                </a:cubicBezTo>
                <a:lnTo>
                  <a:pt x="607427" y="333572"/>
                </a:lnTo>
                <a:cubicBezTo>
                  <a:pt x="607427" y="343491"/>
                  <a:pt x="599349" y="351557"/>
                  <a:pt x="589414" y="351557"/>
                </a:cubicBezTo>
                <a:lnTo>
                  <a:pt x="350503" y="351557"/>
                </a:lnTo>
                <a:cubicBezTo>
                  <a:pt x="340475" y="351557"/>
                  <a:pt x="332397" y="343491"/>
                  <a:pt x="332397" y="333572"/>
                </a:cubicBezTo>
                <a:lnTo>
                  <a:pt x="332397" y="312991"/>
                </a:lnTo>
                <a:lnTo>
                  <a:pt x="332397" y="283046"/>
                </a:lnTo>
                <a:lnTo>
                  <a:pt x="219395" y="283046"/>
                </a:lnTo>
                <a:lnTo>
                  <a:pt x="219395" y="312991"/>
                </a:lnTo>
                <a:lnTo>
                  <a:pt x="219395" y="318646"/>
                </a:lnTo>
                <a:cubicBezTo>
                  <a:pt x="219395" y="325877"/>
                  <a:pt x="215031" y="332367"/>
                  <a:pt x="208346" y="335148"/>
                </a:cubicBezTo>
                <a:cubicBezTo>
                  <a:pt x="201753" y="337929"/>
                  <a:pt x="194046" y="336353"/>
                  <a:pt x="188939" y="331254"/>
                </a:cubicBezTo>
                <a:lnTo>
                  <a:pt x="170276" y="312620"/>
                </a:lnTo>
                <a:lnTo>
                  <a:pt x="133135" y="275537"/>
                </a:lnTo>
                <a:cubicBezTo>
                  <a:pt x="126171" y="268584"/>
                  <a:pt x="126171" y="257274"/>
                  <a:pt x="133135" y="250414"/>
                </a:cubicBezTo>
                <a:lnTo>
                  <a:pt x="170183" y="213423"/>
                </a:lnTo>
                <a:lnTo>
                  <a:pt x="188939" y="194697"/>
                </a:lnTo>
                <a:cubicBezTo>
                  <a:pt x="194046" y="189598"/>
                  <a:pt x="201753" y="188114"/>
                  <a:pt x="208346" y="190803"/>
                </a:cubicBezTo>
                <a:cubicBezTo>
                  <a:pt x="215031" y="193584"/>
                  <a:pt x="219395" y="200074"/>
                  <a:pt x="219395" y="207305"/>
                </a:cubicBezTo>
                <a:lnTo>
                  <a:pt x="219395" y="213053"/>
                </a:lnTo>
                <a:lnTo>
                  <a:pt x="219395" y="242997"/>
                </a:lnTo>
                <a:lnTo>
                  <a:pt x="332397" y="242997"/>
                </a:lnTo>
                <a:lnTo>
                  <a:pt x="332397" y="213053"/>
                </a:lnTo>
                <a:lnTo>
                  <a:pt x="332397" y="156223"/>
                </a:lnTo>
                <a:cubicBezTo>
                  <a:pt x="332397" y="146304"/>
                  <a:pt x="340475" y="138238"/>
                  <a:pt x="350503" y="138238"/>
                </a:cubicBezTo>
                <a:close/>
                <a:moveTo>
                  <a:pt x="40294" y="0"/>
                </a:moveTo>
                <a:lnTo>
                  <a:pt x="258198" y="0"/>
                </a:lnTo>
                <a:cubicBezTo>
                  <a:pt x="280387" y="0"/>
                  <a:pt x="298492" y="19932"/>
                  <a:pt x="298492" y="44407"/>
                </a:cubicBezTo>
                <a:lnTo>
                  <a:pt x="298492" y="213042"/>
                </a:lnTo>
                <a:lnTo>
                  <a:pt x="258476" y="213042"/>
                </a:lnTo>
                <a:lnTo>
                  <a:pt x="258476" y="44407"/>
                </a:lnTo>
                <a:cubicBezTo>
                  <a:pt x="258476" y="41440"/>
                  <a:pt x="257177" y="39864"/>
                  <a:pt x="256898" y="39679"/>
                </a:cubicBezTo>
                <a:lnTo>
                  <a:pt x="40480" y="39957"/>
                </a:lnTo>
                <a:cubicBezTo>
                  <a:pt x="41223" y="40050"/>
                  <a:pt x="40016" y="41626"/>
                  <a:pt x="40016" y="44407"/>
                </a:cubicBezTo>
                <a:lnTo>
                  <a:pt x="40016" y="403927"/>
                </a:lnTo>
                <a:lnTo>
                  <a:pt x="258476" y="403927"/>
                </a:lnTo>
                <a:lnTo>
                  <a:pt x="258476" y="312981"/>
                </a:lnTo>
                <a:lnTo>
                  <a:pt x="298492" y="312981"/>
                </a:lnTo>
                <a:lnTo>
                  <a:pt x="298492" y="451950"/>
                </a:lnTo>
                <a:cubicBezTo>
                  <a:pt x="298492" y="476425"/>
                  <a:pt x="280387" y="496357"/>
                  <a:pt x="258198" y="496357"/>
                </a:cubicBezTo>
                <a:lnTo>
                  <a:pt x="40294" y="496357"/>
                </a:lnTo>
                <a:cubicBezTo>
                  <a:pt x="18104" y="496357"/>
                  <a:pt x="0" y="476425"/>
                  <a:pt x="0" y="451950"/>
                </a:cubicBezTo>
                <a:lnTo>
                  <a:pt x="0" y="44407"/>
                </a:lnTo>
                <a:cubicBezTo>
                  <a:pt x="0" y="19932"/>
                  <a:pt x="18104" y="0"/>
                  <a:pt x="40294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20" name="直接连接符 19"/>
          <p:cNvCxnSpPr>
            <a:stCxn id="16" idx="2"/>
          </p:cNvCxnSpPr>
          <p:nvPr/>
        </p:nvCxnSpPr>
        <p:spPr>
          <a:xfrm>
            <a:off x="5591140" y="4023271"/>
            <a:ext cx="0" cy="62415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 bwMode="auto">
          <a:xfrm>
            <a:off x="7161350" y="3253829"/>
            <a:ext cx="813043" cy="76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altLang="zh-CN" sz="100" b="1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4</a:t>
            </a:r>
            <a:endParaRPr lang="en-US" altLang="zh-CN" sz="4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3" name="文本框 32"/>
          <p:cNvSpPr txBox="1"/>
          <p:nvPr/>
        </p:nvSpPr>
        <p:spPr bwMode="auto">
          <a:xfrm>
            <a:off x="7161350" y="1392521"/>
            <a:ext cx="238081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7161350" y="1898737"/>
            <a:ext cx="2380817" cy="66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23" name="椭圆 22"/>
          <p:cNvSpPr/>
          <p:nvPr/>
        </p:nvSpPr>
        <p:spPr>
          <a:xfrm>
            <a:off x="6603296" y="1555299"/>
            <a:ext cx="558054" cy="558054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4" name="任意多边形: 形状 23"/>
          <p:cNvSpPr/>
          <p:nvPr/>
        </p:nvSpPr>
        <p:spPr>
          <a:xfrm>
            <a:off x="6721473" y="1643874"/>
            <a:ext cx="321700" cy="380904"/>
          </a:xfrm>
          <a:custGeom>
            <a:avLst/>
            <a:gdLst>
              <a:gd name="connsiteX0" fmla="*/ 172234 w 509680"/>
              <a:gd name="connsiteY0" fmla="*/ 312429 h 603477"/>
              <a:gd name="connsiteX1" fmla="*/ 334458 w 509680"/>
              <a:gd name="connsiteY1" fmla="*/ 312429 h 603477"/>
              <a:gd name="connsiteX2" fmla="*/ 353121 w 509680"/>
              <a:gd name="connsiteY2" fmla="*/ 331026 h 603477"/>
              <a:gd name="connsiteX3" fmla="*/ 334458 w 509680"/>
              <a:gd name="connsiteY3" fmla="*/ 351052 h 603477"/>
              <a:gd name="connsiteX4" fmla="*/ 172234 w 509680"/>
              <a:gd name="connsiteY4" fmla="*/ 351052 h 603477"/>
              <a:gd name="connsiteX5" fmla="*/ 153571 w 509680"/>
              <a:gd name="connsiteY5" fmla="*/ 331026 h 603477"/>
              <a:gd name="connsiteX6" fmla="*/ 172234 w 509680"/>
              <a:gd name="connsiteY6" fmla="*/ 312429 h 603477"/>
              <a:gd name="connsiteX7" fmla="*/ 439330 w 509680"/>
              <a:gd name="connsiteY7" fmla="*/ 283692 h 603477"/>
              <a:gd name="connsiteX8" fmla="*/ 498194 w 509680"/>
              <a:gd name="connsiteY8" fmla="*/ 376903 h 603477"/>
              <a:gd name="connsiteX9" fmla="*/ 509680 w 509680"/>
              <a:gd name="connsiteY9" fmla="*/ 417055 h 603477"/>
              <a:gd name="connsiteX10" fmla="*/ 509680 w 509680"/>
              <a:gd name="connsiteY10" fmla="*/ 554721 h 603477"/>
              <a:gd name="connsiteX11" fmla="*/ 460866 w 509680"/>
              <a:gd name="connsiteY11" fmla="*/ 603477 h 603477"/>
              <a:gd name="connsiteX12" fmla="*/ 48815 w 509680"/>
              <a:gd name="connsiteY12" fmla="*/ 603477 h 603477"/>
              <a:gd name="connsiteX13" fmla="*/ 0 w 509680"/>
              <a:gd name="connsiteY13" fmla="*/ 554721 h 603477"/>
              <a:gd name="connsiteX14" fmla="*/ 0 w 509680"/>
              <a:gd name="connsiteY14" fmla="*/ 417055 h 603477"/>
              <a:gd name="connsiteX15" fmla="*/ 11486 w 509680"/>
              <a:gd name="connsiteY15" fmla="*/ 376903 h 603477"/>
              <a:gd name="connsiteX16" fmla="*/ 66043 w 509680"/>
              <a:gd name="connsiteY16" fmla="*/ 287994 h 603477"/>
              <a:gd name="connsiteX17" fmla="*/ 66043 w 509680"/>
              <a:gd name="connsiteY17" fmla="*/ 359695 h 603477"/>
              <a:gd name="connsiteX18" fmla="*/ 57429 w 509680"/>
              <a:gd name="connsiteY18" fmla="*/ 374035 h 603477"/>
              <a:gd name="connsiteX19" fmla="*/ 57429 w 509680"/>
              <a:gd name="connsiteY19" fmla="*/ 388375 h 603477"/>
              <a:gd name="connsiteX20" fmla="*/ 68915 w 509680"/>
              <a:gd name="connsiteY20" fmla="*/ 395545 h 603477"/>
              <a:gd name="connsiteX21" fmla="*/ 439330 w 509680"/>
              <a:gd name="connsiteY21" fmla="*/ 395545 h 603477"/>
              <a:gd name="connsiteX22" fmla="*/ 452251 w 509680"/>
              <a:gd name="connsiteY22" fmla="*/ 388375 h 603477"/>
              <a:gd name="connsiteX23" fmla="*/ 452251 w 509680"/>
              <a:gd name="connsiteY23" fmla="*/ 374035 h 603477"/>
              <a:gd name="connsiteX24" fmla="*/ 439330 w 509680"/>
              <a:gd name="connsiteY24" fmla="*/ 355393 h 603477"/>
              <a:gd name="connsiteX25" fmla="*/ 172234 w 509680"/>
              <a:gd name="connsiteY25" fmla="*/ 243690 h 603477"/>
              <a:gd name="connsiteX26" fmla="*/ 334458 w 509680"/>
              <a:gd name="connsiteY26" fmla="*/ 243690 h 603477"/>
              <a:gd name="connsiteX27" fmla="*/ 353121 w 509680"/>
              <a:gd name="connsiteY27" fmla="*/ 260904 h 603477"/>
              <a:gd name="connsiteX28" fmla="*/ 334458 w 509680"/>
              <a:gd name="connsiteY28" fmla="*/ 279554 h 603477"/>
              <a:gd name="connsiteX29" fmla="*/ 172234 w 509680"/>
              <a:gd name="connsiteY29" fmla="*/ 279554 h 603477"/>
              <a:gd name="connsiteX30" fmla="*/ 153571 w 509680"/>
              <a:gd name="connsiteY30" fmla="*/ 260904 h 603477"/>
              <a:gd name="connsiteX31" fmla="*/ 172234 w 509680"/>
              <a:gd name="connsiteY31" fmla="*/ 243690 h 603477"/>
              <a:gd name="connsiteX32" fmla="*/ 172238 w 509680"/>
              <a:gd name="connsiteY32" fmla="*/ 171962 h 603477"/>
              <a:gd name="connsiteX33" fmla="*/ 222494 w 509680"/>
              <a:gd name="connsiteY33" fmla="*/ 171962 h 603477"/>
              <a:gd name="connsiteX34" fmla="*/ 241161 w 509680"/>
              <a:gd name="connsiteY34" fmla="*/ 190583 h 603477"/>
              <a:gd name="connsiteX35" fmla="*/ 222494 w 509680"/>
              <a:gd name="connsiteY35" fmla="*/ 209205 h 603477"/>
              <a:gd name="connsiteX36" fmla="*/ 172238 w 509680"/>
              <a:gd name="connsiteY36" fmla="*/ 209205 h 603477"/>
              <a:gd name="connsiteX37" fmla="*/ 153571 w 509680"/>
              <a:gd name="connsiteY37" fmla="*/ 190583 h 603477"/>
              <a:gd name="connsiteX38" fmla="*/ 172238 w 509680"/>
              <a:gd name="connsiteY38" fmla="*/ 171962 h 603477"/>
              <a:gd name="connsiteX39" fmla="*/ 324473 w 509680"/>
              <a:gd name="connsiteY39" fmla="*/ 159012 h 603477"/>
              <a:gd name="connsiteX40" fmla="*/ 324473 w 509680"/>
              <a:gd name="connsiteY40" fmla="*/ 183388 h 603477"/>
              <a:gd name="connsiteX41" fmla="*/ 348891 w 509680"/>
              <a:gd name="connsiteY41" fmla="*/ 183388 h 603477"/>
              <a:gd name="connsiteX42" fmla="*/ 117640 w 509680"/>
              <a:gd name="connsiteY42" fmla="*/ 94487 h 603477"/>
              <a:gd name="connsiteX43" fmla="*/ 284256 w 509680"/>
              <a:gd name="connsiteY43" fmla="*/ 94487 h 603477"/>
              <a:gd name="connsiteX44" fmla="*/ 328782 w 509680"/>
              <a:gd name="connsiteY44" fmla="*/ 111693 h 603477"/>
              <a:gd name="connsiteX45" fmla="*/ 397727 w 509680"/>
              <a:gd name="connsiteY45" fmla="*/ 180520 h 603477"/>
              <a:gd name="connsiteX46" fmla="*/ 414963 w 509680"/>
              <a:gd name="connsiteY46" fmla="*/ 224970 h 603477"/>
              <a:gd name="connsiteX47" fmla="*/ 414963 w 509680"/>
              <a:gd name="connsiteY47" fmla="*/ 372661 h 603477"/>
              <a:gd name="connsiteX48" fmla="*/ 377618 w 509680"/>
              <a:gd name="connsiteY48" fmla="*/ 372661 h 603477"/>
              <a:gd name="connsiteX49" fmla="*/ 377618 w 509680"/>
              <a:gd name="connsiteY49" fmla="*/ 220669 h 603477"/>
              <a:gd name="connsiteX50" fmla="*/ 312983 w 509680"/>
              <a:gd name="connsiteY50" fmla="*/ 220669 h 603477"/>
              <a:gd name="connsiteX51" fmla="*/ 295746 w 509680"/>
              <a:gd name="connsiteY51" fmla="*/ 212065 h 603477"/>
              <a:gd name="connsiteX52" fmla="*/ 287128 w 509680"/>
              <a:gd name="connsiteY52" fmla="*/ 193425 h 603477"/>
              <a:gd name="connsiteX53" fmla="*/ 288565 w 509680"/>
              <a:gd name="connsiteY53" fmla="*/ 131768 h 603477"/>
              <a:gd name="connsiteX54" fmla="*/ 127694 w 509680"/>
              <a:gd name="connsiteY54" fmla="*/ 131768 h 603477"/>
              <a:gd name="connsiteX55" fmla="*/ 127694 w 509680"/>
              <a:gd name="connsiteY55" fmla="*/ 372661 h 603477"/>
              <a:gd name="connsiteX56" fmla="*/ 90349 w 509680"/>
              <a:gd name="connsiteY56" fmla="*/ 372661 h 603477"/>
              <a:gd name="connsiteX57" fmla="*/ 90349 w 509680"/>
              <a:gd name="connsiteY57" fmla="*/ 120297 h 603477"/>
              <a:gd name="connsiteX58" fmla="*/ 117640 w 509680"/>
              <a:gd name="connsiteY58" fmla="*/ 94487 h 603477"/>
              <a:gd name="connsiteX59" fmla="*/ 114754 w 509680"/>
              <a:gd name="connsiteY59" fmla="*/ 0 h 603477"/>
              <a:gd name="connsiteX60" fmla="*/ 388948 w 509680"/>
              <a:gd name="connsiteY60" fmla="*/ 0 h 603477"/>
              <a:gd name="connsiteX61" fmla="*/ 413353 w 509680"/>
              <a:gd name="connsiteY61" fmla="*/ 24356 h 603477"/>
              <a:gd name="connsiteX62" fmla="*/ 413353 w 509680"/>
              <a:gd name="connsiteY62" fmla="*/ 160467 h 603477"/>
              <a:gd name="connsiteX63" fmla="*/ 378899 w 509680"/>
              <a:gd name="connsiteY63" fmla="*/ 123215 h 603477"/>
              <a:gd name="connsiteX64" fmla="*/ 378899 w 509680"/>
              <a:gd name="connsiteY64" fmla="*/ 34386 h 603477"/>
              <a:gd name="connsiteX65" fmla="*/ 124803 w 509680"/>
              <a:gd name="connsiteY65" fmla="*/ 34386 h 603477"/>
              <a:gd name="connsiteX66" fmla="*/ 124803 w 509680"/>
              <a:gd name="connsiteY66" fmla="*/ 64473 h 603477"/>
              <a:gd name="connsiteX67" fmla="*/ 90349 w 509680"/>
              <a:gd name="connsiteY67" fmla="*/ 64473 h 603477"/>
              <a:gd name="connsiteX68" fmla="*/ 90349 w 509680"/>
              <a:gd name="connsiteY68" fmla="*/ 24356 h 603477"/>
              <a:gd name="connsiteX69" fmla="*/ 114754 w 509680"/>
              <a:gd name="connsiteY69" fmla="*/ 0 h 603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509680" h="603477">
                <a:moveTo>
                  <a:pt x="172234" y="312429"/>
                </a:moveTo>
                <a:lnTo>
                  <a:pt x="334458" y="312429"/>
                </a:lnTo>
                <a:cubicBezTo>
                  <a:pt x="345943" y="312429"/>
                  <a:pt x="353121" y="321012"/>
                  <a:pt x="353121" y="331026"/>
                </a:cubicBezTo>
                <a:cubicBezTo>
                  <a:pt x="353121" y="342469"/>
                  <a:pt x="344507" y="351052"/>
                  <a:pt x="334458" y="351052"/>
                </a:cubicBezTo>
                <a:lnTo>
                  <a:pt x="172234" y="351052"/>
                </a:lnTo>
                <a:cubicBezTo>
                  <a:pt x="162185" y="351052"/>
                  <a:pt x="153571" y="342469"/>
                  <a:pt x="153571" y="331026"/>
                </a:cubicBezTo>
                <a:cubicBezTo>
                  <a:pt x="153571" y="321012"/>
                  <a:pt x="162185" y="312429"/>
                  <a:pt x="172234" y="312429"/>
                </a:cubicBezTo>
                <a:close/>
                <a:moveTo>
                  <a:pt x="439330" y="283692"/>
                </a:moveTo>
                <a:lnTo>
                  <a:pt x="498194" y="376903"/>
                </a:lnTo>
                <a:cubicBezTo>
                  <a:pt x="505373" y="388375"/>
                  <a:pt x="509680" y="402715"/>
                  <a:pt x="509680" y="417055"/>
                </a:cubicBezTo>
                <a:lnTo>
                  <a:pt x="509680" y="554721"/>
                </a:lnTo>
                <a:cubicBezTo>
                  <a:pt x="509680" y="581967"/>
                  <a:pt x="488144" y="603477"/>
                  <a:pt x="460866" y="603477"/>
                </a:cubicBezTo>
                <a:lnTo>
                  <a:pt x="48815" y="603477"/>
                </a:lnTo>
                <a:cubicBezTo>
                  <a:pt x="21536" y="603477"/>
                  <a:pt x="0" y="581967"/>
                  <a:pt x="0" y="554721"/>
                </a:cubicBezTo>
                <a:lnTo>
                  <a:pt x="0" y="417055"/>
                </a:lnTo>
                <a:cubicBezTo>
                  <a:pt x="0" y="402715"/>
                  <a:pt x="4307" y="389809"/>
                  <a:pt x="11486" y="376903"/>
                </a:cubicBezTo>
                <a:lnTo>
                  <a:pt x="66043" y="287994"/>
                </a:lnTo>
                <a:lnTo>
                  <a:pt x="66043" y="359695"/>
                </a:lnTo>
                <a:lnTo>
                  <a:pt x="57429" y="374035"/>
                </a:lnTo>
                <a:cubicBezTo>
                  <a:pt x="54557" y="378337"/>
                  <a:pt x="54557" y="384073"/>
                  <a:pt x="57429" y="388375"/>
                </a:cubicBezTo>
                <a:cubicBezTo>
                  <a:pt x="58865" y="392677"/>
                  <a:pt x="63172" y="395545"/>
                  <a:pt x="68915" y="395545"/>
                </a:cubicBezTo>
                <a:lnTo>
                  <a:pt x="439330" y="395545"/>
                </a:lnTo>
                <a:cubicBezTo>
                  <a:pt x="445073" y="395545"/>
                  <a:pt x="449380" y="392677"/>
                  <a:pt x="452251" y="388375"/>
                </a:cubicBezTo>
                <a:cubicBezTo>
                  <a:pt x="453687" y="384073"/>
                  <a:pt x="453687" y="378337"/>
                  <a:pt x="452251" y="374035"/>
                </a:cubicBezTo>
                <a:lnTo>
                  <a:pt x="439330" y="355393"/>
                </a:lnTo>
                <a:close/>
                <a:moveTo>
                  <a:pt x="172234" y="243690"/>
                </a:moveTo>
                <a:lnTo>
                  <a:pt x="334458" y="243690"/>
                </a:lnTo>
                <a:cubicBezTo>
                  <a:pt x="345943" y="243690"/>
                  <a:pt x="353121" y="250863"/>
                  <a:pt x="353121" y="260904"/>
                </a:cubicBezTo>
                <a:cubicBezTo>
                  <a:pt x="353121" y="270946"/>
                  <a:pt x="344507" y="279554"/>
                  <a:pt x="334458" y="279554"/>
                </a:cubicBezTo>
                <a:lnTo>
                  <a:pt x="172234" y="279554"/>
                </a:lnTo>
                <a:cubicBezTo>
                  <a:pt x="162185" y="279554"/>
                  <a:pt x="153571" y="270946"/>
                  <a:pt x="153571" y="260904"/>
                </a:cubicBezTo>
                <a:cubicBezTo>
                  <a:pt x="153571" y="250863"/>
                  <a:pt x="162185" y="243690"/>
                  <a:pt x="172234" y="243690"/>
                </a:cubicBezTo>
                <a:close/>
                <a:moveTo>
                  <a:pt x="172238" y="171962"/>
                </a:moveTo>
                <a:lnTo>
                  <a:pt x="222494" y="171962"/>
                </a:lnTo>
                <a:cubicBezTo>
                  <a:pt x="233982" y="171962"/>
                  <a:pt x="241161" y="180556"/>
                  <a:pt x="241161" y="190583"/>
                </a:cubicBezTo>
                <a:cubicBezTo>
                  <a:pt x="241161" y="200610"/>
                  <a:pt x="233982" y="209205"/>
                  <a:pt x="222494" y="209205"/>
                </a:cubicBezTo>
                <a:lnTo>
                  <a:pt x="172238" y="209205"/>
                </a:lnTo>
                <a:cubicBezTo>
                  <a:pt x="162187" y="209205"/>
                  <a:pt x="153571" y="200610"/>
                  <a:pt x="153571" y="190583"/>
                </a:cubicBezTo>
                <a:cubicBezTo>
                  <a:pt x="153571" y="180556"/>
                  <a:pt x="162187" y="171962"/>
                  <a:pt x="172238" y="171962"/>
                </a:cubicBezTo>
                <a:close/>
                <a:moveTo>
                  <a:pt x="324473" y="159012"/>
                </a:moveTo>
                <a:lnTo>
                  <a:pt x="324473" y="183388"/>
                </a:lnTo>
                <a:lnTo>
                  <a:pt x="348891" y="183388"/>
                </a:lnTo>
                <a:close/>
                <a:moveTo>
                  <a:pt x="117640" y="94487"/>
                </a:moveTo>
                <a:lnTo>
                  <a:pt x="284256" y="94487"/>
                </a:lnTo>
                <a:cubicBezTo>
                  <a:pt x="301492" y="94487"/>
                  <a:pt x="317292" y="100222"/>
                  <a:pt x="328782" y="111693"/>
                </a:cubicBezTo>
                <a:lnTo>
                  <a:pt x="397727" y="180520"/>
                </a:lnTo>
                <a:cubicBezTo>
                  <a:pt x="409218" y="191991"/>
                  <a:pt x="414963" y="207764"/>
                  <a:pt x="414963" y="224970"/>
                </a:cubicBezTo>
                <a:lnTo>
                  <a:pt x="414963" y="372661"/>
                </a:lnTo>
                <a:lnTo>
                  <a:pt x="377618" y="372661"/>
                </a:lnTo>
                <a:lnTo>
                  <a:pt x="377618" y="220669"/>
                </a:lnTo>
                <a:lnTo>
                  <a:pt x="312983" y="220669"/>
                </a:lnTo>
                <a:cubicBezTo>
                  <a:pt x="307237" y="220669"/>
                  <a:pt x="300056" y="217801"/>
                  <a:pt x="295746" y="212065"/>
                </a:cubicBezTo>
                <a:cubicBezTo>
                  <a:pt x="290001" y="207764"/>
                  <a:pt x="287128" y="200594"/>
                  <a:pt x="287128" y="193425"/>
                </a:cubicBezTo>
                <a:lnTo>
                  <a:pt x="288565" y="131768"/>
                </a:lnTo>
                <a:lnTo>
                  <a:pt x="127694" y="131768"/>
                </a:lnTo>
                <a:lnTo>
                  <a:pt x="127694" y="372661"/>
                </a:lnTo>
                <a:lnTo>
                  <a:pt x="90349" y="372661"/>
                </a:lnTo>
                <a:lnTo>
                  <a:pt x="90349" y="120297"/>
                </a:lnTo>
                <a:cubicBezTo>
                  <a:pt x="90349" y="105958"/>
                  <a:pt x="101840" y="94487"/>
                  <a:pt x="117640" y="94487"/>
                </a:cubicBezTo>
                <a:close/>
                <a:moveTo>
                  <a:pt x="114754" y="0"/>
                </a:moveTo>
                <a:lnTo>
                  <a:pt x="388948" y="0"/>
                </a:lnTo>
                <a:cubicBezTo>
                  <a:pt x="403304" y="0"/>
                  <a:pt x="413353" y="11462"/>
                  <a:pt x="413353" y="24356"/>
                </a:cubicBezTo>
                <a:lnTo>
                  <a:pt x="413353" y="160467"/>
                </a:lnTo>
                <a:cubicBezTo>
                  <a:pt x="413353" y="160467"/>
                  <a:pt x="380335" y="123215"/>
                  <a:pt x="378899" y="123215"/>
                </a:cubicBezTo>
                <a:lnTo>
                  <a:pt x="378899" y="34386"/>
                </a:lnTo>
                <a:lnTo>
                  <a:pt x="124803" y="34386"/>
                </a:lnTo>
                <a:lnTo>
                  <a:pt x="124803" y="64473"/>
                </a:lnTo>
                <a:lnTo>
                  <a:pt x="90349" y="64473"/>
                </a:lnTo>
                <a:lnTo>
                  <a:pt x="90349" y="24356"/>
                </a:lnTo>
                <a:cubicBezTo>
                  <a:pt x="90349" y="11462"/>
                  <a:pt x="101834" y="0"/>
                  <a:pt x="114754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25" name="直接连接符 24"/>
          <p:cNvCxnSpPr>
            <a:stCxn id="21" idx="0"/>
          </p:cNvCxnSpPr>
          <p:nvPr/>
        </p:nvCxnSpPr>
        <p:spPr>
          <a:xfrm flipV="1">
            <a:off x="7567872" y="2629673"/>
            <a:ext cx="0" cy="624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/>
          <p:cNvSpPr txBox="1"/>
          <p:nvPr/>
        </p:nvSpPr>
        <p:spPr bwMode="auto">
          <a:xfrm>
            <a:off x="9138083" y="3253829"/>
            <a:ext cx="813043" cy="76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altLang="zh-CN" sz="100" b="1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altLang="zh-CN" sz="4400" b="1">
                <a:solidFill>
                  <a:schemeClr val="bg1">
                    <a:lumMod val="85000"/>
                  </a:schemeClr>
                </a:solidFill>
              </a:rPr>
              <a:t>5</a:t>
            </a:r>
            <a:endParaRPr lang="en-US" altLang="zh-CN" sz="44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1" name="文本框 30"/>
          <p:cNvSpPr txBox="1"/>
          <p:nvPr/>
        </p:nvSpPr>
        <p:spPr bwMode="auto">
          <a:xfrm>
            <a:off x="9138083" y="4711018"/>
            <a:ext cx="238081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9138083" y="5217234"/>
            <a:ext cx="2380817" cy="66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4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ex</a:t>
            </a:r>
            <a:r>
              <a:rPr lang="en-US" altLang="zh-CN" sz="100"/>
              <a:t> </a:t>
            </a:r>
            <a:r>
              <a:rPr lang="en-US" altLang="zh-CN" sz="1100"/>
              <a:t>t</a:t>
            </a:r>
            <a:r>
              <a:rPr lang="en-US" altLang="zh-CN" sz="1100" dirty="0"/>
              <a:t>……</a:t>
            </a:r>
          </a:p>
        </p:txBody>
      </p:sp>
      <p:sp>
        <p:nvSpPr>
          <p:cNvPr id="28" name="椭圆 27"/>
          <p:cNvSpPr/>
          <p:nvPr/>
        </p:nvSpPr>
        <p:spPr>
          <a:xfrm>
            <a:off x="8580029" y="4873796"/>
            <a:ext cx="558054" cy="558054"/>
          </a:xfrm>
          <a:prstGeom prst="ellipse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8668604" y="5014699"/>
            <a:ext cx="380904" cy="276249"/>
          </a:xfrm>
          <a:custGeom>
            <a:avLst/>
            <a:gdLst>
              <a:gd name="T0" fmla="*/ 1232 w 1304"/>
              <a:gd name="T1" fmla="*/ 539 h 947"/>
              <a:gd name="T2" fmla="*/ 1240 w 1304"/>
              <a:gd name="T3" fmla="*/ 472 h 947"/>
              <a:gd name="T4" fmla="*/ 937 w 1304"/>
              <a:gd name="T5" fmla="*/ 169 h 947"/>
              <a:gd name="T6" fmla="*/ 842 w 1304"/>
              <a:gd name="T7" fmla="*/ 184 h 947"/>
              <a:gd name="T8" fmla="*/ 500 w 1304"/>
              <a:gd name="T9" fmla="*/ 0 h 947"/>
              <a:gd name="T10" fmla="*/ 90 w 1304"/>
              <a:gd name="T11" fmla="*/ 410 h 947"/>
              <a:gd name="T12" fmla="*/ 103 w 1304"/>
              <a:gd name="T13" fmla="*/ 513 h 947"/>
              <a:gd name="T14" fmla="*/ 0 w 1304"/>
              <a:gd name="T15" fmla="*/ 709 h 947"/>
              <a:gd name="T16" fmla="*/ 238 w 1304"/>
              <a:gd name="T17" fmla="*/ 947 h 947"/>
              <a:gd name="T18" fmla="*/ 1067 w 1304"/>
              <a:gd name="T19" fmla="*/ 947 h 947"/>
              <a:gd name="T20" fmla="*/ 1304 w 1304"/>
              <a:gd name="T21" fmla="*/ 709 h 947"/>
              <a:gd name="T22" fmla="*/ 1232 w 1304"/>
              <a:gd name="T23" fmla="*/ 539 h 947"/>
              <a:gd name="T24" fmla="*/ 427 w 1304"/>
              <a:gd name="T25" fmla="*/ 441 h 947"/>
              <a:gd name="T26" fmla="*/ 646 w 1304"/>
              <a:gd name="T27" fmla="*/ 223 h 947"/>
              <a:gd name="T28" fmla="*/ 652 w 1304"/>
              <a:gd name="T29" fmla="*/ 220 h 947"/>
              <a:gd name="T30" fmla="*/ 659 w 1304"/>
              <a:gd name="T31" fmla="*/ 223 h 947"/>
              <a:gd name="T32" fmla="*/ 877 w 1304"/>
              <a:gd name="T33" fmla="*/ 441 h 947"/>
              <a:gd name="T34" fmla="*/ 880 w 1304"/>
              <a:gd name="T35" fmla="*/ 448 h 947"/>
              <a:gd name="T36" fmla="*/ 877 w 1304"/>
              <a:gd name="T37" fmla="*/ 454 h 947"/>
              <a:gd name="T38" fmla="*/ 816 w 1304"/>
              <a:gd name="T39" fmla="*/ 516 h 947"/>
              <a:gd name="T40" fmla="*/ 803 w 1304"/>
              <a:gd name="T41" fmla="*/ 516 h 947"/>
              <a:gd name="T42" fmla="*/ 708 w 1304"/>
              <a:gd name="T43" fmla="*/ 422 h 947"/>
              <a:gd name="T44" fmla="*/ 708 w 1304"/>
              <a:gd name="T45" fmla="*/ 826 h 947"/>
              <a:gd name="T46" fmla="*/ 699 w 1304"/>
              <a:gd name="T47" fmla="*/ 835 h 947"/>
              <a:gd name="T48" fmla="*/ 605 w 1304"/>
              <a:gd name="T49" fmla="*/ 835 h 947"/>
              <a:gd name="T50" fmla="*/ 596 w 1304"/>
              <a:gd name="T51" fmla="*/ 826 h 947"/>
              <a:gd name="T52" fmla="*/ 596 w 1304"/>
              <a:gd name="T53" fmla="*/ 422 h 947"/>
              <a:gd name="T54" fmla="*/ 502 w 1304"/>
              <a:gd name="T55" fmla="*/ 516 h 947"/>
              <a:gd name="T56" fmla="*/ 489 w 1304"/>
              <a:gd name="T57" fmla="*/ 516 h 947"/>
              <a:gd name="T58" fmla="*/ 427 w 1304"/>
              <a:gd name="T59" fmla="*/ 454 h 947"/>
              <a:gd name="T60" fmla="*/ 424 w 1304"/>
              <a:gd name="T61" fmla="*/ 448 h 947"/>
              <a:gd name="T62" fmla="*/ 427 w 1304"/>
              <a:gd name="T63" fmla="*/ 441 h 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04" h="947">
                <a:moveTo>
                  <a:pt x="1232" y="539"/>
                </a:moveTo>
                <a:cubicBezTo>
                  <a:pt x="1237" y="517"/>
                  <a:pt x="1240" y="495"/>
                  <a:pt x="1240" y="472"/>
                </a:cubicBezTo>
                <a:cubicBezTo>
                  <a:pt x="1240" y="304"/>
                  <a:pt x="1104" y="169"/>
                  <a:pt x="937" y="169"/>
                </a:cubicBezTo>
                <a:cubicBezTo>
                  <a:pt x="904" y="169"/>
                  <a:pt x="872" y="174"/>
                  <a:pt x="842" y="184"/>
                </a:cubicBezTo>
                <a:cubicBezTo>
                  <a:pt x="769" y="73"/>
                  <a:pt x="643" y="0"/>
                  <a:pt x="500" y="0"/>
                </a:cubicBezTo>
                <a:cubicBezTo>
                  <a:pt x="273" y="0"/>
                  <a:pt x="90" y="183"/>
                  <a:pt x="90" y="410"/>
                </a:cubicBezTo>
                <a:cubicBezTo>
                  <a:pt x="90" y="445"/>
                  <a:pt x="94" y="480"/>
                  <a:pt x="103" y="513"/>
                </a:cubicBezTo>
                <a:cubicBezTo>
                  <a:pt x="41" y="556"/>
                  <a:pt x="0" y="628"/>
                  <a:pt x="0" y="709"/>
                </a:cubicBezTo>
                <a:cubicBezTo>
                  <a:pt x="0" y="840"/>
                  <a:pt x="106" y="947"/>
                  <a:pt x="238" y="947"/>
                </a:cubicBezTo>
                <a:lnTo>
                  <a:pt x="1067" y="947"/>
                </a:lnTo>
                <a:cubicBezTo>
                  <a:pt x="1198" y="947"/>
                  <a:pt x="1304" y="840"/>
                  <a:pt x="1304" y="709"/>
                </a:cubicBezTo>
                <a:cubicBezTo>
                  <a:pt x="1304" y="642"/>
                  <a:pt x="1277" y="582"/>
                  <a:pt x="1232" y="539"/>
                </a:cubicBezTo>
                <a:close/>
                <a:moveTo>
                  <a:pt x="427" y="441"/>
                </a:moveTo>
                <a:lnTo>
                  <a:pt x="646" y="223"/>
                </a:lnTo>
                <a:cubicBezTo>
                  <a:pt x="647" y="221"/>
                  <a:pt x="650" y="220"/>
                  <a:pt x="652" y="220"/>
                </a:cubicBezTo>
                <a:cubicBezTo>
                  <a:pt x="655" y="220"/>
                  <a:pt x="657" y="221"/>
                  <a:pt x="659" y="223"/>
                </a:cubicBezTo>
                <a:lnTo>
                  <a:pt x="877" y="441"/>
                </a:lnTo>
                <a:cubicBezTo>
                  <a:pt x="879" y="443"/>
                  <a:pt x="880" y="445"/>
                  <a:pt x="880" y="448"/>
                </a:cubicBezTo>
                <a:cubicBezTo>
                  <a:pt x="880" y="450"/>
                  <a:pt x="879" y="453"/>
                  <a:pt x="877" y="454"/>
                </a:cubicBezTo>
                <a:lnTo>
                  <a:pt x="816" y="516"/>
                </a:lnTo>
                <a:cubicBezTo>
                  <a:pt x="812" y="520"/>
                  <a:pt x="806" y="520"/>
                  <a:pt x="803" y="516"/>
                </a:cubicBezTo>
                <a:lnTo>
                  <a:pt x="708" y="422"/>
                </a:lnTo>
                <a:lnTo>
                  <a:pt x="708" y="826"/>
                </a:lnTo>
                <a:cubicBezTo>
                  <a:pt x="708" y="831"/>
                  <a:pt x="704" y="835"/>
                  <a:pt x="699" y="835"/>
                </a:cubicBezTo>
                <a:lnTo>
                  <a:pt x="605" y="835"/>
                </a:lnTo>
                <a:cubicBezTo>
                  <a:pt x="600" y="835"/>
                  <a:pt x="596" y="831"/>
                  <a:pt x="596" y="826"/>
                </a:cubicBezTo>
                <a:lnTo>
                  <a:pt x="596" y="422"/>
                </a:lnTo>
                <a:lnTo>
                  <a:pt x="502" y="516"/>
                </a:lnTo>
                <a:cubicBezTo>
                  <a:pt x="498" y="520"/>
                  <a:pt x="492" y="520"/>
                  <a:pt x="489" y="516"/>
                </a:cubicBezTo>
                <a:lnTo>
                  <a:pt x="427" y="454"/>
                </a:lnTo>
                <a:cubicBezTo>
                  <a:pt x="425" y="453"/>
                  <a:pt x="424" y="450"/>
                  <a:pt x="424" y="448"/>
                </a:cubicBezTo>
                <a:cubicBezTo>
                  <a:pt x="424" y="445"/>
                  <a:pt x="425" y="443"/>
                  <a:pt x="427" y="441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cxnSp>
        <p:nvCxnSpPr>
          <p:cNvPr id="30" name="直接连接符 29"/>
          <p:cNvCxnSpPr>
            <a:stCxn id="26" idx="2"/>
          </p:cNvCxnSpPr>
          <p:nvPr/>
        </p:nvCxnSpPr>
        <p:spPr>
          <a:xfrm>
            <a:off x="9544605" y="4023270"/>
            <a:ext cx="0" cy="624158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sysDash"/>
            <a:round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9926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000" dirty="0"/>
              <a:t>Thanks</a:t>
            </a:r>
            <a:r>
              <a:rPr lang="zh-CN" altLang="en-US" sz="6000" dirty="0"/>
              <a:t>！</a:t>
            </a:r>
            <a:br>
              <a:rPr lang="en-US" altLang="zh-CN" dirty="0"/>
            </a:br>
            <a:r>
              <a:rPr lang="en-US" altLang="zh-CN" dirty="0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grpSp>
        <p:nvGrpSpPr>
          <p:cNvPr id="8" name="组合 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7D0D7FB-1702-48E0-BB2A-3511E2120E3C}"/>
              </a:ext>
            </a:extLst>
          </p:cNvPr>
          <p:cNvGrpSpPr>
            <a:grpSpLocks noChangeAspect="1"/>
          </p:cNvGrpSpPr>
          <p:nvPr/>
        </p:nvGrpSpPr>
        <p:grpSpPr>
          <a:xfrm>
            <a:off x="901198" y="630418"/>
            <a:ext cx="1696860" cy="1355389"/>
            <a:chOff x="3321051" y="1211263"/>
            <a:chExt cx="5549900" cy="4433053"/>
          </a:xfrm>
          <a:solidFill>
            <a:schemeClr val="accent3"/>
          </a:solidFill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FB2D993-CF96-4AFF-B8F3-2E8706DB6A43}"/>
                </a:ext>
              </a:extLst>
            </p:cNvPr>
            <p:cNvSpPr/>
            <p:nvPr/>
          </p:nvSpPr>
          <p:spPr bwMode="auto">
            <a:xfrm>
              <a:off x="3431672" y="1211263"/>
              <a:ext cx="2752767" cy="2684463"/>
            </a:xfrm>
            <a:custGeom>
              <a:avLst/>
              <a:gdLst>
                <a:gd name="connsiteX0" fmla="*/ 923383 w 2752767"/>
                <a:gd name="connsiteY0" fmla="*/ 2595557 h 2684463"/>
                <a:gd name="connsiteX1" fmla="*/ 915962 w 2752767"/>
                <a:gd name="connsiteY1" fmla="*/ 2610375 h 2684463"/>
                <a:gd name="connsiteX2" fmla="*/ 918436 w 2752767"/>
                <a:gd name="connsiteY2" fmla="*/ 2612845 h 2684463"/>
                <a:gd name="connsiteX3" fmla="*/ 928331 w 2752767"/>
                <a:gd name="connsiteY3" fmla="*/ 2598027 h 2684463"/>
                <a:gd name="connsiteX4" fmla="*/ 923383 w 2752767"/>
                <a:gd name="connsiteY4" fmla="*/ 2595557 h 2684463"/>
                <a:gd name="connsiteX5" fmla="*/ 945647 w 2752767"/>
                <a:gd name="connsiteY5" fmla="*/ 2558513 h 2684463"/>
                <a:gd name="connsiteX6" fmla="*/ 938226 w 2752767"/>
                <a:gd name="connsiteY6" fmla="*/ 2573331 h 2684463"/>
                <a:gd name="connsiteX7" fmla="*/ 943173 w 2752767"/>
                <a:gd name="connsiteY7" fmla="*/ 2575800 h 2684463"/>
                <a:gd name="connsiteX8" fmla="*/ 950594 w 2752767"/>
                <a:gd name="connsiteY8" fmla="*/ 2560983 h 2684463"/>
                <a:gd name="connsiteX9" fmla="*/ 945647 w 2752767"/>
                <a:gd name="connsiteY9" fmla="*/ 2558513 h 2684463"/>
                <a:gd name="connsiteX10" fmla="*/ 1019858 w 2752767"/>
                <a:gd name="connsiteY10" fmla="*/ 2452320 h 2684463"/>
                <a:gd name="connsiteX11" fmla="*/ 1012437 w 2752767"/>
                <a:gd name="connsiteY11" fmla="*/ 2464668 h 2684463"/>
                <a:gd name="connsiteX12" fmla="*/ 1014911 w 2752767"/>
                <a:gd name="connsiteY12" fmla="*/ 2467138 h 2684463"/>
                <a:gd name="connsiteX13" fmla="*/ 1024806 w 2752767"/>
                <a:gd name="connsiteY13" fmla="*/ 2454790 h 2684463"/>
                <a:gd name="connsiteX14" fmla="*/ 1019858 w 2752767"/>
                <a:gd name="connsiteY14" fmla="*/ 2452320 h 2684463"/>
                <a:gd name="connsiteX15" fmla="*/ 1059438 w 2752767"/>
                <a:gd name="connsiteY15" fmla="*/ 2397989 h 2684463"/>
                <a:gd name="connsiteX16" fmla="*/ 1052016 w 2752767"/>
                <a:gd name="connsiteY16" fmla="*/ 2410337 h 2684463"/>
                <a:gd name="connsiteX17" fmla="*/ 1056964 w 2752767"/>
                <a:gd name="connsiteY17" fmla="*/ 2415276 h 2684463"/>
                <a:gd name="connsiteX18" fmla="*/ 1066859 w 2752767"/>
                <a:gd name="connsiteY18" fmla="*/ 2405398 h 2684463"/>
                <a:gd name="connsiteX19" fmla="*/ 1059438 w 2752767"/>
                <a:gd name="connsiteY19" fmla="*/ 2397989 h 2684463"/>
                <a:gd name="connsiteX20" fmla="*/ 1148491 w 2752767"/>
                <a:gd name="connsiteY20" fmla="*/ 2311552 h 2684463"/>
                <a:gd name="connsiteX21" fmla="*/ 1106438 w 2752767"/>
                <a:gd name="connsiteY21" fmla="*/ 2333779 h 2684463"/>
                <a:gd name="connsiteX22" fmla="*/ 1096543 w 2752767"/>
                <a:gd name="connsiteY22" fmla="*/ 2348597 h 2684463"/>
                <a:gd name="connsiteX23" fmla="*/ 1069332 w 2752767"/>
                <a:gd name="connsiteY23" fmla="*/ 2383171 h 2684463"/>
                <a:gd name="connsiteX24" fmla="*/ 1074280 w 2752767"/>
                <a:gd name="connsiteY24" fmla="*/ 2388110 h 2684463"/>
                <a:gd name="connsiteX25" fmla="*/ 1148491 w 2752767"/>
                <a:gd name="connsiteY25" fmla="*/ 2311552 h 2684463"/>
                <a:gd name="connsiteX26" fmla="*/ 1170755 w 2752767"/>
                <a:gd name="connsiteY26" fmla="*/ 2276978 h 2684463"/>
                <a:gd name="connsiteX27" fmla="*/ 1153439 w 2752767"/>
                <a:gd name="connsiteY27" fmla="*/ 2294265 h 2684463"/>
                <a:gd name="connsiteX28" fmla="*/ 1158386 w 2752767"/>
                <a:gd name="connsiteY28" fmla="*/ 2299204 h 2684463"/>
                <a:gd name="connsiteX29" fmla="*/ 1178176 w 2752767"/>
                <a:gd name="connsiteY29" fmla="*/ 2281917 h 2684463"/>
                <a:gd name="connsiteX30" fmla="*/ 1170755 w 2752767"/>
                <a:gd name="connsiteY30" fmla="*/ 2276978 h 2684463"/>
                <a:gd name="connsiteX31" fmla="*/ 715591 w 2752767"/>
                <a:gd name="connsiteY31" fmla="*/ 1943581 h 2684463"/>
                <a:gd name="connsiteX32" fmla="*/ 718065 w 2752767"/>
                <a:gd name="connsiteY32" fmla="*/ 1965807 h 2684463"/>
                <a:gd name="connsiteX33" fmla="*/ 715591 w 2752767"/>
                <a:gd name="connsiteY33" fmla="*/ 1943581 h 2684463"/>
                <a:gd name="connsiteX34" fmla="*/ 688084 w 2752767"/>
                <a:gd name="connsiteY34" fmla="*/ 510472 h 2684463"/>
                <a:gd name="connsiteX35" fmla="*/ 747541 w 2752767"/>
                <a:gd name="connsiteY35" fmla="*/ 522832 h 2684463"/>
                <a:gd name="connsiteX36" fmla="*/ 806998 w 2752767"/>
                <a:gd name="connsiteY36" fmla="*/ 540136 h 2684463"/>
                <a:gd name="connsiteX37" fmla="*/ 839204 w 2752767"/>
                <a:gd name="connsiteY37" fmla="*/ 540136 h 2684463"/>
                <a:gd name="connsiteX38" fmla="*/ 982892 w 2752767"/>
                <a:gd name="connsiteY38" fmla="*/ 517888 h 2684463"/>
                <a:gd name="connsiteX39" fmla="*/ 1020053 w 2752767"/>
                <a:gd name="connsiteY39" fmla="*/ 515416 h 2684463"/>
                <a:gd name="connsiteX40" fmla="*/ 1089420 w 2752767"/>
                <a:gd name="connsiteY40" fmla="*/ 515416 h 2684463"/>
                <a:gd name="connsiteX41" fmla="*/ 1188515 w 2752767"/>
                <a:gd name="connsiteY41" fmla="*/ 525304 h 2684463"/>
                <a:gd name="connsiteX42" fmla="*/ 1349545 w 2752767"/>
                <a:gd name="connsiteY42" fmla="*/ 589575 h 2684463"/>
                <a:gd name="connsiteX43" fmla="*/ 1361932 w 2752767"/>
                <a:gd name="connsiteY43" fmla="*/ 601935 h 2684463"/>
                <a:gd name="connsiteX44" fmla="*/ 1391660 w 2752767"/>
                <a:gd name="connsiteY44" fmla="*/ 678566 h 2684463"/>
                <a:gd name="connsiteX45" fmla="*/ 1379273 w 2752767"/>
                <a:gd name="connsiteY45" fmla="*/ 732949 h 2684463"/>
                <a:gd name="connsiteX46" fmla="*/ 1327248 w 2752767"/>
                <a:gd name="connsiteY46" fmla="*/ 782388 h 2684463"/>
                <a:gd name="connsiteX47" fmla="*/ 1250449 w 2752767"/>
                <a:gd name="connsiteY47" fmla="*/ 819468 h 2684463"/>
                <a:gd name="connsiteX48" fmla="*/ 1205857 w 2752767"/>
                <a:gd name="connsiteY48" fmla="*/ 829355 h 2684463"/>
                <a:gd name="connsiteX49" fmla="*/ 1121626 w 2752767"/>
                <a:gd name="connsiteY49" fmla="*/ 846659 h 2684463"/>
                <a:gd name="connsiteX50" fmla="*/ 1007666 w 2752767"/>
                <a:gd name="connsiteY50" fmla="*/ 824412 h 2684463"/>
                <a:gd name="connsiteX51" fmla="*/ 740109 w 2752767"/>
                <a:gd name="connsiteY51" fmla="*/ 604407 h 2684463"/>
                <a:gd name="connsiteX52" fmla="*/ 690561 w 2752767"/>
                <a:gd name="connsiteY52" fmla="*/ 542608 h 2684463"/>
                <a:gd name="connsiteX53" fmla="*/ 688084 w 2752767"/>
                <a:gd name="connsiteY53" fmla="*/ 510472 h 2684463"/>
                <a:gd name="connsiteX54" fmla="*/ 1472547 w 2752767"/>
                <a:gd name="connsiteY54" fmla="*/ 59271 h 2684463"/>
                <a:gd name="connsiteX55" fmla="*/ 1470074 w 2752767"/>
                <a:gd name="connsiteY55" fmla="*/ 71619 h 2684463"/>
                <a:gd name="connsiteX56" fmla="*/ 1484916 w 2752767"/>
                <a:gd name="connsiteY56" fmla="*/ 232143 h 2684463"/>
                <a:gd name="connsiteX57" fmla="*/ 1499758 w 2752767"/>
                <a:gd name="connsiteY57" fmla="*/ 446999 h 2684463"/>
                <a:gd name="connsiteX58" fmla="*/ 1504706 w 2752767"/>
                <a:gd name="connsiteY58" fmla="*/ 488982 h 2684463"/>
                <a:gd name="connsiteX59" fmla="*/ 1524495 w 2752767"/>
                <a:gd name="connsiteY59" fmla="*/ 605054 h 2684463"/>
                <a:gd name="connsiteX60" fmla="*/ 1551706 w 2752767"/>
                <a:gd name="connsiteY60" fmla="*/ 805092 h 2684463"/>
                <a:gd name="connsiteX61" fmla="*/ 1566549 w 2752767"/>
                <a:gd name="connsiteY61" fmla="*/ 832258 h 2684463"/>
                <a:gd name="connsiteX62" fmla="*/ 1561601 w 2752767"/>
                <a:gd name="connsiteY62" fmla="*/ 760639 h 2684463"/>
                <a:gd name="connsiteX63" fmla="*/ 1549233 w 2752767"/>
                <a:gd name="connsiteY63" fmla="*/ 686551 h 2684463"/>
                <a:gd name="connsiteX64" fmla="*/ 1541811 w 2752767"/>
                <a:gd name="connsiteY64" fmla="*/ 617402 h 2684463"/>
                <a:gd name="connsiteX65" fmla="*/ 1524495 w 2752767"/>
                <a:gd name="connsiteY65" fmla="*/ 498861 h 2684463"/>
                <a:gd name="connsiteX66" fmla="*/ 1522022 w 2752767"/>
                <a:gd name="connsiteY66" fmla="*/ 427242 h 2684463"/>
                <a:gd name="connsiteX67" fmla="*/ 1509653 w 2752767"/>
                <a:gd name="connsiteY67" fmla="*/ 338336 h 2684463"/>
                <a:gd name="connsiteX68" fmla="*/ 1497285 w 2752767"/>
                <a:gd name="connsiteY68" fmla="*/ 190160 h 2684463"/>
                <a:gd name="connsiteX69" fmla="*/ 1482442 w 2752767"/>
                <a:gd name="connsiteY69" fmla="*/ 81497 h 2684463"/>
                <a:gd name="connsiteX70" fmla="*/ 1472547 w 2752767"/>
                <a:gd name="connsiteY70" fmla="*/ 59271 h 2684463"/>
                <a:gd name="connsiteX71" fmla="*/ 1440389 w 2752767"/>
                <a:gd name="connsiteY71" fmla="*/ 0 h 2684463"/>
                <a:gd name="connsiteX72" fmla="*/ 1487390 w 2752767"/>
                <a:gd name="connsiteY72" fmla="*/ 22226 h 2684463"/>
                <a:gd name="connsiteX73" fmla="*/ 1672918 w 2752767"/>
                <a:gd name="connsiteY73" fmla="*/ 150646 h 2684463"/>
                <a:gd name="connsiteX74" fmla="*/ 1781762 w 2752767"/>
                <a:gd name="connsiteY74" fmla="*/ 244491 h 2684463"/>
                <a:gd name="connsiteX75" fmla="*/ 1831236 w 2752767"/>
                <a:gd name="connsiteY75" fmla="*/ 284005 h 2684463"/>
                <a:gd name="connsiteX76" fmla="*/ 1930184 w 2752767"/>
                <a:gd name="connsiteY76" fmla="*/ 358093 h 2684463"/>
                <a:gd name="connsiteX77" fmla="*/ 1967290 w 2752767"/>
                <a:gd name="connsiteY77" fmla="*/ 449468 h 2684463"/>
                <a:gd name="connsiteX78" fmla="*/ 1969764 w 2752767"/>
                <a:gd name="connsiteY78" fmla="*/ 560601 h 2684463"/>
                <a:gd name="connsiteX79" fmla="*/ 2068712 w 2752767"/>
                <a:gd name="connsiteY79" fmla="*/ 518618 h 2684463"/>
                <a:gd name="connsiteX80" fmla="*/ 2165187 w 2752767"/>
                <a:gd name="connsiteY80" fmla="*/ 479104 h 2684463"/>
                <a:gd name="connsiteX81" fmla="*/ 2014290 w 2752767"/>
                <a:gd name="connsiteY81" fmla="*/ 526026 h 2684463"/>
                <a:gd name="connsiteX82" fmla="*/ 2009343 w 2752767"/>
                <a:gd name="connsiteY82" fmla="*/ 501330 h 2684463"/>
                <a:gd name="connsiteX83" fmla="*/ 2078607 w 2752767"/>
                <a:gd name="connsiteY83" fmla="*/ 409955 h 2684463"/>
                <a:gd name="connsiteX84" fmla="*/ 2076133 w 2752767"/>
                <a:gd name="connsiteY84" fmla="*/ 387728 h 2684463"/>
                <a:gd name="connsiteX85" fmla="*/ 2058817 w 2752767"/>
                <a:gd name="connsiteY85" fmla="*/ 370441 h 2684463"/>
                <a:gd name="connsiteX86" fmla="*/ 1940079 w 2752767"/>
                <a:gd name="connsiteY86" fmla="*/ 256839 h 2684463"/>
                <a:gd name="connsiteX87" fmla="*/ 1920289 w 2752767"/>
                <a:gd name="connsiteY87" fmla="*/ 222265 h 2684463"/>
                <a:gd name="connsiteX88" fmla="*/ 1930184 w 2752767"/>
                <a:gd name="connsiteY88" fmla="*/ 195099 h 2684463"/>
                <a:gd name="connsiteX89" fmla="*/ 1954921 w 2752767"/>
                <a:gd name="connsiteY89" fmla="*/ 180281 h 2684463"/>
                <a:gd name="connsiteX90" fmla="*/ 1979659 w 2752767"/>
                <a:gd name="connsiteY90" fmla="*/ 162994 h 2684463"/>
                <a:gd name="connsiteX91" fmla="*/ 2095923 w 2752767"/>
                <a:gd name="connsiteY91" fmla="*/ 111132 h 2684463"/>
                <a:gd name="connsiteX92" fmla="*/ 2249293 w 2752767"/>
                <a:gd name="connsiteY92" fmla="*/ 69149 h 2684463"/>
                <a:gd name="connsiteX93" fmla="*/ 2306188 w 2752767"/>
                <a:gd name="connsiteY93" fmla="*/ 86436 h 2684463"/>
                <a:gd name="connsiteX94" fmla="*/ 2489243 w 2752767"/>
                <a:gd name="connsiteY94" fmla="*/ 239552 h 2684463"/>
                <a:gd name="connsiteX95" fmla="*/ 2523875 w 2752767"/>
                <a:gd name="connsiteY95" fmla="*/ 303762 h 2684463"/>
                <a:gd name="connsiteX96" fmla="*/ 2538717 w 2752767"/>
                <a:gd name="connsiteY96" fmla="*/ 321049 h 2684463"/>
                <a:gd name="connsiteX97" fmla="*/ 2585718 w 2752767"/>
                <a:gd name="connsiteY97" fmla="*/ 375380 h 2684463"/>
                <a:gd name="connsiteX98" fmla="*/ 2548612 w 2752767"/>
                <a:gd name="connsiteY98" fmla="*/ 390198 h 2684463"/>
                <a:gd name="connsiteX99" fmla="*/ 2457085 w 2752767"/>
                <a:gd name="connsiteY99" fmla="*/ 407485 h 2684463"/>
                <a:gd name="connsiteX100" fmla="*/ 2301241 w 2752767"/>
                <a:gd name="connsiteY100" fmla="*/ 446999 h 2684463"/>
                <a:gd name="connsiteX101" fmla="*/ 2199819 w 2752767"/>
                <a:gd name="connsiteY101" fmla="*/ 481573 h 2684463"/>
                <a:gd name="connsiteX102" fmla="*/ 2034080 w 2752767"/>
                <a:gd name="connsiteY102" fmla="*/ 550722 h 2684463"/>
                <a:gd name="connsiteX103" fmla="*/ 1972237 w 2752767"/>
                <a:gd name="connsiteY103" fmla="*/ 575419 h 2684463"/>
                <a:gd name="connsiteX104" fmla="*/ 1977185 w 2752767"/>
                <a:gd name="connsiteY104" fmla="*/ 691490 h 2684463"/>
                <a:gd name="connsiteX105" fmla="*/ 2039028 w 2752767"/>
                <a:gd name="connsiteY105" fmla="*/ 669264 h 2684463"/>
                <a:gd name="connsiteX106" fmla="*/ 2093449 w 2752767"/>
                <a:gd name="connsiteY106" fmla="*/ 654446 h 2684463"/>
                <a:gd name="connsiteX107" fmla="*/ 2103344 w 2752767"/>
                <a:gd name="connsiteY107" fmla="*/ 654446 h 2684463"/>
                <a:gd name="connsiteX108" fmla="*/ 2214661 w 2752767"/>
                <a:gd name="connsiteY108" fmla="*/ 624811 h 2684463"/>
                <a:gd name="connsiteX109" fmla="*/ 2298767 w 2752767"/>
                <a:gd name="connsiteY109" fmla="*/ 607523 h 2684463"/>
                <a:gd name="connsiteX110" fmla="*/ 2313610 w 2752767"/>
                <a:gd name="connsiteY110" fmla="*/ 605054 h 2684463"/>
                <a:gd name="connsiteX111" fmla="*/ 2476875 w 2752767"/>
                <a:gd name="connsiteY111" fmla="*/ 577888 h 2684463"/>
                <a:gd name="connsiteX112" fmla="*/ 2541191 w 2752767"/>
                <a:gd name="connsiteY112" fmla="*/ 592706 h 2684463"/>
                <a:gd name="connsiteX113" fmla="*/ 2701982 w 2752767"/>
                <a:gd name="connsiteY113" fmla="*/ 733473 h 2684463"/>
                <a:gd name="connsiteX114" fmla="*/ 2687140 w 2752767"/>
                <a:gd name="connsiteY114" fmla="*/ 792744 h 2684463"/>
                <a:gd name="connsiteX115" fmla="*/ 2669824 w 2752767"/>
                <a:gd name="connsiteY115" fmla="*/ 805092 h 2684463"/>
                <a:gd name="connsiteX116" fmla="*/ 2659929 w 2752767"/>
                <a:gd name="connsiteY116" fmla="*/ 812501 h 2684463"/>
                <a:gd name="connsiteX117" fmla="*/ 2518928 w 2752767"/>
                <a:gd name="connsiteY117" fmla="*/ 859423 h 2684463"/>
                <a:gd name="connsiteX118" fmla="*/ 2489243 w 2752767"/>
                <a:gd name="connsiteY118" fmla="*/ 864363 h 2684463"/>
                <a:gd name="connsiteX119" fmla="*/ 2372979 w 2752767"/>
                <a:gd name="connsiteY119" fmla="*/ 881650 h 2684463"/>
                <a:gd name="connsiteX120" fmla="*/ 2313610 w 2752767"/>
                <a:gd name="connsiteY120" fmla="*/ 879180 h 2684463"/>
                <a:gd name="connsiteX121" fmla="*/ 2244346 w 2752767"/>
                <a:gd name="connsiteY121" fmla="*/ 884119 h 2684463"/>
                <a:gd name="connsiteX122" fmla="*/ 2162713 w 2752767"/>
                <a:gd name="connsiteY122" fmla="*/ 896468 h 2684463"/>
                <a:gd name="connsiteX123" fmla="*/ 2155292 w 2752767"/>
                <a:gd name="connsiteY123" fmla="*/ 893998 h 2684463"/>
                <a:gd name="connsiteX124" fmla="*/ 2177555 w 2752767"/>
                <a:gd name="connsiteY124" fmla="*/ 879180 h 2684463"/>
                <a:gd name="connsiteX125" fmla="*/ 2204766 w 2752767"/>
                <a:gd name="connsiteY125" fmla="*/ 854484 h 2684463"/>
                <a:gd name="connsiteX126" fmla="*/ 2182503 w 2752767"/>
                <a:gd name="connsiteY126" fmla="*/ 854484 h 2684463"/>
                <a:gd name="connsiteX127" fmla="*/ 2118186 w 2752767"/>
                <a:gd name="connsiteY127" fmla="*/ 869302 h 2684463"/>
                <a:gd name="connsiteX128" fmla="*/ 2063765 w 2752767"/>
                <a:gd name="connsiteY128" fmla="*/ 886589 h 2684463"/>
                <a:gd name="connsiteX129" fmla="*/ 2041501 w 2752767"/>
                <a:gd name="connsiteY129" fmla="*/ 893998 h 2684463"/>
                <a:gd name="connsiteX130" fmla="*/ 2031606 w 2752767"/>
                <a:gd name="connsiteY130" fmla="*/ 898937 h 2684463"/>
                <a:gd name="connsiteX131" fmla="*/ 2021712 w 2752767"/>
                <a:gd name="connsiteY131" fmla="*/ 906346 h 2684463"/>
                <a:gd name="connsiteX132" fmla="*/ 1967290 w 2752767"/>
                <a:gd name="connsiteY132" fmla="*/ 928572 h 2684463"/>
                <a:gd name="connsiteX133" fmla="*/ 1952448 w 2752767"/>
                <a:gd name="connsiteY133" fmla="*/ 960677 h 2684463"/>
                <a:gd name="connsiteX134" fmla="*/ 1964816 w 2752767"/>
                <a:gd name="connsiteY134" fmla="*/ 1024887 h 2684463"/>
                <a:gd name="connsiteX135" fmla="*/ 1979659 w 2752767"/>
                <a:gd name="connsiteY135" fmla="*/ 1126141 h 2684463"/>
                <a:gd name="connsiteX136" fmla="*/ 1989553 w 2752767"/>
                <a:gd name="connsiteY136" fmla="*/ 1168124 h 2684463"/>
                <a:gd name="connsiteX137" fmla="*/ 2009343 w 2752767"/>
                <a:gd name="connsiteY137" fmla="*/ 1281726 h 2684463"/>
                <a:gd name="connsiteX138" fmla="*/ 2036554 w 2752767"/>
                <a:gd name="connsiteY138" fmla="*/ 1392859 h 2684463"/>
                <a:gd name="connsiteX139" fmla="*/ 2061291 w 2752767"/>
                <a:gd name="connsiteY139" fmla="*/ 1513869 h 2684463"/>
                <a:gd name="connsiteX140" fmla="*/ 2098397 w 2752767"/>
                <a:gd name="connsiteY140" fmla="*/ 1689211 h 2684463"/>
                <a:gd name="connsiteX141" fmla="*/ 2120660 w 2752767"/>
                <a:gd name="connsiteY141" fmla="*/ 1780587 h 2684463"/>
                <a:gd name="connsiteX142" fmla="*/ 2135502 w 2752767"/>
                <a:gd name="connsiteY142" fmla="*/ 1822570 h 2684463"/>
                <a:gd name="connsiteX143" fmla="*/ 2160239 w 2752767"/>
                <a:gd name="connsiteY143" fmla="*/ 1913946 h 2684463"/>
                <a:gd name="connsiteX144" fmla="*/ 2199819 w 2752767"/>
                <a:gd name="connsiteY144" fmla="*/ 2032487 h 2684463"/>
                <a:gd name="connsiteX145" fmla="*/ 2207240 w 2752767"/>
                <a:gd name="connsiteY145" fmla="*/ 2054713 h 2684463"/>
                <a:gd name="connsiteX146" fmla="*/ 2219609 w 2752767"/>
                <a:gd name="connsiteY146" fmla="*/ 2064592 h 2684463"/>
                <a:gd name="connsiteX147" fmla="*/ 2229503 w 2752767"/>
                <a:gd name="connsiteY147" fmla="*/ 2054713 h 2684463"/>
                <a:gd name="connsiteX148" fmla="*/ 2234451 w 2752767"/>
                <a:gd name="connsiteY148" fmla="*/ 2042365 h 2684463"/>
                <a:gd name="connsiteX149" fmla="*/ 2244346 w 2752767"/>
                <a:gd name="connsiteY149" fmla="*/ 1904067 h 2684463"/>
                <a:gd name="connsiteX150" fmla="*/ 2251767 w 2752767"/>
                <a:gd name="connsiteY150" fmla="*/ 1805283 h 2684463"/>
                <a:gd name="connsiteX151" fmla="*/ 2264135 w 2752767"/>
                <a:gd name="connsiteY151" fmla="*/ 1629941 h 2684463"/>
                <a:gd name="connsiteX152" fmla="*/ 2269083 w 2752767"/>
                <a:gd name="connsiteY152" fmla="*/ 1610184 h 2684463"/>
                <a:gd name="connsiteX153" fmla="*/ 2291346 w 2752767"/>
                <a:gd name="connsiteY153" fmla="*/ 1696620 h 2684463"/>
                <a:gd name="connsiteX154" fmla="*/ 2298767 w 2752767"/>
                <a:gd name="connsiteY154" fmla="*/ 1694151 h 2684463"/>
                <a:gd name="connsiteX155" fmla="*/ 2303715 w 2752767"/>
                <a:gd name="connsiteY155" fmla="*/ 1617593 h 2684463"/>
                <a:gd name="connsiteX156" fmla="*/ 2301241 w 2752767"/>
                <a:gd name="connsiteY156" fmla="*/ 1605245 h 2684463"/>
                <a:gd name="connsiteX157" fmla="*/ 2286399 w 2752767"/>
                <a:gd name="connsiteY157" fmla="*/ 1469416 h 2684463"/>
                <a:gd name="connsiteX158" fmla="*/ 2286399 w 2752767"/>
                <a:gd name="connsiteY158" fmla="*/ 1415085 h 2684463"/>
                <a:gd name="connsiteX159" fmla="*/ 2296294 w 2752767"/>
                <a:gd name="connsiteY159" fmla="*/ 1397798 h 2684463"/>
                <a:gd name="connsiteX160" fmla="*/ 2306188 w 2752767"/>
                <a:gd name="connsiteY160" fmla="*/ 1368163 h 2684463"/>
                <a:gd name="connsiteX161" fmla="*/ 2308662 w 2752767"/>
                <a:gd name="connsiteY161" fmla="*/ 1326179 h 2684463"/>
                <a:gd name="connsiteX162" fmla="*/ 2434822 w 2752767"/>
                <a:gd name="connsiteY162" fmla="*/ 1496582 h 2684463"/>
                <a:gd name="connsiteX163" fmla="*/ 2405137 w 2752767"/>
                <a:gd name="connsiteY163" fmla="*/ 1420024 h 2684463"/>
                <a:gd name="connsiteX164" fmla="*/ 2375452 w 2752767"/>
                <a:gd name="connsiteY164" fmla="*/ 1343466 h 2684463"/>
                <a:gd name="connsiteX165" fmla="*/ 2387821 w 2752767"/>
                <a:gd name="connsiteY165" fmla="*/ 1355815 h 2684463"/>
                <a:gd name="connsiteX166" fmla="*/ 2531296 w 2752767"/>
                <a:gd name="connsiteY166" fmla="*/ 1612654 h 2684463"/>
                <a:gd name="connsiteX167" fmla="*/ 2617876 w 2752767"/>
                <a:gd name="connsiteY167" fmla="*/ 1807753 h 2684463"/>
                <a:gd name="connsiteX168" fmla="*/ 2711877 w 2752767"/>
                <a:gd name="connsiteY168" fmla="*/ 2076940 h 2684463"/>
                <a:gd name="connsiteX169" fmla="*/ 2746509 w 2752767"/>
                <a:gd name="connsiteY169" fmla="*/ 2232525 h 2684463"/>
                <a:gd name="connsiteX170" fmla="*/ 2748983 w 2752767"/>
                <a:gd name="connsiteY170" fmla="*/ 2336249 h 2684463"/>
                <a:gd name="connsiteX171" fmla="*/ 2748983 w 2752767"/>
                <a:gd name="connsiteY171" fmla="*/ 2390580 h 2684463"/>
                <a:gd name="connsiteX172" fmla="*/ 2731667 w 2752767"/>
                <a:gd name="connsiteY172" fmla="*/ 2462198 h 2684463"/>
                <a:gd name="connsiteX173" fmla="*/ 2706930 w 2752767"/>
                <a:gd name="connsiteY173" fmla="*/ 2516530 h 2684463"/>
                <a:gd name="connsiteX174" fmla="*/ 2654982 w 2752767"/>
                <a:gd name="connsiteY174" fmla="*/ 2563452 h 2684463"/>
                <a:gd name="connsiteX175" fmla="*/ 2598087 w 2752767"/>
                <a:gd name="connsiteY175" fmla="*/ 2593088 h 2684463"/>
                <a:gd name="connsiteX176" fmla="*/ 2533770 w 2752767"/>
                <a:gd name="connsiteY176" fmla="*/ 2588148 h 2684463"/>
                <a:gd name="connsiteX177" fmla="*/ 2412558 w 2752767"/>
                <a:gd name="connsiteY177" fmla="*/ 2526408 h 2684463"/>
                <a:gd name="connsiteX178" fmla="*/ 2041501 w 2752767"/>
                <a:gd name="connsiteY178" fmla="*/ 2195481 h 2684463"/>
                <a:gd name="connsiteX179" fmla="*/ 1917816 w 2752767"/>
                <a:gd name="connsiteY179" fmla="*/ 2015200 h 2684463"/>
                <a:gd name="connsiteX180" fmla="*/ 1863394 w 2752767"/>
                <a:gd name="connsiteY180" fmla="*/ 1913946 h 2684463"/>
                <a:gd name="connsiteX181" fmla="*/ 1846078 w 2752767"/>
                <a:gd name="connsiteY181" fmla="*/ 1874432 h 2684463"/>
                <a:gd name="connsiteX182" fmla="*/ 1808972 w 2752767"/>
                <a:gd name="connsiteY182" fmla="*/ 1785526 h 2684463"/>
                <a:gd name="connsiteX183" fmla="*/ 1771867 w 2752767"/>
                <a:gd name="connsiteY183" fmla="*/ 1664515 h 2684463"/>
                <a:gd name="connsiteX184" fmla="*/ 1739708 w 2752767"/>
                <a:gd name="connsiteY184" fmla="*/ 1563262 h 2684463"/>
                <a:gd name="connsiteX185" fmla="*/ 1710024 w 2752767"/>
                <a:gd name="connsiteY185" fmla="*/ 1444720 h 2684463"/>
                <a:gd name="connsiteX186" fmla="*/ 1655602 w 2752767"/>
                <a:gd name="connsiteY186" fmla="*/ 1279257 h 2684463"/>
                <a:gd name="connsiteX187" fmla="*/ 1616023 w 2752767"/>
                <a:gd name="connsiteY187" fmla="*/ 1128611 h 2684463"/>
                <a:gd name="connsiteX188" fmla="*/ 1603654 w 2752767"/>
                <a:gd name="connsiteY188" fmla="*/ 1079219 h 2684463"/>
                <a:gd name="connsiteX189" fmla="*/ 1581391 w 2752767"/>
                <a:gd name="connsiteY189" fmla="*/ 1084158 h 2684463"/>
                <a:gd name="connsiteX190" fmla="*/ 1484916 w 2752767"/>
                <a:gd name="connsiteY190" fmla="*/ 1126141 h 2684463"/>
                <a:gd name="connsiteX191" fmla="*/ 1435442 w 2752767"/>
                <a:gd name="connsiteY191" fmla="*/ 1158246 h 2684463"/>
                <a:gd name="connsiteX192" fmla="*/ 1420600 w 2752767"/>
                <a:gd name="connsiteY192" fmla="*/ 1163185 h 2684463"/>
                <a:gd name="connsiteX193" fmla="*/ 1363704 w 2752767"/>
                <a:gd name="connsiteY193" fmla="*/ 1182942 h 2684463"/>
                <a:gd name="connsiteX194" fmla="*/ 1346388 w 2752767"/>
                <a:gd name="connsiteY194" fmla="*/ 1207638 h 2684463"/>
                <a:gd name="connsiteX195" fmla="*/ 1346388 w 2752767"/>
                <a:gd name="connsiteY195" fmla="*/ 1217517 h 2684463"/>
                <a:gd name="connsiteX196" fmla="*/ 1311756 w 2752767"/>
                <a:gd name="connsiteY196" fmla="*/ 1279257 h 2684463"/>
                <a:gd name="connsiteX197" fmla="*/ 1291966 w 2752767"/>
                <a:gd name="connsiteY197" fmla="*/ 1343466 h 2684463"/>
                <a:gd name="connsiteX198" fmla="*/ 1287019 w 2752767"/>
                <a:gd name="connsiteY198" fmla="*/ 1365693 h 2684463"/>
                <a:gd name="connsiteX199" fmla="*/ 1274650 w 2752767"/>
                <a:gd name="connsiteY199" fmla="*/ 1432372 h 2684463"/>
                <a:gd name="connsiteX200" fmla="*/ 1306809 w 2752767"/>
                <a:gd name="connsiteY200" fmla="*/ 1447190 h 2684463"/>
                <a:gd name="connsiteX201" fmla="*/ 1336493 w 2752767"/>
                <a:gd name="connsiteY201" fmla="*/ 1432372 h 2684463"/>
                <a:gd name="connsiteX202" fmla="*/ 1393389 w 2752767"/>
                <a:gd name="connsiteY202" fmla="*/ 1439781 h 2684463"/>
                <a:gd name="connsiteX203" fmla="*/ 1541811 w 2752767"/>
                <a:gd name="connsiteY203" fmla="*/ 1568201 h 2684463"/>
                <a:gd name="connsiteX204" fmla="*/ 1544285 w 2752767"/>
                <a:gd name="connsiteY204" fmla="*/ 1622532 h 2684463"/>
                <a:gd name="connsiteX205" fmla="*/ 1541811 w 2752767"/>
                <a:gd name="connsiteY205" fmla="*/ 1629941 h 2684463"/>
                <a:gd name="connsiteX206" fmla="*/ 1479969 w 2752767"/>
                <a:gd name="connsiteY206" fmla="*/ 1699090 h 2684463"/>
                <a:gd name="connsiteX207" fmla="*/ 1343914 w 2752767"/>
                <a:gd name="connsiteY207" fmla="*/ 1770709 h 2684463"/>
                <a:gd name="connsiteX208" fmla="*/ 1301861 w 2752767"/>
                <a:gd name="connsiteY208" fmla="*/ 1812692 h 2684463"/>
                <a:gd name="connsiteX209" fmla="*/ 1294440 w 2752767"/>
                <a:gd name="connsiteY209" fmla="*/ 1829979 h 2684463"/>
                <a:gd name="connsiteX210" fmla="*/ 1284545 w 2752767"/>
                <a:gd name="connsiteY210" fmla="*/ 1916415 h 2684463"/>
                <a:gd name="connsiteX211" fmla="*/ 1319177 w 2752767"/>
                <a:gd name="connsiteY211" fmla="*/ 1901598 h 2684463"/>
                <a:gd name="connsiteX212" fmla="*/ 1531917 w 2752767"/>
                <a:gd name="connsiteY212" fmla="*/ 1795405 h 2684463"/>
                <a:gd name="connsiteX213" fmla="*/ 1569022 w 2752767"/>
                <a:gd name="connsiteY213" fmla="*/ 1787996 h 2684463"/>
                <a:gd name="connsiteX214" fmla="*/ 1487390 w 2752767"/>
                <a:gd name="connsiteY214" fmla="*/ 1837388 h 2684463"/>
                <a:gd name="connsiteX215" fmla="*/ 1487390 w 2752767"/>
                <a:gd name="connsiteY215" fmla="*/ 1839858 h 2684463"/>
                <a:gd name="connsiteX216" fmla="*/ 1569022 w 2752767"/>
                <a:gd name="connsiteY216" fmla="*/ 1817631 h 2684463"/>
                <a:gd name="connsiteX217" fmla="*/ 1571496 w 2752767"/>
                <a:gd name="connsiteY217" fmla="*/ 1825040 h 2684463"/>
                <a:gd name="connsiteX218" fmla="*/ 1484916 w 2752767"/>
                <a:gd name="connsiteY218" fmla="*/ 1886780 h 2684463"/>
                <a:gd name="connsiteX219" fmla="*/ 1484916 w 2752767"/>
                <a:gd name="connsiteY219" fmla="*/ 1918885 h 2684463"/>
                <a:gd name="connsiteX220" fmla="*/ 1494811 w 2752767"/>
                <a:gd name="connsiteY220" fmla="*/ 1923824 h 2684463"/>
                <a:gd name="connsiteX221" fmla="*/ 1437915 w 2752767"/>
                <a:gd name="connsiteY221" fmla="*/ 1978156 h 2684463"/>
                <a:gd name="connsiteX222" fmla="*/ 1519548 w 2752767"/>
                <a:gd name="connsiteY222" fmla="*/ 1941111 h 2684463"/>
                <a:gd name="connsiteX223" fmla="*/ 1524495 w 2752767"/>
                <a:gd name="connsiteY223" fmla="*/ 1943581 h 2684463"/>
                <a:gd name="connsiteX224" fmla="*/ 1514601 w 2752767"/>
                <a:gd name="connsiteY224" fmla="*/ 1958399 h 2684463"/>
                <a:gd name="connsiteX225" fmla="*/ 1410705 w 2752767"/>
                <a:gd name="connsiteY225" fmla="*/ 2059653 h 2684463"/>
                <a:gd name="connsiteX226" fmla="*/ 1329072 w 2752767"/>
                <a:gd name="connsiteY226" fmla="*/ 2138680 h 2684463"/>
                <a:gd name="connsiteX227" fmla="*/ 1249913 w 2752767"/>
                <a:gd name="connsiteY227" fmla="*/ 2215238 h 2684463"/>
                <a:gd name="connsiteX228" fmla="*/ 1202913 w 2752767"/>
                <a:gd name="connsiteY228" fmla="*/ 2247343 h 2684463"/>
                <a:gd name="connsiteX229" fmla="*/ 1183123 w 2752767"/>
                <a:gd name="connsiteY229" fmla="*/ 2269569 h 2684463"/>
                <a:gd name="connsiteX230" fmla="*/ 1205387 w 2752767"/>
                <a:gd name="connsiteY230" fmla="*/ 2269569 h 2684463"/>
                <a:gd name="connsiteX231" fmla="*/ 1039648 w 2752767"/>
                <a:gd name="connsiteY231" fmla="*/ 2469607 h 2684463"/>
                <a:gd name="connsiteX232" fmla="*/ 898646 w 2752767"/>
                <a:gd name="connsiteY232" fmla="*/ 2684463 h 2684463"/>
                <a:gd name="connsiteX233" fmla="*/ 802171 w 2752767"/>
                <a:gd name="connsiteY233" fmla="*/ 2632601 h 2684463"/>
                <a:gd name="connsiteX234" fmla="*/ 784855 w 2752767"/>
                <a:gd name="connsiteY234" fmla="*/ 2598027 h 2684463"/>
                <a:gd name="connsiteX235" fmla="*/ 770013 w 2752767"/>
                <a:gd name="connsiteY235" fmla="*/ 2474547 h 2684463"/>
                <a:gd name="connsiteX236" fmla="*/ 760118 w 2752767"/>
                <a:gd name="connsiteY236" fmla="*/ 2402928 h 2684463"/>
                <a:gd name="connsiteX237" fmla="*/ 755171 w 2752767"/>
                <a:gd name="connsiteY237" fmla="*/ 2393049 h 2684463"/>
                <a:gd name="connsiteX238" fmla="*/ 720539 w 2752767"/>
                <a:gd name="connsiteY238" fmla="*/ 2328840 h 2684463"/>
                <a:gd name="connsiteX239" fmla="*/ 841751 w 2752767"/>
                <a:gd name="connsiteY239" fmla="*/ 2222647 h 2684463"/>
                <a:gd name="connsiteX240" fmla="*/ 817014 w 2752767"/>
                <a:gd name="connsiteY240" fmla="*/ 2197951 h 2684463"/>
                <a:gd name="connsiteX241" fmla="*/ 725486 w 2752767"/>
                <a:gd name="connsiteY241" fmla="*/ 2109045 h 2684463"/>
                <a:gd name="connsiteX242" fmla="*/ 683433 w 2752767"/>
                <a:gd name="connsiteY242" fmla="*/ 2002852 h 2684463"/>
                <a:gd name="connsiteX243" fmla="*/ 695802 w 2752767"/>
                <a:gd name="connsiteY243" fmla="*/ 1899128 h 2684463"/>
                <a:gd name="connsiteX244" fmla="*/ 700749 w 2752767"/>
                <a:gd name="connsiteY244" fmla="*/ 1894189 h 2684463"/>
                <a:gd name="connsiteX245" fmla="*/ 708170 w 2752767"/>
                <a:gd name="connsiteY245" fmla="*/ 1921355 h 2684463"/>
                <a:gd name="connsiteX246" fmla="*/ 715591 w 2752767"/>
                <a:gd name="connsiteY246" fmla="*/ 1941111 h 2684463"/>
                <a:gd name="connsiteX247" fmla="*/ 723013 w 2752767"/>
                <a:gd name="connsiteY247" fmla="*/ 1871962 h 2684463"/>
                <a:gd name="connsiteX248" fmla="*/ 732907 w 2752767"/>
                <a:gd name="connsiteY248" fmla="*/ 1928763 h 2684463"/>
                <a:gd name="connsiteX249" fmla="*/ 752697 w 2752767"/>
                <a:gd name="connsiteY249" fmla="*/ 1884310 h 2684463"/>
                <a:gd name="connsiteX250" fmla="*/ 774961 w 2752767"/>
                <a:gd name="connsiteY250" fmla="*/ 1849736 h 2684463"/>
                <a:gd name="connsiteX251" fmla="*/ 777434 w 2752767"/>
                <a:gd name="connsiteY251" fmla="*/ 1844797 h 2684463"/>
                <a:gd name="connsiteX252" fmla="*/ 804645 w 2752767"/>
                <a:gd name="connsiteY252" fmla="*/ 1721316 h 2684463"/>
                <a:gd name="connsiteX253" fmla="*/ 802171 w 2752767"/>
                <a:gd name="connsiteY253" fmla="*/ 1686742 h 2684463"/>
                <a:gd name="connsiteX254" fmla="*/ 821961 w 2752767"/>
                <a:gd name="connsiteY254" fmla="*/ 1694151 h 2684463"/>
                <a:gd name="connsiteX255" fmla="*/ 962963 w 2752767"/>
                <a:gd name="connsiteY255" fmla="*/ 1862084 h 2684463"/>
                <a:gd name="connsiteX256" fmla="*/ 975331 w 2752767"/>
                <a:gd name="connsiteY256" fmla="*/ 1963338 h 2684463"/>
                <a:gd name="connsiteX257" fmla="*/ 987700 w 2752767"/>
                <a:gd name="connsiteY257" fmla="*/ 2042365 h 2684463"/>
                <a:gd name="connsiteX258" fmla="*/ 987700 w 2752767"/>
                <a:gd name="connsiteY258" fmla="*/ 2067061 h 2684463"/>
                <a:gd name="connsiteX259" fmla="*/ 987700 w 2752767"/>
                <a:gd name="connsiteY259" fmla="*/ 2094227 h 2684463"/>
                <a:gd name="connsiteX260" fmla="*/ 1054490 w 2752767"/>
                <a:gd name="connsiteY260" fmla="*/ 2049774 h 2684463"/>
                <a:gd name="connsiteX261" fmla="*/ 1047069 w 2752767"/>
                <a:gd name="connsiteY261" fmla="*/ 1983095 h 2684463"/>
                <a:gd name="connsiteX262" fmla="*/ 1056964 w 2752767"/>
                <a:gd name="connsiteY262" fmla="*/ 1909007 h 2684463"/>
                <a:gd name="connsiteX263" fmla="*/ 1074280 w 2752767"/>
                <a:gd name="connsiteY263" fmla="*/ 1760830 h 2684463"/>
                <a:gd name="connsiteX264" fmla="*/ 1079227 w 2752767"/>
                <a:gd name="connsiteY264" fmla="*/ 1736134 h 2684463"/>
                <a:gd name="connsiteX265" fmla="*/ 1089122 w 2752767"/>
                <a:gd name="connsiteY265" fmla="*/ 1659576 h 2684463"/>
                <a:gd name="connsiteX266" fmla="*/ 1103964 w 2752767"/>
                <a:gd name="connsiteY266" fmla="*/ 1573140 h 2684463"/>
                <a:gd name="connsiteX267" fmla="*/ 1118807 w 2752767"/>
                <a:gd name="connsiteY267" fmla="*/ 1508930 h 2684463"/>
                <a:gd name="connsiteX268" fmla="*/ 1146017 w 2752767"/>
                <a:gd name="connsiteY268" fmla="*/ 1387919 h 2684463"/>
                <a:gd name="connsiteX269" fmla="*/ 1163333 w 2752767"/>
                <a:gd name="connsiteY269" fmla="*/ 1313831 h 2684463"/>
                <a:gd name="connsiteX270" fmla="*/ 1173228 w 2752767"/>
                <a:gd name="connsiteY270" fmla="*/ 1289135 h 2684463"/>
                <a:gd name="connsiteX271" fmla="*/ 1094069 w 2752767"/>
                <a:gd name="connsiteY271" fmla="*/ 1333588 h 2684463"/>
                <a:gd name="connsiteX272" fmla="*/ 1071806 w 2752767"/>
                <a:gd name="connsiteY272" fmla="*/ 1348406 h 2684463"/>
                <a:gd name="connsiteX273" fmla="*/ 1047069 w 2752767"/>
                <a:gd name="connsiteY273" fmla="*/ 1365693 h 2684463"/>
                <a:gd name="connsiteX274" fmla="*/ 1029753 w 2752767"/>
                <a:gd name="connsiteY274" fmla="*/ 1375571 h 2684463"/>
                <a:gd name="connsiteX275" fmla="*/ 997595 w 2752767"/>
                <a:gd name="connsiteY275" fmla="*/ 1395328 h 2684463"/>
                <a:gd name="connsiteX276" fmla="*/ 975331 w 2752767"/>
                <a:gd name="connsiteY276" fmla="*/ 1407676 h 2684463"/>
                <a:gd name="connsiteX277" fmla="*/ 930804 w 2752767"/>
                <a:gd name="connsiteY277" fmla="*/ 1427433 h 2684463"/>
                <a:gd name="connsiteX278" fmla="*/ 898646 w 2752767"/>
                <a:gd name="connsiteY278" fmla="*/ 1459538 h 2684463"/>
                <a:gd name="connsiteX279" fmla="*/ 878857 w 2752767"/>
                <a:gd name="connsiteY279" fmla="*/ 1474356 h 2684463"/>
                <a:gd name="connsiteX280" fmla="*/ 854119 w 2752767"/>
                <a:gd name="connsiteY280" fmla="*/ 1489173 h 2684463"/>
                <a:gd name="connsiteX281" fmla="*/ 834330 w 2752767"/>
                <a:gd name="connsiteY281" fmla="*/ 1496582 h 2684463"/>
                <a:gd name="connsiteX282" fmla="*/ 792277 w 2752767"/>
                <a:gd name="connsiteY282" fmla="*/ 1521278 h 2684463"/>
                <a:gd name="connsiteX283" fmla="*/ 782382 w 2752767"/>
                <a:gd name="connsiteY283" fmla="*/ 1528687 h 2684463"/>
                <a:gd name="connsiteX284" fmla="*/ 611695 w 2752767"/>
                <a:gd name="connsiteY284" fmla="*/ 1642289 h 2684463"/>
                <a:gd name="connsiteX285" fmla="*/ 535010 w 2752767"/>
                <a:gd name="connsiteY285" fmla="*/ 1696620 h 2684463"/>
                <a:gd name="connsiteX286" fmla="*/ 468220 w 2752767"/>
                <a:gd name="connsiteY286" fmla="*/ 1733664 h 2684463"/>
                <a:gd name="connsiteX287" fmla="*/ 441009 w 2752767"/>
                <a:gd name="connsiteY287" fmla="*/ 1750952 h 2684463"/>
                <a:gd name="connsiteX288" fmla="*/ 421219 w 2752767"/>
                <a:gd name="connsiteY288" fmla="*/ 1760830 h 2684463"/>
                <a:gd name="connsiteX289" fmla="*/ 391535 w 2752767"/>
                <a:gd name="connsiteY289" fmla="*/ 1773178 h 2684463"/>
                <a:gd name="connsiteX290" fmla="*/ 354429 w 2752767"/>
                <a:gd name="connsiteY290" fmla="*/ 1775648 h 2684463"/>
                <a:gd name="connsiteX291" fmla="*/ 270323 w 2752767"/>
                <a:gd name="connsiteY291" fmla="*/ 1731195 h 2684463"/>
                <a:gd name="connsiteX292" fmla="*/ 92216 w 2752767"/>
                <a:gd name="connsiteY292" fmla="*/ 1583018 h 2684463"/>
                <a:gd name="connsiteX293" fmla="*/ 22952 w 2752767"/>
                <a:gd name="connsiteY293" fmla="*/ 1496582 h 2684463"/>
                <a:gd name="connsiteX294" fmla="*/ 5636 w 2752767"/>
                <a:gd name="connsiteY294" fmla="*/ 1432372 h 2684463"/>
                <a:gd name="connsiteX295" fmla="*/ 3162 w 2752767"/>
                <a:gd name="connsiteY295" fmla="*/ 1390389 h 2684463"/>
                <a:gd name="connsiteX296" fmla="*/ 688 w 2752767"/>
                <a:gd name="connsiteY296" fmla="*/ 1370632 h 2684463"/>
                <a:gd name="connsiteX297" fmla="*/ 50163 w 2752767"/>
                <a:gd name="connsiteY297" fmla="*/ 1313831 h 2684463"/>
                <a:gd name="connsiteX298" fmla="*/ 87268 w 2752767"/>
                <a:gd name="connsiteY298" fmla="*/ 1316301 h 2684463"/>
                <a:gd name="connsiteX299" fmla="*/ 121900 w 2752767"/>
                <a:gd name="connsiteY299" fmla="*/ 1308892 h 2684463"/>
                <a:gd name="connsiteX300" fmla="*/ 270323 w 2752767"/>
                <a:gd name="connsiteY300" fmla="*/ 1286666 h 2684463"/>
                <a:gd name="connsiteX301" fmla="*/ 215901 w 2752767"/>
                <a:gd name="connsiteY301" fmla="*/ 1350875 h 2684463"/>
                <a:gd name="connsiteX302" fmla="*/ 386587 w 2752767"/>
                <a:gd name="connsiteY302" fmla="*/ 1269378 h 2684463"/>
                <a:gd name="connsiteX303" fmla="*/ 562221 w 2752767"/>
                <a:gd name="connsiteY303" fmla="*/ 1200229 h 2684463"/>
                <a:gd name="connsiteX304" fmla="*/ 544905 w 2752767"/>
                <a:gd name="connsiteY304" fmla="*/ 1212577 h 2684463"/>
                <a:gd name="connsiteX305" fmla="*/ 460799 w 2752767"/>
                <a:gd name="connsiteY305" fmla="*/ 1259500 h 2684463"/>
                <a:gd name="connsiteX306" fmla="*/ 394009 w 2752767"/>
                <a:gd name="connsiteY306" fmla="*/ 1301483 h 2684463"/>
                <a:gd name="connsiteX307" fmla="*/ 347008 w 2752767"/>
                <a:gd name="connsiteY307" fmla="*/ 1328649 h 2684463"/>
                <a:gd name="connsiteX308" fmla="*/ 277744 w 2752767"/>
                <a:gd name="connsiteY308" fmla="*/ 1358284 h 2684463"/>
                <a:gd name="connsiteX309" fmla="*/ 262902 w 2752767"/>
                <a:gd name="connsiteY309" fmla="*/ 1368163 h 2684463"/>
                <a:gd name="connsiteX310" fmla="*/ 334639 w 2752767"/>
                <a:gd name="connsiteY310" fmla="*/ 1343466 h 2684463"/>
                <a:gd name="connsiteX311" fmla="*/ 374219 w 2752767"/>
                <a:gd name="connsiteY311" fmla="*/ 1328649 h 2684463"/>
                <a:gd name="connsiteX312" fmla="*/ 381640 w 2752767"/>
                <a:gd name="connsiteY312" fmla="*/ 1323710 h 2684463"/>
                <a:gd name="connsiteX313" fmla="*/ 438535 w 2752767"/>
                <a:gd name="connsiteY313" fmla="*/ 1299014 h 2684463"/>
                <a:gd name="connsiteX314" fmla="*/ 485536 w 2752767"/>
                <a:gd name="connsiteY314" fmla="*/ 1279257 h 2684463"/>
                <a:gd name="connsiteX315" fmla="*/ 530063 w 2752767"/>
                <a:gd name="connsiteY315" fmla="*/ 1264439 h 2684463"/>
                <a:gd name="connsiteX316" fmla="*/ 535010 w 2752767"/>
                <a:gd name="connsiteY316" fmla="*/ 1261969 h 2684463"/>
                <a:gd name="connsiteX317" fmla="*/ 599327 w 2752767"/>
                <a:gd name="connsiteY317" fmla="*/ 1222456 h 2684463"/>
                <a:gd name="connsiteX318" fmla="*/ 614169 w 2752767"/>
                <a:gd name="connsiteY318" fmla="*/ 1215047 h 2684463"/>
                <a:gd name="connsiteX319" fmla="*/ 683433 w 2752767"/>
                <a:gd name="connsiteY319" fmla="*/ 1187881 h 2684463"/>
                <a:gd name="connsiteX320" fmla="*/ 745276 w 2752767"/>
                <a:gd name="connsiteY320" fmla="*/ 1158246 h 2684463"/>
                <a:gd name="connsiteX321" fmla="*/ 826909 w 2752767"/>
                <a:gd name="connsiteY321" fmla="*/ 1121202 h 2684463"/>
                <a:gd name="connsiteX322" fmla="*/ 841751 w 2752767"/>
                <a:gd name="connsiteY322" fmla="*/ 1113793 h 2684463"/>
                <a:gd name="connsiteX323" fmla="*/ 918436 w 2752767"/>
                <a:gd name="connsiteY323" fmla="*/ 1089097 h 2684463"/>
                <a:gd name="connsiteX324" fmla="*/ 1019858 w 2752767"/>
                <a:gd name="connsiteY324" fmla="*/ 1049583 h 2684463"/>
                <a:gd name="connsiteX325" fmla="*/ 1084175 w 2752767"/>
                <a:gd name="connsiteY325" fmla="*/ 1019948 h 2684463"/>
                <a:gd name="connsiteX326" fmla="*/ 1113859 w 2752767"/>
                <a:gd name="connsiteY326" fmla="*/ 1007600 h 2684463"/>
                <a:gd name="connsiteX327" fmla="*/ 1185597 w 2752767"/>
                <a:gd name="connsiteY327" fmla="*/ 975495 h 2684463"/>
                <a:gd name="connsiteX328" fmla="*/ 1217755 w 2752767"/>
                <a:gd name="connsiteY328" fmla="*/ 963147 h 2684463"/>
                <a:gd name="connsiteX329" fmla="*/ 1341441 w 2752767"/>
                <a:gd name="connsiteY329" fmla="*/ 916224 h 2684463"/>
                <a:gd name="connsiteX330" fmla="*/ 1413178 w 2752767"/>
                <a:gd name="connsiteY330" fmla="*/ 891528 h 2684463"/>
                <a:gd name="connsiteX331" fmla="*/ 1546759 w 2752767"/>
                <a:gd name="connsiteY331" fmla="*/ 839667 h 2684463"/>
                <a:gd name="connsiteX332" fmla="*/ 1536864 w 2752767"/>
                <a:gd name="connsiteY332" fmla="*/ 772987 h 2684463"/>
                <a:gd name="connsiteX333" fmla="*/ 1517074 w 2752767"/>
                <a:gd name="connsiteY333" fmla="*/ 632220 h 2684463"/>
                <a:gd name="connsiteX334" fmla="*/ 1487390 w 2752767"/>
                <a:gd name="connsiteY334" fmla="*/ 405015 h 2684463"/>
                <a:gd name="connsiteX335" fmla="*/ 1460179 w 2752767"/>
                <a:gd name="connsiteY335" fmla="*/ 229673 h 2684463"/>
                <a:gd name="connsiteX336" fmla="*/ 1445337 w 2752767"/>
                <a:gd name="connsiteY336" fmla="*/ 91375 h 2684463"/>
                <a:gd name="connsiteX337" fmla="*/ 1440389 w 2752767"/>
                <a:gd name="connsiteY337" fmla="*/ 37044 h 2684463"/>
                <a:gd name="connsiteX338" fmla="*/ 1428021 w 2752767"/>
                <a:gd name="connsiteY338" fmla="*/ 2470 h 2684463"/>
                <a:gd name="connsiteX339" fmla="*/ 1440389 w 2752767"/>
                <a:gd name="connsiteY339" fmla="*/ 0 h 268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</a:cxnLst>
              <a:rect l="l" t="t" r="r" b="b"/>
              <a:pathLst>
                <a:path w="2752767" h="2684463">
                  <a:moveTo>
                    <a:pt x="923383" y="2595557"/>
                  </a:moveTo>
                  <a:cubicBezTo>
                    <a:pt x="920910" y="2600496"/>
                    <a:pt x="918436" y="2605436"/>
                    <a:pt x="915962" y="2610375"/>
                  </a:cubicBezTo>
                  <a:cubicBezTo>
                    <a:pt x="915962" y="2612845"/>
                    <a:pt x="918436" y="2612845"/>
                    <a:pt x="918436" y="2612845"/>
                  </a:cubicBezTo>
                  <a:cubicBezTo>
                    <a:pt x="920910" y="2607905"/>
                    <a:pt x="923383" y="2602966"/>
                    <a:pt x="928331" y="2598027"/>
                  </a:cubicBezTo>
                  <a:cubicBezTo>
                    <a:pt x="925857" y="2595557"/>
                    <a:pt x="923383" y="2595557"/>
                    <a:pt x="923383" y="2595557"/>
                  </a:cubicBezTo>
                  <a:close/>
                  <a:moveTo>
                    <a:pt x="945647" y="2558513"/>
                  </a:moveTo>
                  <a:cubicBezTo>
                    <a:pt x="943173" y="2563452"/>
                    <a:pt x="940699" y="2568392"/>
                    <a:pt x="938226" y="2573331"/>
                  </a:cubicBezTo>
                  <a:cubicBezTo>
                    <a:pt x="938226" y="2573331"/>
                    <a:pt x="940699" y="2575800"/>
                    <a:pt x="943173" y="2575800"/>
                  </a:cubicBezTo>
                  <a:cubicBezTo>
                    <a:pt x="945647" y="2570861"/>
                    <a:pt x="948120" y="2565922"/>
                    <a:pt x="950594" y="2560983"/>
                  </a:cubicBezTo>
                  <a:cubicBezTo>
                    <a:pt x="950594" y="2558513"/>
                    <a:pt x="948120" y="2558513"/>
                    <a:pt x="945647" y="2558513"/>
                  </a:cubicBezTo>
                  <a:close/>
                  <a:moveTo>
                    <a:pt x="1019858" y="2452320"/>
                  </a:moveTo>
                  <a:cubicBezTo>
                    <a:pt x="1017384" y="2457259"/>
                    <a:pt x="1014911" y="2459729"/>
                    <a:pt x="1012437" y="2464668"/>
                  </a:cubicBezTo>
                  <a:cubicBezTo>
                    <a:pt x="1012437" y="2464668"/>
                    <a:pt x="1014911" y="2467138"/>
                    <a:pt x="1014911" y="2467138"/>
                  </a:cubicBezTo>
                  <a:cubicBezTo>
                    <a:pt x="1017384" y="2462198"/>
                    <a:pt x="1019858" y="2459729"/>
                    <a:pt x="1024806" y="2454790"/>
                  </a:cubicBezTo>
                  <a:cubicBezTo>
                    <a:pt x="1022332" y="2454790"/>
                    <a:pt x="1022332" y="2452320"/>
                    <a:pt x="1019858" y="2452320"/>
                  </a:cubicBezTo>
                  <a:close/>
                  <a:moveTo>
                    <a:pt x="1059438" y="2397989"/>
                  </a:moveTo>
                  <a:cubicBezTo>
                    <a:pt x="1056964" y="2402928"/>
                    <a:pt x="1054490" y="2405398"/>
                    <a:pt x="1052016" y="2410337"/>
                  </a:cubicBezTo>
                  <a:cubicBezTo>
                    <a:pt x="1054490" y="2410337"/>
                    <a:pt x="1054490" y="2412806"/>
                    <a:pt x="1056964" y="2415276"/>
                  </a:cubicBezTo>
                  <a:cubicBezTo>
                    <a:pt x="1059438" y="2410337"/>
                    <a:pt x="1064385" y="2407867"/>
                    <a:pt x="1066859" y="2405398"/>
                  </a:cubicBezTo>
                  <a:cubicBezTo>
                    <a:pt x="1064385" y="2402928"/>
                    <a:pt x="1061911" y="2400458"/>
                    <a:pt x="1059438" y="2397989"/>
                  </a:cubicBezTo>
                  <a:close/>
                  <a:moveTo>
                    <a:pt x="1148491" y="2311552"/>
                  </a:moveTo>
                  <a:cubicBezTo>
                    <a:pt x="1123754" y="2311552"/>
                    <a:pt x="1116333" y="2314022"/>
                    <a:pt x="1106438" y="2333779"/>
                  </a:cubicBezTo>
                  <a:cubicBezTo>
                    <a:pt x="1101491" y="2338718"/>
                    <a:pt x="1099017" y="2343657"/>
                    <a:pt x="1096543" y="2348597"/>
                  </a:cubicBezTo>
                  <a:cubicBezTo>
                    <a:pt x="1086648" y="2360945"/>
                    <a:pt x="1076753" y="2370823"/>
                    <a:pt x="1069332" y="2383171"/>
                  </a:cubicBezTo>
                  <a:cubicBezTo>
                    <a:pt x="1069332" y="2385641"/>
                    <a:pt x="1071806" y="2385641"/>
                    <a:pt x="1074280" y="2388110"/>
                  </a:cubicBezTo>
                  <a:cubicBezTo>
                    <a:pt x="1101491" y="2365884"/>
                    <a:pt x="1121280" y="2336249"/>
                    <a:pt x="1148491" y="2311552"/>
                  </a:cubicBezTo>
                  <a:close/>
                  <a:moveTo>
                    <a:pt x="1170755" y="2276978"/>
                  </a:moveTo>
                  <a:cubicBezTo>
                    <a:pt x="1165807" y="2281917"/>
                    <a:pt x="1158386" y="2289326"/>
                    <a:pt x="1153439" y="2294265"/>
                  </a:cubicBezTo>
                  <a:cubicBezTo>
                    <a:pt x="1153439" y="2296735"/>
                    <a:pt x="1155912" y="2299204"/>
                    <a:pt x="1158386" y="2299204"/>
                  </a:cubicBezTo>
                  <a:cubicBezTo>
                    <a:pt x="1163333" y="2294265"/>
                    <a:pt x="1170755" y="2289326"/>
                    <a:pt x="1178176" y="2281917"/>
                  </a:cubicBezTo>
                  <a:cubicBezTo>
                    <a:pt x="1175702" y="2279448"/>
                    <a:pt x="1173228" y="2279448"/>
                    <a:pt x="1170755" y="2276978"/>
                  </a:cubicBezTo>
                  <a:close/>
                  <a:moveTo>
                    <a:pt x="715591" y="1943581"/>
                  </a:moveTo>
                  <a:cubicBezTo>
                    <a:pt x="710644" y="1950990"/>
                    <a:pt x="710644" y="1958399"/>
                    <a:pt x="718065" y="1965807"/>
                  </a:cubicBezTo>
                  <a:cubicBezTo>
                    <a:pt x="718065" y="1958399"/>
                    <a:pt x="715591" y="1950990"/>
                    <a:pt x="715591" y="1943581"/>
                  </a:cubicBezTo>
                  <a:close/>
                  <a:moveTo>
                    <a:pt x="688084" y="510472"/>
                  </a:moveTo>
                  <a:cubicBezTo>
                    <a:pt x="710380" y="508000"/>
                    <a:pt x="727722" y="517888"/>
                    <a:pt x="747541" y="522832"/>
                  </a:cubicBezTo>
                  <a:cubicBezTo>
                    <a:pt x="767360" y="530248"/>
                    <a:pt x="787179" y="535192"/>
                    <a:pt x="806998" y="540136"/>
                  </a:cubicBezTo>
                  <a:cubicBezTo>
                    <a:pt x="816908" y="542608"/>
                    <a:pt x="829295" y="542608"/>
                    <a:pt x="839204" y="540136"/>
                  </a:cubicBezTo>
                  <a:cubicBezTo>
                    <a:pt x="886274" y="532720"/>
                    <a:pt x="935822" y="525304"/>
                    <a:pt x="982892" y="517888"/>
                  </a:cubicBezTo>
                  <a:cubicBezTo>
                    <a:pt x="995279" y="515416"/>
                    <a:pt x="1007666" y="515416"/>
                    <a:pt x="1020053" y="515416"/>
                  </a:cubicBezTo>
                  <a:cubicBezTo>
                    <a:pt x="1042349" y="512944"/>
                    <a:pt x="1064646" y="512944"/>
                    <a:pt x="1089420" y="515416"/>
                  </a:cubicBezTo>
                  <a:cubicBezTo>
                    <a:pt x="1121626" y="515416"/>
                    <a:pt x="1156309" y="517888"/>
                    <a:pt x="1188515" y="525304"/>
                  </a:cubicBezTo>
                  <a:cubicBezTo>
                    <a:pt x="1247972" y="535192"/>
                    <a:pt x="1297520" y="562383"/>
                    <a:pt x="1349545" y="589575"/>
                  </a:cubicBezTo>
                  <a:cubicBezTo>
                    <a:pt x="1354499" y="592047"/>
                    <a:pt x="1359454" y="596991"/>
                    <a:pt x="1361932" y="601935"/>
                  </a:cubicBezTo>
                  <a:cubicBezTo>
                    <a:pt x="1376796" y="626654"/>
                    <a:pt x="1386705" y="651374"/>
                    <a:pt x="1391660" y="678566"/>
                  </a:cubicBezTo>
                  <a:cubicBezTo>
                    <a:pt x="1399092" y="698341"/>
                    <a:pt x="1391660" y="720589"/>
                    <a:pt x="1379273" y="732949"/>
                  </a:cubicBezTo>
                  <a:cubicBezTo>
                    <a:pt x="1364409" y="752725"/>
                    <a:pt x="1347067" y="767556"/>
                    <a:pt x="1327248" y="782388"/>
                  </a:cubicBezTo>
                  <a:cubicBezTo>
                    <a:pt x="1302474" y="802164"/>
                    <a:pt x="1275223" y="807108"/>
                    <a:pt x="1250449" y="819468"/>
                  </a:cubicBezTo>
                  <a:cubicBezTo>
                    <a:pt x="1238062" y="826883"/>
                    <a:pt x="1220721" y="826883"/>
                    <a:pt x="1205857" y="829355"/>
                  </a:cubicBezTo>
                  <a:cubicBezTo>
                    <a:pt x="1178605" y="834299"/>
                    <a:pt x="1148877" y="839243"/>
                    <a:pt x="1121626" y="846659"/>
                  </a:cubicBezTo>
                  <a:cubicBezTo>
                    <a:pt x="1079510" y="854075"/>
                    <a:pt x="1042349" y="844187"/>
                    <a:pt x="1007666" y="824412"/>
                  </a:cubicBezTo>
                  <a:cubicBezTo>
                    <a:pt x="906093" y="765084"/>
                    <a:pt x="816908" y="690925"/>
                    <a:pt x="740109" y="604407"/>
                  </a:cubicBezTo>
                  <a:cubicBezTo>
                    <a:pt x="722767" y="584631"/>
                    <a:pt x="705426" y="562383"/>
                    <a:pt x="690561" y="542608"/>
                  </a:cubicBezTo>
                  <a:cubicBezTo>
                    <a:pt x="683129" y="527776"/>
                    <a:pt x="683129" y="527776"/>
                    <a:pt x="688084" y="510472"/>
                  </a:cubicBezTo>
                  <a:close/>
                  <a:moveTo>
                    <a:pt x="1472547" y="59271"/>
                  </a:moveTo>
                  <a:cubicBezTo>
                    <a:pt x="1470074" y="66679"/>
                    <a:pt x="1470074" y="69149"/>
                    <a:pt x="1470074" y="71619"/>
                  </a:cubicBezTo>
                  <a:cubicBezTo>
                    <a:pt x="1475021" y="125950"/>
                    <a:pt x="1482442" y="177812"/>
                    <a:pt x="1484916" y="232143"/>
                  </a:cubicBezTo>
                  <a:cubicBezTo>
                    <a:pt x="1492337" y="303762"/>
                    <a:pt x="1494811" y="375380"/>
                    <a:pt x="1499758" y="446999"/>
                  </a:cubicBezTo>
                  <a:cubicBezTo>
                    <a:pt x="1499758" y="459347"/>
                    <a:pt x="1502232" y="474164"/>
                    <a:pt x="1504706" y="488982"/>
                  </a:cubicBezTo>
                  <a:cubicBezTo>
                    <a:pt x="1512127" y="526026"/>
                    <a:pt x="1517074" y="565540"/>
                    <a:pt x="1524495" y="605054"/>
                  </a:cubicBezTo>
                  <a:cubicBezTo>
                    <a:pt x="1534390" y="671733"/>
                    <a:pt x="1541811" y="738413"/>
                    <a:pt x="1551706" y="805092"/>
                  </a:cubicBezTo>
                  <a:cubicBezTo>
                    <a:pt x="1554180" y="814970"/>
                    <a:pt x="1554180" y="824849"/>
                    <a:pt x="1566549" y="832258"/>
                  </a:cubicBezTo>
                  <a:cubicBezTo>
                    <a:pt x="1566549" y="805092"/>
                    <a:pt x="1566549" y="782866"/>
                    <a:pt x="1561601" y="760639"/>
                  </a:cubicBezTo>
                  <a:cubicBezTo>
                    <a:pt x="1554180" y="735943"/>
                    <a:pt x="1549233" y="711247"/>
                    <a:pt x="1549233" y="686551"/>
                  </a:cubicBezTo>
                  <a:cubicBezTo>
                    <a:pt x="1549233" y="661855"/>
                    <a:pt x="1544285" y="639628"/>
                    <a:pt x="1541811" y="617402"/>
                  </a:cubicBezTo>
                  <a:cubicBezTo>
                    <a:pt x="1531917" y="577888"/>
                    <a:pt x="1524495" y="538374"/>
                    <a:pt x="1524495" y="498861"/>
                  </a:cubicBezTo>
                  <a:cubicBezTo>
                    <a:pt x="1526969" y="474164"/>
                    <a:pt x="1524495" y="449468"/>
                    <a:pt x="1522022" y="427242"/>
                  </a:cubicBezTo>
                  <a:cubicBezTo>
                    <a:pt x="1519548" y="397607"/>
                    <a:pt x="1512127" y="367971"/>
                    <a:pt x="1509653" y="338336"/>
                  </a:cubicBezTo>
                  <a:cubicBezTo>
                    <a:pt x="1504706" y="288944"/>
                    <a:pt x="1502232" y="239552"/>
                    <a:pt x="1497285" y="190160"/>
                  </a:cubicBezTo>
                  <a:cubicBezTo>
                    <a:pt x="1494811" y="153116"/>
                    <a:pt x="1487390" y="116071"/>
                    <a:pt x="1482442" y="81497"/>
                  </a:cubicBezTo>
                  <a:cubicBezTo>
                    <a:pt x="1482442" y="74088"/>
                    <a:pt x="1477495" y="69149"/>
                    <a:pt x="1472547" y="59271"/>
                  </a:cubicBezTo>
                  <a:close/>
                  <a:moveTo>
                    <a:pt x="1440389" y="0"/>
                  </a:moveTo>
                  <a:cubicBezTo>
                    <a:pt x="1457705" y="7409"/>
                    <a:pt x="1475021" y="12348"/>
                    <a:pt x="1487390" y="22226"/>
                  </a:cubicBezTo>
                  <a:cubicBezTo>
                    <a:pt x="1549233" y="64210"/>
                    <a:pt x="1611075" y="106193"/>
                    <a:pt x="1672918" y="150646"/>
                  </a:cubicBezTo>
                  <a:cubicBezTo>
                    <a:pt x="1710024" y="180281"/>
                    <a:pt x="1744656" y="214856"/>
                    <a:pt x="1781762" y="244491"/>
                  </a:cubicBezTo>
                  <a:cubicBezTo>
                    <a:pt x="1796604" y="259309"/>
                    <a:pt x="1813920" y="274126"/>
                    <a:pt x="1831236" y="284005"/>
                  </a:cubicBezTo>
                  <a:cubicBezTo>
                    <a:pt x="1868341" y="306231"/>
                    <a:pt x="1900500" y="330927"/>
                    <a:pt x="1930184" y="358093"/>
                  </a:cubicBezTo>
                  <a:cubicBezTo>
                    <a:pt x="1954921" y="382789"/>
                    <a:pt x="1969764" y="412424"/>
                    <a:pt x="1967290" y="449468"/>
                  </a:cubicBezTo>
                  <a:cubicBezTo>
                    <a:pt x="1967290" y="484043"/>
                    <a:pt x="1969764" y="521087"/>
                    <a:pt x="1969764" y="560601"/>
                  </a:cubicBezTo>
                  <a:cubicBezTo>
                    <a:pt x="2004396" y="545783"/>
                    <a:pt x="2036554" y="530966"/>
                    <a:pt x="2068712" y="518618"/>
                  </a:cubicBezTo>
                  <a:cubicBezTo>
                    <a:pt x="2100870" y="506269"/>
                    <a:pt x="2133029" y="493921"/>
                    <a:pt x="2165187" y="479104"/>
                  </a:cubicBezTo>
                  <a:cubicBezTo>
                    <a:pt x="2110765" y="484043"/>
                    <a:pt x="2061291" y="503800"/>
                    <a:pt x="2014290" y="526026"/>
                  </a:cubicBezTo>
                  <a:cubicBezTo>
                    <a:pt x="1999448" y="518618"/>
                    <a:pt x="1999448" y="511209"/>
                    <a:pt x="2009343" y="501330"/>
                  </a:cubicBezTo>
                  <a:cubicBezTo>
                    <a:pt x="2031606" y="471695"/>
                    <a:pt x="2053870" y="439590"/>
                    <a:pt x="2078607" y="409955"/>
                  </a:cubicBezTo>
                  <a:cubicBezTo>
                    <a:pt x="2083554" y="402546"/>
                    <a:pt x="2083554" y="395137"/>
                    <a:pt x="2076133" y="387728"/>
                  </a:cubicBezTo>
                  <a:cubicBezTo>
                    <a:pt x="2071186" y="380319"/>
                    <a:pt x="2066238" y="375380"/>
                    <a:pt x="2058817" y="370441"/>
                  </a:cubicBezTo>
                  <a:cubicBezTo>
                    <a:pt x="2014290" y="338336"/>
                    <a:pt x="1974711" y="301292"/>
                    <a:pt x="1940079" y="256839"/>
                  </a:cubicBezTo>
                  <a:cubicBezTo>
                    <a:pt x="1932658" y="246961"/>
                    <a:pt x="1925237" y="234613"/>
                    <a:pt x="1920289" y="222265"/>
                  </a:cubicBezTo>
                  <a:cubicBezTo>
                    <a:pt x="1915342" y="209917"/>
                    <a:pt x="1920289" y="204977"/>
                    <a:pt x="1930184" y="195099"/>
                  </a:cubicBezTo>
                  <a:cubicBezTo>
                    <a:pt x="1940079" y="190160"/>
                    <a:pt x="1947500" y="185220"/>
                    <a:pt x="1954921" y="180281"/>
                  </a:cubicBezTo>
                  <a:cubicBezTo>
                    <a:pt x="1962343" y="172872"/>
                    <a:pt x="1969764" y="165464"/>
                    <a:pt x="1979659" y="162994"/>
                  </a:cubicBezTo>
                  <a:cubicBezTo>
                    <a:pt x="2016764" y="145707"/>
                    <a:pt x="2056344" y="125950"/>
                    <a:pt x="2095923" y="111132"/>
                  </a:cubicBezTo>
                  <a:cubicBezTo>
                    <a:pt x="2145397" y="91375"/>
                    <a:pt x="2194871" y="76558"/>
                    <a:pt x="2249293" y="69149"/>
                  </a:cubicBezTo>
                  <a:cubicBezTo>
                    <a:pt x="2269083" y="66679"/>
                    <a:pt x="2288872" y="74088"/>
                    <a:pt x="2306188" y="86436"/>
                  </a:cubicBezTo>
                  <a:cubicBezTo>
                    <a:pt x="2375452" y="128420"/>
                    <a:pt x="2437295" y="177812"/>
                    <a:pt x="2489243" y="239552"/>
                  </a:cubicBezTo>
                  <a:cubicBezTo>
                    <a:pt x="2504085" y="259309"/>
                    <a:pt x="2521401" y="276596"/>
                    <a:pt x="2523875" y="303762"/>
                  </a:cubicBezTo>
                  <a:cubicBezTo>
                    <a:pt x="2523875" y="308701"/>
                    <a:pt x="2533770" y="316110"/>
                    <a:pt x="2538717" y="321049"/>
                  </a:cubicBezTo>
                  <a:cubicBezTo>
                    <a:pt x="2556033" y="335866"/>
                    <a:pt x="2575823" y="350684"/>
                    <a:pt x="2585718" y="375380"/>
                  </a:cubicBezTo>
                  <a:cubicBezTo>
                    <a:pt x="2573349" y="382789"/>
                    <a:pt x="2563455" y="387728"/>
                    <a:pt x="2548612" y="390198"/>
                  </a:cubicBezTo>
                  <a:cubicBezTo>
                    <a:pt x="2518928" y="395137"/>
                    <a:pt x="2486769" y="400076"/>
                    <a:pt x="2457085" y="407485"/>
                  </a:cubicBezTo>
                  <a:cubicBezTo>
                    <a:pt x="2405137" y="419833"/>
                    <a:pt x="2353189" y="432181"/>
                    <a:pt x="2301241" y="446999"/>
                  </a:cubicBezTo>
                  <a:cubicBezTo>
                    <a:pt x="2266609" y="456877"/>
                    <a:pt x="2234451" y="469225"/>
                    <a:pt x="2199819" y="481573"/>
                  </a:cubicBezTo>
                  <a:cubicBezTo>
                    <a:pt x="2145397" y="503800"/>
                    <a:pt x="2088502" y="526026"/>
                    <a:pt x="2034080" y="550722"/>
                  </a:cubicBezTo>
                  <a:cubicBezTo>
                    <a:pt x="2014290" y="558131"/>
                    <a:pt x="1992027" y="565540"/>
                    <a:pt x="1972237" y="575419"/>
                  </a:cubicBezTo>
                  <a:cubicBezTo>
                    <a:pt x="1969764" y="612463"/>
                    <a:pt x="1977185" y="649507"/>
                    <a:pt x="1977185" y="691490"/>
                  </a:cubicBezTo>
                  <a:cubicBezTo>
                    <a:pt x="1999448" y="681612"/>
                    <a:pt x="2019238" y="674203"/>
                    <a:pt x="2039028" y="669264"/>
                  </a:cubicBezTo>
                  <a:cubicBezTo>
                    <a:pt x="2056344" y="661855"/>
                    <a:pt x="2073660" y="659385"/>
                    <a:pt x="2093449" y="654446"/>
                  </a:cubicBezTo>
                  <a:cubicBezTo>
                    <a:pt x="2095923" y="654446"/>
                    <a:pt x="2100870" y="656916"/>
                    <a:pt x="2103344" y="654446"/>
                  </a:cubicBezTo>
                  <a:cubicBezTo>
                    <a:pt x="2137976" y="637159"/>
                    <a:pt x="2177555" y="637159"/>
                    <a:pt x="2214661" y="624811"/>
                  </a:cubicBezTo>
                  <a:cubicBezTo>
                    <a:pt x="2241872" y="614932"/>
                    <a:pt x="2271557" y="612463"/>
                    <a:pt x="2298767" y="607523"/>
                  </a:cubicBezTo>
                  <a:cubicBezTo>
                    <a:pt x="2303715" y="607523"/>
                    <a:pt x="2308662" y="607523"/>
                    <a:pt x="2313610" y="605054"/>
                  </a:cubicBezTo>
                  <a:cubicBezTo>
                    <a:pt x="2365558" y="590236"/>
                    <a:pt x="2422453" y="587767"/>
                    <a:pt x="2476875" y="577888"/>
                  </a:cubicBezTo>
                  <a:cubicBezTo>
                    <a:pt x="2499138" y="572949"/>
                    <a:pt x="2521401" y="580358"/>
                    <a:pt x="2541191" y="592706"/>
                  </a:cubicBezTo>
                  <a:cubicBezTo>
                    <a:pt x="2600560" y="632220"/>
                    <a:pt x="2654982" y="676672"/>
                    <a:pt x="2701982" y="733473"/>
                  </a:cubicBezTo>
                  <a:cubicBezTo>
                    <a:pt x="2721772" y="758169"/>
                    <a:pt x="2729193" y="770518"/>
                    <a:pt x="2687140" y="792744"/>
                  </a:cubicBezTo>
                  <a:cubicBezTo>
                    <a:pt x="2679719" y="797683"/>
                    <a:pt x="2674772" y="802622"/>
                    <a:pt x="2669824" y="805092"/>
                  </a:cubicBezTo>
                  <a:cubicBezTo>
                    <a:pt x="2667350" y="807562"/>
                    <a:pt x="2664877" y="812501"/>
                    <a:pt x="2659929" y="812501"/>
                  </a:cubicBezTo>
                  <a:cubicBezTo>
                    <a:pt x="2612929" y="827318"/>
                    <a:pt x="2570876" y="856954"/>
                    <a:pt x="2518928" y="859423"/>
                  </a:cubicBezTo>
                  <a:cubicBezTo>
                    <a:pt x="2509033" y="859423"/>
                    <a:pt x="2499138" y="861893"/>
                    <a:pt x="2489243" y="864363"/>
                  </a:cubicBezTo>
                  <a:cubicBezTo>
                    <a:pt x="2452138" y="876711"/>
                    <a:pt x="2412558" y="881650"/>
                    <a:pt x="2372979" y="881650"/>
                  </a:cubicBezTo>
                  <a:cubicBezTo>
                    <a:pt x="2353189" y="881650"/>
                    <a:pt x="2333399" y="881650"/>
                    <a:pt x="2313610" y="879180"/>
                  </a:cubicBezTo>
                  <a:cubicBezTo>
                    <a:pt x="2291346" y="876711"/>
                    <a:pt x="2266609" y="881650"/>
                    <a:pt x="2244346" y="884119"/>
                  </a:cubicBezTo>
                  <a:cubicBezTo>
                    <a:pt x="2217135" y="886589"/>
                    <a:pt x="2189924" y="891528"/>
                    <a:pt x="2162713" y="896468"/>
                  </a:cubicBezTo>
                  <a:cubicBezTo>
                    <a:pt x="2160239" y="896468"/>
                    <a:pt x="2157766" y="893998"/>
                    <a:pt x="2155292" y="893998"/>
                  </a:cubicBezTo>
                  <a:cubicBezTo>
                    <a:pt x="2160239" y="884119"/>
                    <a:pt x="2165187" y="879180"/>
                    <a:pt x="2177555" y="879180"/>
                  </a:cubicBezTo>
                  <a:cubicBezTo>
                    <a:pt x="2197345" y="879180"/>
                    <a:pt x="2202293" y="874241"/>
                    <a:pt x="2204766" y="854484"/>
                  </a:cubicBezTo>
                  <a:cubicBezTo>
                    <a:pt x="2197345" y="847075"/>
                    <a:pt x="2189924" y="852015"/>
                    <a:pt x="2182503" y="854484"/>
                  </a:cubicBezTo>
                  <a:cubicBezTo>
                    <a:pt x="2162713" y="861893"/>
                    <a:pt x="2140450" y="869302"/>
                    <a:pt x="2118186" y="869302"/>
                  </a:cubicBezTo>
                  <a:cubicBezTo>
                    <a:pt x="2098397" y="871771"/>
                    <a:pt x="2081081" y="881650"/>
                    <a:pt x="2063765" y="886589"/>
                  </a:cubicBezTo>
                  <a:cubicBezTo>
                    <a:pt x="2056344" y="889059"/>
                    <a:pt x="2048922" y="889059"/>
                    <a:pt x="2041501" y="893998"/>
                  </a:cubicBezTo>
                  <a:cubicBezTo>
                    <a:pt x="2036554" y="893998"/>
                    <a:pt x="2034080" y="896468"/>
                    <a:pt x="2031606" y="898937"/>
                  </a:cubicBezTo>
                  <a:cubicBezTo>
                    <a:pt x="2026659" y="901407"/>
                    <a:pt x="2024185" y="908816"/>
                    <a:pt x="2021712" y="906346"/>
                  </a:cubicBezTo>
                  <a:cubicBezTo>
                    <a:pt x="1999448" y="901407"/>
                    <a:pt x="1987080" y="926103"/>
                    <a:pt x="1967290" y="928572"/>
                  </a:cubicBezTo>
                  <a:cubicBezTo>
                    <a:pt x="1952448" y="931042"/>
                    <a:pt x="1949974" y="940920"/>
                    <a:pt x="1952448" y="960677"/>
                  </a:cubicBezTo>
                  <a:cubicBezTo>
                    <a:pt x="1957395" y="982904"/>
                    <a:pt x="1962343" y="1002661"/>
                    <a:pt x="1964816" y="1024887"/>
                  </a:cubicBezTo>
                  <a:cubicBezTo>
                    <a:pt x="1972237" y="1059462"/>
                    <a:pt x="1974711" y="1091567"/>
                    <a:pt x="1979659" y="1126141"/>
                  </a:cubicBezTo>
                  <a:cubicBezTo>
                    <a:pt x="1982132" y="1138489"/>
                    <a:pt x="1987080" y="1153307"/>
                    <a:pt x="1989553" y="1168124"/>
                  </a:cubicBezTo>
                  <a:cubicBezTo>
                    <a:pt x="1996974" y="1205168"/>
                    <a:pt x="2001922" y="1242213"/>
                    <a:pt x="2009343" y="1281726"/>
                  </a:cubicBezTo>
                  <a:cubicBezTo>
                    <a:pt x="2016764" y="1318770"/>
                    <a:pt x="2029133" y="1355815"/>
                    <a:pt x="2036554" y="1392859"/>
                  </a:cubicBezTo>
                  <a:cubicBezTo>
                    <a:pt x="2046449" y="1434842"/>
                    <a:pt x="2048922" y="1474356"/>
                    <a:pt x="2061291" y="1513869"/>
                  </a:cubicBezTo>
                  <a:cubicBezTo>
                    <a:pt x="2078607" y="1570670"/>
                    <a:pt x="2081081" y="1632411"/>
                    <a:pt x="2098397" y="1689211"/>
                  </a:cubicBezTo>
                  <a:cubicBezTo>
                    <a:pt x="2108291" y="1718847"/>
                    <a:pt x="2113239" y="1750952"/>
                    <a:pt x="2120660" y="1780587"/>
                  </a:cubicBezTo>
                  <a:cubicBezTo>
                    <a:pt x="2125607" y="1795405"/>
                    <a:pt x="2130555" y="1807753"/>
                    <a:pt x="2135502" y="1822570"/>
                  </a:cubicBezTo>
                  <a:cubicBezTo>
                    <a:pt x="2145397" y="1852206"/>
                    <a:pt x="2155292" y="1884310"/>
                    <a:pt x="2160239" y="1913946"/>
                  </a:cubicBezTo>
                  <a:cubicBezTo>
                    <a:pt x="2167661" y="1955929"/>
                    <a:pt x="2184977" y="1995443"/>
                    <a:pt x="2199819" y="2032487"/>
                  </a:cubicBezTo>
                  <a:cubicBezTo>
                    <a:pt x="2202293" y="2039896"/>
                    <a:pt x="2202293" y="2047305"/>
                    <a:pt x="2207240" y="2054713"/>
                  </a:cubicBezTo>
                  <a:cubicBezTo>
                    <a:pt x="2209714" y="2059653"/>
                    <a:pt x="2214661" y="2064592"/>
                    <a:pt x="2219609" y="2064592"/>
                  </a:cubicBezTo>
                  <a:cubicBezTo>
                    <a:pt x="2222082" y="2064592"/>
                    <a:pt x="2227030" y="2059653"/>
                    <a:pt x="2229503" y="2054713"/>
                  </a:cubicBezTo>
                  <a:cubicBezTo>
                    <a:pt x="2231977" y="2052244"/>
                    <a:pt x="2231977" y="2047305"/>
                    <a:pt x="2234451" y="2042365"/>
                  </a:cubicBezTo>
                  <a:cubicBezTo>
                    <a:pt x="2236925" y="1995443"/>
                    <a:pt x="2239398" y="1950990"/>
                    <a:pt x="2244346" y="1904067"/>
                  </a:cubicBezTo>
                  <a:cubicBezTo>
                    <a:pt x="2246819" y="1871962"/>
                    <a:pt x="2249293" y="1839858"/>
                    <a:pt x="2251767" y="1805283"/>
                  </a:cubicBezTo>
                  <a:cubicBezTo>
                    <a:pt x="2256714" y="1746012"/>
                    <a:pt x="2259188" y="1686742"/>
                    <a:pt x="2264135" y="1629941"/>
                  </a:cubicBezTo>
                  <a:cubicBezTo>
                    <a:pt x="2264135" y="1622532"/>
                    <a:pt x="2264135" y="1617593"/>
                    <a:pt x="2269083" y="1610184"/>
                  </a:cubicBezTo>
                  <a:cubicBezTo>
                    <a:pt x="2276504" y="1639819"/>
                    <a:pt x="2283925" y="1666985"/>
                    <a:pt x="2291346" y="1696620"/>
                  </a:cubicBezTo>
                  <a:cubicBezTo>
                    <a:pt x="2296294" y="1694151"/>
                    <a:pt x="2298767" y="1694151"/>
                    <a:pt x="2298767" y="1694151"/>
                  </a:cubicBezTo>
                  <a:cubicBezTo>
                    <a:pt x="2306188" y="1669455"/>
                    <a:pt x="2316083" y="1644759"/>
                    <a:pt x="2303715" y="1617593"/>
                  </a:cubicBezTo>
                  <a:cubicBezTo>
                    <a:pt x="2301241" y="1612654"/>
                    <a:pt x="2301241" y="1610184"/>
                    <a:pt x="2301241" y="1605245"/>
                  </a:cubicBezTo>
                  <a:cubicBezTo>
                    <a:pt x="2296294" y="1560792"/>
                    <a:pt x="2288872" y="1513869"/>
                    <a:pt x="2286399" y="1469416"/>
                  </a:cubicBezTo>
                  <a:cubicBezTo>
                    <a:pt x="2283925" y="1452129"/>
                    <a:pt x="2283925" y="1432372"/>
                    <a:pt x="2286399" y="1415085"/>
                  </a:cubicBezTo>
                  <a:cubicBezTo>
                    <a:pt x="2286399" y="1410146"/>
                    <a:pt x="2291346" y="1400267"/>
                    <a:pt x="2296294" y="1397798"/>
                  </a:cubicBezTo>
                  <a:cubicBezTo>
                    <a:pt x="2306188" y="1390389"/>
                    <a:pt x="2306188" y="1380511"/>
                    <a:pt x="2306188" y="1368163"/>
                  </a:cubicBezTo>
                  <a:cubicBezTo>
                    <a:pt x="2306188" y="1353345"/>
                    <a:pt x="2306188" y="1340997"/>
                    <a:pt x="2308662" y="1326179"/>
                  </a:cubicBezTo>
                  <a:cubicBezTo>
                    <a:pt x="2358136" y="1378041"/>
                    <a:pt x="2392768" y="1439781"/>
                    <a:pt x="2434822" y="1496582"/>
                  </a:cubicBezTo>
                  <a:cubicBezTo>
                    <a:pt x="2432348" y="1469416"/>
                    <a:pt x="2415032" y="1447190"/>
                    <a:pt x="2405137" y="1420024"/>
                  </a:cubicBezTo>
                  <a:cubicBezTo>
                    <a:pt x="2395242" y="1395328"/>
                    <a:pt x="2385347" y="1370632"/>
                    <a:pt x="2375452" y="1343466"/>
                  </a:cubicBezTo>
                  <a:cubicBezTo>
                    <a:pt x="2380400" y="1348406"/>
                    <a:pt x="2382874" y="1350875"/>
                    <a:pt x="2387821" y="1355815"/>
                  </a:cubicBezTo>
                  <a:cubicBezTo>
                    <a:pt x="2447190" y="1434842"/>
                    <a:pt x="2494191" y="1521278"/>
                    <a:pt x="2531296" y="1612654"/>
                  </a:cubicBezTo>
                  <a:cubicBezTo>
                    <a:pt x="2558507" y="1679333"/>
                    <a:pt x="2585718" y="1743543"/>
                    <a:pt x="2617876" y="1807753"/>
                  </a:cubicBezTo>
                  <a:cubicBezTo>
                    <a:pt x="2657456" y="1894189"/>
                    <a:pt x="2684666" y="1985564"/>
                    <a:pt x="2711877" y="2076940"/>
                  </a:cubicBezTo>
                  <a:cubicBezTo>
                    <a:pt x="2726720" y="2128802"/>
                    <a:pt x="2741562" y="2180663"/>
                    <a:pt x="2746509" y="2232525"/>
                  </a:cubicBezTo>
                  <a:cubicBezTo>
                    <a:pt x="2751457" y="2267100"/>
                    <a:pt x="2756404" y="2299204"/>
                    <a:pt x="2748983" y="2336249"/>
                  </a:cubicBezTo>
                  <a:cubicBezTo>
                    <a:pt x="2744036" y="2353536"/>
                    <a:pt x="2748983" y="2373293"/>
                    <a:pt x="2748983" y="2390580"/>
                  </a:cubicBezTo>
                  <a:cubicBezTo>
                    <a:pt x="2751457" y="2417746"/>
                    <a:pt x="2746509" y="2439972"/>
                    <a:pt x="2731667" y="2462198"/>
                  </a:cubicBezTo>
                  <a:cubicBezTo>
                    <a:pt x="2719298" y="2477016"/>
                    <a:pt x="2714351" y="2499243"/>
                    <a:pt x="2706930" y="2516530"/>
                  </a:cubicBezTo>
                  <a:cubicBezTo>
                    <a:pt x="2694561" y="2536287"/>
                    <a:pt x="2679719" y="2553574"/>
                    <a:pt x="2654982" y="2563452"/>
                  </a:cubicBezTo>
                  <a:cubicBezTo>
                    <a:pt x="2635192" y="2573331"/>
                    <a:pt x="2620350" y="2588148"/>
                    <a:pt x="2598087" y="2593088"/>
                  </a:cubicBezTo>
                  <a:cubicBezTo>
                    <a:pt x="2575823" y="2595557"/>
                    <a:pt x="2556033" y="2595557"/>
                    <a:pt x="2533770" y="2588148"/>
                  </a:cubicBezTo>
                  <a:cubicBezTo>
                    <a:pt x="2489243" y="2575800"/>
                    <a:pt x="2449664" y="2551104"/>
                    <a:pt x="2412558" y="2526408"/>
                  </a:cubicBezTo>
                  <a:cubicBezTo>
                    <a:pt x="2274030" y="2432563"/>
                    <a:pt x="2150345" y="2321431"/>
                    <a:pt x="2041501" y="2195481"/>
                  </a:cubicBezTo>
                  <a:cubicBezTo>
                    <a:pt x="1992027" y="2141150"/>
                    <a:pt x="1949974" y="2081879"/>
                    <a:pt x="1917816" y="2015200"/>
                  </a:cubicBezTo>
                  <a:cubicBezTo>
                    <a:pt x="1900500" y="1980625"/>
                    <a:pt x="1880710" y="1948520"/>
                    <a:pt x="1863394" y="1913946"/>
                  </a:cubicBezTo>
                  <a:cubicBezTo>
                    <a:pt x="1858447" y="1901598"/>
                    <a:pt x="1851025" y="1886780"/>
                    <a:pt x="1846078" y="1874432"/>
                  </a:cubicBezTo>
                  <a:cubicBezTo>
                    <a:pt x="1833709" y="1844797"/>
                    <a:pt x="1818867" y="1815161"/>
                    <a:pt x="1808972" y="1785526"/>
                  </a:cubicBezTo>
                  <a:cubicBezTo>
                    <a:pt x="1796604" y="1746012"/>
                    <a:pt x="1784235" y="1706499"/>
                    <a:pt x="1771867" y="1664515"/>
                  </a:cubicBezTo>
                  <a:cubicBezTo>
                    <a:pt x="1759498" y="1629941"/>
                    <a:pt x="1749603" y="1597836"/>
                    <a:pt x="1739708" y="1563262"/>
                  </a:cubicBezTo>
                  <a:cubicBezTo>
                    <a:pt x="1729814" y="1523748"/>
                    <a:pt x="1722392" y="1484234"/>
                    <a:pt x="1710024" y="1444720"/>
                  </a:cubicBezTo>
                  <a:cubicBezTo>
                    <a:pt x="1692708" y="1390389"/>
                    <a:pt x="1672918" y="1336058"/>
                    <a:pt x="1655602" y="1279257"/>
                  </a:cubicBezTo>
                  <a:cubicBezTo>
                    <a:pt x="1640760" y="1229865"/>
                    <a:pt x="1628391" y="1180472"/>
                    <a:pt x="1616023" y="1128611"/>
                  </a:cubicBezTo>
                  <a:cubicBezTo>
                    <a:pt x="1611075" y="1113793"/>
                    <a:pt x="1606128" y="1096506"/>
                    <a:pt x="1603654" y="1079219"/>
                  </a:cubicBezTo>
                  <a:cubicBezTo>
                    <a:pt x="1596233" y="1079219"/>
                    <a:pt x="1588812" y="1081688"/>
                    <a:pt x="1581391" y="1084158"/>
                  </a:cubicBezTo>
                  <a:cubicBezTo>
                    <a:pt x="1549233" y="1098975"/>
                    <a:pt x="1517074" y="1111323"/>
                    <a:pt x="1484916" y="1126141"/>
                  </a:cubicBezTo>
                  <a:cubicBezTo>
                    <a:pt x="1467600" y="1136019"/>
                    <a:pt x="1450284" y="1148368"/>
                    <a:pt x="1435442" y="1158246"/>
                  </a:cubicBezTo>
                  <a:cubicBezTo>
                    <a:pt x="1430494" y="1160716"/>
                    <a:pt x="1425547" y="1160716"/>
                    <a:pt x="1420600" y="1163185"/>
                  </a:cubicBezTo>
                  <a:cubicBezTo>
                    <a:pt x="1403284" y="1170594"/>
                    <a:pt x="1383494" y="1175533"/>
                    <a:pt x="1363704" y="1182942"/>
                  </a:cubicBezTo>
                  <a:cubicBezTo>
                    <a:pt x="1351336" y="1187881"/>
                    <a:pt x="1338967" y="1190351"/>
                    <a:pt x="1346388" y="1207638"/>
                  </a:cubicBezTo>
                  <a:cubicBezTo>
                    <a:pt x="1348862" y="1210108"/>
                    <a:pt x="1346388" y="1215047"/>
                    <a:pt x="1346388" y="1217517"/>
                  </a:cubicBezTo>
                  <a:cubicBezTo>
                    <a:pt x="1334020" y="1237273"/>
                    <a:pt x="1321651" y="1257030"/>
                    <a:pt x="1311756" y="1279257"/>
                  </a:cubicBezTo>
                  <a:cubicBezTo>
                    <a:pt x="1304335" y="1299014"/>
                    <a:pt x="1299388" y="1321240"/>
                    <a:pt x="1291966" y="1343466"/>
                  </a:cubicBezTo>
                  <a:cubicBezTo>
                    <a:pt x="1289493" y="1350875"/>
                    <a:pt x="1287019" y="1358284"/>
                    <a:pt x="1287019" y="1365693"/>
                  </a:cubicBezTo>
                  <a:cubicBezTo>
                    <a:pt x="1282072" y="1387919"/>
                    <a:pt x="1277124" y="1410146"/>
                    <a:pt x="1274650" y="1432372"/>
                  </a:cubicBezTo>
                  <a:cubicBezTo>
                    <a:pt x="1274650" y="1447190"/>
                    <a:pt x="1289493" y="1454599"/>
                    <a:pt x="1306809" y="1447190"/>
                  </a:cubicBezTo>
                  <a:cubicBezTo>
                    <a:pt x="1316704" y="1442251"/>
                    <a:pt x="1326598" y="1437312"/>
                    <a:pt x="1336493" y="1432372"/>
                  </a:cubicBezTo>
                  <a:cubicBezTo>
                    <a:pt x="1356283" y="1422494"/>
                    <a:pt x="1376073" y="1427433"/>
                    <a:pt x="1393389" y="1439781"/>
                  </a:cubicBezTo>
                  <a:cubicBezTo>
                    <a:pt x="1450284" y="1474356"/>
                    <a:pt x="1499758" y="1516339"/>
                    <a:pt x="1541811" y="1568201"/>
                  </a:cubicBezTo>
                  <a:cubicBezTo>
                    <a:pt x="1561601" y="1592897"/>
                    <a:pt x="1561601" y="1597836"/>
                    <a:pt x="1544285" y="1622532"/>
                  </a:cubicBezTo>
                  <a:cubicBezTo>
                    <a:pt x="1544285" y="1625002"/>
                    <a:pt x="1541811" y="1627471"/>
                    <a:pt x="1541811" y="1629941"/>
                  </a:cubicBezTo>
                  <a:cubicBezTo>
                    <a:pt x="1534390" y="1664515"/>
                    <a:pt x="1507179" y="1681803"/>
                    <a:pt x="1479969" y="1699090"/>
                  </a:cubicBezTo>
                  <a:cubicBezTo>
                    <a:pt x="1435442" y="1726256"/>
                    <a:pt x="1388441" y="1746012"/>
                    <a:pt x="1343914" y="1770709"/>
                  </a:cubicBezTo>
                  <a:cubicBezTo>
                    <a:pt x="1326598" y="1783057"/>
                    <a:pt x="1311756" y="1795405"/>
                    <a:pt x="1301861" y="1812692"/>
                  </a:cubicBezTo>
                  <a:cubicBezTo>
                    <a:pt x="1296914" y="1817631"/>
                    <a:pt x="1294440" y="1822570"/>
                    <a:pt x="1294440" y="1829979"/>
                  </a:cubicBezTo>
                  <a:cubicBezTo>
                    <a:pt x="1291966" y="1857145"/>
                    <a:pt x="1289493" y="1884310"/>
                    <a:pt x="1284545" y="1916415"/>
                  </a:cubicBezTo>
                  <a:cubicBezTo>
                    <a:pt x="1296914" y="1911476"/>
                    <a:pt x="1309282" y="1909007"/>
                    <a:pt x="1319177" y="1901598"/>
                  </a:cubicBezTo>
                  <a:cubicBezTo>
                    <a:pt x="1385968" y="1859614"/>
                    <a:pt x="1460179" y="1827509"/>
                    <a:pt x="1531917" y="1795405"/>
                  </a:cubicBezTo>
                  <a:cubicBezTo>
                    <a:pt x="1544285" y="1790465"/>
                    <a:pt x="1556654" y="1787996"/>
                    <a:pt x="1569022" y="1787996"/>
                  </a:cubicBezTo>
                  <a:cubicBezTo>
                    <a:pt x="1541811" y="1805283"/>
                    <a:pt x="1514601" y="1820101"/>
                    <a:pt x="1487390" y="1837388"/>
                  </a:cubicBezTo>
                  <a:cubicBezTo>
                    <a:pt x="1487390" y="1837388"/>
                    <a:pt x="1487390" y="1839858"/>
                    <a:pt x="1487390" y="1839858"/>
                  </a:cubicBezTo>
                  <a:cubicBezTo>
                    <a:pt x="1514601" y="1832449"/>
                    <a:pt x="1541811" y="1825040"/>
                    <a:pt x="1569022" y="1817631"/>
                  </a:cubicBezTo>
                  <a:cubicBezTo>
                    <a:pt x="1571496" y="1820101"/>
                    <a:pt x="1571496" y="1822570"/>
                    <a:pt x="1571496" y="1825040"/>
                  </a:cubicBezTo>
                  <a:cubicBezTo>
                    <a:pt x="1546759" y="1849736"/>
                    <a:pt x="1512127" y="1864554"/>
                    <a:pt x="1484916" y="1886780"/>
                  </a:cubicBezTo>
                  <a:cubicBezTo>
                    <a:pt x="1497285" y="1896658"/>
                    <a:pt x="1489863" y="1906537"/>
                    <a:pt x="1484916" y="1918885"/>
                  </a:cubicBezTo>
                  <a:cubicBezTo>
                    <a:pt x="1487390" y="1921355"/>
                    <a:pt x="1489863" y="1921355"/>
                    <a:pt x="1494811" y="1923824"/>
                  </a:cubicBezTo>
                  <a:cubicBezTo>
                    <a:pt x="1477495" y="1943581"/>
                    <a:pt x="1452758" y="1950990"/>
                    <a:pt x="1437915" y="1978156"/>
                  </a:cubicBezTo>
                  <a:cubicBezTo>
                    <a:pt x="1467600" y="1965807"/>
                    <a:pt x="1494811" y="1953459"/>
                    <a:pt x="1519548" y="1941111"/>
                  </a:cubicBezTo>
                  <a:cubicBezTo>
                    <a:pt x="1522022" y="1941111"/>
                    <a:pt x="1522022" y="1943581"/>
                    <a:pt x="1524495" y="1943581"/>
                  </a:cubicBezTo>
                  <a:cubicBezTo>
                    <a:pt x="1519548" y="1948520"/>
                    <a:pt x="1517074" y="1953459"/>
                    <a:pt x="1514601" y="1958399"/>
                  </a:cubicBezTo>
                  <a:cubicBezTo>
                    <a:pt x="1479969" y="1992973"/>
                    <a:pt x="1445337" y="2027548"/>
                    <a:pt x="1410705" y="2059653"/>
                  </a:cubicBezTo>
                  <a:cubicBezTo>
                    <a:pt x="1381020" y="2084349"/>
                    <a:pt x="1356283" y="2111514"/>
                    <a:pt x="1329072" y="2138680"/>
                  </a:cubicBezTo>
                  <a:cubicBezTo>
                    <a:pt x="1304335" y="2165846"/>
                    <a:pt x="1277124" y="2190542"/>
                    <a:pt x="1249913" y="2215238"/>
                  </a:cubicBezTo>
                  <a:cubicBezTo>
                    <a:pt x="1235071" y="2227586"/>
                    <a:pt x="1217755" y="2237464"/>
                    <a:pt x="1202913" y="2247343"/>
                  </a:cubicBezTo>
                  <a:cubicBezTo>
                    <a:pt x="1197965" y="2252282"/>
                    <a:pt x="1193018" y="2259691"/>
                    <a:pt x="1183123" y="2269569"/>
                  </a:cubicBezTo>
                  <a:cubicBezTo>
                    <a:pt x="1193018" y="2269569"/>
                    <a:pt x="1197965" y="2269569"/>
                    <a:pt x="1205387" y="2269569"/>
                  </a:cubicBezTo>
                  <a:cubicBezTo>
                    <a:pt x="1148491" y="2336249"/>
                    <a:pt x="1089122" y="2400458"/>
                    <a:pt x="1039648" y="2469607"/>
                  </a:cubicBezTo>
                  <a:cubicBezTo>
                    <a:pt x="987700" y="2538756"/>
                    <a:pt x="945647" y="2612845"/>
                    <a:pt x="898646" y="2684463"/>
                  </a:cubicBezTo>
                  <a:cubicBezTo>
                    <a:pt x="859067" y="2677054"/>
                    <a:pt x="829382" y="2654828"/>
                    <a:pt x="802171" y="2632601"/>
                  </a:cubicBezTo>
                  <a:cubicBezTo>
                    <a:pt x="789803" y="2622723"/>
                    <a:pt x="784855" y="2612845"/>
                    <a:pt x="784855" y="2598027"/>
                  </a:cubicBezTo>
                  <a:cubicBezTo>
                    <a:pt x="779908" y="2556044"/>
                    <a:pt x="777434" y="2514060"/>
                    <a:pt x="770013" y="2474547"/>
                  </a:cubicBezTo>
                  <a:cubicBezTo>
                    <a:pt x="765066" y="2449850"/>
                    <a:pt x="760118" y="2427624"/>
                    <a:pt x="760118" y="2402928"/>
                  </a:cubicBezTo>
                  <a:cubicBezTo>
                    <a:pt x="757645" y="2400458"/>
                    <a:pt x="757645" y="2395519"/>
                    <a:pt x="755171" y="2393049"/>
                  </a:cubicBezTo>
                  <a:cubicBezTo>
                    <a:pt x="742802" y="2370823"/>
                    <a:pt x="732907" y="2351066"/>
                    <a:pt x="720539" y="2328840"/>
                  </a:cubicBezTo>
                  <a:cubicBezTo>
                    <a:pt x="762592" y="2291796"/>
                    <a:pt x="799698" y="2257221"/>
                    <a:pt x="841751" y="2222647"/>
                  </a:cubicBezTo>
                  <a:cubicBezTo>
                    <a:pt x="831856" y="2212768"/>
                    <a:pt x="824435" y="2205359"/>
                    <a:pt x="817014" y="2197951"/>
                  </a:cubicBezTo>
                  <a:cubicBezTo>
                    <a:pt x="787329" y="2168315"/>
                    <a:pt x="755171" y="2138680"/>
                    <a:pt x="725486" y="2109045"/>
                  </a:cubicBezTo>
                  <a:cubicBezTo>
                    <a:pt x="695802" y="2079409"/>
                    <a:pt x="683433" y="2044835"/>
                    <a:pt x="683433" y="2002852"/>
                  </a:cubicBezTo>
                  <a:cubicBezTo>
                    <a:pt x="683433" y="1968277"/>
                    <a:pt x="680959" y="1933703"/>
                    <a:pt x="695802" y="1899128"/>
                  </a:cubicBezTo>
                  <a:cubicBezTo>
                    <a:pt x="695802" y="1899128"/>
                    <a:pt x="698275" y="1896658"/>
                    <a:pt x="700749" y="1894189"/>
                  </a:cubicBezTo>
                  <a:cubicBezTo>
                    <a:pt x="703223" y="1904067"/>
                    <a:pt x="705697" y="1913946"/>
                    <a:pt x="708170" y="1921355"/>
                  </a:cubicBezTo>
                  <a:cubicBezTo>
                    <a:pt x="710644" y="1928763"/>
                    <a:pt x="713118" y="1933703"/>
                    <a:pt x="715591" y="1941111"/>
                  </a:cubicBezTo>
                  <a:cubicBezTo>
                    <a:pt x="715591" y="1918885"/>
                    <a:pt x="710644" y="1896658"/>
                    <a:pt x="723013" y="1871962"/>
                  </a:cubicBezTo>
                  <a:cubicBezTo>
                    <a:pt x="725486" y="1889250"/>
                    <a:pt x="727960" y="1906537"/>
                    <a:pt x="732907" y="1928763"/>
                  </a:cubicBezTo>
                  <a:cubicBezTo>
                    <a:pt x="740329" y="1911476"/>
                    <a:pt x="745276" y="1896658"/>
                    <a:pt x="752697" y="1884310"/>
                  </a:cubicBezTo>
                  <a:cubicBezTo>
                    <a:pt x="757645" y="1871962"/>
                    <a:pt x="757645" y="1857145"/>
                    <a:pt x="774961" y="1849736"/>
                  </a:cubicBezTo>
                  <a:cubicBezTo>
                    <a:pt x="774961" y="1849736"/>
                    <a:pt x="777434" y="1847266"/>
                    <a:pt x="777434" y="1844797"/>
                  </a:cubicBezTo>
                  <a:cubicBezTo>
                    <a:pt x="787329" y="1805283"/>
                    <a:pt x="802171" y="1765769"/>
                    <a:pt x="804645" y="1721316"/>
                  </a:cubicBezTo>
                  <a:cubicBezTo>
                    <a:pt x="804645" y="1711438"/>
                    <a:pt x="802171" y="1701560"/>
                    <a:pt x="802171" y="1686742"/>
                  </a:cubicBezTo>
                  <a:cubicBezTo>
                    <a:pt x="809593" y="1689211"/>
                    <a:pt x="817014" y="1689211"/>
                    <a:pt x="821961" y="1694151"/>
                  </a:cubicBezTo>
                  <a:cubicBezTo>
                    <a:pt x="873909" y="1726256"/>
                    <a:pt x="960489" y="1847266"/>
                    <a:pt x="962963" y="1862084"/>
                  </a:cubicBezTo>
                  <a:cubicBezTo>
                    <a:pt x="970384" y="1894189"/>
                    <a:pt x="975331" y="1928763"/>
                    <a:pt x="975331" y="1963338"/>
                  </a:cubicBezTo>
                  <a:cubicBezTo>
                    <a:pt x="975331" y="1988034"/>
                    <a:pt x="982752" y="2015200"/>
                    <a:pt x="987700" y="2042365"/>
                  </a:cubicBezTo>
                  <a:cubicBezTo>
                    <a:pt x="987700" y="2049774"/>
                    <a:pt x="987700" y="2059653"/>
                    <a:pt x="987700" y="2067061"/>
                  </a:cubicBezTo>
                  <a:cubicBezTo>
                    <a:pt x="987700" y="2076940"/>
                    <a:pt x="987700" y="2084349"/>
                    <a:pt x="987700" y="2094227"/>
                  </a:cubicBezTo>
                  <a:cubicBezTo>
                    <a:pt x="1017384" y="2086818"/>
                    <a:pt x="1034700" y="2067061"/>
                    <a:pt x="1054490" y="2049774"/>
                  </a:cubicBezTo>
                  <a:cubicBezTo>
                    <a:pt x="1032227" y="2030017"/>
                    <a:pt x="1044595" y="2005321"/>
                    <a:pt x="1047069" y="1983095"/>
                  </a:cubicBezTo>
                  <a:cubicBezTo>
                    <a:pt x="1047069" y="1958399"/>
                    <a:pt x="1054490" y="1933703"/>
                    <a:pt x="1056964" y="1909007"/>
                  </a:cubicBezTo>
                  <a:cubicBezTo>
                    <a:pt x="1064385" y="1859614"/>
                    <a:pt x="1069332" y="1810222"/>
                    <a:pt x="1074280" y="1760830"/>
                  </a:cubicBezTo>
                  <a:cubicBezTo>
                    <a:pt x="1076753" y="1750952"/>
                    <a:pt x="1079227" y="1743543"/>
                    <a:pt x="1079227" y="1736134"/>
                  </a:cubicBezTo>
                  <a:cubicBezTo>
                    <a:pt x="1084175" y="1711438"/>
                    <a:pt x="1086648" y="1684272"/>
                    <a:pt x="1089122" y="1659576"/>
                  </a:cubicBezTo>
                  <a:cubicBezTo>
                    <a:pt x="1094069" y="1629941"/>
                    <a:pt x="1099017" y="1602775"/>
                    <a:pt x="1103964" y="1573140"/>
                  </a:cubicBezTo>
                  <a:cubicBezTo>
                    <a:pt x="1108912" y="1553383"/>
                    <a:pt x="1113859" y="1531157"/>
                    <a:pt x="1118807" y="1508930"/>
                  </a:cubicBezTo>
                  <a:cubicBezTo>
                    <a:pt x="1128701" y="1469416"/>
                    <a:pt x="1136123" y="1427433"/>
                    <a:pt x="1146017" y="1387919"/>
                  </a:cubicBezTo>
                  <a:cubicBezTo>
                    <a:pt x="1150965" y="1363223"/>
                    <a:pt x="1155912" y="1338527"/>
                    <a:pt x="1163333" y="1313831"/>
                  </a:cubicBezTo>
                  <a:cubicBezTo>
                    <a:pt x="1165807" y="1306422"/>
                    <a:pt x="1168281" y="1296544"/>
                    <a:pt x="1173228" y="1289135"/>
                  </a:cubicBezTo>
                  <a:cubicBezTo>
                    <a:pt x="1153439" y="1291605"/>
                    <a:pt x="1106438" y="1318770"/>
                    <a:pt x="1094069" y="1333588"/>
                  </a:cubicBezTo>
                  <a:cubicBezTo>
                    <a:pt x="1086648" y="1338527"/>
                    <a:pt x="1079227" y="1343466"/>
                    <a:pt x="1071806" y="1348406"/>
                  </a:cubicBezTo>
                  <a:cubicBezTo>
                    <a:pt x="1064385" y="1355815"/>
                    <a:pt x="1056964" y="1360754"/>
                    <a:pt x="1047069" y="1365693"/>
                  </a:cubicBezTo>
                  <a:cubicBezTo>
                    <a:pt x="1042122" y="1368163"/>
                    <a:pt x="1034700" y="1370632"/>
                    <a:pt x="1029753" y="1375571"/>
                  </a:cubicBezTo>
                  <a:cubicBezTo>
                    <a:pt x="1017384" y="1382980"/>
                    <a:pt x="1007490" y="1387919"/>
                    <a:pt x="997595" y="1395328"/>
                  </a:cubicBezTo>
                  <a:cubicBezTo>
                    <a:pt x="990174" y="1400267"/>
                    <a:pt x="982752" y="1405207"/>
                    <a:pt x="975331" y="1407676"/>
                  </a:cubicBezTo>
                  <a:cubicBezTo>
                    <a:pt x="960489" y="1415085"/>
                    <a:pt x="945647" y="1420024"/>
                    <a:pt x="930804" y="1427433"/>
                  </a:cubicBezTo>
                  <a:cubicBezTo>
                    <a:pt x="915962" y="1434842"/>
                    <a:pt x="903594" y="1444720"/>
                    <a:pt x="898646" y="1459538"/>
                  </a:cubicBezTo>
                  <a:cubicBezTo>
                    <a:pt x="896173" y="1469416"/>
                    <a:pt x="888751" y="1474356"/>
                    <a:pt x="878857" y="1474356"/>
                  </a:cubicBezTo>
                  <a:cubicBezTo>
                    <a:pt x="868962" y="1474356"/>
                    <a:pt x="859067" y="1479295"/>
                    <a:pt x="854119" y="1489173"/>
                  </a:cubicBezTo>
                  <a:cubicBezTo>
                    <a:pt x="849172" y="1494113"/>
                    <a:pt x="841751" y="1496582"/>
                    <a:pt x="834330" y="1496582"/>
                  </a:cubicBezTo>
                  <a:cubicBezTo>
                    <a:pt x="817014" y="1501521"/>
                    <a:pt x="802171" y="1506461"/>
                    <a:pt x="792277" y="1521278"/>
                  </a:cubicBezTo>
                  <a:cubicBezTo>
                    <a:pt x="789803" y="1523748"/>
                    <a:pt x="787329" y="1526217"/>
                    <a:pt x="782382" y="1528687"/>
                  </a:cubicBezTo>
                  <a:cubicBezTo>
                    <a:pt x="725486" y="1565731"/>
                    <a:pt x="668591" y="1602775"/>
                    <a:pt x="611695" y="1642289"/>
                  </a:cubicBezTo>
                  <a:cubicBezTo>
                    <a:pt x="584484" y="1659576"/>
                    <a:pt x="562221" y="1679333"/>
                    <a:pt x="535010" y="1696620"/>
                  </a:cubicBezTo>
                  <a:cubicBezTo>
                    <a:pt x="512747" y="1708968"/>
                    <a:pt x="490483" y="1721316"/>
                    <a:pt x="468220" y="1733664"/>
                  </a:cubicBezTo>
                  <a:cubicBezTo>
                    <a:pt x="458325" y="1738604"/>
                    <a:pt x="450904" y="1746012"/>
                    <a:pt x="441009" y="1750952"/>
                  </a:cubicBezTo>
                  <a:cubicBezTo>
                    <a:pt x="436062" y="1753421"/>
                    <a:pt x="428641" y="1758360"/>
                    <a:pt x="421219" y="1760830"/>
                  </a:cubicBezTo>
                  <a:cubicBezTo>
                    <a:pt x="411325" y="1765769"/>
                    <a:pt x="401430" y="1768239"/>
                    <a:pt x="391535" y="1773178"/>
                  </a:cubicBezTo>
                  <a:cubicBezTo>
                    <a:pt x="379166" y="1778117"/>
                    <a:pt x="366798" y="1780587"/>
                    <a:pt x="354429" y="1775648"/>
                  </a:cubicBezTo>
                  <a:cubicBezTo>
                    <a:pt x="322271" y="1765769"/>
                    <a:pt x="295060" y="1748482"/>
                    <a:pt x="270323" y="1731195"/>
                  </a:cubicBezTo>
                  <a:cubicBezTo>
                    <a:pt x="203533" y="1689211"/>
                    <a:pt x="146637" y="1637350"/>
                    <a:pt x="92216" y="1583018"/>
                  </a:cubicBezTo>
                  <a:cubicBezTo>
                    <a:pt x="65005" y="1555853"/>
                    <a:pt x="42741" y="1526217"/>
                    <a:pt x="22952" y="1496582"/>
                  </a:cubicBezTo>
                  <a:cubicBezTo>
                    <a:pt x="8109" y="1476825"/>
                    <a:pt x="688" y="1457068"/>
                    <a:pt x="5636" y="1432372"/>
                  </a:cubicBezTo>
                  <a:cubicBezTo>
                    <a:pt x="8109" y="1417555"/>
                    <a:pt x="3162" y="1402737"/>
                    <a:pt x="3162" y="1390389"/>
                  </a:cubicBezTo>
                  <a:cubicBezTo>
                    <a:pt x="3162" y="1382980"/>
                    <a:pt x="688" y="1378041"/>
                    <a:pt x="688" y="1370632"/>
                  </a:cubicBezTo>
                  <a:cubicBezTo>
                    <a:pt x="-4259" y="1340997"/>
                    <a:pt x="18004" y="1313831"/>
                    <a:pt x="50163" y="1313831"/>
                  </a:cubicBezTo>
                  <a:cubicBezTo>
                    <a:pt x="62531" y="1313831"/>
                    <a:pt x="74900" y="1311362"/>
                    <a:pt x="87268" y="1316301"/>
                  </a:cubicBezTo>
                  <a:cubicBezTo>
                    <a:pt x="99637" y="1318770"/>
                    <a:pt x="112005" y="1313831"/>
                    <a:pt x="121900" y="1308892"/>
                  </a:cubicBezTo>
                  <a:cubicBezTo>
                    <a:pt x="168901" y="1291605"/>
                    <a:pt x="218375" y="1286666"/>
                    <a:pt x="270323" y="1286666"/>
                  </a:cubicBezTo>
                  <a:cubicBezTo>
                    <a:pt x="257954" y="1316301"/>
                    <a:pt x="230744" y="1326179"/>
                    <a:pt x="215901" y="1350875"/>
                  </a:cubicBezTo>
                  <a:cubicBezTo>
                    <a:pt x="272797" y="1323710"/>
                    <a:pt x="329692" y="1296544"/>
                    <a:pt x="386587" y="1269378"/>
                  </a:cubicBezTo>
                  <a:cubicBezTo>
                    <a:pt x="443483" y="1242213"/>
                    <a:pt x="500378" y="1215047"/>
                    <a:pt x="562221" y="1200229"/>
                  </a:cubicBezTo>
                  <a:cubicBezTo>
                    <a:pt x="557274" y="1205168"/>
                    <a:pt x="552326" y="1210108"/>
                    <a:pt x="544905" y="1212577"/>
                  </a:cubicBezTo>
                  <a:cubicBezTo>
                    <a:pt x="517694" y="1229865"/>
                    <a:pt x="490483" y="1244682"/>
                    <a:pt x="460799" y="1259500"/>
                  </a:cubicBezTo>
                  <a:cubicBezTo>
                    <a:pt x="438535" y="1271848"/>
                    <a:pt x="413798" y="1281726"/>
                    <a:pt x="394009" y="1301483"/>
                  </a:cubicBezTo>
                  <a:cubicBezTo>
                    <a:pt x="381640" y="1313831"/>
                    <a:pt x="361850" y="1318770"/>
                    <a:pt x="347008" y="1328649"/>
                  </a:cubicBezTo>
                  <a:cubicBezTo>
                    <a:pt x="324745" y="1338527"/>
                    <a:pt x="300007" y="1348406"/>
                    <a:pt x="277744" y="1358284"/>
                  </a:cubicBezTo>
                  <a:cubicBezTo>
                    <a:pt x="272797" y="1360754"/>
                    <a:pt x="270323" y="1363223"/>
                    <a:pt x="262902" y="1368163"/>
                  </a:cubicBezTo>
                  <a:cubicBezTo>
                    <a:pt x="292586" y="1365693"/>
                    <a:pt x="312376" y="1350875"/>
                    <a:pt x="334639" y="1343466"/>
                  </a:cubicBezTo>
                  <a:cubicBezTo>
                    <a:pt x="349482" y="1338527"/>
                    <a:pt x="361850" y="1333588"/>
                    <a:pt x="374219" y="1328649"/>
                  </a:cubicBezTo>
                  <a:cubicBezTo>
                    <a:pt x="376693" y="1326179"/>
                    <a:pt x="381640" y="1326179"/>
                    <a:pt x="381640" y="1323710"/>
                  </a:cubicBezTo>
                  <a:cubicBezTo>
                    <a:pt x="398956" y="1308892"/>
                    <a:pt x="418746" y="1306422"/>
                    <a:pt x="438535" y="1299014"/>
                  </a:cubicBezTo>
                  <a:cubicBezTo>
                    <a:pt x="453378" y="1294074"/>
                    <a:pt x="470694" y="1286666"/>
                    <a:pt x="485536" y="1279257"/>
                  </a:cubicBezTo>
                  <a:cubicBezTo>
                    <a:pt x="500378" y="1271848"/>
                    <a:pt x="510273" y="1259500"/>
                    <a:pt x="530063" y="1264439"/>
                  </a:cubicBezTo>
                  <a:cubicBezTo>
                    <a:pt x="530063" y="1264439"/>
                    <a:pt x="532536" y="1261969"/>
                    <a:pt x="535010" y="1261969"/>
                  </a:cubicBezTo>
                  <a:cubicBezTo>
                    <a:pt x="557274" y="1247152"/>
                    <a:pt x="577063" y="1234804"/>
                    <a:pt x="599327" y="1222456"/>
                  </a:cubicBezTo>
                  <a:cubicBezTo>
                    <a:pt x="604274" y="1219986"/>
                    <a:pt x="609222" y="1217517"/>
                    <a:pt x="614169" y="1215047"/>
                  </a:cubicBezTo>
                  <a:cubicBezTo>
                    <a:pt x="638906" y="1212577"/>
                    <a:pt x="661169" y="1202699"/>
                    <a:pt x="683433" y="1187881"/>
                  </a:cubicBezTo>
                  <a:cubicBezTo>
                    <a:pt x="703223" y="1175533"/>
                    <a:pt x="725486" y="1168124"/>
                    <a:pt x="745276" y="1158246"/>
                  </a:cubicBezTo>
                  <a:cubicBezTo>
                    <a:pt x="772487" y="1145898"/>
                    <a:pt x="799698" y="1133550"/>
                    <a:pt x="826909" y="1121202"/>
                  </a:cubicBezTo>
                  <a:cubicBezTo>
                    <a:pt x="831856" y="1118732"/>
                    <a:pt x="836803" y="1113793"/>
                    <a:pt x="841751" y="1113793"/>
                  </a:cubicBezTo>
                  <a:cubicBezTo>
                    <a:pt x="868962" y="1113793"/>
                    <a:pt x="891225" y="1098975"/>
                    <a:pt x="918436" y="1089097"/>
                  </a:cubicBezTo>
                  <a:cubicBezTo>
                    <a:pt x="950594" y="1076749"/>
                    <a:pt x="982752" y="1056992"/>
                    <a:pt x="1019858" y="1049583"/>
                  </a:cubicBezTo>
                  <a:cubicBezTo>
                    <a:pt x="1042122" y="1044644"/>
                    <a:pt x="1061911" y="1029826"/>
                    <a:pt x="1084175" y="1019948"/>
                  </a:cubicBezTo>
                  <a:cubicBezTo>
                    <a:pt x="1094069" y="1015009"/>
                    <a:pt x="1103964" y="1010069"/>
                    <a:pt x="1113859" y="1007600"/>
                  </a:cubicBezTo>
                  <a:cubicBezTo>
                    <a:pt x="1141070" y="1000191"/>
                    <a:pt x="1163333" y="992782"/>
                    <a:pt x="1185597" y="975495"/>
                  </a:cubicBezTo>
                  <a:cubicBezTo>
                    <a:pt x="1195492" y="970556"/>
                    <a:pt x="1207860" y="968086"/>
                    <a:pt x="1217755" y="963147"/>
                  </a:cubicBezTo>
                  <a:cubicBezTo>
                    <a:pt x="1259808" y="948329"/>
                    <a:pt x="1299388" y="933512"/>
                    <a:pt x="1341441" y="916224"/>
                  </a:cubicBezTo>
                  <a:cubicBezTo>
                    <a:pt x="1363704" y="908816"/>
                    <a:pt x="1390915" y="901407"/>
                    <a:pt x="1413178" y="891528"/>
                  </a:cubicBezTo>
                  <a:cubicBezTo>
                    <a:pt x="1457705" y="874241"/>
                    <a:pt x="1502232" y="856954"/>
                    <a:pt x="1546759" y="839667"/>
                  </a:cubicBezTo>
                  <a:cubicBezTo>
                    <a:pt x="1544285" y="817440"/>
                    <a:pt x="1539338" y="795214"/>
                    <a:pt x="1536864" y="772987"/>
                  </a:cubicBezTo>
                  <a:cubicBezTo>
                    <a:pt x="1529443" y="726065"/>
                    <a:pt x="1522022" y="679142"/>
                    <a:pt x="1517074" y="632220"/>
                  </a:cubicBezTo>
                  <a:cubicBezTo>
                    <a:pt x="1507179" y="558131"/>
                    <a:pt x="1497285" y="481573"/>
                    <a:pt x="1487390" y="405015"/>
                  </a:cubicBezTo>
                  <a:cubicBezTo>
                    <a:pt x="1479969" y="348215"/>
                    <a:pt x="1470074" y="288944"/>
                    <a:pt x="1460179" y="229673"/>
                  </a:cubicBezTo>
                  <a:cubicBezTo>
                    <a:pt x="1455231" y="185220"/>
                    <a:pt x="1450284" y="138298"/>
                    <a:pt x="1445337" y="91375"/>
                  </a:cubicBezTo>
                  <a:cubicBezTo>
                    <a:pt x="1442863" y="74088"/>
                    <a:pt x="1442863" y="56801"/>
                    <a:pt x="1440389" y="37044"/>
                  </a:cubicBezTo>
                  <a:cubicBezTo>
                    <a:pt x="1437915" y="27166"/>
                    <a:pt x="1430494" y="14818"/>
                    <a:pt x="1428021" y="2470"/>
                  </a:cubicBezTo>
                  <a:cubicBezTo>
                    <a:pt x="1430494" y="2470"/>
                    <a:pt x="1435442" y="0"/>
                    <a:pt x="14403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ACC5E77-5589-4767-A3A0-C646FF1A1B75}"/>
                </a:ext>
              </a:extLst>
            </p:cNvPr>
            <p:cNvSpPr/>
            <p:nvPr/>
          </p:nvSpPr>
          <p:spPr bwMode="auto">
            <a:xfrm>
              <a:off x="5989627" y="2033588"/>
              <a:ext cx="2333637" cy="1413505"/>
            </a:xfrm>
            <a:custGeom>
              <a:avLst/>
              <a:gdLst>
                <a:gd name="connsiteX0" fmla="*/ 527777 w 2333637"/>
                <a:gd name="connsiteY0" fmla="*/ 919162 h 1413505"/>
                <a:gd name="connsiteX1" fmla="*/ 535205 w 2333637"/>
                <a:gd name="connsiteY1" fmla="*/ 946355 h 1413505"/>
                <a:gd name="connsiteX2" fmla="*/ 545108 w 2333637"/>
                <a:gd name="connsiteY2" fmla="*/ 995797 h 1413505"/>
                <a:gd name="connsiteX3" fmla="*/ 589673 w 2333637"/>
                <a:gd name="connsiteY3" fmla="*/ 1178730 h 1413505"/>
                <a:gd name="connsiteX4" fmla="*/ 587198 w 2333637"/>
                <a:gd name="connsiteY4" fmla="*/ 1265253 h 1413505"/>
                <a:gd name="connsiteX5" fmla="*/ 577294 w 2333637"/>
                <a:gd name="connsiteY5" fmla="*/ 1289974 h 1413505"/>
                <a:gd name="connsiteX6" fmla="*/ 564915 w 2333637"/>
                <a:gd name="connsiteY6" fmla="*/ 1319639 h 1413505"/>
                <a:gd name="connsiteX7" fmla="*/ 532729 w 2333637"/>
                <a:gd name="connsiteY7" fmla="*/ 1381441 h 1413505"/>
                <a:gd name="connsiteX8" fmla="*/ 505495 w 2333637"/>
                <a:gd name="connsiteY8" fmla="*/ 1401218 h 1413505"/>
                <a:gd name="connsiteX9" fmla="*/ 455978 w 2333637"/>
                <a:gd name="connsiteY9" fmla="*/ 1408634 h 1413505"/>
                <a:gd name="connsiteX10" fmla="*/ 391606 w 2333637"/>
                <a:gd name="connsiteY10" fmla="*/ 1376497 h 1413505"/>
                <a:gd name="connsiteX11" fmla="*/ 213345 w 2333637"/>
                <a:gd name="connsiteY11" fmla="*/ 1235588 h 1413505"/>
                <a:gd name="connsiteX12" fmla="*/ 131642 w 2333637"/>
                <a:gd name="connsiteY12" fmla="*/ 1144121 h 1413505"/>
                <a:gd name="connsiteX13" fmla="*/ 114311 w 2333637"/>
                <a:gd name="connsiteY13" fmla="*/ 1099624 h 1413505"/>
                <a:gd name="connsiteX14" fmla="*/ 146497 w 2333637"/>
                <a:gd name="connsiteY14" fmla="*/ 1099624 h 1413505"/>
                <a:gd name="connsiteX15" fmla="*/ 198490 w 2333637"/>
                <a:gd name="connsiteY15" fmla="*/ 1079847 h 1413505"/>
                <a:gd name="connsiteX16" fmla="*/ 280193 w 2333637"/>
                <a:gd name="connsiteY16" fmla="*/ 993325 h 1413505"/>
                <a:gd name="connsiteX17" fmla="*/ 287620 w 2333637"/>
                <a:gd name="connsiteY17" fmla="*/ 988380 h 1413505"/>
                <a:gd name="connsiteX18" fmla="*/ 359420 w 2333637"/>
                <a:gd name="connsiteY18" fmla="*/ 953771 h 1413505"/>
                <a:gd name="connsiteX19" fmla="*/ 396558 w 2333637"/>
                <a:gd name="connsiteY19" fmla="*/ 938939 h 1413505"/>
                <a:gd name="connsiteX20" fmla="*/ 448550 w 2333637"/>
                <a:gd name="connsiteY20" fmla="*/ 931523 h 1413505"/>
                <a:gd name="connsiteX21" fmla="*/ 517874 w 2333637"/>
                <a:gd name="connsiteY21" fmla="*/ 921634 h 1413505"/>
                <a:gd name="connsiteX22" fmla="*/ 527777 w 2333637"/>
                <a:gd name="connsiteY22" fmla="*/ 919162 h 1413505"/>
                <a:gd name="connsiteX23" fmla="*/ 842279 w 2333637"/>
                <a:gd name="connsiteY23" fmla="*/ 740642 h 1413505"/>
                <a:gd name="connsiteX24" fmla="*/ 753243 w 2333637"/>
                <a:gd name="connsiteY24" fmla="*/ 770268 h 1413505"/>
                <a:gd name="connsiteX25" fmla="*/ 696359 w 2333637"/>
                <a:gd name="connsiteY25" fmla="*/ 824582 h 1413505"/>
                <a:gd name="connsiteX26" fmla="*/ 688939 w 2333637"/>
                <a:gd name="connsiteY26" fmla="*/ 836926 h 1413505"/>
                <a:gd name="connsiteX27" fmla="*/ 656787 w 2333637"/>
                <a:gd name="connsiteY27" fmla="*/ 923334 h 1413505"/>
                <a:gd name="connsiteX28" fmla="*/ 671626 w 2333637"/>
                <a:gd name="connsiteY28" fmla="*/ 1123307 h 1413505"/>
                <a:gd name="connsiteX29" fmla="*/ 708725 w 2333637"/>
                <a:gd name="connsiteY29" fmla="*/ 1147995 h 1413505"/>
                <a:gd name="connsiteX30" fmla="*/ 797761 w 2333637"/>
                <a:gd name="connsiteY30" fmla="*/ 1130714 h 1413505"/>
                <a:gd name="connsiteX31" fmla="*/ 857119 w 2333637"/>
                <a:gd name="connsiteY31" fmla="*/ 1101088 h 1413505"/>
                <a:gd name="connsiteX32" fmla="*/ 899164 w 2333637"/>
                <a:gd name="connsiteY32" fmla="*/ 1068993 h 1413505"/>
                <a:gd name="connsiteX33" fmla="*/ 958521 w 2333637"/>
                <a:gd name="connsiteY33" fmla="*/ 1022086 h 1413505"/>
                <a:gd name="connsiteX34" fmla="*/ 988200 w 2333637"/>
                <a:gd name="connsiteY34" fmla="*/ 997398 h 1413505"/>
                <a:gd name="connsiteX35" fmla="*/ 1054977 w 2333637"/>
                <a:gd name="connsiteY35" fmla="*/ 925803 h 1413505"/>
                <a:gd name="connsiteX36" fmla="*/ 1146487 w 2333637"/>
                <a:gd name="connsiteY36" fmla="*/ 807300 h 1413505"/>
                <a:gd name="connsiteX37" fmla="*/ 1124228 w 2333637"/>
                <a:gd name="connsiteY37" fmla="*/ 794956 h 1413505"/>
                <a:gd name="connsiteX38" fmla="*/ 990673 w 2333637"/>
                <a:gd name="connsiteY38" fmla="*/ 748049 h 1413505"/>
                <a:gd name="connsiteX39" fmla="*/ 918949 w 2333637"/>
                <a:gd name="connsiteY39" fmla="*/ 740642 h 1413505"/>
                <a:gd name="connsiteX40" fmla="*/ 842279 w 2333637"/>
                <a:gd name="connsiteY40" fmla="*/ 740642 h 1413505"/>
                <a:gd name="connsiteX41" fmla="*/ 326006 w 2333637"/>
                <a:gd name="connsiteY41" fmla="*/ 127884 h 1413505"/>
                <a:gd name="connsiteX42" fmla="*/ 338380 w 2333637"/>
                <a:gd name="connsiteY42" fmla="*/ 130355 h 1413505"/>
                <a:gd name="connsiteX43" fmla="*/ 380455 w 2333637"/>
                <a:gd name="connsiteY43" fmla="*/ 150129 h 1413505"/>
                <a:gd name="connsiteX44" fmla="*/ 585876 w 2333637"/>
                <a:gd name="connsiteY44" fmla="*/ 303373 h 1413505"/>
                <a:gd name="connsiteX45" fmla="*/ 674975 w 2333637"/>
                <a:gd name="connsiteY45" fmla="*/ 412127 h 1413505"/>
                <a:gd name="connsiteX46" fmla="*/ 709624 w 2333637"/>
                <a:gd name="connsiteY46" fmla="*/ 471447 h 1413505"/>
                <a:gd name="connsiteX47" fmla="*/ 672500 w 2333637"/>
                <a:gd name="connsiteY47" fmla="*/ 486277 h 1413505"/>
                <a:gd name="connsiteX48" fmla="*/ 536377 w 2333637"/>
                <a:gd name="connsiteY48" fmla="*/ 501107 h 1413505"/>
                <a:gd name="connsiteX49" fmla="*/ 516577 w 2333637"/>
                <a:gd name="connsiteY49" fmla="*/ 506050 h 1413505"/>
                <a:gd name="connsiteX50" fmla="*/ 479453 w 2333637"/>
                <a:gd name="connsiteY50" fmla="*/ 513465 h 1413505"/>
                <a:gd name="connsiteX51" fmla="*/ 462128 w 2333637"/>
                <a:gd name="connsiteY51" fmla="*/ 515937 h 1413505"/>
                <a:gd name="connsiteX52" fmla="*/ 400254 w 2333637"/>
                <a:gd name="connsiteY52" fmla="*/ 518409 h 1413505"/>
                <a:gd name="connsiteX53" fmla="*/ 348280 w 2333637"/>
                <a:gd name="connsiteY53" fmla="*/ 543126 h 1413505"/>
                <a:gd name="connsiteX54" fmla="*/ 345805 w 2333637"/>
                <a:gd name="connsiteY54" fmla="*/ 550541 h 1413505"/>
                <a:gd name="connsiteX55" fmla="*/ 298781 w 2333637"/>
                <a:gd name="connsiteY55" fmla="*/ 607389 h 1413505"/>
                <a:gd name="connsiteX56" fmla="*/ 266607 w 2333637"/>
                <a:gd name="connsiteY56" fmla="*/ 664238 h 1413505"/>
                <a:gd name="connsiteX57" fmla="*/ 259182 w 2333637"/>
                <a:gd name="connsiteY57" fmla="*/ 684011 h 1413505"/>
                <a:gd name="connsiteX58" fmla="*/ 254232 w 2333637"/>
                <a:gd name="connsiteY58" fmla="*/ 711200 h 1413505"/>
                <a:gd name="connsiteX59" fmla="*/ 397779 w 2333637"/>
                <a:gd name="connsiteY59" fmla="*/ 639521 h 1413505"/>
                <a:gd name="connsiteX60" fmla="*/ 561127 w 2333637"/>
                <a:gd name="connsiteY60" fmla="*/ 627163 h 1413505"/>
                <a:gd name="connsiteX61" fmla="*/ 509153 w 2333637"/>
                <a:gd name="connsiteY61" fmla="*/ 686483 h 1413505"/>
                <a:gd name="connsiteX62" fmla="*/ 536377 w 2333637"/>
                <a:gd name="connsiteY62" fmla="*/ 740860 h 1413505"/>
                <a:gd name="connsiteX63" fmla="*/ 519052 w 2333637"/>
                <a:gd name="connsiteY63" fmla="*/ 805123 h 1413505"/>
                <a:gd name="connsiteX64" fmla="*/ 444804 w 2333637"/>
                <a:gd name="connsiteY64" fmla="*/ 854557 h 1413505"/>
                <a:gd name="connsiteX65" fmla="*/ 442329 w 2333637"/>
                <a:gd name="connsiteY65" fmla="*/ 854557 h 1413505"/>
                <a:gd name="connsiteX66" fmla="*/ 343330 w 2333637"/>
                <a:gd name="connsiteY66" fmla="*/ 894104 h 1413505"/>
                <a:gd name="connsiteX67" fmla="*/ 246807 w 2333637"/>
                <a:gd name="connsiteY67" fmla="*/ 886689 h 1413505"/>
                <a:gd name="connsiteX68" fmla="*/ 93360 w 2333637"/>
                <a:gd name="connsiteY68" fmla="*/ 755690 h 1413505"/>
                <a:gd name="connsiteX69" fmla="*/ 90885 w 2333637"/>
                <a:gd name="connsiteY69" fmla="*/ 693898 h 1413505"/>
                <a:gd name="connsiteX70" fmla="*/ 113159 w 2333637"/>
                <a:gd name="connsiteY70" fmla="*/ 649408 h 1413505"/>
                <a:gd name="connsiteX71" fmla="*/ 167608 w 2333637"/>
                <a:gd name="connsiteY71" fmla="*/ 580201 h 1413505"/>
                <a:gd name="connsiteX72" fmla="*/ 261657 w 2333637"/>
                <a:gd name="connsiteY72" fmla="*/ 496164 h 1413505"/>
                <a:gd name="connsiteX73" fmla="*/ 293831 w 2333637"/>
                <a:gd name="connsiteY73" fmla="*/ 471447 h 1413505"/>
                <a:gd name="connsiteX74" fmla="*/ 251757 w 2333637"/>
                <a:gd name="connsiteY74" fmla="*/ 436843 h 1413505"/>
                <a:gd name="connsiteX75" fmla="*/ 53760 w 2333637"/>
                <a:gd name="connsiteY75" fmla="*/ 261354 h 1413505"/>
                <a:gd name="connsiteX76" fmla="*/ 11686 w 2333637"/>
                <a:gd name="connsiteY76" fmla="*/ 206977 h 1413505"/>
                <a:gd name="connsiteX77" fmla="*/ 1786 w 2333637"/>
                <a:gd name="connsiteY77" fmla="*/ 187204 h 1413505"/>
                <a:gd name="connsiteX78" fmla="*/ 21586 w 2333637"/>
                <a:gd name="connsiteY78" fmla="*/ 160016 h 1413505"/>
                <a:gd name="connsiteX79" fmla="*/ 80985 w 2333637"/>
                <a:gd name="connsiteY79" fmla="*/ 164959 h 1413505"/>
                <a:gd name="connsiteX80" fmla="*/ 140384 w 2333637"/>
                <a:gd name="connsiteY80" fmla="*/ 182261 h 1413505"/>
                <a:gd name="connsiteX81" fmla="*/ 160183 w 2333637"/>
                <a:gd name="connsiteY81" fmla="*/ 184732 h 1413505"/>
                <a:gd name="connsiteX82" fmla="*/ 132959 w 2333637"/>
                <a:gd name="connsiteY82" fmla="*/ 152601 h 1413505"/>
                <a:gd name="connsiteX83" fmla="*/ 135434 w 2333637"/>
                <a:gd name="connsiteY83" fmla="*/ 147657 h 1413505"/>
                <a:gd name="connsiteX84" fmla="*/ 197308 w 2333637"/>
                <a:gd name="connsiteY84" fmla="*/ 167431 h 1413505"/>
                <a:gd name="connsiteX85" fmla="*/ 172558 w 2333637"/>
                <a:gd name="connsiteY85" fmla="*/ 135299 h 1413505"/>
                <a:gd name="connsiteX86" fmla="*/ 256707 w 2333637"/>
                <a:gd name="connsiteY86" fmla="*/ 142714 h 1413505"/>
                <a:gd name="connsiteX87" fmla="*/ 254232 w 2333637"/>
                <a:gd name="connsiteY87" fmla="*/ 130355 h 1413505"/>
                <a:gd name="connsiteX88" fmla="*/ 283931 w 2333637"/>
                <a:gd name="connsiteY88" fmla="*/ 130355 h 1413505"/>
                <a:gd name="connsiteX89" fmla="*/ 326006 w 2333637"/>
                <a:gd name="connsiteY89" fmla="*/ 127884 h 1413505"/>
                <a:gd name="connsiteX90" fmla="*/ 1465533 w 2333637"/>
                <a:gd name="connsiteY90" fmla="*/ 0 h 1413505"/>
                <a:gd name="connsiteX91" fmla="*/ 1539730 w 2333637"/>
                <a:gd name="connsiteY91" fmla="*/ 17282 h 1413505"/>
                <a:gd name="connsiteX92" fmla="*/ 1628767 w 2333637"/>
                <a:gd name="connsiteY92" fmla="*/ 74064 h 1413505"/>
                <a:gd name="connsiteX93" fmla="*/ 1801893 w 2333637"/>
                <a:gd name="connsiteY93" fmla="*/ 227130 h 1413505"/>
                <a:gd name="connsiteX94" fmla="*/ 1853831 w 2333637"/>
                <a:gd name="connsiteY94" fmla="*/ 288851 h 1413505"/>
                <a:gd name="connsiteX95" fmla="*/ 1851357 w 2333637"/>
                <a:gd name="connsiteY95" fmla="*/ 399947 h 1413505"/>
                <a:gd name="connsiteX96" fmla="*/ 1811786 w 2333637"/>
                <a:gd name="connsiteY96" fmla="*/ 459198 h 1413505"/>
                <a:gd name="connsiteX97" fmla="*/ 1742535 w 2333637"/>
                <a:gd name="connsiteY97" fmla="*/ 550544 h 1413505"/>
                <a:gd name="connsiteX98" fmla="*/ 1715330 w 2333637"/>
                <a:gd name="connsiteY98" fmla="*/ 592514 h 1413505"/>
                <a:gd name="connsiteX99" fmla="*/ 1707910 w 2333637"/>
                <a:gd name="connsiteY99" fmla="*/ 599920 h 1413505"/>
                <a:gd name="connsiteX100" fmla="*/ 1646079 w 2333637"/>
                <a:gd name="connsiteY100" fmla="*/ 654234 h 1413505"/>
                <a:gd name="connsiteX101" fmla="*/ 1623820 w 2333637"/>
                <a:gd name="connsiteY101" fmla="*/ 678922 h 1413505"/>
                <a:gd name="connsiteX102" fmla="*/ 1648552 w 2333637"/>
                <a:gd name="connsiteY102" fmla="*/ 683860 h 1413505"/>
                <a:gd name="connsiteX103" fmla="*/ 1774687 w 2333637"/>
                <a:gd name="connsiteY103" fmla="*/ 701141 h 1413505"/>
                <a:gd name="connsiteX104" fmla="*/ 1997278 w 2333637"/>
                <a:gd name="connsiteY104" fmla="*/ 743111 h 1413505"/>
                <a:gd name="connsiteX105" fmla="*/ 2022010 w 2333637"/>
                <a:gd name="connsiteY105" fmla="*/ 755455 h 1413505"/>
                <a:gd name="connsiteX106" fmla="*/ 2096207 w 2333637"/>
                <a:gd name="connsiteY106" fmla="*/ 841863 h 1413505"/>
                <a:gd name="connsiteX107" fmla="*/ 2256967 w 2333637"/>
                <a:gd name="connsiteY107" fmla="*/ 1162808 h 1413505"/>
                <a:gd name="connsiteX108" fmla="*/ 2326217 w 2333637"/>
                <a:gd name="connsiteY108" fmla="*/ 1345500 h 1413505"/>
                <a:gd name="connsiteX109" fmla="*/ 2333637 w 2333637"/>
                <a:gd name="connsiteY109" fmla="*/ 1365250 h 1413505"/>
                <a:gd name="connsiteX110" fmla="*/ 2096207 w 2333637"/>
                <a:gd name="connsiteY110" fmla="*/ 1214653 h 1413505"/>
                <a:gd name="connsiteX111" fmla="*/ 1947813 w 2333637"/>
                <a:gd name="connsiteY111" fmla="*/ 1147995 h 1413505"/>
                <a:gd name="connsiteX112" fmla="*/ 1866197 w 2333637"/>
                <a:gd name="connsiteY112" fmla="*/ 1110963 h 1413505"/>
                <a:gd name="connsiteX113" fmla="*/ 1796946 w 2333637"/>
                <a:gd name="connsiteY113" fmla="*/ 1081337 h 1413505"/>
                <a:gd name="connsiteX114" fmla="*/ 1586722 w 2333637"/>
                <a:gd name="connsiteY114" fmla="*/ 999867 h 1413505"/>
                <a:gd name="connsiteX115" fmla="*/ 1514998 w 2333637"/>
                <a:gd name="connsiteY115" fmla="*/ 977648 h 1413505"/>
                <a:gd name="connsiteX116" fmla="*/ 1416069 w 2333637"/>
                <a:gd name="connsiteY116" fmla="*/ 940615 h 1413505"/>
                <a:gd name="connsiteX117" fmla="*/ 1374024 w 2333637"/>
                <a:gd name="connsiteY117" fmla="*/ 933209 h 1413505"/>
                <a:gd name="connsiteX118" fmla="*/ 1356711 w 2333637"/>
                <a:gd name="connsiteY118" fmla="*/ 923334 h 1413505"/>
                <a:gd name="connsiteX119" fmla="*/ 1275095 w 2333637"/>
                <a:gd name="connsiteY119" fmla="*/ 1002336 h 1413505"/>
                <a:gd name="connsiteX120" fmla="*/ 1186058 w 2333637"/>
                <a:gd name="connsiteY120" fmla="*/ 1071462 h 1413505"/>
                <a:gd name="connsiteX121" fmla="*/ 1084656 w 2333637"/>
                <a:gd name="connsiteY121" fmla="*/ 1143058 h 1413505"/>
                <a:gd name="connsiteX122" fmla="*/ 1027772 w 2333637"/>
                <a:gd name="connsiteY122" fmla="*/ 1177621 h 1413505"/>
                <a:gd name="connsiteX123" fmla="*/ 951101 w 2333637"/>
                <a:gd name="connsiteY123" fmla="*/ 1209715 h 1413505"/>
                <a:gd name="connsiteX124" fmla="*/ 921423 w 2333637"/>
                <a:gd name="connsiteY124" fmla="*/ 1224528 h 1413505"/>
                <a:gd name="connsiteX125" fmla="*/ 847226 w 2333637"/>
                <a:gd name="connsiteY125" fmla="*/ 1246747 h 1413505"/>
                <a:gd name="connsiteX126" fmla="*/ 775502 w 2333637"/>
                <a:gd name="connsiteY126" fmla="*/ 1236872 h 1413505"/>
                <a:gd name="connsiteX127" fmla="*/ 661734 w 2333637"/>
                <a:gd name="connsiteY127" fmla="*/ 1147995 h 1413505"/>
                <a:gd name="connsiteX128" fmla="*/ 617215 w 2333637"/>
                <a:gd name="connsiteY128" fmla="*/ 1044305 h 1413505"/>
                <a:gd name="connsiteX129" fmla="*/ 622162 w 2333637"/>
                <a:gd name="connsiteY129" fmla="*/ 878895 h 1413505"/>
                <a:gd name="connsiteX130" fmla="*/ 654314 w 2333637"/>
                <a:gd name="connsiteY130" fmla="*/ 807300 h 1413505"/>
                <a:gd name="connsiteX131" fmla="*/ 686466 w 2333637"/>
                <a:gd name="connsiteY131" fmla="*/ 752986 h 1413505"/>
                <a:gd name="connsiteX132" fmla="*/ 857119 w 2333637"/>
                <a:gd name="connsiteY132" fmla="*/ 644359 h 1413505"/>
                <a:gd name="connsiteX133" fmla="*/ 1042611 w 2333637"/>
                <a:gd name="connsiteY133" fmla="*/ 624608 h 1413505"/>
                <a:gd name="connsiteX134" fmla="*/ 1131647 w 2333637"/>
                <a:gd name="connsiteY134" fmla="*/ 622139 h 1413505"/>
                <a:gd name="connsiteX135" fmla="*/ 1242943 w 2333637"/>
                <a:gd name="connsiteY135" fmla="*/ 636952 h 1413505"/>
                <a:gd name="connsiteX136" fmla="*/ 1255309 w 2333637"/>
                <a:gd name="connsiteY136" fmla="*/ 639421 h 1413505"/>
                <a:gd name="connsiteX137" fmla="*/ 1282514 w 2333637"/>
                <a:gd name="connsiteY137" fmla="*/ 622139 h 1413505"/>
                <a:gd name="connsiteX138" fmla="*/ 1287461 w 2333637"/>
                <a:gd name="connsiteY138" fmla="*/ 609795 h 1413505"/>
                <a:gd name="connsiteX139" fmla="*/ 1319613 w 2333637"/>
                <a:gd name="connsiteY139" fmla="*/ 548075 h 1413505"/>
                <a:gd name="connsiteX140" fmla="*/ 1378970 w 2333637"/>
                <a:gd name="connsiteY140" fmla="*/ 429572 h 1413505"/>
                <a:gd name="connsiteX141" fmla="*/ 1381444 w 2333637"/>
                <a:gd name="connsiteY141" fmla="*/ 419697 h 1413505"/>
                <a:gd name="connsiteX142" fmla="*/ 1299827 w 2333637"/>
                <a:gd name="connsiteY142" fmla="*/ 422166 h 1413505"/>
                <a:gd name="connsiteX143" fmla="*/ 1193478 w 2333637"/>
                <a:gd name="connsiteY143" fmla="*/ 478949 h 1413505"/>
                <a:gd name="connsiteX144" fmla="*/ 1168746 w 2333637"/>
                <a:gd name="connsiteY144" fmla="*/ 486355 h 1413505"/>
                <a:gd name="connsiteX145" fmla="*/ 1114335 w 2333637"/>
                <a:gd name="connsiteY145" fmla="*/ 498699 h 1413505"/>
                <a:gd name="connsiteX146" fmla="*/ 1064870 w 2333637"/>
                <a:gd name="connsiteY146" fmla="*/ 493761 h 1413505"/>
                <a:gd name="connsiteX147" fmla="*/ 980780 w 2333637"/>
                <a:gd name="connsiteY147" fmla="*/ 444385 h 1413505"/>
                <a:gd name="connsiteX148" fmla="*/ 777975 w 2333637"/>
                <a:gd name="connsiteY148" fmla="*/ 261694 h 1413505"/>
                <a:gd name="connsiteX149" fmla="*/ 748297 w 2333637"/>
                <a:gd name="connsiteY149" fmla="*/ 212317 h 1413505"/>
                <a:gd name="connsiteX150" fmla="*/ 745823 w 2333637"/>
                <a:gd name="connsiteY150" fmla="*/ 199973 h 1413505"/>
                <a:gd name="connsiteX151" fmla="*/ 733457 w 2333637"/>
                <a:gd name="connsiteY151" fmla="*/ 162941 h 1413505"/>
                <a:gd name="connsiteX152" fmla="*/ 716145 w 2333637"/>
                <a:gd name="connsiteY152" fmla="*/ 125909 h 1413505"/>
                <a:gd name="connsiteX153" fmla="*/ 765609 w 2333637"/>
                <a:gd name="connsiteY153" fmla="*/ 120971 h 1413505"/>
                <a:gd name="connsiteX154" fmla="*/ 874431 w 2333637"/>
                <a:gd name="connsiteY154" fmla="*/ 120971 h 1413505"/>
                <a:gd name="connsiteX155" fmla="*/ 1022825 w 2333637"/>
                <a:gd name="connsiteY155" fmla="*/ 91346 h 1413505"/>
                <a:gd name="connsiteX156" fmla="*/ 1037665 w 2333637"/>
                <a:gd name="connsiteY156" fmla="*/ 88877 h 1413505"/>
                <a:gd name="connsiteX157" fmla="*/ 1136594 w 2333637"/>
                <a:gd name="connsiteY157" fmla="*/ 51845 h 1413505"/>
                <a:gd name="connsiteX158" fmla="*/ 1148960 w 2333637"/>
                <a:gd name="connsiteY158" fmla="*/ 49376 h 1413505"/>
                <a:gd name="connsiteX159" fmla="*/ 1193478 w 2333637"/>
                <a:gd name="connsiteY159" fmla="*/ 44438 h 1413505"/>
                <a:gd name="connsiteX160" fmla="*/ 1309720 w 2333637"/>
                <a:gd name="connsiteY160" fmla="*/ 7406 h 1413505"/>
                <a:gd name="connsiteX161" fmla="*/ 1339399 w 2333637"/>
                <a:gd name="connsiteY161" fmla="*/ 2469 h 1413505"/>
                <a:gd name="connsiteX162" fmla="*/ 1465533 w 2333637"/>
                <a:gd name="connsiteY162" fmla="*/ 0 h 141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2333637" h="1413505">
                  <a:moveTo>
                    <a:pt x="527777" y="919162"/>
                  </a:moveTo>
                  <a:cubicBezTo>
                    <a:pt x="530253" y="929050"/>
                    <a:pt x="532729" y="936467"/>
                    <a:pt x="535205" y="946355"/>
                  </a:cubicBezTo>
                  <a:cubicBezTo>
                    <a:pt x="537681" y="963660"/>
                    <a:pt x="540156" y="980964"/>
                    <a:pt x="545108" y="995797"/>
                  </a:cubicBezTo>
                  <a:cubicBezTo>
                    <a:pt x="574818" y="1055127"/>
                    <a:pt x="582246" y="1116929"/>
                    <a:pt x="589673" y="1178730"/>
                  </a:cubicBezTo>
                  <a:cubicBezTo>
                    <a:pt x="592149" y="1208395"/>
                    <a:pt x="589673" y="1235588"/>
                    <a:pt x="587198" y="1265253"/>
                  </a:cubicBezTo>
                  <a:cubicBezTo>
                    <a:pt x="587198" y="1272670"/>
                    <a:pt x="579770" y="1282558"/>
                    <a:pt x="577294" y="1289974"/>
                  </a:cubicBezTo>
                  <a:cubicBezTo>
                    <a:pt x="572342" y="1299862"/>
                    <a:pt x="567391" y="1309751"/>
                    <a:pt x="564915" y="1319639"/>
                  </a:cubicBezTo>
                  <a:cubicBezTo>
                    <a:pt x="564915" y="1344360"/>
                    <a:pt x="552536" y="1364136"/>
                    <a:pt x="532729" y="1381441"/>
                  </a:cubicBezTo>
                  <a:cubicBezTo>
                    <a:pt x="522826" y="1386385"/>
                    <a:pt x="512922" y="1393801"/>
                    <a:pt x="505495" y="1401218"/>
                  </a:cubicBezTo>
                  <a:cubicBezTo>
                    <a:pt x="490640" y="1416050"/>
                    <a:pt x="473309" y="1416050"/>
                    <a:pt x="455978" y="1408634"/>
                  </a:cubicBezTo>
                  <a:cubicBezTo>
                    <a:pt x="433695" y="1398746"/>
                    <a:pt x="411413" y="1388857"/>
                    <a:pt x="391606" y="1376497"/>
                  </a:cubicBezTo>
                  <a:cubicBezTo>
                    <a:pt x="327234" y="1336944"/>
                    <a:pt x="267814" y="1289974"/>
                    <a:pt x="213345" y="1235588"/>
                  </a:cubicBezTo>
                  <a:cubicBezTo>
                    <a:pt x="186111" y="1205923"/>
                    <a:pt x="158876" y="1173786"/>
                    <a:pt x="131642" y="1144121"/>
                  </a:cubicBezTo>
                  <a:cubicBezTo>
                    <a:pt x="121739" y="1131761"/>
                    <a:pt x="116787" y="1116929"/>
                    <a:pt x="114311" y="1099624"/>
                  </a:cubicBezTo>
                  <a:cubicBezTo>
                    <a:pt x="126690" y="1099624"/>
                    <a:pt x="136594" y="1099624"/>
                    <a:pt x="146497" y="1099624"/>
                  </a:cubicBezTo>
                  <a:cubicBezTo>
                    <a:pt x="166304" y="1102096"/>
                    <a:pt x="183635" y="1097152"/>
                    <a:pt x="198490" y="1079847"/>
                  </a:cubicBezTo>
                  <a:cubicBezTo>
                    <a:pt x="225724" y="1052654"/>
                    <a:pt x="252959" y="1022989"/>
                    <a:pt x="280193" y="993325"/>
                  </a:cubicBezTo>
                  <a:cubicBezTo>
                    <a:pt x="282669" y="993325"/>
                    <a:pt x="285145" y="990852"/>
                    <a:pt x="287620" y="988380"/>
                  </a:cubicBezTo>
                  <a:cubicBezTo>
                    <a:pt x="309903" y="978492"/>
                    <a:pt x="334661" y="966132"/>
                    <a:pt x="359420" y="953771"/>
                  </a:cubicBezTo>
                  <a:cubicBezTo>
                    <a:pt x="369323" y="948827"/>
                    <a:pt x="381702" y="941411"/>
                    <a:pt x="396558" y="938939"/>
                  </a:cubicBezTo>
                  <a:cubicBezTo>
                    <a:pt x="413888" y="933995"/>
                    <a:pt x="431219" y="931523"/>
                    <a:pt x="448550" y="931523"/>
                  </a:cubicBezTo>
                  <a:cubicBezTo>
                    <a:pt x="473309" y="933995"/>
                    <a:pt x="495591" y="933995"/>
                    <a:pt x="517874" y="921634"/>
                  </a:cubicBezTo>
                  <a:cubicBezTo>
                    <a:pt x="520350" y="919162"/>
                    <a:pt x="522826" y="921634"/>
                    <a:pt x="527777" y="919162"/>
                  </a:cubicBezTo>
                  <a:close/>
                  <a:moveTo>
                    <a:pt x="842279" y="740642"/>
                  </a:moveTo>
                  <a:cubicBezTo>
                    <a:pt x="807654" y="740642"/>
                    <a:pt x="777975" y="748049"/>
                    <a:pt x="753243" y="770268"/>
                  </a:cubicBezTo>
                  <a:cubicBezTo>
                    <a:pt x="733457" y="787549"/>
                    <a:pt x="713671" y="807300"/>
                    <a:pt x="696359" y="824582"/>
                  </a:cubicBezTo>
                  <a:cubicBezTo>
                    <a:pt x="693886" y="827050"/>
                    <a:pt x="691412" y="831988"/>
                    <a:pt x="688939" y="836926"/>
                  </a:cubicBezTo>
                  <a:cubicBezTo>
                    <a:pt x="671626" y="864082"/>
                    <a:pt x="664207" y="893708"/>
                    <a:pt x="656787" y="923334"/>
                  </a:cubicBezTo>
                  <a:cubicBezTo>
                    <a:pt x="637001" y="992460"/>
                    <a:pt x="646894" y="1059118"/>
                    <a:pt x="671626" y="1123307"/>
                  </a:cubicBezTo>
                  <a:cubicBezTo>
                    <a:pt x="679046" y="1138120"/>
                    <a:pt x="691412" y="1145526"/>
                    <a:pt x="708725" y="1147995"/>
                  </a:cubicBezTo>
                  <a:cubicBezTo>
                    <a:pt x="738404" y="1147995"/>
                    <a:pt x="768082" y="1143058"/>
                    <a:pt x="797761" y="1130714"/>
                  </a:cubicBezTo>
                  <a:cubicBezTo>
                    <a:pt x="817547" y="1123307"/>
                    <a:pt x="839806" y="1118370"/>
                    <a:pt x="857119" y="1101088"/>
                  </a:cubicBezTo>
                  <a:cubicBezTo>
                    <a:pt x="869485" y="1088744"/>
                    <a:pt x="884324" y="1078869"/>
                    <a:pt x="899164" y="1068993"/>
                  </a:cubicBezTo>
                  <a:cubicBezTo>
                    <a:pt x="918949" y="1054181"/>
                    <a:pt x="938735" y="1039368"/>
                    <a:pt x="958521" y="1022086"/>
                  </a:cubicBezTo>
                  <a:cubicBezTo>
                    <a:pt x="968414" y="1014680"/>
                    <a:pt x="980780" y="1007273"/>
                    <a:pt x="988200" y="997398"/>
                  </a:cubicBezTo>
                  <a:cubicBezTo>
                    <a:pt x="1010459" y="972710"/>
                    <a:pt x="1032718" y="948022"/>
                    <a:pt x="1054977" y="925803"/>
                  </a:cubicBezTo>
                  <a:cubicBezTo>
                    <a:pt x="1092076" y="891239"/>
                    <a:pt x="1116808" y="849270"/>
                    <a:pt x="1146487" y="807300"/>
                  </a:cubicBezTo>
                  <a:cubicBezTo>
                    <a:pt x="1139067" y="802362"/>
                    <a:pt x="1131647" y="797425"/>
                    <a:pt x="1124228" y="794956"/>
                  </a:cubicBezTo>
                  <a:cubicBezTo>
                    <a:pt x="1079709" y="777674"/>
                    <a:pt x="1035191" y="762861"/>
                    <a:pt x="990673" y="748049"/>
                  </a:cubicBezTo>
                  <a:cubicBezTo>
                    <a:pt x="968414" y="743111"/>
                    <a:pt x="943682" y="740642"/>
                    <a:pt x="918949" y="740642"/>
                  </a:cubicBezTo>
                  <a:cubicBezTo>
                    <a:pt x="894217" y="738173"/>
                    <a:pt x="867012" y="740642"/>
                    <a:pt x="842279" y="740642"/>
                  </a:cubicBezTo>
                  <a:close/>
                  <a:moveTo>
                    <a:pt x="326006" y="127884"/>
                  </a:moveTo>
                  <a:cubicBezTo>
                    <a:pt x="328481" y="125412"/>
                    <a:pt x="335906" y="127884"/>
                    <a:pt x="338380" y="130355"/>
                  </a:cubicBezTo>
                  <a:cubicBezTo>
                    <a:pt x="353230" y="137771"/>
                    <a:pt x="368080" y="142714"/>
                    <a:pt x="380455" y="150129"/>
                  </a:cubicBezTo>
                  <a:cubicBezTo>
                    <a:pt x="452229" y="197091"/>
                    <a:pt x="524002" y="244053"/>
                    <a:pt x="585876" y="303373"/>
                  </a:cubicBezTo>
                  <a:cubicBezTo>
                    <a:pt x="620526" y="337976"/>
                    <a:pt x="650225" y="372580"/>
                    <a:pt x="674975" y="412127"/>
                  </a:cubicBezTo>
                  <a:cubicBezTo>
                    <a:pt x="684875" y="431900"/>
                    <a:pt x="697249" y="451674"/>
                    <a:pt x="709624" y="471447"/>
                  </a:cubicBezTo>
                  <a:cubicBezTo>
                    <a:pt x="697249" y="483805"/>
                    <a:pt x="682400" y="483805"/>
                    <a:pt x="672500" y="486277"/>
                  </a:cubicBezTo>
                  <a:cubicBezTo>
                    <a:pt x="625476" y="491220"/>
                    <a:pt x="580926" y="496164"/>
                    <a:pt x="536377" y="501107"/>
                  </a:cubicBezTo>
                  <a:cubicBezTo>
                    <a:pt x="528952" y="501107"/>
                    <a:pt x="524002" y="503579"/>
                    <a:pt x="516577" y="506050"/>
                  </a:cubicBezTo>
                  <a:cubicBezTo>
                    <a:pt x="504203" y="508522"/>
                    <a:pt x="491828" y="510994"/>
                    <a:pt x="479453" y="513465"/>
                  </a:cubicBezTo>
                  <a:cubicBezTo>
                    <a:pt x="472028" y="513465"/>
                    <a:pt x="467078" y="513465"/>
                    <a:pt x="462128" y="515937"/>
                  </a:cubicBezTo>
                  <a:cubicBezTo>
                    <a:pt x="442329" y="523352"/>
                    <a:pt x="420054" y="520880"/>
                    <a:pt x="400254" y="518409"/>
                  </a:cubicBezTo>
                  <a:cubicBezTo>
                    <a:pt x="377980" y="513465"/>
                    <a:pt x="358180" y="518409"/>
                    <a:pt x="348280" y="543126"/>
                  </a:cubicBezTo>
                  <a:cubicBezTo>
                    <a:pt x="348280" y="545597"/>
                    <a:pt x="345805" y="548069"/>
                    <a:pt x="345805" y="550541"/>
                  </a:cubicBezTo>
                  <a:cubicBezTo>
                    <a:pt x="323531" y="565371"/>
                    <a:pt x="311156" y="587616"/>
                    <a:pt x="298781" y="607389"/>
                  </a:cubicBezTo>
                  <a:cubicBezTo>
                    <a:pt x="286406" y="624691"/>
                    <a:pt x="276507" y="644464"/>
                    <a:pt x="266607" y="664238"/>
                  </a:cubicBezTo>
                  <a:cubicBezTo>
                    <a:pt x="264132" y="669181"/>
                    <a:pt x="259182" y="676596"/>
                    <a:pt x="259182" y="684011"/>
                  </a:cubicBezTo>
                  <a:cubicBezTo>
                    <a:pt x="254232" y="691426"/>
                    <a:pt x="254232" y="701313"/>
                    <a:pt x="254232" y="711200"/>
                  </a:cubicBezTo>
                  <a:cubicBezTo>
                    <a:pt x="298781" y="681540"/>
                    <a:pt x="345805" y="654351"/>
                    <a:pt x="397779" y="639521"/>
                  </a:cubicBezTo>
                  <a:cubicBezTo>
                    <a:pt x="452229" y="622219"/>
                    <a:pt x="504203" y="624691"/>
                    <a:pt x="561127" y="627163"/>
                  </a:cubicBezTo>
                  <a:cubicBezTo>
                    <a:pt x="543802" y="646936"/>
                    <a:pt x="511628" y="651879"/>
                    <a:pt x="509153" y="686483"/>
                  </a:cubicBezTo>
                  <a:cubicBezTo>
                    <a:pt x="516577" y="703785"/>
                    <a:pt x="528952" y="721086"/>
                    <a:pt x="536377" y="740860"/>
                  </a:cubicBezTo>
                  <a:cubicBezTo>
                    <a:pt x="548752" y="765577"/>
                    <a:pt x="533902" y="787822"/>
                    <a:pt x="519052" y="805123"/>
                  </a:cubicBezTo>
                  <a:cubicBezTo>
                    <a:pt x="499253" y="827368"/>
                    <a:pt x="472028" y="842199"/>
                    <a:pt x="444804" y="854557"/>
                  </a:cubicBezTo>
                  <a:cubicBezTo>
                    <a:pt x="442329" y="854557"/>
                    <a:pt x="442329" y="854557"/>
                    <a:pt x="442329" y="854557"/>
                  </a:cubicBezTo>
                  <a:cubicBezTo>
                    <a:pt x="410154" y="874330"/>
                    <a:pt x="377980" y="884217"/>
                    <a:pt x="343330" y="894104"/>
                  </a:cubicBezTo>
                  <a:cubicBezTo>
                    <a:pt x="308681" y="906462"/>
                    <a:pt x="278981" y="903990"/>
                    <a:pt x="246807" y="886689"/>
                  </a:cubicBezTo>
                  <a:cubicBezTo>
                    <a:pt x="187408" y="852085"/>
                    <a:pt x="137909" y="807595"/>
                    <a:pt x="93360" y="755690"/>
                  </a:cubicBezTo>
                  <a:cubicBezTo>
                    <a:pt x="78510" y="735916"/>
                    <a:pt x="78510" y="716143"/>
                    <a:pt x="90885" y="693898"/>
                  </a:cubicBezTo>
                  <a:cubicBezTo>
                    <a:pt x="98310" y="679068"/>
                    <a:pt x="103259" y="664238"/>
                    <a:pt x="113159" y="649408"/>
                  </a:cubicBezTo>
                  <a:cubicBezTo>
                    <a:pt x="128009" y="624691"/>
                    <a:pt x="142859" y="599974"/>
                    <a:pt x="167608" y="580201"/>
                  </a:cubicBezTo>
                  <a:cubicBezTo>
                    <a:pt x="202258" y="557956"/>
                    <a:pt x="234432" y="530767"/>
                    <a:pt x="261657" y="496164"/>
                  </a:cubicBezTo>
                  <a:cubicBezTo>
                    <a:pt x="269082" y="488749"/>
                    <a:pt x="278981" y="483805"/>
                    <a:pt x="293831" y="471447"/>
                  </a:cubicBezTo>
                  <a:cubicBezTo>
                    <a:pt x="274032" y="456617"/>
                    <a:pt x="264132" y="444259"/>
                    <a:pt x="251757" y="436843"/>
                  </a:cubicBezTo>
                  <a:cubicBezTo>
                    <a:pt x="177508" y="384938"/>
                    <a:pt x="113159" y="325618"/>
                    <a:pt x="53760" y="261354"/>
                  </a:cubicBezTo>
                  <a:cubicBezTo>
                    <a:pt x="38911" y="244053"/>
                    <a:pt x="26536" y="224279"/>
                    <a:pt x="11686" y="206977"/>
                  </a:cubicBezTo>
                  <a:cubicBezTo>
                    <a:pt x="9211" y="202034"/>
                    <a:pt x="6736" y="194619"/>
                    <a:pt x="1786" y="187204"/>
                  </a:cubicBezTo>
                  <a:cubicBezTo>
                    <a:pt x="-3164" y="169902"/>
                    <a:pt x="1786" y="160016"/>
                    <a:pt x="21586" y="160016"/>
                  </a:cubicBezTo>
                  <a:cubicBezTo>
                    <a:pt x="41385" y="162487"/>
                    <a:pt x="61185" y="164959"/>
                    <a:pt x="80985" y="164959"/>
                  </a:cubicBezTo>
                  <a:cubicBezTo>
                    <a:pt x="100784" y="167431"/>
                    <a:pt x="120584" y="174846"/>
                    <a:pt x="140384" y="182261"/>
                  </a:cubicBezTo>
                  <a:cubicBezTo>
                    <a:pt x="145334" y="184732"/>
                    <a:pt x="150284" y="182261"/>
                    <a:pt x="160183" y="184732"/>
                  </a:cubicBezTo>
                  <a:cubicBezTo>
                    <a:pt x="150284" y="172374"/>
                    <a:pt x="142859" y="162487"/>
                    <a:pt x="132959" y="152601"/>
                  </a:cubicBezTo>
                  <a:cubicBezTo>
                    <a:pt x="135434" y="150129"/>
                    <a:pt x="135434" y="147657"/>
                    <a:pt x="135434" y="147657"/>
                  </a:cubicBezTo>
                  <a:cubicBezTo>
                    <a:pt x="155234" y="152601"/>
                    <a:pt x="175033" y="160016"/>
                    <a:pt x="197308" y="167431"/>
                  </a:cubicBezTo>
                  <a:cubicBezTo>
                    <a:pt x="187408" y="155072"/>
                    <a:pt x="182458" y="147657"/>
                    <a:pt x="172558" y="135299"/>
                  </a:cubicBezTo>
                  <a:cubicBezTo>
                    <a:pt x="204733" y="137771"/>
                    <a:pt x="229482" y="140242"/>
                    <a:pt x="256707" y="142714"/>
                  </a:cubicBezTo>
                  <a:cubicBezTo>
                    <a:pt x="256707" y="137771"/>
                    <a:pt x="254232" y="135299"/>
                    <a:pt x="254232" y="130355"/>
                  </a:cubicBezTo>
                  <a:cubicBezTo>
                    <a:pt x="264132" y="130355"/>
                    <a:pt x="274032" y="130355"/>
                    <a:pt x="283931" y="130355"/>
                  </a:cubicBezTo>
                  <a:cubicBezTo>
                    <a:pt x="298781" y="130355"/>
                    <a:pt x="311156" y="140242"/>
                    <a:pt x="326006" y="127884"/>
                  </a:cubicBezTo>
                  <a:close/>
                  <a:moveTo>
                    <a:pt x="1465533" y="0"/>
                  </a:moveTo>
                  <a:cubicBezTo>
                    <a:pt x="1490266" y="0"/>
                    <a:pt x="1517471" y="4938"/>
                    <a:pt x="1539730" y="17282"/>
                  </a:cubicBezTo>
                  <a:cubicBezTo>
                    <a:pt x="1569409" y="34563"/>
                    <a:pt x="1599088" y="51845"/>
                    <a:pt x="1628767" y="74064"/>
                  </a:cubicBezTo>
                  <a:cubicBezTo>
                    <a:pt x="1690597" y="118503"/>
                    <a:pt x="1749955" y="167879"/>
                    <a:pt x="1801893" y="227130"/>
                  </a:cubicBezTo>
                  <a:cubicBezTo>
                    <a:pt x="1819205" y="246881"/>
                    <a:pt x="1836518" y="266631"/>
                    <a:pt x="1853831" y="288851"/>
                  </a:cubicBezTo>
                  <a:cubicBezTo>
                    <a:pt x="1883509" y="328351"/>
                    <a:pt x="1876090" y="353039"/>
                    <a:pt x="1851357" y="399947"/>
                  </a:cubicBezTo>
                  <a:cubicBezTo>
                    <a:pt x="1841464" y="419697"/>
                    <a:pt x="1826625" y="439448"/>
                    <a:pt x="1811786" y="459198"/>
                  </a:cubicBezTo>
                  <a:cubicBezTo>
                    <a:pt x="1789527" y="488824"/>
                    <a:pt x="1767267" y="520918"/>
                    <a:pt x="1742535" y="550544"/>
                  </a:cubicBezTo>
                  <a:cubicBezTo>
                    <a:pt x="1732642" y="565357"/>
                    <a:pt x="1725223" y="577701"/>
                    <a:pt x="1715330" y="592514"/>
                  </a:cubicBezTo>
                  <a:cubicBezTo>
                    <a:pt x="1712856" y="594983"/>
                    <a:pt x="1710383" y="597451"/>
                    <a:pt x="1707910" y="599920"/>
                  </a:cubicBezTo>
                  <a:cubicBezTo>
                    <a:pt x="1688124" y="617202"/>
                    <a:pt x="1665865" y="634483"/>
                    <a:pt x="1646079" y="654234"/>
                  </a:cubicBezTo>
                  <a:cubicBezTo>
                    <a:pt x="1638659" y="659171"/>
                    <a:pt x="1633713" y="669047"/>
                    <a:pt x="1623820" y="678922"/>
                  </a:cubicBezTo>
                  <a:cubicBezTo>
                    <a:pt x="1633713" y="681391"/>
                    <a:pt x="1641133" y="683860"/>
                    <a:pt x="1648552" y="683860"/>
                  </a:cubicBezTo>
                  <a:cubicBezTo>
                    <a:pt x="1690597" y="688797"/>
                    <a:pt x="1732642" y="693735"/>
                    <a:pt x="1774687" y="701141"/>
                  </a:cubicBezTo>
                  <a:cubicBezTo>
                    <a:pt x="1848884" y="713485"/>
                    <a:pt x="1923081" y="728298"/>
                    <a:pt x="1997278" y="743111"/>
                  </a:cubicBezTo>
                  <a:cubicBezTo>
                    <a:pt x="2004698" y="745580"/>
                    <a:pt x="2014590" y="750517"/>
                    <a:pt x="2022010" y="755455"/>
                  </a:cubicBezTo>
                  <a:cubicBezTo>
                    <a:pt x="2051689" y="780143"/>
                    <a:pt x="2076421" y="809769"/>
                    <a:pt x="2096207" y="841863"/>
                  </a:cubicBezTo>
                  <a:cubicBezTo>
                    <a:pt x="2162984" y="943084"/>
                    <a:pt x="2212449" y="1051712"/>
                    <a:pt x="2256967" y="1162808"/>
                  </a:cubicBezTo>
                  <a:cubicBezTo>
                    <a:pt x="2281699" y="1224528"/>
                    <a:pt x="2303958" y="1286248"/>
                    <a:pt x="2326217" y="1345500"/>
                  </a:cubicBezTo>
                  <a:cubicBezTo>
                    <a:pt x="2328691" y="1352906"/>
                    <a:pt x="2331164" y="1357844"/>
                    <a:pt x="2333637" y="1365250"/>
                  </a:cubicBezTo>
                  <a:cubicBezTo>
                    <a:pt x="2256967" y="1308468"/>
                    <a:pt x="2175350" y="1261560"/>
                    <a:pt x="2096207" y="1214653"/>
                  </a:cubicBezTo>
                  <a:cubicBezTo>
                    <a:pt x="2046742" y="1189965"/>
                    <a:pt x="1997278" y="1170214"/>
                    <a:pt x="1947813" y="1147995"/>
                  </a:cubicBezTo>
                  <a:cubicBezTo>
                    <a:pt x="1920608" y="1135651"/>
                    <a:pt x="1893402" y="1123307"/>
                    <a:pt x="1866197" y="1110963"/>
                  </a:cubicBezTo>
                  <a:cubicBezTo>
                    <a:pt x="1843938" y="1101088"/>
                    <a:pt x="1821679" y="1088744"/>
                    <a:pt x="1796946" y="1081337"/>
                  </a:cubicBezTo>
                  <a:cubicBezTo>
                    <a:pt x="1725223" y="1059118"/>
                    <a:pt x="1660919" y="1022086"/>
                    <a:pt x="1586722" y="999867"/>
                  </a:cubicBezTo>
                  <a:cubicBezTo>
                    <a:pt x="1564463" y="994929"/>
                    <a:pt x="1539730" y="987523"/>
                    <a:pt x="1514998" y="977648"/>
                  </a:cubicBezTo>
                  <a:cubicBezTo>
                    <a:pt x="1482846" y="965304"/>
                    <a:pt x="1448221" y="952959"/>
                    <a:pt x="1416069" y="940615"/>
                  </a:cubicBezTo>
                  <a:cubicBezTo>
                    <a:pt x="1401229" y="935678"/>
                    <a:pt x="1388863" y="935678"/>
                    <a:pt x="1374024" y="933209"/>
                  </a:cubicBezTo>
                  <a:cubicBezTo>
                    <a:pt x="1369077" y="930740"/>
                    <a:pt x="1364131" y="925803"/>
                    <a:pt x="1356711" y="923334"/>
                  </a:cubicBezTo>
                  <a:cubicBezTo>
                    <a:pt x="1336925" y="957897"/>
                    <a:pt x="1304773" y="980116"/>
                    <a:pt x="1275095" y="1002336"/>
                  </a:cubicBezTo>
                  <a:cubicBezTo>
                    <a:pt x="1245416" y="1027024"/>
                    <a:pt x="1218210" y="1051712"/>
                    <a:pt x="1186058" y="1071462"/>
                  </a:cubicBezTo>
                  <a:cubicBezTo>
                    <a:pt x="1153906" y="1096150"/>
                    <a:pt x="1124228" y="1125776"/>
                    <a:pt x="1084656" y="1143058"/>
                  </a:cubicBezTo>
                  <a:cubicBezTo>
                    <a:pt x="1064870" y="1152933"/>
                    <a:pt x="1047557" y="1167746"/>
                    <a:pt x="1027772" y="1177621"/>
                  </a:cubicBezTo>
                  <a:cubicBezTo>
                    <a:pt x="1003039" y="1189965"/>
                    <a:pt x="975834" y="1199840"/>
                    <a:pt x="951101" y="1209715"/>
                  </a:cubicBezTo>
                  <a:cubicBezTo>
                    <a:pt x="941209" y="1214653"/>
                    <a:pt x="931316" y="1222059"/>
                    <a:pt x="921423" y="1224528"/>
                  </a:cubicBezTo>
                  <a:cubicBezTo>
                    <a:pt x="896690" y="1234403"/>
                    <a:pt x="871958" y="1241810"/>
                    <a:pt x="847226" y="1246747"/>
                  </a:cubicBezTo>
                  <a:cubicBezTo>
                    <a:pt x="822494" y="1254154"/>
                    <a:pt x="797761" y="1246747"/>
                    <a:pt x="775502" y="1236872"/>
                  </a:cubicBezTo>
                  <a:cubicBezTo>
                    <a:pt x="730984" y="1214653"/>
                    <a:pt x="693886" y="1185027"/>
                    <a:pt x="661734" y="1147995"/>
                  </a:cubicBezTo>
                  <a:cubicBezTo>
                    <a:pt x="637001" y="1118370"/>
                    <a:pt x="624635" y="1081337"/>
                    <a:pt x="617215" y="1044305"/>
                  </a:cubicBezTo>
                  <a:cubicBezTo>
                    <a:pt x="604849" y="989992"/>
                    <a:pt x="607322" y="933209"/>
                    <a:pt x="622162" y="878895"/>
                  </a:cubicBezTo>
                  <a:cubicBezTo>
                    <a:pt x="629582" y="854207"/>
                    <a:pt x="641948" y="829519"/>
                    <a:pt x="654314" y="807300"/>
                  </a:cubicBezTo>
                  <a:cubicBezTo>
                    <a:pt x="664207" y="787549"/>
                    <a:pt x="676573" y="770268"/>
                    <a:pt x="686466" y="752986"/>
                  </a:cubicBezTo>
                  <a:cubicBezTo>
                    <a:pt x="728511" y="693735"/>
                    <a:pt x="785395" y="659171"/>
                    <a:pt x="857119" y="644359"/>
                  </a:cubicBezTo>
                  <a:cubicBezTo>
                    <a:pt x="918949" y="632015"/>
                    <a:pt x="980780" y="627077"/>
                    <a:pt x="1042611" y="624608"/>
                  </a:cubicBezTo>
                  <a:cubicBezTo>
                    <a:pt x="1072290" y="622139"/>
                    <a:pt x="1101969" y="619671"/>
                    <a:pt x="1131647" y="622139"/>
                  </a:cubicBezTo>
                  <a:cubicBezTo>
                    <a:pt x="1168746" y="622139"/>
                    <a:pt x="1205844" y="624608"/>
                    <a:pt x="1242943" y="636952"/>
                  </a:cubicBezTo>
                  <a:cubicBezTo>
                    <a:pt x="1247889" y="636952"/>
                    <a:pt x="1250362" y="639421"/>
                    <a:pt x="1255309" y="639421"/>
                  </a:cubicBezTo>
                  <a:cubicBezTo>
                    <a:pt x="1275095" y="641890"/>
                    <a:pt x="1277568" y="639421"/>
                    <a:pt x="1282514" y="622139"/>
                  </a:cubicBezTo>
                  <a:cubicBezTo>
                    <a:pt x="1284988" y="617202"/>
                    <a:pt x="1284988" y="612264"/>
                    <a:pt x="1287461" y="609795"/>
                  </a:cubicBezTo>
                  <a:cubicBezTo>
                    <a:pt x="1302300" y="590045"/>
                    <a:pt x="1312193" y="570294"/>
                    <a:pt x="1319613" y="548075"/>
                  </a:cubicBezTo>
                  <a:cubicBezTo>
                    <a:pt x="1339399" y="508574"/>
                    <a:pt x="1359184" y="469073"/>
                    <a:pt x="1378970" y="429572"/>
                  </a:cubicBezTo>
                  <a:cubicBezTo>
                    <a:pt x="1381444" y="427104"/>
                    <a:pt x="1378970" y="424635"/>
                    <a:pt x="1381444" y="419697"/>
                  </a:cubicBezTo>
                  <a:cubicBezTo>
                    <a:pt x="1351765" y="407353"/>
                    <a:pt x="1324559" y="409822"/>
                    <a:pt x="1299827" y="422166"/>
                  </a:cubicBezTo>
                  <a:cubicBezTo>
                    <a:pt x="1262728" y="441917"/>
                    <a:pt x="1228103" y="461667"/>
                    <a:pt x="1193478" y="478949"/>
                  </a:cubicBezTo>
                  <a:cubicBezTo>
                    <a:pt x="1186058" y="483886"/>
                    <a:pt x="1176165" y="483886"/>
                    <a:pt x="1168746" y="486355"/>
                  </a:cubicBezTo>
                  <a:cubicBezTo>
                    <a:pt x="1151433" y="491293"/>
                    <a:pt x="1131647" y="493761"/>
                    <a:pt x="1114335" y="498699"/>
                  </a:cubicBezTo>
                  <a:cubicBezTo>
                    <a:pt x="1097022" y="503637"/>
                    <a:pt x="1079709" y="501168"/>
                    <a:pt x="1064870" y="493761"/>
                  </a:cubicBezTo>
                  <a:cubicBezTo>
                    <a:pt x="1035191" y="476480"/>
                    <a:pt x="1007986" y="461667"/>
                    <a:pt x="980780" y="444385"/>
                  </a:cubicBezTo>
                  <a:cubicBezTo>
                    <a:pt x="904110" y="392540"/>
                    <a:pt x="837333" y="330820"/>
                    <a:pt x="777975" y="261694"/>
                  </a:cubicBezTo>
                  <a:cubicBezTo>
                    <a:pt x="765609" y="246881"/>
                    <a:pt x="758190" y="229599"/>
                    <a:pt x="748297" y="212317"/>
                  </a:cubicBezTo>
                  <a:cubicBezTo>
                    <a:pt x="745823" y="209849"/>
                    <a:pt x="743350" y="204911"/>
                    <a:pt x="745823" y="199973"/>
                  </a:cubicBezTo>
                  <a:cubicBezTo>
                    <a:pt x="753243" y="185161"/>
                    <a:pt x="740877" y="175285"/>
                    <a:pt x="733457" y="162941"/>
                  </a:cubicBezTo>
                  <a:cubicBezTo>
                    <a:pt x="726038" y="153066"/>
                    <a:pt x="716145" y="140722"/>
                    <a:pt x="716145" y="125909"/>
                  </a:cubicBezTo>
                  <a:cubicBezTo>
                    <a:pt x="733457" y="120971"/>
                    <a:pt x="748297" y="118503"/>
                    <a:pt x="765609" y="120971"/>
                  </a:cubicBezTo>
                  <a:cubicBezTo>
                    <a:pt x="802708" y="123440"/>
                    <a:pt x="837333" y="120971"/>
                    <a:pt x="874431" y="120971"/>
                  </a:cubicBezTo>
                  <a:cubicBezTo>
                    <a:pt x="926369" y="116034"/>
                    <a:pt x="975834" y="108627"/>
                    <a:pt x="1022825" y="91346"/>
                  </a:cubicBezTo>
                  <a:cubicBezTo>
                    <a:pt x="1027772" y="88877"/>
                    <a:pt x="1032718" y="88877"/>
                    <a:pt x="1037665" y="88877"/>
                  </a:cubicBezTo>
                  <a:cubicBezTo>
                    <a:pt x="1072290" y="81470"/>
                    <a:pt x="1104442" y="69126"/>
                    <a:pt x="1136594" y="51845"/>
                  </a:cubicBezTo>
                  <a:cubicBezTo>
                    <a:pt x="1139067" y="49376"/>
                    <a:pt x="1146487" y="49376"/>
                    <a:pt x="1148960" y="49376"/>
                  </a:cubicBezTo>
                  <a:cubicBezTo>
                    <a:pt x="1163799" y="54314"/>
                    <a:pt x="1178639" y="46907"/>
                    <a:pt x="1193478" y="44438"/>
                  </a:cubicBezTo>
                  <a:cubicBezTo>
                    <a:pt x="1233050" y="32094"/>
                    <a:pt x="1272621" y="19750"/>
                    <a:pt x="1309720" y="7406"/>
                  </a:cubicBezTo>
                  <a:cubicBezTo>
                    <a:pt x="1319613" y="4938"/>
                    <a:pt x="1329506" y="2469"/>
                    <a:pt x="1339399" y="2469"/>
                  </a:cubicBezTo>
                  <a:cubicBezTo>
                    <a:pt x="1381444" y="2469"/>
                    <a:pt x="1423488" y="0"/>
                    <a:pt x="1465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53750C9-E675-442D-B9E5-DC505A68990C}"/>
                </a:ext>
              </a:extLst>
            </p:cNvPr>
            <p:cNvSpPr/>
            <p:nvPr/>
          </p:nvSpPr>
          <p:spPr bwMode="auto">
            <a:xfrm>
              <a:off x="4459288" y="4468813"/>
              <a:ext cx="30163" cy="20638"/>
            </a:xfrm>
            <a:custGeom>
              <a:avLst/>
              <a:gdLst>
                <a:gd name="T0" fmla="*/ 5 w 12"/>
                <a:gd name="T1" fmla="*/ 8 h 8"/>
                <a:gd name="T2" fmla="*/ 0 w 12"/>
                <a:gd name="T3" fmla="*/ 8 h 8"/>
                <a:gd name="T4" fmla="*/ 12 w 12"/>
                <a:gd name="T5" fmla="*/ 1 h 8"/>
                <a:gd name="T6" fmla="*/ 11 w 12"/>
                <a:gd name="T7" fmla="*/ 4 h 8"/>
                <a:gd name="T8" fmla="*/ 5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5" y="8"/>
                  </a:moveTo>
                  <a:cubicBezTo>
                    <a:pt x="4" y="8"/>
                    <a:pt x="3" y="8"/>
                    <a:pt x="0" y="8"/>
                  </a:cubicBezTo>
                  <a:cubicBezTo>
                    <a:pt x="3" y="3"/>
                    <a:pt x="7" y="0"/>
                    <a:pt x="12" y="1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9" y="6"/>
                    <a:pt x="7" y="7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81ECEA55-E3A7-41D4-B37F-1219890EAB9A}"/>
                </a:ext>
              </a:extLst>
            </p:cNvPr>
            <p:cNvSpPr/>
            <p:nvPr/>
          </p:nvSpPr>
          <p:spPr bwMode="auto">
            <a:xfrm>
              <a:off x="4502151" y="3522663"/>
              <a:ext cx="77788" cy="76200"/>
            </a:xfrm>
            <a:custGeom>
              <a:avLst/>
              <a:gdLst>
                <a:gd name="T0" fmla="*/ 0 w 32"/>
                <a:gd name="T1" fmla="*/ 29 h 31"/>
                <a:gd name="T2" fmla="*/ 11 w 32"/>
                <a:gd name="T3" fmla="*/ 15 h 31"/>
                <a:gd name="T4" fmla="*/ 15 w 32"/>
                <a:gd name="T5" fmla="*/ 9 h 31"/>
                <a:gd name="T6" fmla="*/ 32 w 32"/>
                <a:gd name="T7" fmla="*/ 0 h 31"/>
                <a:gd name="T8" fmla="*/ 2 w 32"/>
                <a:gd name="T9" fmla="*/ 31 h 31"/>
                <a:gd name="T10" fmla="*/ 0 w 32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0" y="29"/>
                  </a:moveTo>
                  <a:cubicBezTo>
                    <a:pt x="3" y="24"/>
                    <a:pt x="7" y="20"/>
                    <a:pt x="11" y="15"/>
                  </a:cubicBezTo>
                  <a:cubicBezTo>
                    <a:pt x="12" y="13"/>
                    <a:pt x="13" y="11"/>
                    <a:pt x="15" y="9"/>
                  </a:cubicBezTo>
                  <a:cubicBezTo>
                    <a:pt x="19" y="1"/>
                    <a:pt x="22" y="0"/>
                    <a:pt x="32" y="0"/>
                  </a:cubicBezTo>
                  <a:cubicBezTo>
                    <a:pt x="21" y="10"/>
                    <a:pt x="13" y="22"/>
                    <a:pt x="2" y="31"/>
                  </a:cubicBezTo>
                  <a:cubicBezTo>
                    <a:pt x="1" y="30"/>
                    <a:pt x="0" y="30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E1A5E92-C508-42CE-B185-68B810ABBDA4}"/>
                </a:ext>
              </a:extLst>
            </p:cNvPr>
            <p:cNvSpPr/>
            <p:nvPr/>
          </p:nvSpPr>
          <p:spPr bwMode="auto">
            <a:xfrm>
              <a:off x="4586288" y="3487738"/>
              <a:ext cx="23813" cy="22225"/>
            </a:xfrm>
            <a:custGeom>
              <a:avLst/>
              <a:gdLst>
                <a:gd name="T0" fmla="*/ 10 w 10"/>
                <a:gd name="T1" fmla="*/ 2 h 9"/>
                <a:gd name="T2" fmla="*/ 2 w 10"/>
                <a:gd name="T3" fmla="*/ 9 h 9"/>
                <a:gd name="T4" fmla="*/ 0 w 10"/>
                <a:gd name="T5" fmla="*/ 7 h 9"/>
                <a:gd name="T6" fmla="*/ 7 w 10"/>
                <a:gd name="T7" fmla="*/ 0 h 9"/>
                <a:gd name="T8" fmla="*/ 1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7" y="5"/>
                    <a:pt x="4" y="7"/>
                    <a:pt x="2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2" y="5"/>
                    <a:pt x="5" y="2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CB817AE-44D4-4895-912D-01E6AF2D2E8C}"/>
                </a:ext>
              </a:extLst>
            </p:cNvPr>
            <p:cNvSpPr/>
            <p:nvPr/>
          </p:nvSpPr>
          <p:spPr bwMode="auto">
            <a:xfrm>
              <a:off x="4445001" y="3663950"/>
              <a:ext cx="11113" cy="14288"/>
            </a:xfrm>
            <a:custGeom>
              <a:avLst/>
              <a:gdLst>
                <a:gd name="T0" fmla="*/ 5 w 5"/>
                <a:gd name="T1" fmla="*/ 1 h 6"/>
                <a:gd name="T2" fmla="*/ 1 w 5"/>
                <a:gd name="T3" fmla="*/ 6 h 6"/>
                <a:gd name="T4" fmla="*/ 0 w 5"/>
                <a:gd name="T5" fmla="*/ 5 h 6"/>
                <a:gd name="T6" fmla="*/ 3 w 5"/>
                <a:gd name="T7" fmla="*/ 0 h 6"/>
                <a:gd name="T8" fmla="*/ 5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0"/>
                    <a:pt x="4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9B4DAE2-47CE-40CC-A457-FEF781228C21}"/>
                </a:ext>
              </a:extLst>
            </p:cNvPr>
            <p:cNvSpPr/>
            <p:nvPr/>
          </p:nvSpPr>
          <p:spPr bwMode="auto">
            <a:xfrm>
              <a:off x="4348163" y="3806825"/>
              <a:ext cx="12700" cy="17463"/>
            </a:xfrm>
            <a:custGeom>
              <a:avLst/>
              <a:gdLst>
                <a:gd name="T0" fmla="*/ 5 w 5"/>
                <a:gd name="T1" fmla="*/ 1 h 7"/>
                <a:gd name="T2" fmla="*/ 1 w 5"/>
                <a:gd name="T3" fmla="*/ 7 h 7"/>
                <a:gd name="T4" fmla="*/ 0 w 5"/>
                <a:gd name="T5" fmla="*/ 6 h 7"/>
                <a:gd name="T6" fmla="*/ 3 w 5"/>
                <a:gd name="T7" fmla="*/ 0 h 7"/>
                <a:gd name="T8" fmla="*/ 5 w 5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1"/>
                  </a:moveTo>
                  <a:cubicBezTo>
                    <a:pt x="3" y="3"/>
                    <a:pt x="2" y="5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1" y="4"/>
                    <a:pt x="2" y="2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7644631-D347-4DE6-90D1-B65CCF17E947}"/>
                </a:ext>
              </a:extLst>
            </p:cNvPr>
            <p:cNvSpPr/>
            <p:nvPr/>
          </p:nvSpPr>
          <p:spPr bwMode="auto">
            <a:xfrm>
              <a:off x="4370388" y="3770313"/>
              <a:ext cx="12700" cy="17463"/>
            </a:xfrm>
            <a:custGeom>
              <a:avLst/>
              <a:gdLst>
                <a:gd name="T0" fmla="*/ 0 w 5"/>
                <a:gd name="T1" fmla="*/ 6 h 7"/>
                <a:gd name="T2" fmla="*/ 3 w 5"/>
                <a:gd name="T3" fmla="*/ 0 h 7"/>
                <a:gd name="T4" fmla="*/ 5 w 5"/>
                <a:gd name="T5" fmla="*/ 1 h 7"/>
                <a:gd name="T6" fmla="*/ 2 w 5"/>
                <a:gd name="T7" fmla="*/ 7 h 7"/>
                <a:gd name="T8" fmla="*/ 0 w 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4"/>
                    <a:pt x="2" y="2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A945FA61-940A-405F-9B82-82A92193CD16}"/>
                </a:ext>
              </a:extLst>
            </p:cNvPr>
            <p:cNvSpPr/>
            <p:nvPr/>
          </p:nvSpPr>
          <p:spPr bwMode="auto">
            <a:xfrm>
              <a:off x="4484688" y="3609975"/>
              <a:ext cx="14288" cy="17463"/>
            </a:xfrm>
            <a:custGeom>
              <a:avLst/>
              <a:gdLst>
                <a:gd name="T0" fmla="*/ 6 w 6"/>
                <a:gd name="T1" fmla="*/ 3 h 7"/>
                <a:gd name="T2" fmla="*/ 2 w 6"/>
                <a:gd name="T3" fmla="*/ 7 h 7"/>
                <a:gd name="T4" fmla="*/ 0 w 6"/>
                <a:gd name="T5" fmla="*/ 5 h 7"/>
                <a:gd name="T6" fmla="*/ 3 w 6"/>
                <a:gd name="T7" fmla="*/ 0 h 7"/>
                <a:gd name="T8" fmla="*/ 6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cubicBezTo>
                    <a:pt x="5" y="4"/>
                    <a:pt x="3" y="5"/>
                    <a:pt x="2" y="7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37564BF-DC29-4A2C-8278-04219CFF48D3}"/>
                </a:ext>
              </a:extLst>
            </p:cNvPr>
            <p:cNvSpPr/>
            <p:nvPr/>
          </p:nvSpPr>
          <p:spPr bwMode="auto">
            <a:xfrm>
              <a:off x="4143376" y="3154363"/>
              <a:ext cx="6350" cy="22225"/>
            </a:xfrm>
            <a:custGeom>
              <a:avLst/>
              <a:gdLst>
                <a:gd name="T0" fmla="*/ 2 w 3"/>
                <a:gd name="T1" fmla="*/ 0 h 9"/>
                <a:gd name="T2" fmla="*/ 3 w 3"/>
                <a:gd name="T3" fmla="*/ 9 h 9"/>
                <a:gd name="T4" fmla="*/ 2 w 3"/>
                <a:gd name="T5" fmla="*/ 0 h 9"/>
                <a:gd name="T6" fmla="*/ 2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2" y="3"/>
                    <a:pt x="3" y="6"/>
                    <a:pt x="3" y="9"/>
                  </a:cubicBezTo>
                  <a:cubicBezTo>
                    <a:pt x="0" y="6"/>
                    <a:pt x="0" y="3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D50D881-D634-470A-8B95-85B32A9E3C3B}"/>
                </a:ext>
              </a:extLst>
            </p:cNvPr>
            <p:cNvSpPr/>
            <p:nvPr/>
          </p:nvSpPr>
          <p:spPr bwMode="auto">
            <a:xfrm>
              <a:off x="4322763" y="4529138"/>
              <a:ext cx="55563" cy="28575"/>
            </a:xfrm>
            <a:custGeom>
              <a:avLst/>
              <a:gdLst>
                <a:gd name="T0" fmla="*/ 0 w 22"/>
                <a:gd name="T1" fmla="*/ 12 h 12"/>
                <a:gd name="T2" fmla="*/ 22 w 22"/>
                <a:gd name="T3" fmla="*/ 0 h 12"/>
                <a:gd name="T4" fmla="*/ 0 w 2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0" y="12"/>
                  </a:moveTo>
                  <a:cubicBezTo>
                    <a:pt x="6" y="7"/>
                    <a:pt x="11" y="0"/>
                    <a:pt x="22" y="0"/>
                  </a:cubicBezTo>
                  <a:cubicBezTo>
                    <a:pt x="15" y="7"/>
                    <a:pt x="8" y="10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660C90B-E612-4958-88E3-8A391F4C144C}"/>
                </a:ext>
              </a:extLst>
            </p:cNvPr>
            <p:cNvSpPr/>
            <p:nvPr/>
          </p:nvSpPr>
          <p:spPr bwMode="auto">
            <a:xfrm>
              <a:off x="7304088" y="3281363"/>
              <a:ext cx="34925" cy="206375"/>
            </a:xfrm>
            <a:custGeom>
              <a:avLst/>
              <a:gdLst>
                <a:gd name="T0" fmla="*/ 7 w 14"/>
                <a:gd name="T1" fmla="*/ 0 h 84"/>
                <a:gd name="T2" fmla="*/ 10 w 14"/>
                <a:gd name="T3" fmla="*/ 7 h 84"/>
                <a:gd name="T4" fmla="*/ 14 w 14"/>
                <a:gd name="T5" fmla="*/ 57 h 84"/>
                <a:gd name="T6" fmla="*/ 14 w 14"/>
                <a:gd name="T7" fmla="*/ 60 h 84"/>
                <a:gd name="T8" fmla="*/ 9 w 14"/>
                <a:gd name="T9" fmla="*/ 84 h 84"/>
                <a:gd name="T10" fmla="*/ 7 w 14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4">
                  <a:moveTo>
                    <a:pt x="7" y="0"/>
                  </a:moveTo>
                  <a:cubicBezTo>
                    <a:pt x="8" y="4"/>
                    <a:pt x="9" y="5"/>
                    <a:pt x="10" y="7"/>
                  </a:cubicBezTo>
                  <a:cubicBezTo>
                    <a:pt x="11" y="24"/>
                    <a:pt x="13" y="40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2" y="68"/>
                    <a:pt x="11" y="76"/>
                    <a:pt x="9" y="84"/>
                  </a:cubicBezTo>
                  <a:cubicBezTo>
                    <a:pt x="0" y="71"/>
                    <a:pt x="4" y="2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9BB0E9B-7B9C-4054-9B19-3D2BF83F6634}"/>
                </a:ext>
              </a:extLst>
            </p:cNvPr>
            <p:cNvSpPr/>
            <p:nvPr/>
          </p:nvSpPr>
          <p:spPr bwMode="auto">
            <a:xfrm>
              <a:off x="7165976" y="4233863"/>
              <a:ext cx="30163" cy="47625"/>
            </a:xfrm>
            <a:custGeom>
              <a:avLst/>
              <a:gdLst>
                <a:gd name="T0" fmla="*/ 1 w 12"/>
                <a:gd name="T1" fmla="*/ 0 h 19"/>
                <a:gd name="T2" fmla="*/ 12 w 12"/>
                <a:gd name="T3" fmla="*/ 14 h 19"/>
                <a:gd name="T4" fmla="*/ 5 w 12"/>
                <a:gd name="T5" fmla="*/ 19 h 19"/>
                <a:gd name="T6" fmla="*/ 1 w 1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0"/>
                  </a:moveTo>
                  <a:cubicBezTo>
                    <a:pt x="5" y="6"/>
                    <a:pt x="8" y="9"/>
                    <a:pt x="12" y="14"/>
                  </a:cubicBezTo>
                  <a:cubicBezTo>
                    <a:pt x="10" y="15"/>
                    <a:pt x="8" y="17"/>
                    <a:pt x="5" y="19"/>
                  </a:cubicBezTo>
                  <a:cubicBezTo>
                    <a:pt x="1" y="14"/>
                    <a:pt x="0" y="9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68DBC32D-7154-43AA-8153-B5F0DA31ABBF}"/>
                </a:ext>
              </a:extLst>
            </p:cNvPr>
            <p:cNvSpPr/>
            <p:nvPr/>
          </p:nvSpPr>
          <p:spPr bwMode="auto">
            <a:xfrm>
              <a:off x="3427460" y="3333843"/>
              <a:ext cx="2945932" cy="2310473"/>
            </a:xfrm>
            <a:custGeom>
              <a:avLst/>
              <a:gdLst>
                <a:gd name="connsiteX0" fmla="*/ 873079 w 2945932"/>
                <a:gd name="connsiteY0" fmla="*/ 1590582 h 2310473"/>
                <a:gd name="connsiteX1" fmla="*/ 861173 w 2945932"/>
                <a:gd name="connsiteY1" fmla="*/ 1627095 h 2310473"/>
                <a:gd name="connsiteX2" fmla="*/ 873079 w 2945932"/>
                <a:gd name="connsiteY2" fmla="*/ 1590582 h 2310473"/>
                <a:gd name="connsiteX3" fmla="*/ 938166 w 2945932"/>
                <a:gd name="connsiteY3" fmla="*/ 1350870 h 2310473"/>
                <a:gd name="connsiteX4" fmla="*/ 858978 w 2945932"/>
                <a:gd name="connsiteY4" fmla="*/ 1579470 h 2310473"/>
                <a:gd name="connsiteX5" fmla="*/ 858978 w 2945932"/>
                <a:gd name="connsiteY5" fmla="*/ 1527851 h 2310473"/>
                <a:gd name="connsiteX6" fmla="*/ 938166 w 2945932"/>
                <a:gd name="connsiteY6" fmla="*/ 1350870 h 2310473"/>
                <a:gd name="connsiteX7" fmla="*/ 853780 w 2945932"/>
                <a:gd name="connsiteY7" fmla="*/ 1249180 h 2310473"/>
                <a:gd name="connsiteX8" fmla="*/ 853780 w 2945932"/>
                <a:gd name="connsiteY8" fmla="*/ 1251652 h 2310473"/>
                <a:gd name="connsiteX9" fmla="*/ 856255 w 2945932"/>
                <a:gd name="connsiteY9" fmla="*/ 1249180 h 2310473"/>
                <a:gd name="connsiteX10" fmla="*/ 853780 w 2945932"/>
                <a:gd name="connsiteY10" fmla="*/ 1249180 h 2310473"/>
                <a:gd name="connsiteX11" fmla="*/ 950279 w 2945932"/>
                <a:gd name="connsiteY11" fmla="*/ 1194803 h 2310473"/>
                <a:gd name="connsiteX12" fmla="*/ 895844 w 2945932"/>
                <a:gd name="connsiteY12" fmla="*/ 1224463 h 2310473"/>
                <a:gd name="connsiteX13" fmla="*/ 950279 w 2945932"/>
                <a:gd name="connsiteY13" fmla="*/ 1194803 h 2310473"/>
                <a:gd name="connsiteX14" fmla="*/ 1648037 w 2945932"/>
                <a:gd name="connsiteY14" fmla="*/ 908086 h 2310473"/>
                <a:gd name="connsiteX15" fmla="*/ 1610922 w 2945932"/>
                <a:gd name="connsiteY15" fmla="*/ 915501 h 2310473"/>
                <a:gd name="connsiteX16" fmla="*/ 1541641 w 2945932"/>
                <a:gd name="connsiteY16" fmla="*/ 940218 h 2310473"/>
                <a:gd name="connsiteX17" fmla="*/ 1529270 w 2945932"/>
                <a:gd name="connsiteY17" fmla="*/ 942689 h 2310473"/>
                <a:gd name="connsiteX18" fmla="*/ 1516898 w 2945932"/>
                <a:gd name="connsiteY18" fmla="*/ 917973 h 2310473"/>
                <a:gd name="connsiteX19" fmla="*/ 1511949 w 2945932"/>
                <a:gd name="connsiteY19" fmla="*/ 932803 h 2310473"/>
                <a:gd name="connsiteX20" fmla="*/ 1474835 w 2945932"/>
                <a:gd name="connsiteY20" fmla="*/ 967406 h 2310473"/>
                <a:gd name="connsiteX21" fmla="*/ 1395656 w 2945932"/>
                <a:gd name="connsiteY21" fmla="*/ 999539 h 2310473"/>
                <a:gd name="connsiteX22" fmla="*/ 1370913 w 2945932"/>
                <a:gd name="connsiteY22" fmla="*/ 1006954 h 2310473"/>
                <a:gd name="connsiteX23" fmla="*/ 1356067 w 2945932"/>
                <a:gd name="connsiteY23" fmla="*/ 1041557 h 2310473"/>
                <a:gd name="connsiteX24" fmla="*/ 1422874 w 2945932"/>
                <a:gd name="connsiteY24" fmla="*/ 1155256 h 2310473"/>
                <a:gd name="connsiteX25" fmla="*/ 1437720 w 2945932"/>
                <a:gd name="connsiteY25" fmla="*/ 1184916 h 2310473"/>
                <a:gd name="connsiteX26" fmla="*/ 1529270 w 2945932"/>
                <a:gd name="connsiteY26" fmla="*/ 1128067 h 2310473"/>
                <a:gd name="connsiteX27" fmla="*/ 1531744 w 2945932"/>
                <a:gd name="connsiteY27" fmla="*/ 1128067 h 2310473"/>
                <a:gd name="connsiteX28" fmla="*/ 1529270 w 2945932"/>
                <a:gd name="connsiteY28" fmla="*/ 1125595 h 2310473"/>
                <a:gd name="connsiteX29" fmla="*/ 1554013 w 2945932"/>
                <a:gd name="connsiteY29" fmla="*/ 1093463 h 2310473"/>
                <a:gd name="connsiteX30" fmla="*/ 1576282 w 2945932"/>
                <a:gd name="connsiteY30" fmla="*/ 1068746 h 2310473"/>
                <a:gd name="connsiteX31" fmla="*/ 1633191 w 2945932"/>
                <a:gd name="connsiteY31" fmla="*/ 977293 h 2310473"/>
                <a:gd name="connsiteX32" fmla="*/ 1643088 w 2945932"/>
                <a:gd name="connsiteY32" fmla="*/ 955048 h 2310473"/>
                <a:gd name="connsiteX33" fmla="*/ 1657934 w 2945932"/>
                <a:gd name="connsiteY33" fmla="*/ 925388 h 2310473"/>
                <a:gd name="connsiteX34" fmla="*/ 1660409 w 2945932"/>
                <a:gd name="connsiteY34" fmla="*/ 913029 h 2310473"/>
                <a:gd name="connsiteX35" fmla="*/ 1648037 w 2945932"/>
                <a:gd name="connsiteY35" fmla="*/ 908086 h 2310473"/>
                <a:gd name="connsiteX36" fmla="*/ 2630342 w 2945932"/>
                <a:gd name="connsiteY36" fmla="*/ 814161 h 2310473"/>
                <a:gd name="connsiteX37" fmla="*/ 2603124 w 2945932"/>
                <a:gd name="connsiteY37" fmla="*/ 824048 h 2310473"/>
                <a:gd name="connsiteX38" fmla="*/ 2486831 w 2945932"/>
                <a:gd name="connsiteY38" fmla="*/ 908086 h 2310473"/>
                <a:gd name="connsiteX39" fmla="*/ 2439819 w 2945932"/>
                <a:gd name="connsiteY39" fmla="*/ 979765 h 2310473"/>
                <a:gd name="connsiteX40" fmla="*/ 2424973 w 2945932"/>
                <a:gd name="connsiteY40" fmla="*/ 1026727 h 2310473"/>
                <a:gd name="connsiteX41" fmla="*/ 2410127 w 2945932"/>
                <a:gd name="connsiteY41" fmla="*/ 1105822 h 2310473"/>
                <a:gd name="connsiteX42" fmla="*/ 2417550 w 2945932"/>
                <a:gd name="connsiteY42" fmla="*/ 1123123 h 2310473"/>
                <a:gd name="connsiteX43" fmla="*/ 2479408 w 2945932"/>
                <a:gd name="connsiteY43" fmla="*/ 1175029 h 2310473"/>
                <a:gd name="connsiteX44" fmla="*/ 2528895 w 2945932"/>
                <a:gd name="connsiteY44" fmla="*/ 1187388 h 2310473"/>
                <a:gd name="connsiteX45" fmla="*/ 2563535 w 2945932"/>
                <a:gd name="connsiteY45" fmla="*/ 1155256 h 2310473"/>
                <a:gd name="connsiteX46" fmla="*/ 2610547 w 2945932"/>
                <a:gd name="connsiteY46" fmla="*/ 1066274 h 2310473"/>
                <a:gd name="connsiteX47" fmla="*/ 2613022 w 2945932"/>
                <a:gd name="connsiteY47" fmla="*/ 1056388 h 2310473"/>
                <a:gd name="connsiteX48" fmla="*/ 2637765 w 2945932"/>
                <a:gd name="connsiteY48" fmla="*/ 950105 h 2310473"/>
                <a:gd name="connsiteX49" fmla="*/ 2655085 w 2945932"/>
                <a:gd name="connsiteY49" fmla="*/ 848765 h 2310473"/>
                <a:gd name="connsiteX50" fmla="*/ 2655085 w 2945932"/>
                <a:gd name="connsiteY50" fmla="*/ 836406 h 2310473"/>
                <a:gd name="connsiteX51" fmla="*/ 2630342 w 2945932"/>
                <a:gd name="connsiteY51" fmla="*/ 814161 h 2310473"/>
                <a:gd name="connsiteX52" fmla="*/ 1426585 w 2945932"/>
                <a:gd name="connsiteY52" fmla="*/ 354 h 2310473"/>
                <a:gd name="connsiteX53" fmla="*/ 1447617 w 2945932"/>
                <a:gd name="connsiteY53" fmla="*/ 10859 h 2310473"/>
                <a:gd name="connsiteX54" fmla="*/ 1643088 w 2945932"/>
                <a:gd name="connsiteY54" fmla="*/ 141859 h 2310473"/>
                <a:gd name="connsiteX55" fmla="*/ 1707421 w 2945932"/>
                <a:gd name="connsiteY55" fmla="*/ 208595 h 2310473"/>
                <a:gd name="connsiteX56" fmla="*/ 1714844 w 2945932"/>
                <a:gd name="connsiteY56" fmla="*/ 250614 h 2310473"/>
                <a:gd name="connsiteX57" fmla="*/ 1709895 w 2945932"/>
                <a:gd name="connsiteY57" fmla="*/ 272859 h 2310473"/>
                <a:gd name="connsiteX58" fmla="*/ 1695049 w 2945932"/>
                <a:gd name="connsiteY58" fmla="*/ 337123 h 2310473"/>
                <a:gd name="connsiteX59" fmla="*/ 1680203 w 2945932"/>
                <a:gd name="connsiteY59" fmla="*/ 379142 h 2310473"/>
                <a:gd name="connsiteX60" fmla="*/ 1625768 w 2945932"/>
                <a:gd name="connsiteY60" fmla="*/ 463180 h 2310473"/>
                <a:gd name="connsiteX61" fmla="*/ 1618345 w 2945932"/>
                <a:gd name="connsiteY61" fmla="*/ 473067 h 2310473"/>
                <a:gd name="connsiteX62" fmla="*/ 1539167 w 2945932"/>
                <a:gd name="connsiteY62" fmla="*/ 633727 h 2310473"/>
                <a:gd name="connsiteX63" fmla="*/ 1534218 w 2945932"/>
                <a:gd name="connsiteY63" fmla="*/ 646086 h 2310473"/>
                <a:gd name="connsiteX64" fmla="*/ 1549064 w 2945932"/>
                <a:gd name="connsiteY64" fmla="*/ 633727 h 2310473"/>
                <a:gd name="connsiteX65" fmla="*/ 1598551 w 2945932"/>
                <a:gd name="connsiteY65" fmla="*/ 532387 h 2310473"/>
                <a:gd name="connsiteX66" fmla="*/ 1623294 w 2945932"/>
                <a:gd name="connsiteY66" fmla="*/ 497784 h 2310473"/>
                <a:gd name="connsiteX67" fmla="*/ 1613396 w 2945932"/>
                <a:gd name="connsiteY67" fmla="*/ 552161 h 2310473"/>
                <a:gd name="connsiteX68" fmla="*/ 1586179 w 2945932"/>
                <a:gd name="connsiteY68" fmla="*/ 613954 h 2310473"/>
                <a:gd name="connsiteX69" fmla="*/ 1581230 w 2945932"/>
                <a:gd name="connsiteY69" fmla="*/ 633727 h 2310473"/>
                <a:gd name="connsiteX70" fmla="*/ 1596076 w 2945932"/>
                <a:gd name="connsiteY70" fmla="*/ 633727 h 2310473"/>
                <a:gd name="connsiteX71" fmla="*/ 1685152 w 2945932"/>
                <a:gd name="connsiteY71" fmla="*/ 606538 h 2310473"/>
                <a:gd name="connsiteX72" fmla="*/ 1754433 w 2945932"/>
                <a:gd name="connsiteY72" fmla="*/ 589237 h 2310473"/>
                <a:gd name="connsiteX73" fmla="*/ 1823714 w 2945932"/>
                <a:gd name="connsiteY73" fmla="*/ 527444 h 2310473"/>
                <a:gd name="connsiteX74" fmla="*/ 1833611 w 2945932"/>
                <a:gd name="connsiteY74" fmla="*/ 495312 h 2310473"/>
                <a:gd name="connsiteX75" fmla="*/ 1873200 w 2945932"/>
                <a:gd name="connsiteY75" fmla="*/ 515086 h 2310473"/>
                <a:gd name="connsiteX76" fmla="*/ 2019185 w 2945932"/>
                <a:gd name="connsiteY76" fmla="*/ 616425 h 2310473"/>
                <a:gd name="connsiteX77" fmla="*/ 2140427 w 2945932"/>
                <a:gd name="connsiteY77" fmla="*/ 695520 h 2310473"/>
                <a:gd name="connsiteX78" fmla="*/ 2152798 w 2945932"/>
                <a:gd name="connsiteY78" fmla="*/ 651029 h 2310473"/>
                <a:gd name="connsiteX79" fmla="*/ 2177541 w 2945932"/>
                <a:gd name="connsiteY79" fmla="*/ 613954 h 2310473"/>
                <a:gd name="connsiteX80" fmla="*/ 2118158 w 2945932"/>
                <a:gd name="connsiteY80" fmla="*/ 557104 h 2310473"/>
                <a:gd name="connsiteX81" fmla="*/ 2120632 w 2945932"/>
                <a:gd name="connsiteY81" fmla="*/ 552161 h 2310473"/>
                <a:gd name="connsiteX82" fmla="*/ 2133004 w 2945932"/>
                <a:gd name="connsiteY82" fmla="*/ 554633 h 2310473"/>
                <a:gd name="connsiteX83" fmla="*/ 2241874 w 2945932"/>
                <a:gd name="connsiteY83" fmla="*/ 591708 h 2310473"/>
                <a:gd name="connsiteX84" fmla="*/ 2350744 w 2945932"/>
                <a:gd name="connsiteY84" fmla="*/ 641142 h 2310473"/>
                <a:gd name="connsiteX85" fmla="*/ 2422499 w 2945932"/>
                <a:gd name="connsiteY85" fmla="*/ 702935 h 2310473"/>
                <a:gd name="connsiteX86" fmla="*/ 2439819 w 2945932"/>
                <a:gd name="connsiteY86" fmla="*/ 754840 h 2310473"/>
                <a:gd name="connsiteX87" fmla="*/ 2439819 w 2945932"/>
                <a:gd name="connsiteY87" fmla="*/ 786972 h 2310473"/>
                <a:gd name="connsiteX88" fmla="*/ 2489306 w 2945932"/>
                <a:gd name="connsiteY88" fmla="*/ 752369 h 2310473"/>
                <a:gd name="connsiteX89" fmla="*/ 2573432 w 2945932"/>
                <a:gd name="connsiteY89" fmla="*/ 688104 h 2310473"/>
                <a:gd name="connsiteX90" fmla="*/ 2637765 w 2945932"/>
                <a:gd name="connsiteY90" fmla="*/ 638670 h 2310473"/>
                <a:gd name="connsiteX91" fmla="*/ 2647662 w 2945932"/>
                <a:gd name="connsiteY91" fmla="*/ 631255 h 2310473"/>
                <a:gd name="connsiteX92" fmla="*/ 2667457 w 2945932"/>
                <a:gd name="connsiteY92" fmla="*/ 604067 h 2310473"/>
                <a:gd name="connsiteX93" fmla="*/ 2731789 w 2945932"/>
                <a:gd name="connsiteY93" fmla="*/ 628784 h 2310473"/>
                <a:gd name="connsiteX94" fmla="*/ 2924786 w 2945932"/>
                <a:gd name="connsiteY94" fmla="*/ 794388 h 2310473"/>
                <a:gd name="connsiteX95" fmla="*/ 2937158 w 2945932"/>
                <a:gd name="connsiteY95" fmla="*/ 811689 h 2310473"/>
                <a:gd name="connsiteX96" fmla="*/ 2939632 w 2945932"/>
                <a:gd name="connsiteY96" fmla="*/ 858652 h 2310473"/>
                <a:gd name="connsiteX97" fmla="*/ 2932209 w 2945932"/>
                <a:gd name="connsiteY97" fmla="*/ 883369 h 2310473"/>
                <a:gd name="connsiteX98" fmla="*/ 2902517 w 2945932"/>
                <a:gd name="connsiteY98" fmla="*/ 999539 h 2310473"/>
                <a:gd name="connsiteX99" fmla="*/ 2877774 w 2945932"/>
                <a:gd name="connsiteY99" fmla="*/ 1046501 h 2310473"/>
                <a:gd name="connsiteX100" fmla="*/ 2843133 w 2945932"/>
                <a:gd name="connsiteY100" fmla="*/ 1135482 h 2310473"/>
                <a:gd name="connsiteX101" fmla="*/ 2838185 w 2945932"/>
                <a:gd name="connsiteY101" fmla="*/ 1150312 h 2310473"/>
                <a:gd name="connsiteX102" fmla="*/ 2808493 w 2945932"/>
                <a:gd name="connsiteY102" fmla="*/ 1189859 h 2310473"/>
                <a:gd name="connsiteX103" fmla="*/ 2781275 w 2945932"/>
                <a:gd name="connsiteY103" fmla="*/ 1264010 h 2310473"/>
                <a:gd name="connsiteX104" fmla="*/ 2778801 w 2945932"/>
                <a:gd name="connsiteY104" fmla="*/ 1264010 h 2310473"/>
                <a:gd name="connsiteX105" fmla="*/ 2778801 w 2945932"/>
                <a:gd name="connsiteY105" fmla="*/ 1266482 h 2310473"/>
                <a:gd name="connsiteX106" fmla="*/ 2773852 w 2945932"/>
                <a:gd name="connsiteY106" fmla="*/ 1276369 h 2310473"/>
                <a:gd name="connsiteX107" fmla="*/ 2744161 w 2945932"/>
                <a:gd name="connsiteY107" fmla="*/ 1313444 h 2310473"/>
                <a:gd name="connsiteX108" fmla="*/ 2702097 w 2945932"/>
                <a:gd name="connsiteY108" fmla="*/ 1357935 h 2310473"/>
                <a:gd name="connsiteX109" fmla="*/ 2674880 w 2945932"/>
                <a:gd name="connsiteY109" fmla="*/ 1362878 h 2310473"/>
                <a:gd name="connsiteX110" fmla="*/ 2620445 w 2945932"/>
                <a:gd name="connsiteY110" fmla="*/ 1340633 h 2310473"/>
                <a:gd name="connsiteX111" fmla="*/ 2442294 w 2945932"/>
                <a:gd name="connsiteY111" fmla="*/ 1204690 h 2310473"/>
                <a:gd name="connsiteX112" fmla="*/ 2420025 w 2945932"/>
                <a:gd name="connsiteY112" fmla="*/ 1187388 h 2310473"/>
                <a:gd name="connsiteX113" fmla="*/ 2410127 w 2945932"/>
                <a:gd name="connsiteY113" fmla="*/ 1184916 h 2310473"/>
                <a:gd name="connsiteX114" fmla="*/ 2385384 w 2945932"/>
                <a:gd name="connsiteY114" fmla="*/ 1367822 h 2310473"/>
                <a:gd name="connsiteX115" fmla="*/ 2345795 w 2945932"/>
                <a:gd name="connsiteY115" fmla="*/ 1362878 h 2310473"/>
                <a:gd name="connsiteX116" fmla="*/ 2254245 w 2945932"/>
                <a:gd name="connsiteY116" fmla="*/ 1306029 h 2310473"/>
                <a:gd name="connsiteX117" fmla="*/ 2093414 w 2945932"/>
                <a:gd name="connsiteY117" fmla="*/ 1145369 h 2310473"/>
                <a:gd name="connsiteX118" fmla="*/ 2073620 w 2945932"/>
                <a:gd name="connsiteY118" fmla="*/ 1061331 h 2310473"/>
                <a:gd name="connsiteX119" fmla="*/ 2081043 w 2945932"/>
                <a:gd name="connsiteY119" fmla="*/ 982237 h 2310473"/>
                <a:gd name="connsiteX120" fmla="*/ 2076094 w 2945932"/>
                <a:gd name="connsiteY120" fmla="*/ 982237 h 2310473"/>
                <a:gd name="connsiteX121" fmla="*/ 2034031 w 2945932"/>
                <a:gd name="connsiteY121" fmla="*/ 1056388 h 2310473"/>
                <a:gd name="connsiteX122" fmla="*/ 2009288 w 2945932"/>
                <a:gd name="connsiteY122" fmla="*/ 1110765 h 2310473"/>
                <a:gd name="connsiteX123" fmla="*/ 2009288 w 2945932"/>
                <a:gd name="connsiteY123" fmla="*/ 1113237 h 2310473"/>
                <a:gd name="connsiteX124" fmla="*/ 1969698 w 2945932"/>
                <a:gd name="connsiteY124" fmla="*/ 1197274 h 2310473"/>
                <a:gd name="connsiteX125" fmla="*/ 1907840 w 2945932"/>
                <a:gd name="connsiteY125" fmla="*/ 1328274 h 2310473"/>
                <a:gd name="connsiteX126" fmla="*/ 1888046 w 2945932"/>
                <a:gd name="connsiteY126" fmla="*/ 1392539 h 2310473"/>
                <a:gd name="connsiteX127" fmla="*/ 1868251 w 2945932"/>
                <a:gd name="connsiteY127" fmla="*/ 1434557 h 2310473"/>
                <a:gd name="connsiteX128" fmla="*/ 1761856 w 2945932"/>
                <a:gd name="connsiteY128" fmla="*/ 1558142 h 2310473"/>
                <a:gd name="connsiteX129" fmla="*/ 1761856 w 2945932"/>
                <a:gd name="connsiteY129" fmla="*/ 1563086 h 2310473"/>
                <a:gd name="connsiteX130" fmla="*/ 1494629 w 2945932"/>
                <a:gd name="connsiteY130" fmla="*/ 1624878 h 2310473"/>
                <a:gd name="connsiteX131" fmla="*/ 1348644 w 2945932"/>
                <a:gd name="connsiteY131" fmla="*/ 1214576 h 2310473"/>
                <a:gd name="connsiteX132" fmla="*/ 1348644 w 2945932"/>
                <a:gd name="connsiteY132" fmla="*/ 1212105 h 2310473"/>
                <a:gd name="connsiteX133" fmla="*/ 1321427 w 2945932"/>
                <a:gd name="connsiteY133" fmla="*/ 1088520 h 2310473"/>
                <a:gd name="connsiteX134" fmla="*/ 1301632 w 2945932"/>
                <a:gd name="connsiteY134" fmla="*/ 1068746 h 2310473"/>
                <a:gd name="connsiteX135" fmla="*/ 1266992 w 2945932"/>
                <a:gd name="connsiteY135" fmla="*/ 1150312 h 2310473"/>
                <a:gd name="connsiteX136" fmla="*/ 1222454 w 2945932"/>
                <a:gd name="connsiteY136" fmla="*/ 1264010 h 2310473"/>
                <a:gd name="connsiteX137" fmla="*/ 1219980 w 2945932"/>
                <a:gd name="connsiteY137" fmla="*/ 1273897 h 2310473"/>
                <a:gd name="connsiteX138" fmla="*/ 1177916 w 2945932"/>
                <a:gd name="connsiteY138" fmla="*/ 1407369 h 2310473"/>
                <a:gd name="connsiteX139" fmla="*/ 1128430 w 2945932"/>
                <a:gd name="connsiteY139" fmla="*/ 1563086 h 2310473"/>
                <a:gd name="connsiteX140" fmla="*/ 1091315 w 2945932"/>
                <a:gd name="connsiteY140" fmla="*/ 1701501 h 2310473"/>
                <a:gd name="connsiteX141" fmla="*/ 1066572 w 2945932"/>
                <a:gd name="connsiteY141" fmla="*/ 1812727 h 2310473"/>
                <a:gd name="connsiteX142" fmla="*/ 1056674 w 2945932"/>
                <a:gd name="connsiteY142" fmla="*/ 1839916 h 2310473"/>
                <a:gd name="connsiteX143" fmla="*/ 1039354 w 2945932"/>
                <a:gd name="connsiteY143" fmla="*/ 1916539 h 2310473"/>
                <a:gd name="connsiteX144" fmla="*/ 1019560 w 2945932"/>
                <a:gd name="connsiteY144" fmla="*/ 2054954 h 2310473"/>
                <a:gd name="connsiteX145" fmla="*/ 1019560 w 2945932"/>
                <a:gd name="connsiteY145" fmla="*/ 2059897 h 2310473"/>
                <a:gd name="connsiteX146" fmla="*/ 987394 w 2945932"/>
                <a:gd name="connsiteY146" fmla="*/ 2235388 h 2310473"/>
                <a:gd name="connsiteX147" fmla="*/ 972548 w 2945932"/>
                <a:gd name="connsiteY147" fmla="*/ 2294709 h 2310473"/>
                <a:gd name="connsiteX148" fmla="*/ 945330 w 2945932"/>
                <a:gd name="connsiteY148" fmla="*/ 2307067 h 2310473"/>
                <a:gd name="connsiteX149" fmla="*/ 866152 w 2945932"/>
                <a:gd name="connsiteY149" fmla="*/ 2267520 h 2310473"/>
                <a:gd name="connsiteX150" fmla="*/ 861203 w 2945932"/>
                <a:gd name="connsiteY150" fmla="*/ 2250218 h 2310473"/>
                <a:gd name="connsiteX151" fmla="*/ 866152 w 2945932"/>
                <a:gd name="connsiteY151" fmla="*/ 2121690 h 2310473"/>
                <a:gd name="connsiteX152" fmla="*/ 866152 w 2945932"/>
                <a:gd name="connsiteY152" fmla="*/ 2101916 h 2310473"/>
                <a:gd name="connsiteX153" fmla="*/ 866152 w 2945932"/>
                <a:gd name="connsiteY153" fmla="*/ 2052482 h 2310473"/>
                <a:gd name="connsiteX154" fmla="*/ 868626 w 2945932"/>
                <a:gd name="connsiteY154" fmla="*/ 2037652 h 2310473"/>
                <a:gd name="connsiteX155" fmla="*/ 863678 w 2945932"/>
                <a:gd name="connsiteY155" fmla="*/ 1953614 h 2310473"/>
                <a:gd name="connsiteX156" fmla="*/ 856255 w 2945932"/>
                <a:gd name="connsiteY156" fmla="*/ 1933841 h 2310473"/>
                <a:gd name="connsiteX157" fmla="*/ 858729 w 2945932"/>
                <a:gd name="connsiteY157" fmla="*/ 1901709 h 2310473"/>
                <a:gd name="connsiteX158" fmla="*/ 856255 w 2945932"/>
                <a:gd name="connsiteY158" fmla="*/ 1886878 h 2310473"/>
                <a:gd name="connsiteX159" fmla="*/ 861203 w 2945932"/>
                <a:gd name="connsiteY159" fmla="*/ 1822614 h 2310473"/>
                <a:gd name="connsiteX160" fmla="*/ 861203 w 2945932"/>
                <a:gd name="connsiteY160" fmla="*/ 1699029 h 2310473"/>
                <a:gd name="connsiteX161" fmla="*/ 858729 w 2945932"/>
                <a:gd name="connsiteY161" fmla="*/ 1679256 h 2310473"/>
                <a:gd name="connsiteX162" fmla="*/ 873575 w 2945932"/>
                <a:gd name="connsiteY162" fmla="*/ 1614991 h 2310473"/>
                <a:gd name="connsiteX163" fmla="*/ 923061 w 2945932"/>
                <a:gd name="connsiteY163" fmla="*/ 1511180 h 2310473"/>
                <a:gd name="connsiteX164" fmla="*/ 937907 w 2945932"/>
                <a:gd name="connsiteY164" fmla="*/ 1503765 h 2310473"/>
                <a:gd name="connsiteX165" fmla="*/ 913164 w 2945932"/>
                <a:gd name="connsiteY165" fmla="*/ 1585331 h 2310473"/>
                <a:gd name="connsiteX166" fmla="*/ 932958 w 2945932"/>
                <a:gd name="connsiteY166" fmla="*/ 1565558 h 2310473"/>
                <a:gd name="connsiteX167" fmla="*/ 962650 w 2945932"/>
                <a:gd name="connsiteY167" fmla="*/ 1474105 h 2310473"/>
                <a:gd name="connsiteX168" fmla="*/ 989868 w 2945932"/>
                <a:gd name="connsiteY168" fmla="*/ 1395010 h 2310473"/>
                <a:gd name="connsiteX169" fmla="*/ 999765 w 2945932"/>
                <a:gd name="connsiteY169" fmla="*/ 1365350 h 2310473"/>
                <a:gd name="connsiteX170" fmla="*/ 1017085 w 2945932"/>
                <a:gd name="connsiteY170" fmla="*/ 1313444 h 2310473"/>
                <a:gd name="connsiteX171" fmla="*/ 1041829 w 2945932"/>
                <a:gd name="connsiteY171" fmla="*/ 1234350 h 2310473"/>
                <a:gd name="connsiteX172" fmla="*/ 1064097 w 2945932"/>
                <a:gd name="connsiteY172" fmla="*/ 1165142 h 2310473"/>
                <a:gd name="connsiteX173" fmla="*/ 1078943 w 2945932"/>
                <a:gd name="connsiteY173" fmla="*/ 1140425 h 2310473"/>
                <a:gd name="connsiteX174" fmla="*/ 1059149 w 2945932"/>
                <a:gd name="connsiteY174" fmla="*/ 1145369 h 2310473"/>
                <a:gd name="connsiteX175" fmla="*/ 1061623 w 2945932"/>
                <a:gd name="connsiteY175" fmla="*/ 1137954 h 2310473"/>
                <a:gd name="connsiteX176" fmla="*/ 1031931 w 2945932"/>
                <a:gd name="connsiteY176" fmla="*/ 1155256 h 2310473"/>
                <a:gd name="connsiteX177" fmla="*/ 1044303 w 2945932"/>
                <a:gd name="connsiteY177" fmla="*/ 1155256 h 2310473"/>
                <a:gd name="connsiteX178" fmla="*/ 970073 w 2945932"/>
                <a:gd name="connsiteY178" fmla="*/ 1204690 h 2310473"/>
                <a:gd name="connsiteX179" fmla="*/ 868626 w 2945932"/>
                <a:gd name="connsiteY179" fmla="*/ 1266482 h 2310473"/>
                <a:gd name="connsiteX180" fmla="*/ 853780 w 2945932"/>
                <a:gd name="connsiteY180" fmla="*/ 1273897 h 2310473"/>
                <a:gd name="connsiteX181" fmla="*/ 292110 w 2945932"/>
                <a:gd name="connsiteY181" fmla="*/ 1575444 h 2310473"/>
                <a:gd name="connsiteX182" fmla="*/ 287161 w 2945932"/>
                <a:gd name="connsiteY182" fmla="*/ 1580388 h 2310473"/>
                <a:gd name="connsiteX183" fmla="*/ 252520 w 2945932"/>
                <a:gd name="connsiteY183" fmla="*/ 1560614 h 2310473"/>
                <a:gd name="connsiteX184" fmla="*/ 153548 w 2945932"/>
                <a:gd name="connsiteY184" fmla="*/ 1488935 h 2310473"/>
                <a:gd name="connsiteX185" fmla="*/ 32306 w 2945932"/>
                <a:gd name="connsiteY185" fmla="*/ 1365350 h 2310473"/>
                <a:gd name="connsiteX186" fmla="*/ 7563 w 2945932"/>
                <a:gd name="connsiteY186" fmla="*/ 1328274 h 2310473"/>
                <a:gd name="connsiteX187" fmla="*/ 17460 w 2945932"/>
                <a:gd name="connsiteY187" fmla="*/ 1286256 h 2310473"/>
                <a:gd name="connsiteX188" fmla="*/ 61998 w 2945932"/>
                <a:gd name="connsiteY188" fmla="*/ 1261539 h 2310473"/>
                <a:gd name="connsiteX189" fmla="*/ 106536 w 2945932"/>
                <a:gd name="connsiteY189" fmla="*/ 1234350 h 2310473"/>
                <a:gd name="connsiteX190" fmla="*/ 136227 w 2945932"/>
                <a:gd name="connsiteY190" fmla="*/ 1219520 h 2310473"/>
                <a:gd name="connsiteX191" fmla="*/ 180765 w 2945932"/>
                <a:gd name="connsiteY191" fmla="*/ 1189859 h 2310473"/>
                <a:gd name="connsiteX192" fmla="*/ 205508 w 2945932"/>
                <a:gd name="connsiteY192" fmla="*/ 1177501 h 2310473"/>
                <a:gd name="connsiteX193" fmla="*/ 277264 w 2945932"/>
                <a:gd name="connsiteY193" fmla="*/ 1140425 h 2310473"/>
                <a:gd name="connsiteX194" fmla="*/ 321801 w 2945932"/>
                <a:gd name="connsiteY194" fmla="*/ 1120652 h 2310473"/>
                <a:gd name="connsiteX195" fmla="*/ 329224 w 2945932"/>
                <a:gd name="connsiteY195" fmla="*/ 1115708 h 2310473"/>
                <a:gd name="connsiteX196" fmla="*/ 848832 w 2945932"/>
                <a:gd name="connsiteY196" fmla="*/ 895727 h 2310473"/>
                <a:gd name="connsiteX197" fmla="*/ 868626 w 2945932"/>
                <a:gd name="connsiteY197" fmla="*/ 888312 h 2310473"/>
                <a:gd name="connsiteX198" fmla="*/ 923061 w 2945932"/>
                <a:gd name="connsiteY198" fmla="*/ 868539 h 2310473"/>
                <a:gd name="connsiteX199" fmla="*/ 1017085 w 2945932"/>
                <a:gd name="connsiteY199" fmla="*/ 831463 h 2310473"/>
                <a:gd name="connsiteX200" fmla="*/ 1061623 w 2945932"/>
                <a:gd name="connsiteY200" fmla="*/ 811689 h 2310473"/>
                <a:gd name="connsiteX201" fmla="*/ 1145750 w 2945932"/>
                <a:gd name="connsiteY201" fmla="*/ 772142 h 2310473"/>
                <a:gd name="connsiteX202" fmla="*/ 1163070 w 2945932"/>
                <a:gd name="connsiteY202" fmla="*/ 769671 h 2310473"/>
                <a:gd name="connsiteX203" fmla="*/ 1306581 w 2945932"/>
                <a:gd name="connsiteY203" fmla="*/ 376670 h 2310473"/>
                <a:gd name="connsiteX204" fmla="*/ 1309055 w 2945932"/>
                <a:gd name="connsiteY204" fmla="*/ 376670 h 2310473"/>
                <a:gd name="connsiteX205" fmla="*/ 1182865 w 2945932"/>
                <a:gd name="connsiteY205" fmla="*/ 754840 h 2310473"/>
                <a:gd name="connsiteX206" fmla="*/ 1200185 w 2945932"/>
                <a:gd name="connsiteY206" fmla="*/ 754840 h 2310473"/>
                <a:gd name="connsiteX207" fmla="*/ 1207608 w 2945932"/>
                <a:gd name="connsiteY207" fmla="*/ 735067 h 2310473"/>
                <a:gd name="connsiteX208" fmla="*/ 1234825 w 2945932"/>
                <a:gd name="connsiteY208" fmla="*/ 641142 h 2310473"/>
                <a:gd name="connsiteX209" fmla="*/ 1257094 w 2945932"/>
                <a:gd name="connsiteY209" fmla="*/ 576878 h 2310473"/>
                <a:gd name="connsiteX210" fmla="*/ 1262043 w 2945932"/>
                <a:gd name="connsiteY210" fmla="*/ 566991 h 2310473"/>
                <a:gd name="connsiteX211" fmla="*/ 1296683 w 2945932"/>
                <a:gd name="connsiteY211" fmla="*/ 470595 h 2310473"/>
                <a:gd name="connsiteX212" fmla="*/ 1309055 w 2945932"/>
                <a:gd name="connsiteY212" fmla="*/ 433519 h 2310473"/>
                <a:gd name="connsiteX213" fmla="*/ 1341221 w 2945932"/>
                <a:gd name="connsiteY213" fmla="*/ 354425 h 2310473"/>
                <a:gd name="connsiteX214" fmla="*/ 1368439 w 2945932"/>
                <a:gd name="connsiteY214" fmla="*/ 277802 h 2310473"/>
                <a:gd name="connsiteX215" fmla="*/ 1370913 w 2945932"/>
                <a:gd name="connsiteY215" fmla="*/ 270387 h 2310473"/>
                <a:gd name="connsiteX216" fmla="*/ 1395656 w 2945932"/>
                <a:gd name="connsiteY216" fmla="*/ 159161 h 2310473"/>
                <a:gd name="connsiteX217" fmla="*/ 1408028 w 2945932"/>
                <a:gd name="connsiteY217" fmla="*/ 25689 h 2310473"/>
                <a:gd name="connsiteX218" fmla="*/ 1405554 w 2945932"/>
                <a:gd name="connsiteY218" fmla="*/ 8387 h 2310473"/>
                <a:gd name="connsiteX219" fmla="*/ 1426585 w 2945932"/>
                <a:gd name="connsiteY219" fmla="*/ 354 h 231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945932" h="2310473">
                  <a:moveTo>
                    <a:pt x="873079" y="1590582"/>
                  </a:moveTo>
                  <a:cubicBezTo>
                    <a:pt x="868317" y="1602753"/>
                    <a:pt x="865935" y="1614924"/>
                    <a:pt x="861173" y="1627095"/>
                  </a:cubicBezTo>
                  <a:cubicBezTo>
                    <a:pt x="858791" y="1610056"/>
                    <a:pt x="858791" y="1610056"/>
                    <a:pt x="873079" y="1590582"/>
                  </a:cubicBezTo>
                  <a:close/>
                  <a:moveTo>
                    <a:pt x="938166" y="1350870"/>
                  </a:moveTo>
                  <a:cubicBezTo>
                    <a:pt x="913420" y="1424612"/>
                    <a:pt x="878775" y="1498354"/>
                    <a:pt x="858978" y="1579470"/>
                  </a:cubicBezTo>
                  <a:cubicBezTo>
                    <a:pt x="854028" y="1557348"/>
                    <a:pt x="854028" y="1545057"/>
                    <a:pt x="858978" y="1527851"/>
                  </a:cubicBezTo>
                  <a:cubicBezTo>
                    <a:pt x="881249" y="1466399"/>
                    <a:pt x="908470" y="1407406"/>
                    <a:pt x="938166" y="1350870"/>
                  </a:cubicBezTo>
                  <a:close/>
                  <a:moveTo>
                    <a:pt x="853780" y="1249180"/>
                  </a:moveTo>
                  <a:cubicBezTo>
                    <a:pt x="853780" y="1249180"/>
                    <a:pt x="853780" y="1249180"/>
                    <a:pt x="853780" y="1251652"/>
                  </a:cubicBezTo>
                  <a:cubicBezTo>
                    <a:pt x="853780" y="1251652"/>
                    <a:pt x="856255" y="1249180"/>
                    <a:pt x="856255" y="1249180"/>
                  </a:cubicBezTo>
                  <a:cubicBezTo>
                    <a:pt x="856255" y="1249180"/>
                    <a:pt x="853780" y="1249180"/>
                    <a:pt x="853780" y="1249180"/>
                  </a:cubicBezTo>
                  <a:close/>
                  <a:moveTo>
                    <a:pt x="950279" y="1194803"/>
                  </a:moveTo>
                  <a:cubicBezTo>
                    <a:pt x="923061" y="1194803"/>
                    <a:pt x="910690" y="1212105"/>
                    <a:pt x="895844" y="1224463"/>
                  </a:cubicBezTo>
                  <a:cubicBezTo>
                    <a:pt x="915638" y="1219520"/>
                    <a:pt x="932958" y="1212105"/>
                    <a:pt x="950279" y="1194803"/>
                  </a:cubicBezTo>
                  <a:close/>
                  <a:moveTo>
                    <a:pt x="1648037" y="908086"/>
                  </a:moveTo>
                  <a:cubicBezTo>
                    <a:pt x="1635665" y="910557"/>
                    <a:pt x="1623294" y="910557"/>
                    <a:pt x="1610922" y="915501"/>
                  </a:cubicBezTo>
                  <a:cubicBezTo>
                    <a:pt x="1588653" y="922916"/>
                    <a:pt x="1566384" y="932803"/>
                    <a:pt x="1541641" y="940218"/>
                  </a:cubicBezTo>
                  <a:cubicBezTo>
                    <a:pt x="1539167" y="942689"/>
                    <a:pt x="1534218" y="942689"/>
                    <a:pt x="1529270" y="942689"/>
                  </a:cubicBezTo>
                  <a:cubicBezTo>
                    <a:pt x="1524321" y="935274"/>
                    <a:pt x="1521847" y="927859"/>
                    <a:pt x="1516898" y="917973"/>
                  </a:cubicBezTo>
                  <a:cubicBezTo>
                    <a:pt x="1514424" y="925388"/>
                    <a:pt x="1511949" y="930331"/>
                    <a:pt x="1511949" y="932803"/>
                  </a:cubicBezTo>
                  <a:cubicBezTo>
                    <a:pt x="1509475" y="957520"/>
                    <a:pt x="1492155" y="964935"/>
                    <a:pt x="1474835" y="967406"/>
                  </a:cubicBezTo>
                  <a:cubicBezTo>
                    <a:pt x="1445143" y="972350"/>
                    <a:pt x="1420399" y="987180"/>
                    <a:pt x="1395656" y="999539"/>
                  </a:cubicBezTo>
                  <a:cubicBezTo>
                    <a:pt x="1388233" y="1002010"/>
                    <a:pt x="1378336" y="1004482"/>
                    <a:pt x="1370913" y="1006954"/>
                  </a:cubicBezTo>
                  <a:cubicBezTo>
                    <a:pt x="1351119" y="1014369"/>
                    <a:pt x="1346170" y="1024256"/>
                    <a:pt x="1356067" y="1041557"/>
                  </a:cubicBezTo>
                  <a:cubicBezTo>
                    <a:pt x="1378336" y="1081105"/>
                    <a:pt x="1398131" y="1118180"/>
                    <a:pt x="1422874" y="1155256"/>
                  </a:cubicBezTo>
                  <a:cubicBezTo>
                    <a:pt x="1430297" y="1165142"/>
                    <a:pt x="1435245" y="1175029"/>
                    <a:pt x="1437720" y="1184916"/>
                  </a:cubicBezTo>
                  <a:cubicBezTo>
                    <a:pt x="1474835" y="1170086"/>
                    <a:pt x="1516898" y="1150312"/>
                    <a:pt x="1529270" y="1128067"/>
                  </a:cubicBezTo>
                  <a:cubicBezTo>
                    <a:pt x="1529270" y="1128067"/>
                    <a:pt x="1529270" y="1128067"/>
                    <a:pt x="1531744" y="1128067"/>
                  </a:cubicBezTo>
                  <a:cubicBezTo>
                    <a:pt x="1529270" y="1125595"/>
                    <a:pt x="1529270" y="1125595"/>
                    <a:pt x="1529270" y="1125595"/>
                  </a:cubicBezTo>
                  <a:cubicBezTo>
                    <a:pt x="1531744" y="1113237"/>
                    <a:pt x="1539167" y="1100878"/>
                    <a:pt x="1554013" y="1093463"/>
                  </a:cubicBezTo>
                  <a:cubicBezTo>
                    <a:pt x="1563910" y="1088520"/>
                    <a:pt x="1571333" y="1078633"/>
                    <a:pt x="1576282" y="1068746"/>
                  </a:cubicBezTo>
                  <a:cubicBezTo>
                    <a:pt x="1596076" y="1039086"/>
                    <a:pt x="1615871" y="1006954"/>
                    <a:pt x="1633191" y="977293"/>
                  </a:cubicBezTo>
                  <a:cubicBezTo>
                    <a:pt x="1638140" y="969878"/>
                    <a:pt x="1640614" y="962463"/>
                    <a:pt x="1643088" y="955048"/>
                  </a:cubicBezTo>
                  <a:cubicBezTo>
                    <a:pt x="1645563" y="942689"/>
                    <a:pt x="1648037" y="932803"/>
                    <a:pt x="1657934" y="925388"/>
                  </a:cubicBezTo>
                  <a:cubicBezTo>
                    <a:pt x="1660409" y="922916"/>
                    <a:pt x="1660409" y="915501"/>
                    <a:pt x="1660409" y="913029"/>
                  </a:cubicBezTo>
                  <a:cubicBezTo>
                    <a:pt x="1657934" y="910557"/>
                    <a:pt x="1652986" y="908086"/>
                    <a:pt x="1648037" y="908086"/>
                  </a:cubicBezTo>
                  <a:close/>
                  <a:moveTo>
                    <a:pt x="2630342" y="814161"/>
                  </a:moveTo>
                  <a:cubicBezTo>
                    <a:pt x="2620445" y="816633"/>
                    <a:pt x="2610547" y="819104"/>
                    <a:pt x="2603124" y="824048"/>
                  </a:cubicBezTo>
                  <a:cubicBezTo>
                    <a:pt x="2563535" y="853708"/>
                    <a:pt x="2526420" y="880897"/>
                    <a:pt x="2486831" y="908086"/>
                  </a:cubicBezTo>
                  <a:cubicBezTo>
                    <a:pt x="2464562" y="927859"/>
                    <a:pt x="2447242" y="950105"/>
                    <a:pt x="2439819" y="979765"/>
                  </a:cubicBezTo>
                  <a:cubicBezTo>
                    <a:pt x="2437345" y="994595"/>
                    <a:pt x="2427448" y="1009425"/>
                    <a:pt x="2424973" y="1026727"/>
                  </a:cubicBezTo>
                  <a:cubicBezTo>
                    <a:pt x="2417550" y="1051444"/>
                    <a:pt x="2412602" y="1078633"/>
                    <a:pt x="2410127" y="1105822"/>
                  </a:cubicBezTo>
                  <a:cubicBezTo>
                    <a:pt x="2407653" y="1110765"/>
                    <a:pt x="2412602" y="1118180"/>
                    <a:pt x="2417550" y="1123123"/>
                  </a:cubicBezTo>
                  <a:cubicBezTo>
                    <a:pt x="2437345" y="1140425"/>
                    <a:pt x="2457139" y="1160199"/>
                    <a:pt x="2479408" y="1175029"/>
                  </a:cubicBezTo>
                  <a:cubicBezTo>
                    <a:pt x="2494254" y="1187388"/>
                    <a:pt x="2511574" y="1194803"/>
                    <a:pt x="2528895" y="1187388"/>
                  </a:cubicBezTo>
                  <a:cubicBezTo>
                    <a:pt x="2543741" y="1179973"/>
                    <a:pt x="2556112" y="1167614"/>
                    <a:pt x="2563535" y="1155256"/>
                  </a:cubicBezTo>
                  <a:cubicBezTo>
                    <a:pt x="2580855" y="1125595"/>
                    <a:pt x="2595701" y="1095935"/>
                    <a:pt x="2610547" y="1066274"/>
                  </a:cubicBezTo>
                  <a:cubicBezTo>
                    <a:pt x="2610547" y="1063803"/>
                    <a:pt x="2613022" y="1058859"/>
                    <a:pt x="2613022" y="1056388"/>
                  </a:cubicBezTo>
                  <a:cubicBezTo>
                    <a:pt x="2622919" y="1019312"/>
                    <a:pt x="2630342" y="984708"/>
                    <a:pt x="2637765" y="950105"/>
                  </a:cubicBezTo>
                  <a:cubicBezTo>
                    <a:pt x="2645188" y="915501"/>
                    <a:pt x="2650136" y="878425"/>
                    <a:pt x="2655085" y="848765"/>
                  </a:cubicBezTo>
                  <a:cubicBezTo>
                    <a:pt x="2655085" y="841350"/>
                    <a:pt x="2655085" y="838878"/>
                    <a:pt x="2655085" y="836406"/>
                  </a:cubicBezTo>
                  <a:cubicBezTo>
                    <a:pt x="2655085" y="814161"/>
                    <a:pt x="2650136" y="809218"/>
                    <a:pt x="2630342" y="814161"/>
                  </a:cubicBezTo>
                  <a:close/>
                  <a:moveTo>
                    <a:pt x="1426585" y="354"/>
                  </a:moveTo>
                  <a:cubicBezTo>
                    <a:pt x="1433390" y="1590"/>
                    <a:pt x="1440194" y="5916"/>
                    <a:pt x="1447617" y="10859"/>
                  </a:cubicBezTo>
                  <a:cubicBezTo>
                    <a:pt x="1511949" y="52878"/>
                    <a:pt x="1583705" y="92425"/>
                    <a:pt x="1643088" y="141859"/>
                  </a:cubicBezTo>
                  <a:cubicBezTo>
                    <a:pt x="1667831" y="161633"/>
                    <a:pt x="1687626" y="186350"/>
                    <a:pt x="1707421" y="208595"/>
                  </a:cubicBezTo>
                  <a:cubicBezTo>
                    <a:pt x="1719792" y="220953"/>
                    <a:pt x="1719792" y="233312"/>
                    <a:pt x="1714844" y="250614"/>
                  </a:cubicBezTo>
                  <a:cubicBezTo>
                    <a:pt x="1712369" y="258029"/>
                    <a:pt x="1709895" y="265444"/>
                    <a:pt x="1709895" y="272859"/>
                  </a:cubicBezTo>
                  <a:cubicBezTo>
                    <a:pt x="1709895" y="295104"/>
                    <a:pt x="1704946" y="314878"/>
                    <a:pt x="1695049" y="337123"/>
                  </a:cubicBezTo>
                  <a:cubicBezTo>
                    <a:pt x="1687626" y="349482"/>
                    <a:pt x="1685152" y="364312"/>
                    <a:pt x="1680203" y="379142"/>
                  </a:cubicBezTo>
                  <a:cubicBezTo>
                    <a:pt x="1665357" y="411274"/>
                    <a:pt x="1645563" y="435991"/>
                    <a:pt x="1625768" y="463180"/>
                  </a:cubicBezTo>
                  <a:cubicBezTo>
                    <a:pt x="1623294" y="465652"/>
                    <a:pt x="1620819" y="470595"/>
                    <a:pt x="1618345" y="473067"/>
                  </a:cubicBezTo>
                  <a:cubicBezTo>
                    <a:pt x="1591128" y="527444"/>
                    <a:pt x="1563910" y="581821"/>
                    <a:pt x="1539167" y="633727"/>
                  </a:cubicBezTo>
                  <a:cubicBezTo>
                    <a:pt x="1536693" y="636199"/>
                    <a:pt x="1536693" y="641142"/>
                    <a:pt x="1534218" y="646086"/>
                  </a:cubicBezTo>
                  <a:cubicBezTo>
                    <a:pt x="1544115" y="646086"/>
                    <a:pt x="1546590" y="638670"/>
                    <a:pt x="1549064" y="633727"/>
                  </a:cubicBezTo>
                  <a:cubicBezTo>
                    <a:pt x="1566384" y="601595"/>
                    <a:pt x="1581230" y="566991"/>
                    <a:pt x="1598551" y="532387"/>
                  </a:cubicBezTo>
                  <a:cubicBezTo>
                    <a:pt x="1605973" y="522501"/>
                    <a:pt x="1613396" y="512614"/>
                    <a:pt x="1623294" y="497784"/>
                  </a:cubicBezTo>
                  <a:cubicBezTo>
                    <a:pt x="1625768" y="520029"/>
                    <a:pt x="1618345" y="534859"/>
                    <a:pt x="1613396" y="552161"/>
                  </a:cubicBezTo>
                  <a:cubicBezTo>
                    <a:pt x="1605973" y="571935"/>
                    <a:pt x="1596076" y="594180"/>
                    <a:pt x="1586179" y="613954"/>
                  </a:cubicBezTo>
                  <a:cubicBezTo>
                    <a:pt x="1586179" y="618897"/>
                    <a:pt x="1583705" y="626312"/>
                    <a:pt x="1581230" y="633727"/>
                  </a:cubicBezTo>
                  <a:cubicBezTo>
                    <a:pt x="1588653" y="633727"/>
                    <a:pt x="1593602" y="633727"/>
                    <a:pt x="1596076" y="633727"/>
                  </a:cubicBezTo>
                  <a:cubicBezTo>
                    <a:pt x="1625768" y="623840"/>
                    <a:pt x="1655460" y="616425"/>
                    <a:pt x="1685152" y="606538"/>
                  </a:cubicBezTo>
                  <a:cubicBezTo>
                    <a:pt x="1707421" y="599123"/>
                    <a:pt x="1729689" y="591708"/>
                    <a:pt x="1754433" y="589237"/>
                  </a:cubicBezTo>
                  <a:cubicBezTo>
                    <a:pt x="1791547" y="581821"/>
                    <a:pt x="1816291" y="564520"/>
                    <a:pt x="1823714" y="527444"/>
                  </a:cubicBezTo>
                  <a:cubicBezTo>
                    <a:pt x="1826188" y="517557"/>
                    <a:pt x="1831137" y="507670"/>
                    <a:pt x="1833611" y="495312"/>
                  </a:cubicBezTo>
                  <a:cubicBezTo>
                    <a:pt x="1848457" y="500255"/>
                    <a:pt x="1860828" y="507670"/>
                    <a:pt x="1873200" y="515086"/>
                  </a:cubicBezTo>
                  <a:cubicBezTo>
                    <a:pt x="1922686" y="549689"/>
                    <a:pt x="1969698" y="584293"/>
                    <a:pt x="2019185" y="616425"/>
                  </a:cubicBezTo>
                  <a:cubicBezTo>
                    <a:pt x="2058774" y="643614"/>
                    <a:pt x="2098363" y="668331"/>
                    <a:pt x="2140427" y="695520"/>
                  </a:cubicBezTo>
                  <a:cubicBezTo>
                    <a:pt x="2145375" y="680689"/>
                    <a:pt x="2145375" y="663387"/>
                    <a:pt x="2152798" y="651029"/>
                  </a:cubicBezTo>
                  <a:cubicBezTo>
                    <a:pt x="2157747" y="636199"/>
                    <a:pt x="2167644" y="626312"/>
                    <a:pt x="2177541" y="613954"/>
                  </a:cubicBezTo>
                  <a:cubicBezTo>
                    <a:pt x="2157747" y="594180"/>
                    <a:pt x="2137952" y="574406"/>
                    <a:pt x="2118158" y="557104"/>
                  </a:cubicBezTo>
                  <a:cubicBezTo>
                    <a:pt x="2120632" y="554633"/>
                    <a:pt x="2120632" y="554633"/>
                    <a:pt x="2120632" y="552161"/>
                  </a:cubicBezTo>
                  <a:cubicBezTo>
                    <a:pt x="2125581" y="552161"/>
                    <a:pt x="2128055" y="552161"/>
                    <a:pt x="2133004" y="554633"/>
                  </a:cubicBezTo>
                  <a:cubicBezTo>
                    <a:pt x="2170118" y="566991"/>
                    <a:pt x="2204759" y="579350"/>
                    <a:pt x="2241874" y="591708"/>
                  </a:cubicBezTo>
                  <a:cubicBezTo>
                    <a:pt x="2281463" y="604067"/>
                    <a:pt x="2321052" y="613954"/>
                    <a:pt x="2350744" y="641142"/>
                  </a:cubicBezTo>
                  <a:cubicBezTo>
                    <a:pt x="2375487" y="660916"/>
                    <a:pt x="2400230" y="680689"/>
                    <a:pt x="2422499" y="702935"/>
                  </a:cubicBezTo>
                  <a:cubicBezTo>
                    <a:pt x="2437345" y="717765"/>
                    <a:pt x="2444768" y="735067"/>
                    <a:pt x="2439819" y="754840"/>
                  </a:cubicBezTo>
                  <a:cubicBezTo>
                    <a:pt x="2439819" y="764727"/>
                    <a:pt x="2439819" y="774614"/>
                    <a:pt x="2439819" y="786972"/>
                  </a:cubicBezTo>
                  <a:cubicBezTo>
                    <a:pt x="2459614" y="774614"/>
                    <a:pt x="2474460" y="764727"/>
                    <a:pt x="2489306" y="752369"/>
                  </a:cubicBezTo>
                  <a:cubicBezTo>
                    <a:pt x="2516523" y="730123"/>
                    <a:pt x="2546215" y="710350"/>
                    <a:pt x="2573432" y="688104"/>
                  </a:cubicBezTo>
                  <a:cubicBezTo>
                    <a:pt x="2595701" y="670803"/>
                    <a:pt x="2615496" y="655972"/>
                    <a:pt x="2637765" y="638670"/>
                  </a:cubicBezTo>
                  <a:cubicBezTo>
                    <a:pt x="2640239" y="636199"/>
                    <a:pt x="2645188" y="633727"/>
                    <a:pt x="2647662" y="631255"/>
                  </a:cubicBezTo>
                  <a:cubicBezTo>
                    <a:pt x="2660034" y="626312"/>
                    <a:pt x="2669931" y="618897"/>
                    <a:pt x="2667457" y="604067"/>
                  </a:cubicBezTo>
                  <a:cubicBezTo>
                    <a:pt x="2692200" y="606538"/>
                    <a:pt x="2711994" y="616425"/>
                    <a:pt x="2731789" y="628784"/>
                  </a:cubicBezTo>
                  <a:cubicBezTo>
                    <a:pt x="2806019" y="670803"/>
                    <a:pt x="2870351" y="725180"/>
                    <a:pt x="2924786" y="794388"/>
                  </a:cubicBezTo>
                  <a:cubicBezTo>
                    <a:pt x="2929735" y="799331"/>
                    <a:pt x="2932209" y="806746"/>
                    <a:pt x="2937158" y="811689"/>
                  </a:cubicBezTo>
                  <a:cubicBezTo>
                    <a:pt x="2947055" y="826520"/>
                    <a:pt x="2949529" y="841350"/>
                    <a:pt x="2939632" y="858652"/>
                  </a:cubicBezTo>
                  <a:cubicBezTo>
                    <a:pt x="2937158" y="863595"/>
                    <a:pt x="2937158" y="871010"/>
                    <a:pt x="2932209" y="883369"/>
                  </a:cubicBezTo>
                  <a:cubicBezTo>
                    <a:pt x="2932209" y="883369"/>
                    <a:pt x="2932209" y="883369"/>
                    <a:pt x="2902517" y="999539"/>
                  </a:cubicBezTo>
                  <a:cubicBezTo>
                    <a:pt x="2892620" y="1014369"/>
                    <a:pt x="2882722" y="1029199"/>
                    <a:pt x="2877774" y="1046501"/>
                  </a:cubicBezTo>
                  <a:cubicBezTo>
                    <a:pt x="2865402" y="1076161"/>
                    <a:pt x="2855505" y="1105822"/>
                    <a:pt x="2843133" y="1135482"/>
                  </a:cubicBezTo>
                  <a:cubicBezTo>
                    <a:pt x="2840659" y="1140425"/>
                    <a:pt x="2840659" y="1145369"/>
                    <a:pt x="2838185" y="1150312"/>
                  </a:cubicBezTo>
                  <a:cubicBezTo>
                    <a:pt x="2828287" y="1162671"/>
                    <a:pt x="2818390" y="1175029"/>
                    <a:pt x="2808493" y="1189859"/>
                  </a:cubicBezTo>
                  <a:cubicBezTo>
                    <a:pt x="2808493" y="1189859"/>
                    <a:pt x="2808493" y="1189859"/>
                    <a:pt x="2781275" y="1264010"/>
                  </a:cubicBezTo>
                  <a:cubicBezTo>
                    <a:pt x="2781275" y="1264010"/>
                    <a:pt x="2778801" y="1264010"/>
                    <a:pt x="2778801" y="1264010"/>
                  </a:cubicBezTo>
                  <a:cubicBezTo>
                    <a:pt x="2778801" y="1264010"/>
                    <a:pt x="2778801" y="1264010"/>
                    <a:pt x="2778801" y="1266482"/>
                  </a:cubicBezTo>
                  <a:cubicBezTo>
                    <a:pt x="2778801" y="1268954"/>
                    <a:pt x="2776327" y="1273897"/>
                    <a:pt x="2773852" y="1276369"/>
                  </a:cubicBezTo>
                  <a:cubicBezTo>
                    <a:pt x="2766429" y="1288727"/>
                    <a:pt x="2756532" y="1301086"/>
                    <a:pt x="2744161" y="1313444"/>
                  </a:cubicBezTo>
                  <a:cubicBezTo>
                    <a:pt x="2731789" y="1328274"/>
                    <a:pt x="2716943" y="1345576"/>
                    <a:pt x="2702097" y="1357935"/>
                  </a:cubicBezTo>
                  <a:cubicBezTo>
                    <a:pt x="2694674" y="1362878"/>
                    <a:pt x="2682303" y="1362878"/>
                    <a:pt x="2674880" y="1362878"/>
                  </a:cubicBezTo>
                  <a:cubicBezTo>
                    <a:pt x="2655085" y="1357935"/>
                    <a:pt x="2637765" y="1350520"/>
                    <a:pt x="2620445" y="1340633"/>
                  </a:cubicBezTo>
                  <a:cubicBezTo>
                    <a:pt x="2553638" y="1306029"/>
                    <a:pt x="2496729" y="1256595"/>
                    <a:pt x="2442294" y="1204690"/>
                  </a:cubicBezTo>
                  <a:cubicBezTo>
                    <a:pt x="2434871" y="1199746"/>
                    <a:pt x="2427448" y="1192331"/>
                    <a:pt x="2420025" y="1187388"/>
                  </a:cubicBezTo>
                  <a:cubicBezTo>
                    <a:pt x="2417550" y="1184916"/>
                    <a:pt x="2415076" y="1184916"/>
                    <a:pt x="2410127" y="1184916"/>
                  </a:cubicBezTo>
                  <a:cubicBezTo>
                    <a:pt x="2397756" y="1246708"/>
                    <a:pt x="2395281" y="1308501"/>
                    <a:pt x="2385384" y="1367822"/>
                  </a:cubicBezTo>
                  <a:cubicBezTo>
                    <a:pt x="2370538" y="1375237"/>
                    <a:pt x="2358167" y="1370293"/>
                    <a:pt x="2345795" y="1362878"/>
                  </a:cubicBezTo>
                  <a:cubicBezTo>
                    <a:pt x="2313629" y="1345576"/>
                    <a:pt x="2283937" y="1325803"/>
                    <a:pt x="2254245" y="1306029"/>
                  </a:cubicBezTo>
                  <a:cubicBezTo>
                    <a:pt x="2194862" y="1259067"/>
                    <a:pt x="2137952" y="1207161"/>
                    <a:pt x="2093414" y="1145369"/>
                  </a:cubicBezTo>
                  <a:cubicBezTo>
                    <a:pt x="2073620" y="1120652"/>
                    <a:pt x="2066197" y="1093463"/>
                    <a:pt x="2073620" y="1061331"/>
                  </a:cubicBezTo>
                  <a:cubicBezTo>
                    <a:pt x="2078569" y="1036614"/>
                    <a:pt x="2078569" y="1009425"/>
                    <a:pt x="2081043" y="982237"/>
                  </a:cubicBezTo>
                  <a:cubicBezTo>
                    <a:pt x="2078569" y="982237"/>
                    <a:pt x="2076094" y="982237"/>
                    <a:pt x="2076094" y="982237"/>
                  </a:cubicBezTo>
                  <a:cubicBezTo>
                    <a:pt x="2061248" y="1006954"/>
                    <a:pt x="2043928" y="1029199"/>
                    <a:pt x="2034031" y="1056388"/>
                  </a:cubicBezTo>
                  <a:cubicBezTo>
                    <a:pt x="2026608" y="1076161"/>
                    <a:pt x="2021659" y="1095935"/>
                    <a:pt x="2009288" y="1110765"/>
                  </a:cubicBezTo>
                  <a:cubicBezTo>
                    <a:pt x="2009288" y="1113237"/>
                    <a:pt x="2009288" y="1113237"/>
                    <a:pt x="2009288" y="1113237"/>
                  </a:cubicBezTo>
                  <a:cubicBezTo>
                    <a:pt x="2004339" y="1145369"/>
                    <a:pt x="1982070" y="1167614"/>
                    <a:pt x="1969698" y="1197274"/>
                  </a:cubicBezTo>
                  <a:cubicBezTo>
                    <a:pt x="1949904" y="1241765"/>
                    <a:pt x="1927635" y="1283784"/>
                    <a:pt x="1907840" y="1328274"/>
                  </a:cubicBezTo>
                  <a:cubicBezTo>
                    <a:pt x="1900418" y="1350520"/>
                    <a:pt x="1892995" y="1370293"/>
                    <a:pt x="1888046" y="1392539"/>
                  </a:cubicBezTo>
                  <a:cubicBezTo>
                    <a:pt x="1883097" y="1407369"/>
                    <a:pt x="1875674" y="1419727"/>
                    <a:pt x="1868251" y="1434557"/>
                  </a:cubicBezTo>
                  <a:cubicBezTo>
                    <a:pt x="1836085" y="1479048"/>
                    <a:pt x="1798970" y="1518595"/>
                    <a:pt x="1761856" y="1558142"/>
                  </a:cubicBezTo>
                  <a:cubicBezTo>
                    <a:pt x="1761856" y="1558142"/>
                    <a:pt x="1761856" y="1558142"/>
                    <a:pt x="1761856" y="1563086"/>
                  </a:cubicBezTo>
                  <a:cubicBezTo>
                    <a:pt x="1761856" y="1563086"/>
                    <a:pt x="1603499" y="1691614"/>
                    <a:pt x="1494629" y="1624878"/>
                  </a:cubicBezTo>
                  <a:cubicBezTo>
                    <a:pt x="1393182" y="1563086"/>
                    <a:pt x="1348644" y="1214576"/>
                    <a:pt x="1348644" y="1214576"/>
                  </a:cubicBezTo>
                  <a:cubicBezTo>
                    <a:pt x="1348644" y="1214576"/>
                    <a:pt x="1348644" y="1212105"/>
                    <a:pt x="1348644" y="1212105"/>
                  </a:cubicBezTo>
                  <a:cubicBezTo>
                    <a:pt x="1336273" y="1172557"/>
                    <a:pt x="1326375" y="1133010"/>
                    <a:pt x="1321427" y="1088520"/>
                  </a:cubicBezTo>
                  <a:cubicBezTo>
                    <a:pt x="1321427" y="1076161"/>
                    <a:pt x="1314004" y="1073689"/>
                    <a:pt x="1301632" y="1068746"/>
                  </a:cubicBezTo>
                  <a:cubicBezTo>
                    <a:pt x="1289261" y="1095935"/>
                    <a:pt x="1276889" y="1123123"/>
                    <a:pt x="1266992" y="1150312"/>
                  </a:cubicBezTo>
                  <a:cubicBezTo>
                    <a:pt x="1252146" y="1187388"/>
                    <a:pt x="1244723" y="1229406"/>
                    <a:pt x="1222454" y="1264010"/>
                  </a:cubicBezTo>
                  <a:cubicBezTo>
                    <a:pt x="1222454" y="1266482"/>
                    <a:pt x="1219980" y="1271425"/>
                    <a:pt x="1219980" y="1273897"/>
                  </a:cubicBezTo>
                  <a:cubicBezTo>
                    <a:pt x="1212557" y="1320859"/>
                    <a:pt x="1192762" y="1362878"/>
                    <a:pt x="1177916" y="1407369"/>
                  </a:cubicBezTo>
                  <a:cubicBezTo>
                    <a:pt x="1163070" y="1459274"/>
                    <a:pt x="1140801" y="1511180"/>
                    <a:pt x="1128430" y="1563086"/>
                  </a:cubicBezTo>
                  <a:cubicBezTo>
                    <a:pt x="1121007" y="1610048"/>
                    <a:pt x="1101212" y="1654539"/>
                    <a:pt x="1091315" y="1701501"/>
                  </a:cubicBezTo>
                  <a:cubicBezTo>
                    <a:pt x="1086366" y="1741048"/>
                    <a:pt x="1073995" y="1775652"/>
                    <a:pt x="1066572" y="1812727"/>
                  </a:cubicBezTo>
                  <a:cubicBezTo>
                    <a:pt x="1066572" y="1822614"/>
                    <a:pt x="1059149" y="1830029"/>
                    <a:pt x="1056674" y="1839916"/>
                  </a:cubicBezTo>
                  <a:cubicBezTo>
                    <a:pt x="1051726" y="1864633"/>
                    <a:pt x="1046777" y="1891822"/>
                    <a:pt x="1039354" y="1916539"/>
                  </a:cubicBezTo>
                  <a:cubicBezTo>
                    <a:pt x="1029457" y="1963501"/>
                    <a:pt x="1024508" y="2010463"/>
                    <a:pt x="1019560" y="2054954"/>
                  </a:cubicBezTo>
                  <a:cubicBezTo>
                    <a:pt x="1019560" y="2057426"/>
                    <a:pt x="1019560" y="2059897"/>
                    <a:pt x="1019560" y="2059897"/>
                  </a:cubicBezTo>
                  <a:cubicBezTo>
                    <a:pt x="997291" y="2116746"/>
                    <a:pt x="997291" y="2178539"/>
                    <a:pt x="987394" y="2235388"/>
                  </a:cubicBezTo>
                  <a:cubicBezTo>
                    <a:pt x="984919" y="2255161"/>
                    <a:pt x="977496" y="2274935"/>
                    <a:pt x="972548" y="2294709"/>
                  </a:cubicBezTo>
                  <a:cubicBezTo>
                    <a:pt x="967599" y="2309539"/>
                    <a:pt x="960176" y="2314482"/>
                    <a:pt x="945330" y="2307067"/>
                  </a:cubicBezTo>
                  <a:cubicBezTo>
                    <a:pt x="918113" y="2294709"/>
                    <a:pt x="893369" y="2282350"/>
                    <a:pt x="866152" y="2267520"/>
                  </a:cubicBezTo>
                  <a:cubicBezTo>
                    <a:pt x="863678" y="2265048"/>
                    <a:pt x="861203" y="2257633"/>
                    <a:pt x="861203" y="2250218"/>
                  </a:cubicBezTo>
                  <a:cubicBezTo>
                    <a:pt x="863678" y="2208199"/>
                    <a:pt x="856255" y="2163709"/>
                    <a:pt x="866152" y="2121690"/>
                  </a:cubicBezTo>
                  <a:cubicBezTo>
                    <a:pt x="866152" y="2114275"/>
                    <a:pt x="866152" y="2109331"/>
                    <a:pt x="866152" y="2101916"/>
                  </a:cubicBezTo>
                  <a:cubicBezTo>
                    <a:pt x="866152" y="2087086"/>
                    <a:pt x="866152" y="2069784"/>
                    <a:pt x="866152" y="2052482"/>
                  </a:cubicBezTo>
                  <a:cubicBezTo>
                    <a:pt x="868626" y="2047539"/>
                    <a:pt x="868626" y="2042595"/>
                    <a:pt x="868626" y="2037652"/>
                  </a:cubicBezTo>
                  <a:cubicBezTo>
                    <a:pt x="863678" y="2010463"/>
                    <a:pt x="861203" y="1980803"/>
                    <a:pt x="863678" y="1953614"/>
                  </a:cubicBezTo>
                  <a:cubicBezTo>
                    <a:pt x="863678" y="1946199"/>
                    <a:pt x="858729" y="1941256"/>
                    <a:pt x="856255" y="1933841"/>
                  </a:cubicBezTo>
                  <a:cubicBezTo>
                    <a:pt x="866152" y="1923954"/>
                    <a:pt x="876049" y="1914067"/>
                    <a:pt x="858729" y="1901709"/>
                  </a:cubicBezTo>
                  <a:cubicBezTo>
                    <a:pt x="856255" y="1899237"/>
                    <a:pt x="853780" y="1889350"/>
                    <a:pt x="856255" y="1886878"/>
                  </a:cubicBezTo>
                  <a:cubicBezTo>
                    <a:pt x="866152" y="1864633"/>
                    <a:pt x="863678" y="1844859"/>
                    <a:pt x="861203" y="1822614"/>
                  </a:cubicBezTo>
                  <a:cubicBezTo>
                    <a:pt x="861203" y="1780595"/>
                    <a:pt x="858729" y="1741048"/>
                    <a:pt x="861203" y="1699029"/>
                  </a:cubicBezTo>
                  <a:cubicBezTo>
                    <a:pt x="861203" y="1691614"/>
                    <a:pt x="858729" y="1686671"/>
                    <a:pt x="858729" y="1679256"/>
                  </a:cubicBezTo>
                  <a:cubicBezTo>
                    <a:pt x="858729" y="1657010"/>
                    <a:pt x="863678" y="1634765"/>
                    <a:pt x="873575" y="1614991"/>
                  </a:cubicBezTo>
                  <a:cubicBezTo>
                    <a:pt x="890895" y="1580388"/>
                    <a:pt x="905741" y="1545784"/>
                    <a:pt x="923061" y="1511180"/>
                  </a:cubicBezTo>
                  <a:cubicBezTo>
                    <a:pt x="925536" y="1506237"/>
                    <a:pt x="928010" y="1506237"/>
                    <a:pt x="937907" y="1503765"/>
                  </a:cubicBezTo>
                  <a:cubicBezTo>
                    <a:pt x="928010" y="1530954"/>
                    <a:pt x="920587" y="1555671"/>
                    <a:pt x="913164" y="1585331"/>
                  </a:cubicBezTo>
                  <a:cubicBezTo>
                    <a:pt x="928010" y="1580388"/>
                    <a:pt x="930484" y="1572973"/>
                    <a:pt x="932958" y="1565558"/>
                  </a:cubicBezTo>
                  <a:cubicBezTo>
                    <a:pt x="942856" y="1535897"/>
                    <a:pt x="952753" y="1503765"/>
                    <a:pt x="962650" y="1474105"/>
                  </a:cubicBezTo>
                  <a:cubicBezTo>
                    <a:pt x="970073" y="1446916"/>
                    <a:pt x="977496" y="1419727"/>
                    <a:pt x="989868" y="1395010"/>
                  </a:cubicBezTo>
                  <a:cubicBezTo>
                    <a:pt x="994816" y="1385124"/>
                    <a:pt x="997291" y="1375237"/>
                    <a:pt x="999765" y="1365350"/>
                  </a:cubicBezTo>
                  <a:cubicBezTo>
                    <a:pt x="1007188" y="1348048"/>
                    <a:pt x="1012137" y="1330746"/>
                    <a:pt x="1017085" y="1313444"/>
                  </a:cubicBezTo>
                  <a:cubicBezTo>
                    <a:pt x="1026983" y="1286256"/>
                    <a:pt x="1034406" y="1261539"/>
                    <a:pt x="1041829" y="1234350"/>
                  </a:cubicBezTo>
                  <a:cubicBezTo>
                    <a:pt x="1049251" y="1212105"/>
                    <a:pt x="1056674" y="1187388"/>
                    <a:pt x="1064097" y="1165142"/>
                  </a:cubicBezTo>
                  <a:cubicBezTo>
                    <a:pt x="1066572" y="1157727"/>
                    <a:pt x="1071520" y="1150312"/>
                    <a:pt x="1078943" y="1140425"/>
                  </a:cubicBezTo>
                  <a:cubicBezTo>
                    <a:pt x="1069046" y="1142897"/>
                    <a:pt x="1064097" y="1145369"/>
                    <a:pt x="1059149" y="1145369"/>
                  </a:cubicBezTo>
                  <a:cubicBezTo>
                    <a:pt x="1059149" y="1142897"/>
                    <a:pt x="1061623" y="1140425"/>
                    <a:pt x="1061623" y="1137954"/>
                  </a:cubicBezTo>
                  <a:cubicBezTo>
                    <a:pt x="1049251" y="1135482"/>
                    <a:pt x="1039354" y="1142897"/>
                    <a:pt x="1031931" y="1155256"/>
                  </a:cubicBezTo>
                  <a:cubicBezTo>
                    <a:pt x="1039354" y="1155256"/>
                    <a:pt x="1041829" y="1155256"/>
                    <a:pt x="1044303" y="1155256"/>
                  </a:cubicBezTo>
                  <a:cubicBezTo>
                    <a:pt x="1019560" y="1170086"/>
                    <a:pt x="994816" y="1187388"/>
                    <a:pt x="970073" y="1204690"/>
                  </a:cubicBezTo>
                  <a:cubicBezTo>
                    <a:pt x="935433" y="1224463"/>
                    <a:pt x="900792" y="1246708"/>
                    <a:pt x="868626" y="1266482"/>
                  </a:cubicBezTo>
                  <a:cubicBezTo>
                    <a:pt x="863678" y="1268954"/>
                    <a:pt x="858729" y="1271425"/>
                    <a:pt x="853780" y="1273897"/>
                  </a:cubicBezTo>
                  <a:cubicBezTo>
                    <a:pt x="853780" y="1273897"/>
                    <a:pt x="853780" y="1273897"/>
                    <a:pt x="292110" y="1575444"/>
                  </a:cubicBezTo>
                  <a:cubicBezTo>
                    <a:pt x="292110" y="1577916"/>
                    <a:pt x="289635" y="1577916"/>
                    <a:pt x="287161" y="1580388"/>
                  </a:cubicBezTo>
                  <a:cubicBezTo>
                    <a:pt x="277264" y="1575444"/>
                    <a:pt x="264892" y="1568029"/>
                    <a:pt x="252520" y="1560614"/>
                  </a:cubicBezTo>
                  <a:cubicBezTo>
                    <a:pt x="220354" y="1538369"/>
                    <a:pt x="185714" y="1513652"/>
                    <a:pt x="153548" y="1488935"/>
                  </a:cubicBezTo>
                  <a:cubicBezTo>
                    <a:pt x="109010" y="1451859"/>
                    <a:pt x="69421" y="1409840"/>
                    <a:pt x="32306" y="1365350"/>
                  </a:cubicBezTo>
                  <a:cubicBezTo>
                    <a:pt x="22409" y="1355463"/>
                    <a:pt x="14986" y="1340633"/>
                    <a:pt x="7563" y="1328274"/>
                  </a:cubicBezTo>
                  <a:cubicBezTo>
                    <a:pt x="-4809" y="1308501"/>
                    <a:pt x="-2335" y="1298614"/>
                    <a:pt x="17460" y="1286256"/>
                  </a:cubicBezTo>
                  <a:cubicBezTo>
                    <a:pt x="32306" y="1278840"/>
                    <a:pt x="47152" y="1268954"/>
                    <a:pt x="61998" y="1261539"/>
                  </a:cubicBezTo>
                  <a:cubicBezTo>
                    <a:pt x="76844" y="1251652"/>
                    <a:pt x="91690" y="1241765"/>
                    <a:pt x="106536" y="1234350"/>
                  </a:cubicBezTo>
                  <a:cubicBezTo>
                    <a:pt x="116433" y="1229406"/>
                    <a:pt x="126330" y="1224463"/>
                    <a:pt x="136227" y="1219520"/>
                  </a:cubicBezTo>
                  <a:cubicBezTo>
                    <a:pt x="153548" y="1212105"/>
                    <a:pt x="168394" y="1204690"/>
                    <a:pt x="180765" y="1189859"/>
                  </a:cubicBezTo>
                  <a:cubicBezTo>
                    <a:pt x="188188" y="1184916"/>
                    <a:pt x="198085" y="1179973"/>
                    <a:pt x="205508" y="1177501"/>
                  </a:cubicBezTo>
                  <a:cubicBezTo>
                    <a:pt x="232726" y="1170086"/>
                    <a:pt x="252520" y="1150312"/>
                    <a:pt x="277264" y="1140425"/>
                  </a:cubicBezTo>
                  <a:cubicBezTo>
                    <a:pt x="289635" y="1135482"/>
                    <a:pt x="304481" y="1128067"/>
                    <a:pt x="321801" y="1120652"/>
                  </a:cubicBezTo>
                  <a:cubicBezTo>
                    <a:pt x="324276" y="1118180"/>
                    <a:pt x="326750" y="1115708"/>
                    <a:pt x="329224" y="1115708"/>
                  </a:cubicBezTo>
                  <a:cubicBezTo>
                    <a:pt x="329224" y="1115708"/>
                    <a:pt x="329224" y="1115708"/>
                    <a:pt x="848832" y="895727"/>
                  </a:cubicBezTo>
                  <a:cubicBezTo>
                    <a:pt x="853780" y="893256"/>
                    <a:pt x="861203" y="890784"/>
                    <a:pt x="868626" y="888312"/>
                  </a:cubicBezTo>
                  <a:cubicBezTo>
                    <a:pt x="888421" y="883369"/>
                    <a:pt x="905741" y="878425"/>
                    <a:pt x="923061" y="868539"/>
                  </a:cubicBezTo>
                  <a:cubicBezTo>
                    <a:pt x="952753" y="853708"/>
                    <a:pt x="984919" y="843821"/>
                    <a:pt x="1017085" y="831463"/>
                  </a:cubicBezTo>
                  <a:cubicBezTo>
                    <a:pt x="1031931" y="826520"/>
                    <a:pt x="1046777" y="819104"/>
                    <a:pt x="1061623" y="811689"/>
                  </a:cubicBezTo>
                  <a:cubicBezTo>
                    <a:pt x="1088841" y="799331"/>
                    <a:pt x="1116058" y="784501"/>
                    <a:pt x="1145750" y="772142"/>
                  </a:cubicBezTo>
                  <a:cubicBezTo>
                    <a:pt x="1150699" y="769671"/>
                    <a:pt x="1158122" y="769671"/>
                    <a:pt x="1163070" y="769671"/>
                  </a:cubicBezTo>
                  <a:cubicBezTo>
                    <a:pt x="1212557" y="638670"/>
                    <a:pt x="1249671" y="502727"/>
                    <a:pt x="1306581" y="376670"/>
                  </a:cubicBezTo>
                  <a:cubicBezTo>
                    <a:pt x="1306581" y="376670"/>
                    <a:pt x="1309055" y="376670"/>
                    <a:pt x="1309055" y="376670"/>
                  </a:cubicBezTo>
                  <a:cubicBezTo>
                    <a:pt x="1266992" y="502727"/>
                    <a:pt x="1224928" y="628784"/>
                    <a:pt x="1182865" y="754840"/>
                  </a:cubicBezTo>
                  <a:cubicBezTo>
                    <a:pt x="1190288" y="762255"/>
                    <a:pt x="1195236" y="762255"/>
                    <a:pt x="1200185" y="754840"/>
                  </a:cubicBezTo>
                  <a:cubicBezTo>
                    <a:pt x="1202659" y="747425"/>
                    <a:pt x="1205134" y="740010"/>
                    <a:pt x="1207608" y="735067"/>
                  </a:cubicBezTo>
                  <a:cubicBezTo>
                    <a:pt x="1215031" y="702935"/>
                    <a:pt x="1224928" y="673274"/>
                    <a:pt x="1234825" y="641142"/>
                  </a:cubicBezTo>
                  <a:cubicBezTo>
                    <a:pt x="1242248" y="621369"/>
                    <a:pt x="1249671" y="599123"/>
                    <a:pt x="1257094" y="576878"/>
                  </a:cubicBezTo>
                  <a:cubicBezTo>
                    <a:pt x="1259569" y="574406"/>
                    <a:pt x="1259569" y="569463"/>
                    <a:pt x="1262043" y="566991"/>
                  </a:cubicBezTo>
                  <a:cubicBezTo>
                    <a:pt x="1271940" y="534859"/>
                    <a:pt x="1281838" y="500255"/>
                    <a:pt x="1296683" y="470595"/>
                  </a:cubicBezTo>
                  <a:cubicBezTo>
                    <a:pt x="1304106" y="460708"/>
                    <a:pt x="1306581" y="445878"/>
                    <a:pt x="1309055" y="433519"/>
                  </a:cubicBezTo>
                  <a:cubicBezTo>
                    <a:pt x="1314004" y="406331"/>
                    <a:pt x="1328850" y="379142"/>
                    <a:pt x="1341221" y="354425"/>
                  </a:cubicBezTo>
                  <a:cubicBezTo>
                    <a:pt x="1351119" y="329708"/>
                    <a:pt x="1361016" y="302519"/>
                    <a:pt x="1368439" y="277802"/>
                  </a:cubicBezTo>
                  <a:cubicBezTo>
                    <a:pt x="1370913" y="275331"/>
                    <a:pt x="1370913" y="272859"/>
                    <a:pt x="1370913" y="270387"/>
                  </a:cubicBezTo>
                  <a:cubicBezTo>
                    <a:pt x="1393182" y="235784"/>
                    <a:pt x="1390708" y="196236"/>
                    <a:pt x="1395656" y="159161"/>
                  </a:cubicBezTo>
                  <a:cubicBezTo>
                    <a:pt x="1398131" y="114670"/>
                    <a:pt x="1403079" y="70180"/>
                    <a:pt x="1408028" y="25689"/>
                  </a:cubicBezTo>
                  <a:cubicBezTo>
                    <a:pt x="1408028" y="20746"/>
                    <a:pt x="1405554" y="13331"/>
                    <a:pt x="1405554" y="8387"/>
                  </a:cubicBezTo>
                  <a:cubicBezTo>
                    <a:pt x="1412977" y="972"/>
                    <a:pt x="1419781" y="-882"/>
                    <a:pt x="1426585" y="3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277F86A-9A1D-4179-B02E-50D71BBE0595}"/>
                </a:ext>
              </a:extLst>
            </p:cNvPr>
            <p:cNvSpPr/>
            <p:nvPr/>
          </p:nvSpPr>
          <p:spPr bwMode="auto">
            <a:xfrm>
              <a:off x="3346451" y="3389313"/>
              <a:ext cx="395288" cy="238125"/>
            </a:xfrm>
            <a:custGeom>
              <a:avLst/>
              <a:gdLst>
                <a:gd name="T0" fmla="*/ 36 w 160"/>
                <a:gd name="T1" fmla="*/ 28 h 96"/>
                <a:gd name="T2" fmla="*/ 42 w 160"/>
                <a:gd name="T3" fmla="*/ 28 h 96"/>
                <a:gd name="T4" fmla="*/ 46 w 160"/>
                <a:gd name="T5" fmla="*/ 32 h 96"/>
                <a:gd name="T6" fmla="*/ 48 w 160"/>
                <a:gd name="T7" fmla="*/ 34 h 96"/>
                <a:gd name="T8" fmla="*/ 54 w 160"/>
                <a:gd name="T9" fmla="*/ 39 h 96"/>
                <a:gd name="T10" fmla="*/ 63 w 160"/>
                <a:gd name="T11" fmla="*/ 33 h 96"/>
                <a:gd name="T12" fmla="*/ 70 w 160"/>
                <a:gd name="T13" fmla="*/ 38 h 96"/>
                <a:gd name="T14" fmla="*/ 69 w 160"/>
                <a:gd name="T15" fmla="*/ 47 h 96"/>
                <a:gd name="T16" fmla="*/ 75 w 160"/>
                <a:gd name="T17" fmla="*/ 45 h 96"/>
                <a:gd name="T18" fmla="*/ 79 w 160"/>
                <a:gd name="T19" fmla="*/ 52 h 96"/>
                <a:gd name="T20" fmla="*/ 86 w 160"/>
                <a:gd name="T21" fmla="*/ 56 h 96"/>
                <a:gd name="T22" fmla="*/ 93 w 160"/>
                <a:gd name="T23" fmla="*/ 59 h 96"/>
                <a:gd name="T24" fmla="*/ 103 w 160"/>
                <a:gd name="T25" fmla="*/ 57 h 96"/>
                <a:gd name="T26" fmla="*/ 104 w 160"/>
                <a:gd name="T27" fmla="*/ 64 h 96"/>
                <a:gd name="T28" fmla="*/ 115 w 160"/>
                <a:gd name="T29" fmla="*/ 65 h 96"/>
                <a:gd name="T30" fmla="*/ 145 w 160"/>
                <a:gd name="T31" fmla="*/ 82 h 96"/>
                <a:gd name="T32" fmla="*/ 158 w 160"/>
                <a:gd name="T33" fmla="*/ 88 h 96"/>
                <a:gd name="T34" fmla="*/ 42 w 160"/>
                <a:gd name="T35" fmla="*/ 21 h 96"/>
                <a:gd name="T36" fmla="*/ 49 w 160"/>
                <a:gd name="T37" fmla="*/ 27 h 96"/>
                <a:gd name="T38" fmla="*/ 42 w 160"/>
                <a:gd name="T39" fmla="*/ 24 h 96"/>
                <a:gd name="T40" fmla="*/ 46 w 160"/>
                <a:gd name="T41" fmla="*/ 28 h 96"/>
                <a:gd name="T42" fmla="*/ 34 w 160"/>
                <a:gd name="T43" fmla="*/ 23 h 96"/>
                <a:gd name="T44" fmla="*/ 31 w 160"/>
                <a:gd name="T45" fmla="*/ 25 h 96"/>
                <a:gd name="T46" fmla="*/ 19 w 160"/>
                <a:gd name="T47" fmla="*/ 22 h 96"/>
                <a:gd name="T48" fmla="*/ 24 w 160"/>
                <a:gd name="T49" fmla="*/ 23 h 96"/>
                <a:gd name="T50" fmla="*/ 31 w 160"/>
                <a:gd name="T51" fmla="*/ 23 h 96"/>
                <a:gd name="T52" fmla="*/ 45 w 160"/>
                <a:gd name="T53" fmla="*/ 28 h 96"/>
                <a:gd name="T54" fmla="*/ 35 w 160"/>
                <a:gd name="T55" fmla="*/ 19 h 96"/>
                <a:gd name="T56" fmla="*/ 35 w 160"/>
                <a:gd name="T57" fmla="*/ 17 h 96"/>
                <a:gd name="T58" fmla="*/ 39 w 160"/>
                <a:gd name="T59" fmla="*/ 29 h 96"/>
                <a:gd name="T60" fmla="*/ 44 w 160"/>
                <a:gd name="T61" fmla="*/ 30 h 96"/>
                <a:gd name="T62" fmla="*/ 58 w 160"/>
                <a:gd name="T63" fmla="*/ 31 h 96"/>
                <a:gd name="T64" fmla="*/ 65 w 160"/>
                <a:gd name="T65" fmla="*/ 35 h 96"/>
                <a:gd name="T66" fmla="*/ 66 w 160"/>
                <a:gd name="T67" fmla="*/ 36 h 96"/>
                <a:gd name="T68" fmla="*/ 62 w 160"/>
                <a:gd name="T69" fmla="*/ 36 h 96"/>
                <a:gd name="T70" fmla="*/ 64 w 160"/>
                <a:gd name="T71" fmla="*/ 36 h 96"/>
                <a:gd name="T72" fmla="*/ 62 w 160"/>
                <a:gd name="T73" fmla="*/ 44 h 96"/>
                <a:gd name="T74" fmla="*/ 100 w 160"/>
                <a:gd name="T75" fmla="*/ 60 h 96"/>
                <a:gd name="T76" fmla="*/ 91 w 160"/>
                <a:gd name="T77" fmla="*/ 55 h 96"/>
                <a:gd name="T78" fmla="*/ 89 w 160"/>
                <a:gd name="T79" fmla="*/ 55 h 96"/>
                <a:gd name="T80" fmla="*/ 83 w 160"/>
                <a:gd name="T81" fmla="*/ 50 h 96"/>
                <a:gd name="T82" fmla="*/ 73 w 160"/>
                <a:gd name="T83" fmla="*/ 42 h 96"/>
                <a:gd name="T84" fmla="*/ 73 w 160"/>
                <a:gd name="T85" fmla="*/ 38 h 96"/>
                <a:gd name="T86" fmla="*/ 86 w 160"/>
                <a:gd name="T87" fmla="*/ 48 h 96"/>
                <a:gd name="T88" fmla="*/ 99 w 160"/>
                <a:gd name="T89" fmla="*/ 55 h 96"/>
                <a:gd name="T90" fmla="*/ 94 w 160"/>
                <a:gd name="T91" fmla="*/ 57 h 96"/>
                <a:gd name="T92" fmla="*/ 74 w 160"/>
                <a:gd name="T93" fmla="*/ 41 h 96"/>
                <a:gd name="T94" fmla="*/ 85 w 160"/>
                <a:gd name="T95" fmla="*/ 50 h 96"/>
                <a:gd name="T96" fmla="*/ 86 w 160"/>
                <a:gd name="T97" fmla="*/ 50 h 96"/>
                <a:gd name="T98" fmla="*/ 99 w 160"/>
                <a:gd name="T99" fmla="*/ 55 h 96"/>
                <a:gd name="T100" fmla="*/ 87 w 160"/>
                <a:gd name="T101" fmla="*/ 50 h 96"/>
                <a:gd name="T102" fmla="*/ 79 w 160"/>
                <a:gd name="T103" fmla="*/ 45 h 96"/>
                <a:gd name="T104" fmla="*/ 95 w 160"/>
                <a:gd name="T105" fmla="*/ 56 h 96"/>
                <a:gd name="T106" fmla="*/ 71 w 160"/>
                <a:gd name="T107" fmla="*/ 42 h 96"/>
                <a:gd name="T108" fmla="*/ 71 w 160"/>
                <a:gd name="T109" fmla="*/ 45 h 96"/>
                <a:gd name="T110" fmla="*/ 71 w 160"/>
                <a:gd name="T111" fmla="*/ 48 h 96"/>
                <a:gd name="T112" fmla="*/ 75 w 160"/>
                <a:gd name="T113" fmla="*/ 53 h 96"/>
                <a:gd name="T114" fmla="*/ 82 w 160"/>
                <a:gd name="T115" fmla="*/ 53 h 96"/>
                <a:gd name="T116" fmla="*/ 99 w 160"/>
                <a:gd name="T117" fmla="*/ 56 h 96"/>
                <a:gd name="T118" fmla="*/ 102 w 160"/>
                <a:gd name="T119" fmla="*/ 57 h 96"/>
                <a:gd name="T120" fmla="*/ 116 w 160"/>
                <a:gd name="T121" fmla="*/ 65 h 96"/>
                <a:gd name="T122" fmla="*/ 146 w 160"/>
                <a:gd name="T123" fmla="*/ 82 h 96"/>
                <a:gd name="T124" fmla="*/ 67 w 160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96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4" y="0"/>
                  </a:cubicBezTo>
                  <a:close/>
                  <a:moveTo>
                    <a:pt x="10" y="17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1" y="17"/>
                    <a:pt x="10" y="17"/>
                    <a:pt x="10" y="17"/>
                  </a:cubicBezTo>
                  <a:close/>
                  <a:moveTo>
                    <a:pt x="13" y="18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lose/>
                  <a:moveTo>
                    <a:pt x="14" y="20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20"/>
                  </a:cubicBezTo>
                  <a:close/>
                  <a:moveTo>
                    <a:pt x="17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2"/>
                  </a:cubicBezTo>
                  <a:cubicBezTo>
                    <a:pt x="17" y="22"/>
                    <a:pt x="17" y="21"/>
                    <a:pt x="17" y="2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0" y="24"/>
                    <a:pt x="21" y="24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3" y="24"/>
                  </a:move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3" y="24"/>
                    <a:pt x="23" y="24"/>
                  </a:cubicBezTo>
                  <a:close/>
                  <a:moveTo>
                    <a:pt x="27" y="25"/>
                  </a:moveTo>
                  <a:cubicBezTo>
                    <a:pt x="27" y="25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6" y="24"/>
                    <a:pt x="27" y="25"/>
                  </a:cubicBezTo>
                  <a:close/>
                  <a:moveTo>
                    <a:pt x="26" y="25"/>
                  </a:moveTo>
                  <a:cubicBezTo>
                    <a:pt x="27" y="25"/>
                    <a:pt x="27" y="26"/>
                    <a:pt x="27" y="26"/>
                  </a:cubicBezTo>
                  <a:cubicBezTo>
                    <a:pt x="27" y="26"/>
                    <a:pt x="27" y="26"/>
                    <a:pt x="26" y="26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9" y="26"/>
                    <a:pt x="29" y="27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3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7"/>
                    <a:pt x="30" y="27"/>
                  </a:cubicBezTo>
                  <a:close/>
                  <a:moveTo>
                    <a:pt x="30" y="28"/>
                  </a:moveTo>
                  <a:cubicBezTo>
                    <a:pt x="30" y="28"/>
                    <a:pt x="29" y="28"/>
                    <a:pt x="29" y="27"/>
                  </a:cubicBezTo>
                  <a:cubicBezTo>
                    <a:pt x="29" y="27"/>
                    <a:pt x="30" y="28"/>
                    <a:pt x="30" y="28"/>
                  </a:cubicBezTo>
                  <a:close/>
                  <a:moveTo>
                    <a:pt x="30" y="28"/>
                  </a:move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4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33" y="27"/>
                  </a:moveTo>
                  <a:cubicBezTo>
                    <a:pt x="33" y="27"/>
                    <a:pt x="32" y="27"/>
                    <a:pt x="32" y="27"/>
                  </a:cubicBezTo>
                  <a:cubicBezTo>
                    <a:pt x="32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4" y="24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lose/>
                  <a:moveTo>
                    <a:pt x="37" y="20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20"/>
                  </a:cubicBezTo>
                  <a:close/>
                  <a:moveTo>
                    <a:pt x="36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8"/>
                    <a:pt x="36" y="28"/>
                  </a:cubicBezTo>
                  <a:cubicBezTo>
                    <a:pt x="35" y="28"/>
                    <a:pt x="35" y="28"/>
                    <a:pt x="36" y="28"/>
                  </a:cubicBezTo>
                  <a:cubicBezTo>
                    <a:pt x="35" y="28"/>
                    <a:pt x="35" y="27"/>
                    <a:pt x="35" y="27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4"/>
                    <a:pt x="37" y="24"/>
                    <a:pt x="37" y="24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4" y="28"/>
                    <a:pt x="35" y="28"/>
                  </a:cubicBezTo>
                  <a:cubicBezTo>
                    <a:pt x="35" y="28"/>
                    <a:pt x="34" y="28"/>
                    <a:pt x="34" y="28"/>
                  </a:cubicBezTo>
                  <a:close/>
                  <a:moveTo>
                    <a:pt x="37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6" y="28"/>
                    <a:pt x="36" y="28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20"/>
                    <a:pt x="40" y="20"/>
                  </a:cubicBezTo>
                  <a:close/>
                  <a:moveTo>
                    <a:pt x="37" y="25"/>
                  </a:moveTo>
                  <a:cubicBezTo>
                    <a:pt x="38" y="26"/>
                    <a:pt x="38" y="26"/>
                    <a:pt x="39" y="26"/>
                  </a:cubicBezTo>
                  <a:cubicBezTo>
                    <a:pt x="38" y="26"/>
                    <a:pt x="38" y="26"/>
                    <a:pt x="37" y="25"/>
                  </a:cubicBezTo>
                  <a:close/>
                  <a:moveTo>
                    <a:pt x="36" y="29"/>
                  </a:move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4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4" y="31"/>
                    <a:pt x="34" y="31"/>
                  </a:cubicBezTo>
                  <a:close/>
                  <a:moveTo>
                    <a:pt x="41" y="20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ubicBezTo>
                    <a:pt x="41" y="20"/>
                    <a:pt x="41" y="21"/>
                    <a:pt x="41" y="20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9" y="26"/>
                  </a:move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7" y="30"/>
                    <a:pt x="37" y="30"/>
                  </a:cubicBezTo>
                  <a:cubicBezTo>
                    <a:pt x="37" y="30"/>
                    <a:pt x="37" y="30"/>
                    <a:pt x="37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7"/>
                    <a:pt x="38" y="28"/>
                    <a:pt x="38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8" y="28"/>
                  </a:cubicBezTo>
                  <a:close/>
                  <a:moveTo>
                    <a:pt x="41" y="26"/>
                  </a:moveTo>
                  <a:cubicBezTo>
                    <a:pt x="40" y="26"/>
                    <a:pt x="41" y="26"/>
                    <a:pt x="40" y="26"/>
                  </a:cubicBezTo>
                  <a:cubicBezTo>
                    <a:pt x="41" y="26"/>
                    <a:pt x="40" y="26"/>
                    <a:pt x="40" y="26"/>
                  </a:cubicBezTo>
                  <a:cubicBezTo>
                    <a:pt x="40" y="26"/>
                    <a:pt x="40" y="26"/>
                    <a:pt x="41" y="26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2"/>
                    <a:pt x="38" y="33"/>
                  </a:cubicBezTo>
                  <a:cubicBezTo>
                    <a:pt x="38" y="33"/>
                    <a:pt x="37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43" y="24"/>
                  </a:moveTo>
                  <a:cubicBezTo>
                    <a:pt x="43" y="23"/>
                    <a:pt x="43" y="24"/>
                    <a:pt x="44" y="24"/>
                  </a:cubicBezTo>
                  <a:cubicBezTo>
                    <a:pt x="44" y="24"/>
                    <a:pt x="43" y="24"/>
                    <a:pt x="43" y="24"/>
                  </a:cubicBezTo>
                  <a:close/>
                  <a:moveTo>
                    <a:pt x="42" y="26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0" y="29"/>
                    <a:pt x="40" y="29"/>
                  </a:cubicBezTo>
                  <a:cubicBezTo>
                    <a:pt x="40" y="29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39" y="31"/>
                  </a:moveTo>
                  <a:cubicBezTo>
                    <a:pt x="39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1" y="27"/>
                  </a:cubicBezTo>
                  <a:cubicBezTo>
                    <a:pt x="42" y="27"/>
                    <a:pt x="42" y="28"/>
                    <a:pt x="42" y="28"/>
                  </a:cubicBezTo>
                  <a:close/>
                  <a:moveTo>
                    <a:pt x="43" y="27"/>
                  </a:moveTo>
                  <a:cubicBezTo>
                    <a:pt x="42" y="27"/>
                    <a:pt x="42" y="27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2" y="27"/>
                    <a:pt x="42" y="27"/>
                    <a:pt x="43" y="27"/>
                  </a:cubicBezTo>
                  <a:close/>
                  <a:moveTo>
                    <a:pt x="41" y="28"/>
                  </a:move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9"/>
                    <a:pt x="42" y="28"/>
                    <a:pt x="41" y="28"/>
                  </a:cubicBezTo>
                  <a:close/>
                  <a:moveTo>
                    <a:pt x="43" y="26"/>
                  </a:move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6"/>
                    <a:pt x="43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1" y="29"/>
                    <a:pt x="41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3" y="27"/>
                    <a:pt x="43" y="27"/>
                  </a:cubicBezTo>
                  <a:cubicBezTo>
                    <a:pt x="43" y="27"/>
                    <a:pt x="43" y="28"/>
                    <a:pt x="43" y="27"/>
                  </a:cubicBezTo>
                  <a:cubicBezTo>
                    <a:pt x="43" y="27"/>
                    <a:pt x="44" y="28"/>
                    <a:pt x="44" y="28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1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0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0" y="32"/>
                    <a:pt x="40" y="32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8"/>
                  </a:cubicBezTo>
                  <a:close/>
                  <a:moveTo>
                    <a:pt x="43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3" y="29"/>
                  </a:cubicBezTo>
                  <a:close/>
                  <a:moveTo>
                    <a:pt x="41" y="34"/>
                  </a:moveTo>
                  <a:cubicBezTo>
                    <a:pt x="41" y="33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2"/>
                    <a:pt x="42" y="33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4" y="29"/>
                  </a:moveTo>
                  <a:cubicBezTo>
                    <a:pt x="44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4" y="30"/>
                    <a:pt x="44" y="30"/>
                    <a:pt x="44" y="29"/>
                  </a:cubicBezTo>
                  <a:close/>
                  <a:moveTo>
                    <a:pt x="46" y="27"/>
                  </a:move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3"/>
                    <a:pt x="43" y="33"/>
                    <a:pt x="43" y="3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4" y="31"/>
                    <a:pt x="44" y="31"/>
                  </a:cubicBezTo>
                  <a:cubicBezTo>
                    <a:pt x="44" y="31"/>
                    <a:pt x="45" y="32"/>
                    <a:pt x="45" y="31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4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5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0"/>
                  </a:cubicBezTo>
                  <a:cubicBezTo>
                    <a:pt x="46" y="31"/>
                    <a:pt x="46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6" y="30"/>
                    <a:pt x="46" y="30"/>
                  </a:cubicBezTo>
                  <a:close/>
                  <a:moveTo>
                    <a:pt x="50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50" y="25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5" y="32"/>
                    <a:pt x="45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2"/>
                    <a:pt x="46" y="31"/>
                  </a:cubicBezTo>
                  <a:cubicBezTo>
                    <a:pt x="46" y="31"/>
                    <a:pt x="46" y="32"/>
                    <a:pt x="47" y="32"/>
                  </a:cubicBezTo>
                  <a:close/>
                  <a:moveTo>
                    <a:pt x="48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8" y="29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49" y="26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5" y="37"/>
                    <a:pt x="44" y="37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51" y="27"/>
                  </a:moveTo>
                  <a:cubicBezTo>
                    <a:pt x="50" y="27"/>
                    <a:pt x="51" y="27"/>
                    <a:pt x="50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7"/>
                    <a:pt x="51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8" y="33"/>
                  </a:cubicBezTo>
                  <a:lnTo>
                    <a:pt x="48" y="34"/>
                  </a:ln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2"/>
                  </a:moveTo>
                  <a:cubicBezTo>
                    <a:pt x="49" y="32"/>
                    <a:pt x="49" y="33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2"/>
                    <a:pt x="50" y="32"/>
                    <a:pt x="50" y="33"/>
                  </a:cubicBezTo>
                  <a:cubicBezTo>
                    <a:pt x="50" y="32"/>
                    <a:pt x="50" y="32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7"/>
                  </a:cubicBezTo>
                  <a:cubicBezTo>
                    <a:pt x="52" y="27"/>
                    <a:pt x="51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7"/>
                  </a:moveTo>
                  <a:cubicBezTo>
                    <a:pt x="52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6" y="38"/>
                  </a:move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4"/>
                  </a:cubicBezTo>
                  <a:cubicBezTo>
                    <a:pt x="49" y="34"/>
                    <a:pt x="49" y="35"/>
                    <a:pt x="49" y="34"/>
                  </a:cubicBezTo>
                  <a:cubicBezTo>
                    <a:pt x="50" y="34"/>
                    <a:pt x="49" y="35"/>
                    <a:pt x="50" y="35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3" y="30"/>
                    <a:pt x="54" y="30"/>
                  </a:cubicBezTo>
                  <a:cubicBezTo>
                    <a:pt x="53" y="30"/>
                    <a:pt x="53" y="30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4"/>
                    <a:pt x="50" y="34"/>
                    <a:pt x="50" y="33"/>
                  </a:cubicBezTo>
                  <a:close/>
                  <a:moveTo>
                    <a:pt x="49" y="35"/>
                  </a:move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50" y="35"/>
                    <a:pt x="49" y="35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1" y="35"/>
                  </a:moveTo>
                  <a:cubicBezTo>
                    <a:pt x="50" y="35"/>
                    <a:pt x="49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52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2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1" y="36"/>
                  </a:moveTo>
                  <a:cubicBezTo>
                    <a:pt x="51" y="36"/>
                    <a:pt x="52" y="37"/>
                    <a:pt x="51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3" y="38"/>
                    <a:pt x="53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3" y="38"/>
                    <a:pt x="52" y="37"/>
                    <a:pt x="52" y="37"/>
                  </a:cubicBezTo>
                  <a:cubicBezTo>
                    <a:pt x="52" y="37"/>
                    <a:pt x="51" y="37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5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2" y="34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53" y="34"/>
                    <a:pt x="53" y="34"/>
                    <a:pt x="52" y="34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ubicBezTo>
                    <a:pt x="55" y="33"/>
                    <a:pt x="54" y="32"/>
                    <a:pt x="54" y="32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3"/>
                  </a:moveTo>
                  <a:cubicBezTo>
                    <a:pt x="54" y="34"/>
                    <a:pt x="54" y="34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7" y="30"/>
                  </a:move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1" y="40"/>
                  </a:moveTo>
                  <a:cubicBezTo>
                    <a:pt x="51" y="40"/>
                    <a:pt x="52" y="40"/>
                    <a:pt x="52" y="40"/>
                  </a:cubicBezTo>
                  <a:cubicBezTo>
                    <a:pt x="51" y="40"/>
                    <a:pt x="51" y="40"/>
                    <a:pt x="51" y="40"/>
                  </a:cubicBezTo>
                  <a:close/>
                  <a:moveTo>
                    <a:pt x="54" y="37"/>
                  </a:move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7"/>
                    <a:pt x="54" y="37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4" y="38"/>
                    <a:pt x="54" y="38"/>
                    <a:pt x="54" y="39"/>
                  </a:cubicBezTo>
                  <a:cubicBezTo>
                    <a:pt x="54" y="39"/>
                    <a:pt x="55" y="39"/>
                    <a:pt x="54" y="39"/>
                  </a:cubicBezTo>
                  <a:cubicBezTo>
                    <a:pt x="54" y="38"/>
                    <a:pt x="55" y="39"/>
                    <a:pt x="55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4" y="39"/>
                    <a:pt x="53" y="38"/>
                  </a:cubicBezTo>
                  <a:close/>
                  <a:moveTo>
                    <a:pt x="56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4"/>
                    <a:pt x="57" y="34"/>
                  </a:cubicBezTo>
                  <a:cubicBezTo>
                    <a:pt x="57" y="34"/>
                    <a:pt x="56" y="34"/>
                    <a:pt x="56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5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6"/>
                    <a:pt x="56" y="36"/>
                    <a:pt x="56" y="36"/>
                  </a:cubicBezTo>
                  <a:close/>
                  <a:moveTo>
                    <a:pt x="55" y="38"/>
                  </a:moveTo>
                  <a:cubicBezTo>
                    <a:pt x="55" y="39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lose/>
                  <a:moveTo>
                    <a:pt x="55" y="39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5"/>
                  </a:cubicBezTo>
                  <a:cubicBezTo>
                    <a:pt x="58" y="35"/>
                    <a:pt x="57" y="35"/>
                    <a:pt x="58" y="35"/>
                  </a:cubicBezTo>
                  <a:cubicBezTo>
                    <a:pt x="58" y="36"/>
                    <a:pt x="57" y="35"/>
                    <a:pt x="57" y="35"/>
                  </a:cubicBezTo>
                  <a:close/>
                  <a:moveTo>
                    <a:pt x="56" y="37"/>
                  </a:moveTo>
                  <a:cubicBezTo>
                    <a:pt x="56" y="37"/>
                    <a:pt x="57" y="38"/>
                    <a:pt x="57" y="38"/>
                  </a:cubicBezTo>
                  <a:cubicBezTo>
                    <a:pt x="57" y="38"/>
                    <a:pt x="56" y="38"/>
                    <a:pt x="56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6" y="38"/>
                  </a:cubicBezTo>
                  <a:cubicBezTo>
                    <a:pt x="56" y="38"/>
                    <a:pt x="56" y="38"/>
                    <a:pt x="56" y="39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1" y="32"/>
                    <a:pt x="60" y="32"/>
                  </a:cubicBezTo>
                  <a:close/>
                  <a:moveTo>
                    <a:pt x="58" y="36"/>
                  </a:moveTo>
                  <a:cubicBezTo>
                    <a:pt x="59" y="36"/>
                    <a:pt x="59" y="36"/>
                    <a:pt x="59" y="37"/>
                  </a:cubicBezTo>
                  <a:cubicBezTo>
                    <a:pt x="59" y="37"/>
                    <a:pt x="59" y="36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60" y="37"/>
                    <a:pt x="59" y="37"/>
                  </a:cubicBezTo>
                  <a:cubicBezTo>
                    <a:pt x="60" y="37"/>
                    <a:pt x="60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60" y="35"/>
                  </a:cubicBezTo>
                  <a:cubicBezTo>
                    <a:pt x="59" y="35"/>
                    <a:pt x="59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60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4"/>
                  </a:cubicBezTo>
                  <a:close/>
                  <a:moveTo>
                    <a:pt x="57" y="40"/>
                  </a:moveTo>
                  <a:cubicBezTo>
                    <a:pt x="57" y="40"/>
                    <a:pt x="58" y="40"/>
                    <a:pt x="58" y="40"/>
                  </a:cubicBezTo>
                  <a:cubicBezTo>
                    <a:pt x="58" y="40"/>
                    <a:pt x="58" y="40"/>
                    <a:pt x="57" y="40"/>
                  </a:cubicBezTo>
                  <a:close/>
                  <a:moveTo>
                    <a:pt x="59" y="38"/>
                  </a:moveTo>
                  <a:cubicBezTo>
                    <a:pt x="59" y="38"/>
                    <a:pt x="59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59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59" y="38"/>
                  </a:cubicBezTo>
                  <a:close/>
                  <a:moveTo>
                    <a:pt x="62" y="33"/>
                  </a:move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lose/>
                  <a:moveTo>
                    <a:pt x="64" y="33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4" y="34"/>
                    <a:pt x="63" y="33"/>
                  </a:cubicBezTo>
                  <a:cubicBezTo>
                    <a:pt x="63" y="33"/>
                    <a:pt x="64" y="33"/>
                    <a:pt x="64" y="33"/>
                  </a:cubicBezTo>
                  <a:close/>
                  <a:moveTo>
                    <a:pt x="60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lose/>
                  <a:moveTo>
                    <a:pt x="62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61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lose/>
                  <a:moveTo>
                    <a:pt x="61" y="40"/>
                  </a:moveTo>
                  <a:cubicBezTo>
                    <a:pt x="61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1" y="40"/>
                  </a:cubicBezTo>
                  <a:close/>
                  <a:moveTo>
                    <a:pt x="68" y="35"/>
                  </a:moveTo>
                  <a:cubicBezTo>
                    <a:pt x="67" y="35"/>
                    <a:pt x="67" y="35"/>
                    <a:pt x="68" y="35"/>
                  </a:cubicBezTo>
                  <a:close/>
                  <a:moveTo>
                    <a:pt x="65" y="39"/>
                  </a:moveTo>
                  <a:cubicBezTo>
                    <a:pt x="65" y="39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4" y="41"/>
                  </a:move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lose/>
                  <a:moveTo>
                    <a:pt x="66" y="38"/>
                  </a:moveTo>
                  <a:cubicBezTo>
                    <a:pt x="66" y="38"/>
                    <a:pt x="67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3" y="43"/>
                    <a:pt x="63" y="43"/>
                  </a:cubicBezTo>
                  <a:cubicBezTo>
                    <a:pt x="63" y="43"/>
                    <a:pt x="64" y="42"/>
                    <a:pt x="64" y="43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6" y="41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5" y="42"/>
                    <a:pt x="65" y="42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67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9" y="36"/>
                  </a:move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1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5" y="44"/>
                  </a:move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lose/>
                  <a:moveTo>
                    <a:pt x="65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5" y="43"/>
                    <a:pt x="65" y="43"/>
                  </a:cubicBezTo>
                  <a:close/>
                  <a:moveTo>
                    <a:pt x="69" y="38"/>
                  </a:move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8" y="42"/>
                  </a:cubicBezTo>
                  <a:cubicBezTo>
                    <a:pt x="67" y="42"/>
                    <a:pt x="67" y="42"/>
                    <a:pt x="67" y="42"/>
                  </a:cubicBezTo>
                  <a:close/>
                  <a:moveTo>
                    <a:pt x="68" y="42"/>
                  </a:move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5" y="45"/>
                    <a:pt x="65" y="45"/>
                  </a:cubicBezTo>
                  <a:cubicBezTo>
                    <a:pt x="65" y="45"/>
                    <a:pt x="66" y="45"/>
                    <a:pt x="66" y="46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9"/>
                  </a:cubicBezTo>
                  <a:cubicBezTo>
                    <a:pt x="70" y="39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5"/>
                  </a:cubicBezTo>
                  <a:cubicBezTo>
                    <a:pt x="66" y="45"/>
                    <a:pt x="66" y="45"/>
                    <a:pt x="66" y="44"/>
                  </a:cubicBezTo>
                  <a:cubicBezTo>
                    <a:pt x="66" y="44"/>
                    <a:pt x="66" y="45"/>
                    <a:pt x="66" y="44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8"/>
                  </a:cubicBezTo>
                  <a:cubicBezTo>
                    <a:pt x="65" y="48"/>
                    <a:pt x="65" y="48"/>
                    <a:pt x="64" y="47"/>
                  </a:cubicBezTo>
                  <a:cubicBezTo>
                    <a:pt x="65" y="47"/>
                    <a:pt x="64" y="47"/>
                    <a:pt x="65" y="47"/>
                  </a:cubicBezTo>
                  <a:close/>
                  <a:moveTo>
                    <a:pt x="66" y="48"/>
                  </a:moveTo>
                  <a:cubicBezTo>
                    <a:pt x="67" y="48"/>
                    <a:pt x="68" y="48"/>
                    <a:pt x="68" y="49"/>
                  </a:cubicBezTo>
                  <a:cubicBezTo>
                    <a:pt x="67" y="48"/>
                    <a:pt x="67" y="48"/>
                    <a:pt x="65" y="48"/>
                  </a:cubicBezTo>
                  <a:cubicBezTo>
                    <a:pt x="66" y="47"/>
                    <a:pt x="65" y="47"/>
                    <a:pt x="65" y="47"/>
                  </a:cubicBezTo>
                  <a:cubicBezTo>
                    <a:pt x="66" y="47"/>
                    <a:pt x="66" y="48"/>
                    <a:pt x="66" y="48"/>
                  </a:cubicBezTo>
                  <a:close/>
                  <a:moveTo>
                    <a:pt x="67" y="44"/>
                  </a:moveTo>
                  <a:cubicBezTo>
                    <a:pt x="67" y="44"/>
                    <a:pt x="68" y="44"/>
                    <a:pt x="68" y="44"/>
                  </a:cubicBezTo>
                  <a:cubicBezTo>
                    <a:pt x="67" y="44"/>
                    <a:pt x="67" y="44"/>
                    <a:pt x="67" y="44"/>
                  </a:cubicBezTo>
                  <a:close/>
                  <a:moveTo>
                    <a:pt x="67" y="43"/>
                  </a:moveTo>
                  <a:cubicBezTo>
                    <a:pt x="67" y="43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4"/>
                    <a:pt x="67" y="43"/>
                  </a:cubicBezTo>
                  <a:close/>
                  <a:moveTo>
                    <a:pt x="65" y="47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7"/>
                    <a:pt x="65" y="47"/>
                  </a:cubicBezTo>
                  <a:close/>
                  <a:moveTo>
                    <a:pt x="67" y="45"/>
                  </a:moveTo>
                  <a:cubicBezTo>
                    <a:pt x="67" y="46"/>
                    <a:pt x="67" y="45"/>
                    <a:pt x="67" y="45"/>
                  </a:cubicBezTo>
                  <a:cubicBezTo>
                    <a:pt x="66" y="45"/>
                    <a:pt x="67" y="45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8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7" y="47"/>
                    <a:pt x="67" y="48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lose/>
                  <a:moveTo>
                    <a:pt x="69" y="43"/>
                  </a:moveTo>
                  <a:cubicBezTo>
                    <a:pt x="69" y="43"/>
                    <a:pt x="68" y="43"/>
                    <a:pt x="69" y="43"/>
                  </a:cubicBezTo>
                  <a:cubicBezTo>
                    <a:pt x="69" y="43"/>
                    <a:pt x="68" y="43"/>
                    <a:pt x="68" y="43"/>
                  </a:cubicBezTo>
                  <a:cubicBezTo>
                    <a:pt x="68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69" y="42"/>
                  </a:moveTo>
                  <a:cubicBezTo>
                    <a:pt x="69" y="42"/>
                    <a:pt x="69" y="42"/>
                    <a:pt x="70" y="42"/>
                  </a:cubicBezTo>
                  <a:cubicBezTo>
                    <a:pt x="70" y="42"/>
                    <a:pt x="69" y="42"/>
                    <a:pt x="69" y="42"/>
                  </a:cubicBezTo>
                  <a:close/>
                  <a:moveTo>
                    <a:pt x="70" y="42"/>
                  </a:move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70" y="42"/>
                    <a:pt x="70" y="42"/>
                  </a:cubicBezTo>
                  <a:close/>
                  <a:moveTo>
                    <a:pt x="68" y="44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9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4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lose/>
                  <a:moveTo>
                    <a:pt x="69" y="43"/>
                  </a:moveTo>
                  <a:cubicBezTo>
                    <a:pt x="70" y="42"/>
                    <a:pt x="70" y="43"/>
                    <a:pt x="70" y="43"/>
                  </a:cubicBezTo>
                  <a:cubicBezTo>
                    <a:pt x="70" y="43"/>
                    <a:pt x="70" y="43"/>
                    <a:pt x="69" y="43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7"/>
                  </a:cubicBezTo>
                  <a:cubicBezTo>
                    <a:pt x="67" y="47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8" y="47"/>
                    <a:pt x="68" y="48"/>
                  </a:cubicBezTo>
                  <a:cubicBezTo>
                    <a:pt x="68" y="48"/>
                    <a:pt x="68" y="47"/>
                    <a:pt x="67" y="47"/>
                  </a:cubicBezTo>
                  <a:close/>
                  <a:moveTo>
                    <a:pt x="70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5"/>
                    <a:pt x="70" y="45"/>
                  </a:cubicBezTo>
                  <a:cubicBezTo>
                    <a:pt x="70" y="44"/>
                    <a:pt x="70" y="45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8" y="46"/>
                    <a:pt x="69" y="46"/>
                  </a:cubicBezTo>
                  <a:cubicBezTo>
                    <a:pt x="69" y="47"/>
                    <a:pt x="69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8" y="48"/>
                  </a:cubicBezTo>
                  <a:cubicBezTo>
                    <a:pt x="69" y="48"/>
                    <a:pt x="68" y="48"/>
                    <a:pt x="69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2"/>
                    <a:pt x="72" y="43"/>
                    <a:pt x="72" y="43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1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lose/>
                  <a:moveTo>
                    <a:pt x="69" y="49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70" y="48"/>
                  </a:cubicBezTo>
                  <a:cubicBezTo>
                    <a:pt x="69" y="48"/>
                    <a:pt x="69" y="48"/>
                    <a:pt x="69" y="49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70" y="49"/>
                    <a:pt x="70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2" y="44"/>
                    <a:pt x="72" y="45"/>
                    <a:pt x="71" y="45"/>
                  </a:cubicBezTo>
                  <a:close/>
                  <a:moveTo>
                    <a:pt x="71" y="46"/>
                  </a:move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2" y="46"/>
                    <a:pt x="72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3" y="43"/>
                  </a:moveTo>
                  <a:cubicBezTo>
                    <a:pt x="74" y="43"/>
                    <a:pt x="74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49"/>
                  </a:cubicBezTo>
                  <a:cubicBezTo>
                    <a:pt x="70" y="49"/>
                    <a:pt x="70" y="50"/>
                    <a:pt x="70" y="50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1" y="48"/>
                    <a:pt x="71" y="48"/>
                  </a:cubicBezTo>
                  <a:close/>
                  <a:moveTo>
                    <a:pt x="74" y="46"/>
                  </a:moveTo>
                  <a:cubicBezTo>
                    <a:pt x="74" y="46"/>
                    <a:pt x="73" y="46"/>
                    <a:pt x="73" y="46"/>
                  </a:cubicBezTo>
                  <a:cubicBezTo>
                    <a:pt x="73" y="45"/>
                    <a:pt x="73" y="45"/>
                    <a:pt x="74" y="46"/>
                  </a:cubicBez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6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lose/>
                  <a:moveTo>
                    <a:pt x="74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7"/>
                  </a:cubicBezTo>
                  <a:cubicBezTo>
                    <a:pt x="75" y="47"/>
                    <a:pt x="74" y="46"/>
                    <a:pt x="74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5" y="45"/>
                  </a:cubicBezTo>
                  <a:cubicBezTo>
                    <a:pt x="75" y="45"/>
                    <a:pt x="76" y="45"/>
                    <a:pt x="76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4"/>
                    <a:pt x="75" y="44"/>
                  </a:cubicBezTo>
                  <a:cubicBezTo>
                    <a:pt x="76" y="44"/>
                    <a:pt x="76" y="44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3" y="50"/>
                  </a:moveTo>
                  <a:cubicBezTo>
                    <a:pt x="73" y="51"/>
                    <a:pt x="73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3" y="51"/>
                  </a:moveTo>
                  <a:cubicBezTo>
                    <a:pt x="73" y="51"/>
                    <a:pt x="74" y="52"/>
                    <a:pt x="74" y="52"/>
                  </a:cubicBezTo>
                  <a:cubicBezTo>
                    <a:pt x="74" y="52"/>
                    <a:pt x="73" y="52"/>
                    <a:pt x="73" y="51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4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7" y="47"/>
                    <a:pt x="77" y="47"/>
                  </a:cubicBezTo>
                  <a:cubicBezTo>
                    <a:pt x="77" y="47"/>
                    <a:pt x="77" y="47"/>
                    <a:pt x="76" y="47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8"/>
                  </a:moveTo>
                  <a:cubicBezTo>
                    <a:pt x="76" y="48"/>
                    <a:pt x="77" y="48"/>
                    <a:pt x="77" y="48"/>
                  </a:cubicBezTo>
                  <a:cubicBezTo>
                    <a:pt x="77" y="48"/>
                    <a:pt x="76" y="48"/>
                    <a:pt x="76" y="48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6" y="50"/>
                    <a:pt x="76" y="50"/>
                    <a:pt x="75" y="50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7" y="51"/>
                  </a:move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6" y="51"/>
                    <a:pt x="76" y="51"/>
                  </a:cubicBezTo>
                  <a:cubicBezTo>
                    <a:pt x="76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lose/>
                  <a:moveTo>
                    <a:pt x="80" y="47"/>
                  </a:moveTo>
                  <a:cubicBezTo>
                    <a:pt x="80" y="47"/>
                    <a:pt x="80" y="47"/>
                    <a:pt x="79" y="47"/>
                  </a:cubicBezTo>
                  <a:cubicBezTo>
                    <a:pt x="80" y="47"/>
                    <a:pt x="80" y="47"/>
                    <a:pt x="80" y="47"/>
                  </a:cubicBezTo>
                  <a:close/>
                  <a:moveTo>
                    <a:pt x="78" y="51"/>
                  </a:moveTo>
                  <a:cubicBezTo>
                    <a:pt x="78" y="50"/>
                    <a:pt x="78" y="51"/>
                    <a:pt x="78" y="50"/>
                  </a:cubicBezTo>
                  <a:cubicBezTo>
                    <a:pt x="78" y="50"/>
                    <a:pt x="78" y="50"/>
                    <a:pt x="77" y="50"/>
                  </a:cubicBezTo>
                  <a:cubicBezTo>
                    <a:pt x="77" y="50"/>
                    <a:pt x="77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1"/>
                    <a:pt x="78" y="51"/>
                  </a:cubicBezTo>
                  <a:close/>
                  <a:moveTo>
                    <a:pt x="76" y="53"/>
                  </a:moveTo>
                  <a:cubicBezTo>
                    <a:pt x="76" y="53"/>
                    <a:pt x="76" y="53"/>
                    <a:pt x="77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2"/>
                  </a:move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7" y="52"/>
                    <a:pt x="77" y="52"/>
                    <a:pt x="77" y="52"/>
                  </a:cubicBezTo>
                  <a:close/>
                  <a:moveTo>
                    <a:pt x="79" y="49"/>
                  </a:moveTo>
                  <a:cubicBezTo>
                    <a:pt x="79" y="49"/>
                    <a:pt x="79" y="48"/>
                    <a:pt x="79" y="48"/>
                  </a:cubicBezTo>
                  <a:cubicBezTo>
                    <a:pt x="79" y="48"/>
                    <a:pt x="79" y="48"/>
                    <a:pt x="79" y="49"/>
                  </a:cubicBezTo>
                  <a:close/>
                  <a:moveTo>
                    <a:pt x="78" y="51"/>
                  </a:moveTo>
                  <a:cubicBezTo>
                    <a:pt x="78" y="52"/>
                    <a:pt x="78" y="52"/>
                    <a:pt x="79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8" y="52"/>
                    <a:pt x="78" y="51"/>
                    <a:pt x="78" y="51"/>
                  </a:cubicBezTo>
                  <a:close/>
                  <a:moveTo>
                    <a:pt x="80" y="52"/>
                  </a:moveTo>
                  <a:cubicBezTo>
                    <a:pt x="79" y="51"/>
                    <a:pt x="79" y="51"/>
                    <a:pt x="78" y="51"/>
                  </a:cubicBezTo>
                  <a:cubicBezTo>
                    <a:pt x="78" y="51"/>
                    <a:pt x="80" y="51"/>
                    <a:pt x="80" y="52"/>
                  </a:cubicBezTo>
                  <a:close/>
                  <a:moveTo>
                    <a:pt x="80" y="48"/>
                  </a:moveTo>
                  <a:cubicBezTo>
                    <a:pt x="80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lose/>
                  <a:moveTo>
                    <a:pt x="77" y="54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4"/>
                  </a:cubicBezTo>
                  <a:close/>
                  <a:moveTo>
                    <a:pt x="78" y="52"/>
                  </a:moveTo>
                  <a:cubicBezTo>
                    <a:pt x="78" y="52"/>
                    <a:pt x="79" y="52"/>
                    <a:pt x="79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79" y="52"/>
                    <a:pt x="79" y="52"/>
                  </a:cubicBezTo>
                  <a:cubicBezTo>
                    <a:pt x="79" y="52"/>
                    <a:pt x="79" y="52"/>
                    <a:pt x="78" y="52"/>
                  </a:cubicBezTo>
                  <a:close/>
                  <a:moveTo>
                    <a:pt x="81" y="49"/>
                  </a:move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0" y="50"/>
                    <a:pt x="81" y="49"/>
                  </a:cubicBezTo>
                  <a:close/>
                  <a:moveTo>
                    <a:pt x="79" y="54"/>
                  </a:move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2" y="48"/>
                  </a:move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7"/>
                    <a:pt x="84" y="47"/>
                  </a:cubicBezTo>
                  <a:cubicBezTo>
                    <a:pt x="84" y="47"/>
                    <a:pt x="84" y="47"/>
                    <a:pt x="84" y="46"/>
                  </a:cubicBezTo>
                  <a:close/>
                  <a:moveTo>
                    <a:pt x="81" y="52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2" y="52"/>
                    <a:pt x="81" y="52"/>
                  </a:cubicBezTo>
                  <a:close/>
                  <a:moveTo>
                    <a:pt x="80" y="54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5"/>
                  </a:move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4"/>
                    <a:pt x="82" y="55"/>
                    <a:pt x="82" y="54"/>
                  </a:cubicBezTo>
                  <a:cubicBezTo>
                    <a:pt x="82" y="54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3" y="56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4" y="54"/>
                    <a:pt x="84" y="53"/>
                  </a:cubicBezTo>
                  <a:cubicBezTo>
                    <a:pt x="84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4" y="56"/>
                  </a:cubicBezTo>
                  <a:close/>
                  <a:moveTo>
                    <a:pt x="86" y="52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50"/>
                    <a:pt x="93" y="50"/>
                  </a:cubicBezTo>
                  <a:cubicBezTo>
                    <a:pt x="91" y="49"/>
                    <a:pt x="90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90" y="48"/>
                    <a:pt x="91" y="49"/>
                    <a:pt x="92" y="49"/>
                  </a:cubicBezTo>
                  <a:cubicBezTo>
                    <a:pt x="92" y="50"/>
                    <a:pt x="92" y="49"/>
                    <a:pt x="92" y="49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5"/>
                    <a:pt x="86" y="55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5"/>
                    <a:pt x="86" y="56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6" y="56"/>
                  </a:cubicBezTo>
                  <a:cubicBezTo>
                    <a:pt x="86" y="56"/>
                    <a:pt x="87" y="56"/>
                    <a:pt x="86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8" y="54"/>
                  </a:move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7" y="57"/>
                    <a:pt x="87" y="57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7"/>
                    <a:pt x="87" y="57"/>
                  </a:cubicBezTo>
                  <a:cubicBezTo>
                    <a:pt x="87" y="57"/>
                    <a:pt x="87" y="58"/>
                    <a:pt x="87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8" y="59"/>
                  </a:moveTo>
                  <a:cubicBezTo>
                    <a:pt x="88" y="59"/>
                    <a:pt x="88" y="58"/>
                    <a:pt x="88" y="58"/>
                  </a:cubicBezTo>
                  <a:cubicBezTo>
                    <a:pt x="88" y="58"/>
                    <a:pt x="88" y="59"/>
                    <a:pt x="88" y="59"/>
                  </a:cubicBezTo>
                  <a:close/>
                  <a:moveTo>
                    <a:pt x="89" y="57"/>
                  </a:move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8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lose/>
                  <a:moveTo>
                    <a:pt x="89" y="58"/>
                  </a:moveTo>
                  <a:cubicBezTo>
                    <a:pt x="89" y="58"/>
                    <a:pt x="88" y="58"/>
                    <a:pt x="88" y="58"/>
                  </a:cubicBezTo>
                  <a:cubicBezTo>
                    <a:pt x="88" y="58"/>
                    <a:pt x="89" y="58"/>
                    <a:pt x="89" y="58"/>
                  </a:cubicBezTo>
                  <a:close/>
                  <a:moveTo>
                    <a:pt x="91" y="55"/>
                  </a:moveTo>
                  <a:cubicBezTo>
                    <a:pt x="91" y="55"/>
                    <a:pt x="92" y="56"/>
                    <a:pt x="92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lose/>
                  <a:moveTo>
                    <a:pt x="90" y="58"/>
                  </a:moveTo>
                  <a:cubicBezTo>
                    <a:pt x="90" y="57"/>
                    <a:pt x="91" y="58"/>
                    <a:pt x="91" y="58"/>
                  </a:cubicBezTo>
                  <a:cubicBezTo>
                    <a:pt x="91" y="58"/>
                    <a:pt x="90" y="58"/>
                    <a:pt x="90" y="58"/>
                  </a:cubicBezTo>
                  <a:close/>
                  <a:moveTo>
                    <a:pt x="92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2" y="58"/>
                  </a:cubicBezTo>
                  <a:close/>
                  <a:moveTo>
                    <a:pt x="92" y="57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3" y="57"/>
                    <a:pt x="92" y="57"/>
                    <a:pt x="92" y="57"/>
                  </a:cubicBezTo>
                  <a:cubicBezTo>
                    <a:pt x="93" y="57"/>
                    <a:pt x="93" y="58"/>
                    <a:pt x="94" y="58"/>
                  </a:cubicBezTo>
                  <a:cubicBezTo>
                    <a:pt x="94" y="58"/>
                    <a:pt x="95" y="59"/>
                    <a:pt x="95" y="59"/>
                  </a:cubicBezTo>
                  <a:cubicBezTo>
                    <a:pt x="94" y="58"/>
                    <a:pt x="93" y="58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1" y="60"/>
                  </a:cubicBezTo>
                  <a:cubicBezTo>
                    <a:pt x="90" y="60"/>
                    <a:pt x="91" y="60"/>
                    <a:pt x="91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1" y="58"/>
                  </a:cubicBezTo>
                  <a:cubicBezTo>
                    <a:pt x="91" y="57"/>
                    <a:pt x="92" y="58"/>
                    <a:pt x="92" y="58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1" y="59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0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3" y="55"/>
                  </a:move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3" y="55"/>
                  </a:cubicBezTo>
                  <a:close/>
                  <a:moveTo>
                    <a:pt x="93" y="56"/>
                  </a:moveTo>
                  <a:cubicBezTo>
                    <a:pt x="93" y="56"/>
                    <a:pt x="93" y="56"/>
                    <a:pt x="93" y="57"/>
                  </a:cubicBezTo>
                  <a:cubicBezTo>
                    <a:pt x="93" y="57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61"/>
                    <a:pt x="91" y="61"/>
                  </a:cubicBezTo>
                  <a:close/>
                  <a:moveTo>
                    <a:pt x="92" y="58"/>
                  </a:moveTo>
                  <a:cubicBezTo>
                    <a:pt x="92" y="58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8"/>
                    <a:pt x="92" y="58"/>
                  </a:cubicBezTo>
                  <a:close/>
                  <a:moveTo>
                    <a:pt x="93" y="60"/>
                  </a:moveTo>
                  <a:cubicBezTo>
                    <a:pt x="93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60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5" y="60"/>
                  </a:moveTo>
                  <a:cubicBezTo>
                    <a:pt x="95" y="60"/>
                    <a:pt x="94" y="60"/>
                    <a:pt x="94" y="60"/>
                  </a:cubicBezTo>
                  <a:cubicBezTo>
                    <a:pt x="94" y="60"/>
                    <a:pt x="94" y="60"/>
                    <a:pt x="95" y="60"/>
                  </a:cubicBezTo>
                  <a:close/>
                  <a:moveTo>
                    <a:pt x="97" y="56"/>
                  </a:move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lose/>
                  <a:moveTo>
                    <a:pt x="96" y="61"/>
                  </a:moveTo>
                  <a:cubicBezTo>
                    <a:pt x="96" y="61"/>
                    <a:pt x="97" y="61"/>
                    <a:pt x="97" y="61"/>
                  </a:cubicBezTo>
                  <a:cubicBezTo>
                    <a:pt x="97" y="61"/>
                    <a:pt x="97" y="61"/>
                    <a:pt x="96" y="61"/>
                  </a:cubicBezTo>
                  <a:close/>
                  <a:moveTo>
                    <a:pt x="101" y="58"/>
                  </a:moveTo>
                  <a:cubicBezTo>
                    <a:pt x="101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99" y="57"/>
                    <a:pt x="99" y="57"/>
                    <a:pt x="99" y="56"/>
                  </a:cubicBezTo>
                  <a:cubicBezTo>
                    <a:pt x="99" y="56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1" y="57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8" y="59"/>
                  </a:moveTo>
                  <a:cubicBezTo>
                    <a:pt x="98" y="58"/>
                    <a:pt x="99" y="59"/>
                    <a:pt x="99" y="59"/>
                  </a:cubicBezTo>
                  <a:lnTo>
                    <a:pt x="98" y="59"/>
                  </a:lnTo>
                  <a:close/>
                  <a:moveTo>
                    <a:pt x="100" y="58"/>
                  </a:moveTo>
                  <a:cubicBezTo>
                    <a:pt x="100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100" y="58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8"/>
                  </a:cubicBezTo>
                  <a:cubicBezTo>
                    <a:pt x="100" y="58"/>
                    <a:pt x="99" y="57"/>
                    <a:pt x="99" y="57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7"/>
                  </a:cubicBezTo>
                  <a:cubicBezTo>
                    <a:pt x="100" y="57"/>
                    <a:pt x="99" y="57"/>
                    <a:pt x="99" y="57"/>
                  </a:cubicBezTo>
                  <a:close/>
                  <a:moveTo>
                    <a:pt x="101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lose/>
                  <a:moveTo>
                    <a:pt x="101" y="55"/>
                  </a:moveTo>
                  <a:cubicBezTo>
                    <a:pt x="101" y="55"/>
                    <a:pt x="101" y="55"/>
                    <a:pt x="101" y="55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6"/>
                    <a:pt x="101" y="55"/>
                    <a:pt x="100" y="55"/>
                  </a:cubicBezTo>
                  <a:cubicBezTo>
                    <a:pt x="101" y="55"/>
                    <a:pt x="101" y="55"/>
                    <a:pt x="101" y="55"/>
                  </a:cubicBezTo>
                  <a:close/>
                  <a:moveTo>
                    <a:pt x="98" y="61"/>
                  </a:moveTo>
                  <a:cubicBezTo>
                    <a:pt x="98" y="62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8"/>
                  </a:cubicBezTo>
                  <a:cubicBezTo>
                    <a:pt x="100" y="58"/>
                    <a:pt x="100" y="58"/>
                    <a:pt x="100" y="57"/>
                  </a:cubicBezTo>
                  <a:close/>
                  <a:moveTo>
                    <a:pt x="99" y="58"/>
                  </a:move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8"/>
                  </a:cubicBezTo>
                  <a:close/>
                  <a:moveTo>
                    <a:pt x="97" y="64"/>
                  </a:moveTo>
                  <a:cubicBezTo>
                    <a:pt x="97" y="65"/>
                    <a:pt x="97" y="65"/>
                    <a:pt x="97" y="64"/>
                  </a:cubicBezTo>
                  <a:cubicBezTo>
                    <a:pt x="97" y="64"/>
                    <a:pt x="97" y="64"/>
                    <a:pt x="97" y="64"/>
                  </a:cubicBezTo>
                  <a:close/>
                  <a:moveTo>
                    <a:pt x="99" y="61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lose/>
                  <a:moveTo>
                    <a:pt x="98" y="65"/>
                  </a:moveTo>
                  <a:cubicBezTo>
                    <a:pt x="98" y="65"/>
                    <a:pt x="97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1" y="60"/>
                  </a:moveTo>
                  <a:cubicBezTo>
                    <a:pt x="101" y="60"/>
                    <a:pt x="101" y="60"/>
                    <a:pt x="100" y="60"/>
                  </a:cubicBezTo>
                  <a:cubicBezTo>
                    <a:pt x="101" y="60"/>
                    <a:pt x="101" y="60"/>
                    <a:pt x="100" y="60"/>
                  </a:cubicBezTo>
                  <a:cubicBezTo>
                    <a:pt x="100" y="60"/>
                    <a:pt x="100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lose/>
                  <a:moveTo>
                    <a:pt x="102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2" y="57"/>
                  </a:cubicBezTo>
                  <a:cubicBezTo>
                    <a:pt x="103" y="57"/>
                    <a:pt x="102" y="57"/>
                    <a:pt x="102" y="57"/>
                  </a:cubicBezTo>
                  <a:close/>
                  <a:moveTo>
                    <a:pt x="101" y="61"/>
                  </a:move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0"/>
                    <a:pt x="101" y="61"/>
                    <a:pt x="101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ubicBezTo>
                    <a:pt x="102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3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lose/>
                  <a:moveTo>
                    <a:pt x="102" y="58"/>
                  </a:move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lose/>
                  <a:moveTo>
                    <a:pt x="101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1" y="62"/>
                    <a:pt x="101" y="62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3" y="59"/>
                  </a:cubicBezTo>
                  <a:cubicBezTo>
                    <a:pt x="103" y="59"/>
                    <a:pt x="102" y="59"/>
                    <a:pt x="102" y="59"/>
                  </a:cubicBezTo>
                  <a:close/>
                  <a:moveTo>
                    <a:pt x="103" y="58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3" y="61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1"/>
                    <a:pt x="102" y="62"/>
                    <a:pt x="102" y="62"/>
                  </a:cubicBezTo>
                  <a:cubicBezTo>
                    <a:pt x="102" y="62"/>
                    <a:pt x="102" y="61"/>
                    <a:pt x="102" y="61"/>
                  </a:cubicBezTo>
                  <a:cubicBezTo>
                    <a:pt x="102" y="61"/>
                    <a:pt x="102" y="61"/>
                    <a:pt x="101" y="61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5" y="60"/>
                  </a:moveTo>
                  <a:cubicBezTo>
                    <a:pt x="104" y="60"/>
                    <a:pt x="104" y="59"/>
                    <a:pt x="103" y="59"/>
                  </a:cubicBezTo>
                  <a:cubicBezTo>
                    <a:pt x="104" y="59"/>
                    <a:pt x="104" y="59"/>
                    <a:pt x="105" y="60"/>
                  </a:cubicBezTo>
                  <a:close/>
                  <a:moveTo>
                    <a:pt x="103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3" y="61"/>
                  </a:cubicBezTo>
                  <a:close/>
                  <a:moveTo>
                    <a:pt x="105" y="58"/>
                  </a:moveTo>
                  <a:cubicBezTo>
                    <a:pt x="105" y="58"/>
                    <a:pt x="105" y="58"/>
                    <a:pt x="104" y="58"/>
                  </a:cubicBezTo>
                  <a:cubicBezTo>
                    <a:pt x="105" y="58"/>
                    <a:pt x="105" y="58"/>
                    <a:pt x="105" y="58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3" y="64"/>
                  </a:move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4"/>
                    <a:pt x="103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3"/>
                    <a:pt x="103" y="63"/>
                  </a:cubicBezTo>
                  <a:cubicBezTo>
                    <a:pt x="103" y="63"/>
                    <a:pt x="104" y="63"/>
                    <a:pt x="104" y="64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4" y="63"/>
                    <a:pt x="104" y="63"/>
                    <a:pt x="104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3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4" y="63"/>
                  </a:move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2" y="66"/>
                  </a:cubicBezTo>
                  <a:cubicBezTo>
                    <a:pt x="102" y="66"/>
                    <a:pt x="103" y="66"/>
                    <a:pt x="103" y="66"/>
                  </a:cubicBezTo>
                  <a:close/>
                  <a:moveTo>
                    <a:pt x="106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8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6" y="60"/>
                  </a:moveTo>
                  <a:cubicBezTo>
                    <a:pt x="106" y="60"/>
                    <a:pt x="107" y="61"/>
                    <a:pt x="107" y="61"/>
                  </a:cubicBezTo>
                  <a:cubicBezTo>
                    <a:pt x="107" y="61"/>
                    <a:pt x="106" y="60"/>
                    <a:pt x="106" y="60"/>
                  </a:cubicBezTo>
                  <a:close/>
                  <a:moveTo>
                    <a:pt x="107" y="60"/>
                  </a:move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59"/>
                    <a:pt x="107" y="60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5" y="65"/>
                    <a:pt x="105" y="64"/>
                  </a:cubicBezTo>
                  <a:cubicBezTo>
                    <a:pt x="105" y="64"/>
                    <a:pt x="106" y="65"/>
                    <a:pt x="106" y="64"/>
                  </a:cubicBezTo>
                  <a:cubicBezTo>
                    <a:pt x="106" y="64"/>
                    <a:pt x="106" y="65"/>
                    <a:pt x="106" y="65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lose/>
                  <a:moveTo>
                    <a:pt x="108" y="63"/>
                  </a:moveTo>
                  <a:cubicBezTo>
                    <a:pt x="108" y="63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3"/>
                  </a:cubicBezTo>
                  <a:close/>
                  <a:moveTo>
                    <a:pt x="106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105" y="68"/>
                    <a:pt x="106" y="68"/>
                    <a:pt x="106" y="68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8" y="65"/>
                    <a:pt x="108" y="66"/>
                    <a:pt x="108" y="66"/>
                  </a:cubicBezTo>
                  <a:lnTo>
                    <a:pt x="107" y="65"/>
                  </a:ln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8" y="69"/>
                  </a:moveTo>
                  <a:cubicBezTo>
                    <a:pt x="108" y="69"/>
                    <a:pt x="108" y="69"/>
                    <a:pt x="108" y="70"/>
                  </a:cubicBezTo>
                  <a:cubicBezTo>
                    <a:pt x="107" y="70"/>
                    <a:pt x="107" y="69"/>
                    <a:pt x="107" y="69"/>
                  </a:cubicBezTo>
                  <a:cubicBezTo>
                    <a:pt x="107" y="69"/>
                    <a:pt x="107" y="69"/>
                    <a:pt x="108" y="69"/>
                  </a:cubicBezTo>
                  <a:close/>
                  <a:moveTo>
                    <a:pt x="109" y="66"/>
                  </a:move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lose/>
                  <a:moveTo>
                    <a:pt x="108" y="67"/>
                  </a:moveTo>
                  <a:cubicBezTo>
                    <a:pt x="108" y="67"/>
                    <a:pt x="109" y="67"/>
                    <a:pt x="109" y="67"/>
                  </a:cubicBezTo>
                  <a:cubicBezTo>
                    <a:pt x="109" y="67"/>
                    <a:pt x="108" y="67"/>
                    <a:pt x="108" y="67"/>
                  </a:cubicBezTo>
                  <a:close/>
                  <a:moveTo>
                    <a:pt x="109" y="67"/>
                  </a:moveTo>
                  <a:cubicBezTo>
                    <a:pt x="109" y="66"/>
                    <a:pt x="109" y="67"/>
                    <a:pt x="109" y="67"/>
                  </a:cubicBezTo>
                  <a:close/>
                  <a:moveTo>
                    <a:pt x="107" y="70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8" y="71"/>
                    <a:pt x="107" y="70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3" y="65"/>
                  </a:moveTo>
                  <a:cubicBezTo>
                    <a:pt x="113" y="65"/>
                    <a:pt x="113" y="65"/>
                    <a:pt x="113" y="65"/>
                  </a:cubicBezTo>
                  <a:cubicBezTo>
                    <a:pt x="113" y="65"/>
                    <a:pt x="113" y="65"/>
                    <a:pt x="113" y="65"/>
                  </a:cubicBezTo>
                  <a:close/>
                  <a:moveTo>
                    <a:pt x="111" y="70"/>
                  </a:moveTo>
                  <a:cubicBezTo>
                    <a:pt x="111" y="69"/>
                    <a:pt x="111" y="69"/>
                    <a:pt x="111" y="69"/>
                  </a:cubicBezTo>
                  <a:cubicBezTo>
                    <a:pt x="111" y="69"/>
                    <a:pt x="111" y="70"/>
                    <a:pt x="111" y="70"/>
                  </a:cubicBezTo>
                  <a:close/>
                  <a:moveTo>
                    <a:pt x="112" y="69"/>
                  </a:moveTo>
                  <a:cubicBezTo>
                    <a:pt x="112" y="69"/>
                    <a:pt x="112" y="68"/>
                    <a:pt x="112" y="68"/>
                  </a:cubicBezTo>
                  <a:cubicBezTo>
                    <a:pt x="112" y="68"/>
                    <a:pt x="112" y="69"/>
                    <a:pt x="112" y="69"/>
                  </a:cubicBezTo>
                  <a:close/>
                  <a:moveTo>
                    <a:pt x="114" y="65"/>
                  </a:move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lose/>
                  <a:moveTo>
                    <a:pt x="114" y="66"/>
                  </a:moveTo>
                  <a:cubicBezTo>
                    <a:pt x="114" y="66"/>
                    <a:pt x="114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3" y="71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3" y="70"/>
                    <a:pt x="113" y="71"/>
                  </a:cubicBezTo>
                  <a:close/>
                  <a:moveTo>
                    <a:pt x="117" y="64"/>
                  </a:moveTo>
                  <a:cubicBezTo>
                    <a:pt x="117" y="64"/>
                    <a:pt x="117" y="64"/>
                    <a:pt x="116" y="64"/>
                  </a:cubicBezTo>
                  <a:cubicBezTo>
                    <a:pt x="117" y="64"/>
                    <a:pt x="117" y="64"/>
                    <a:pt x="117" y="64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6"/>
                  </a:cubicBezTo>
                  <a:close/>
                  <a:moveTo>
                    <a:pt x="117" y="72"/>
                  </a:moveTo>
                  <a:cubicBezTo>
                    <a:pt x="117" y="72"/>
                    <a:pt x="118" y="72"/>
                    <a:pt x="118" y="73"/>
                  </a:cubicBezTo>
                  <a:cubicBezTo>
                    <a:pt x="118" y="73"/>
                    <a:pt x="117" y="72"/>
                    <a:pt x="117" y="72"/>
                  </a:cubicBezTo>
                  <a:close/>
                  <a:moveTo>
                    <a:pt x="125" y="71"/>
                  </a:moveTo>
                  <a:cubicBezTo>
                    <a:pt x="125" y="71"/>
                    <a:pt x="125" y="72"/>
                    <a:pt x="125" y="72"/>
                  </a:cubicBezTo>
                  <a:cubicBezTo>
                    <a:pt x="125" y="72"/>
                    <a:pt x="125" y="71"/>
                    <a:pt x="125" y="71"/>
                  </a:cubicBezTo>
                  <a:close/>
                  <a:moveTo>
                    <a:pt x="123" y="75"/>
                  </a:moveTo>
                  <a:cubicBezTo>
                    <a:pt x="124" y="75"/>
                    <a:pt x="124" y="75"/>
                    <a:pt x="124" y="76"/>
                  </a:cubicBezTo>
                  <a:cubicBezTo>
                    <a:pt x="124" y="76"/>
                    <a:pt x="124" y="75"/>
                    <a:pt x="123" y="75"/>
                  </a:cubicBezTo>
                  <a:close/>
                  <a:moveTo>
                    <a:pt x="127" y="72"/>
                  </a:moveTo>
                  <a:cubicBezTo>
                    <a:pt x="126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6" y="72"/>
                    <a:pt x="127" y="72"/>
                    <a:pt x="126" y="72"/>
                  </a:cubicBezTo>
                  <a:cubicBezTo>
                    <a:pt x="126" y="72"/>
                    <a:pt x="126" y="72"/>
                    <a:pt x="127" y="72"/>
                  </a:cubicBezTo>
                  <a:close/>
                  <a:moveTo>
                    <a:pt x="130" y="75"/>
                  </a:moveTo>
                  <a:cubicBezTo>
                    <a:pt x="131" y="74"/>
                    <a:pt x="131" y="75"/>
                    <a:pt x="131" y="75"/>
                  </a:cubicBezTo>
                  <a:cubicBezTo>
                    <a:pt x="131" y="75"/>
                    <a:pt x="130" y="75"/>
                    <a:pt x="130" y="75"/>
                  </a:cubicBezTo>
                  <a:close/>
                  <a:moveTo>
                    <a:pt x="133" y="74"/>
                  </a:moveTo>
                  <a:cubicBezTo>
                    <a:pt x="133" y="74"/>
                    <a:pt x="133" y="74"/>
                    <a:pt x="133" y="75"/>
                  </a:cubicBezTo>
                  <a:cubicBezTo>
                    <a:pt x="133" y="75"/>
                    <a:pt x="133" y="74"/>
                    <a:pt x="133" y="74"/>
                  </a:cubicBezTo>
                  <a:close/>
                  <a:moveTo>
                    <a:pt x="134" y="76"/>
                  </a:moveTo>
                  <a:cubicBezTo>
                    <a:pt x="134" y="75"/>
                    <a:pt x="134" y="76"/>
                    <a:pt x="134" y="75"/>
                  </a:cubicBezTo>
                  <a:cubicBezTo>
                    <a:pt x="135" y="75"/>
                    <a:pt x="134" y="76"/>
                    <a:pt x="134" y="76"/>
                  </a:cubicBezTo>
                  <a:close/>
                  <a:moveTo>
                    <a:pt x="13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4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4" y="77"/>
                    <a:pt x="134" y="77"/>
                  </a:cubicBezTo>
                  <a:cubicBezTo>
                    <a:pt x="134" y="76"/>
                    <a:pt x="135" y="77"/>
                    <a:pt x="135" y="77"/>
                  </a:cubicBezTo>
                  <a:close/>
                  <a:moveTo>
                    <a:pt x="135" y="79"/>
                  </a:moveTo>
                  <a:cubicBezTo>
                    <a:pt x="135" y="79"/>
                    <a:pt x="135" y="79"/>
                    <a:pt x="134" y="79"/>
                  </a:cubicBezTo>
                  <a:cubicBezTo>
                    <a:pt x="135" y="79"/>
                    <a:pt x="135" y="79"/>
                    <a:pt x="135" y="79"/>
                  </a:cubicBezTo>
                  <a:close/>
                  <a:moveTo>
                    <a:pt x="139" y="78"/>
                  </a:moveTo>
                  <a:cubicBezTo>
                    <a:pt x="139" y="78"/>
                    <a:pt x="139" y="78"/>
                    <a:pt x="138" y="78"/>
                  </a:cubicBezTo>
                  <a:cubicBezTo>
                    <a:pt x="138" y="78"/>
                    <a:pt x="137" y="77"/>
                    <a:pt x="137" y="77"/>
                  </a:cubicBezTo>
                  <a:cubicBezTo>
                    <a:pt x="137" y="77"/>
                    <a:pt x="138" y="77"/>
                    <a:pt x="139" y="78"/>
                  </a:cubicBezTo>
                  <a:close/>
                  <a:moveTo>
                    <a:pt x="136" y="80"/>
                  </a:moveTo>
                  <a:cubicBezTo>
                    <a:pt x="136" y="80"/>
                    <a:pt x="136" y="80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lose/>
                  <a:moveTo>
                    <a:pt x="139" y="78"/>
                  </a:moveTo>
                  <a:cubicBezTo>
                    <a:pt x="140" y="78"/>
                    <a:pt x="140" y="79"/>
                    <a:pt x="141" y="79"/>
                  </a:cubicBezTo>
                  <a:cubicBezTo>
                    <a:pt x="140" y="79"/>
                    <a:pt x="139" y="78"/>
                    <a:pt x="139" y="78"/>
                  </a:cubicBezTo>
                  <a:close/>
                  <a:moveTo>
                    <a:pt x="143" y="80"/>
                  </a:moveTo>
                  <a:cubicBezTo>
                    <a:pt x="143" y="80"/>
                    <a:pt x="142" y="80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3" y="81"/>
                  </a:cubicBezTo>
                  <a:close/>
                  <a:moveTo>
                    <a:pt x="140" y="85"/>
                  </a:moveTo>
                  <a:cubicBezTo>
                    <a:pt x="140" y="85"/>
                    <a:pt x="140" y="85"/>
                    <a:pt x="140" y="85"/>
                  </a:cubicBezTo>
                  <a:cubicBezTo>
                    <a:pt x="140" y="85"/>
                    <a:pt x="140" y="85"/>
                    <a:pt x="140" y="85"/>
                  </a:cubicBezTo>
                  <a:close/>
                  <a:moveTo>
                    <a:pt x="143" y="82"/>
                  </a:moveTo>
                  <a:cubicBezTo>
                    <a:pt x="143" y="82"/>
                    <a:pt x="143" y="82"/>
                    <a:pt x="142" y="82"/>
                  </a:cubicBezTo>
                  <a:cubicBezTo>
                    <a:pt x="142" y="82"/>
                    <a:pt x="143" y="82"/>
                    <a:pt x="143" y="82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4" y="82"/>
                    <a:pt x="144" y="82"/>
                  </a:cubicBezTo>
                  <a:cubicBezTo>
                    <a:pt x="144" y="82"/>
                    <a:pt x="143" y="81"/>
                    <a:pt x="143" y="81"/>
                  </a:cubicBezTo>
                  <a:close/>
                  <a:moveTo>
                    <a:pt x="144" y="83"/>
                  </a:moveTo>
                  <a:cubicBezTo>
                    <a:pt x="144" y="83"/>
                    <a:pt x="144" y="83"/>
                    <a:pt x="143" y="83"/>
                  </a:cubicBezTo>
                  <a:cubicBezTo>
                    <a:pt x="144" y="82"/>
                    <a:pt x="144" y="83"/>
                    <a:pt x="144" y="83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2"/>
                    <a:pt x="144" y="82"/>
                  </a:cubicBezTo>
                  <a:close/>
                  <a:moveTo>
                    <a:pt x="145" y="82"/>
                  </a:moveTo>
                  <a:cubicBezTo>
                    <a:pt x="145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5" y="82"/>
                  </a:cubicBezTo>
                  <a:cubicBezTo>
                    <a:pt x="145" y="82"/>
                    <a:pt x="144" y="82"/>
                    <a:pt x="145" y="82"/>
                  </a:cubicBezTo>
                  <a:close/>
                  <a:moveTo>
                    <a:pt x="146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3" y="87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3" y="87"/>
                    <a:pt x="143" y="87"/>
                    <a:pt x="143" y="87"/>
                  </a:cubicBezTo>
                  <a:close/>
                  <a:moveTo>
                    <a:pt x="145" y="88"/>
                  </a:moveTo>
                  <a:cubicBezTo>
                    <a:pt x="145" y="88"/>
                    <a:pt x="144" y="88"/>
                    <a:pt x="144" y="88"/>
                  </a:cubicBezTo>
                  <a:cubicBezTo>
                    <a:pt x="144" y="88"/>
                    <a:pt x="145" y="88"/>
                    <a:pt x="145" y="88"/>
                  </a:cubicBezTo>
                  <a:close/>
                  <a:moveTo>
                    <a:pt x="148" y="84"/>
                  </a:moveTo>
                  <a:cubicBezTo>
                    <a:pt x="148" y="84"/>
                    <a:pt x="149" y="85"/>
                    <a:pt x="150" y="85"/>
                  </a:cubicBezTo>
                  <a:cubicBezTo>
                    <a:pt x="151" y="86"/>
                    <a:pt x="152" y="86"/>
                    <a:pt x="153" y="87"/>
                  </a:cubicBezTo>
                  <a:cubicBezTo>
                    <a:pt x="151" y="86"/>
                    <a:pt x="149" y="85"/>
                    <a:pt x="148" y="84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48" y="86"/>
                  </a:moveTo>
                  <a:cubicBezTo>
                    <a:pt x="148" y="86"/>
                    <a:pt x="149" y="86"/>
                    <a:pt x="148" y="86"/>
                  </a:cubicBezTo>
                  <a:cubicBezTo>
                    <a:pt x="149" y="86"/>
                    <a:pt x="149" y="85"/>
                    <a:pt x="149" y="86"/>
                  </a:cubicBezTo>
                  <a:cubicBezTo>
                    <a:pt x="149" y="86"/>
                    <a:pt x="149" y="86"/>
                    <a:pt x="148" y="86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3"/>
                  </a:cubicBezTo>
                  <a:cubicBezTo>
                    <a:pt x="150" y="83"/>
                    <a:pt x="150" y="83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1" y="84"/>
                    <a:pt x="151" y="84"/>
                  </a:cubicBezTo>
                  <a:cubicBezTo>
                    <a:pt x="151" y="84"/>
                    <a:pt x="151" y="84"/>
                    <a:pt x="151" y="84"/>
                  </a:cubicBezTo>
                  <a:cubicBezTo>
                    <a:pt x="151" y="84"/>
                    <a:pt x="150" y="84"/>
                    <a:pt x="150" y="84"/>
                  </a:cubicBezTo>
                  <a:close/>
                  <a:moveTo>
                    <a:pt x="150" y="86"/>
                  </a:moveTo>
                  <a:cubicBezTo>
                    <a:pt x="150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48" y="91"/>
                  </a:moveTo>
                  <a:cubicBezTo>
                    <a:pt x="148" y="91"/>
                    <a:pt x="148" y="91"/>
                    <a:pt x="149" y="91"/>
                  </a:cubicBezTo>
                  <a:cubicBezTo>
                    <a:pt x="149" y="91"/>
                    <a:pt x="148" y="91"/>
                    <a:pt x="148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87"/>
                    <a:pt x="151" y="88"/>
                    <a:pt x="152" y="88"/>
                  </a:cubicBezTo>
                  <a:close/>
                  <a:moveTo>
                    <a:pt x="151" y="88"/>
                  </a:moveTo>
                  <a:cubicBezTo>
                    <a:pt x="151" y="87"/>
                    <a:pt x="151" y="88"/>
                    <a:pt x="152" y="88"/>
                  </a:cubicBezTo>
                  <a:cubicBezTo>
                    <a:pt x="152" y="87"/>
                    <a:pt x="152" y="88"/>
                    <a:pt x="152" y="87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1" y="88"/>
                  </a:cubicBezTo>
                  <a:close/>
                  <a:moveTo>
                    <a:pt x="152" y="88"/>
                  </a:moveTo>
                  <a:cubicBezTo>
                    <a:pt x="152" y="87"/>
                    <a:pt x="152" y="87"/>
                    <a:pt x="152" y="87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2" y="88"/>
                    <a:pt x="153" y="88"/>
                    <a:pt x="152" y="88"/>
                  </a:cubicBezTo>
                  <a:close/>
                  <a:moveTo>
                    <a:pt x="154" y="86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lose/>
                  <a:moveTo>
                    <a:pt x="151" y="93"/>
                  </a:moveTo>
                  <a:cubicBezTo>
                    <a:pt x="151" y="93"/>
                    <a:pt x="150" y="92"/>
                    <a:pt x="150" y="92"/>
                  </a:cubicBezTo>
                  <a:cubicBezTo>
                    <a:pt x="151" y="92"/>
                    <a:pt x="151" y="93"/>
                    <a:pt x="151" y="93"/>
                  </a:cubicBezTo>
                  <a:close/>
                  <a:moveTo>
                    <a:pt x="153" y="88"/>
                  </a:moveTo>
                  <a:cubicBezTo>
                    <a:pt x="154" y="88"/>
                    <a:pt x="153" y="88"/>
                    <a:pt x="154" y="88"/>
                  </a:cubicBezTo>
                  <a:cubicBezTo>
                    <a:pt x="154" y="88"/>
                    <a:pt x="154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lose/>
                  <a:moveTo>
                    <a:pt x="154" y="86"/>
                  </a:moveTo>
                  <a:cubicBezTo>
                    <a:pt x="155" y="86"/>
                    <a:pt x="155" y="87"/>
                    <a:pt x="156" y="87"/>
                  </a:cubicBezTo>
                  <a:cubicBezTo>
                    <a:pt x="155" y="87"/>
                    <a:pt x="155" y="87"/>
                    <a:pt x="154" y="86"/>
                  </a:cubicBezTo>
                  <a:close/>
                  <a:moveTo>
                    <a:pt x="154" y="88"/>
                  </a:moveTo>
                  <a:cubicBezTo>
                    <a:pt x="154" y="87"/>
                    <a:pt x="154" y="87"/>
                    <a:pt x="154" y="88"/>
                  </a:cubicBezTo>
                  <a:cubicBezTo>
                    <a:pt x="154" y="88"/>
                    <a:pt x="154" y="88"/>
                    <a:pt x="154" y="88"/>
                  </a:cubicBezTo>
                  <a:close/>
                  <a:moveTo>
                    <a:pt x="151" y="92"/>
                  </a:moveTo>
                  <a:cubicBezTo>
                    <a:pt x="152" y="92"/>
                    <a:pt x="152" y="93"/>
                    <a:pt x="152" y="93"/>
                  </a:cubicBezTo>
                  <a:cubicBezTo>
                    <a:pt x="152" y="93"/>
                    <a:pt x="152" y="93"/>
                    <a:pt x="151" y="92"/>
                  </a:cubicBezTo>
                  <a:close/>
                  <a:moveTo>
                    <a:pt x="153" y="90"/>
                  </a:moveTo>
                  <a:cubicBezTo>
                    <a:pt x="153" y="91"/>
                    <a:pt x="153" y="90"/>
                    <a:pt x="153" y="90"/>
                  </a:cubicBezTo>
                  <a:cubicBezTo>
                    <a:pt x="153" y="90"/>
                    <a:pt x="153" y="90"/>
                    <a:pt x="153" y="90"/>
                  </a:cubicBezTo>
                  <a:close/>
                  <a:moveTo>
                    <a:pt x="154" y="89"/>
                  </a:moveTo>
                  <a:cubicBezTo>
                    <a:pt x="154" y="89"/>
                    <a:pt x="154" y="89"/>
                    <a:pt x="155" y="89"/>
                  </a:cubicBezTo>
                  <a:cubicBezTo>
                    <a:pt x="154" y="89"/>
                    <a:pt x="154" y="89"/>
                    <a:pt x="154" y="89"/>
                  </a:cubicBezTo>
                  <a:close/>
                  <a:moveTo>
                    <a:pt x="156" y="87"/>
                  </a:moveTo>
                  <a:cubicBezTo>
                    <a:pt x="156" y="87"/>
                    <a:pt x="156" y="87"/>
                    <a:pt x="156" y="87"/>
                  </a:cubicBezTo>
                  <a:cubicBezTo>
                    <a:pt x="156" y="87"/>
                    <a:pt x="156" y="87"/>
                    <a:pt x="156" y="87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4" y="91"/>
                  </a:cubicBezTo>
                  <a:cubicBezTo>
                    <a:pt x="154" y="91"/>
                    <a:pt x="154" y="91"/>
                    <a:pt x="154" y="91"/>
                  </a:cubicBezTo>
                  <a:close/>
                  <a:moveTo>
                    <a:pt x="153" y="94"/>
                  </a:moveTo>
                  <a:cubicBezTo>
                    <a:pt x="153" y="94"/>
                    <a:pt x="152" y="94"/>
                    <a:pt x="152" y="94"/>
                  </a:cubicBezTo>
                  <a:cubicBezTo>
                    <a:pt x="152" y="93"/>
                    <a:pt x="152" y="94"/>
                    <a:pt x="153" y="94"/>
                  </a:cubicBezTo>
                  <a:close/>
                  <a:moveTo>
                    <a:pt x="158" y="88"/>
                  </a:moveTo>
                  <a:cubicBezTo>
                    <a:pt x="158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7"/>
                    <a:pt x="156" y="87"/>
                  </a:cubicBezTo>
                  <a:cubicBezTo>
                    <a:pt x="157" y="88"/>
                    <a:pt x="157" y="88"/>
                    <a:pt x="158" y="88"/>
                  </a:cubicBezTo>
                  <a:close/>
                  <a:moveTo>
                    <a:pt x="154" y="95"/>
                  </a:move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4"/>
                  </a:cubicBezTo>
                  <a:cubicBezTo>
                    <a:pt x="153" y="94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5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3"/>
                  </a:moveTo>
                  <a:cubicBezTo>
                    <a:pt x="157" y="93"/>
                    <a:pt x="156" y="93"/>
                    <a:pt x="156" y="93"/>
                  </a:cubicBezTo>
                  <a:cubicBezTo>
                    <a:pt x="156" y="93"/>
                    <a:pt x="156" y="92"/>
                    <a:pt x="156" y="92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6" y="96"/>
                  </a:cubicBezTo>
                  <a:cubicBezTo>
                    <a:pt x="155" y="96"/>
                    <a:pt x="155" y="96"/>
                    <a:pt x="155" y="96"/>
                  </a:cubicBezTo>
                  <a:close/>
                  <a:moveTo>
                    <a:pt x="159" y="90"/>
                  </a:moveTo>
                  <a:cubicBezTo>
                    <a:pt x="159" y="89"/>
                    <a:pt x="159" y="89"/>
                    <a:pt x="159" y="89"/>
                  </a:cubicBezTo>
                  <a:cubicBezTo>
                    <a:pt x="159" y="89"/>
                    <a:pt x="159" y="90"/>
                    <a:pt x="159" y="89"/>
                  </a:cubicBezTo>
                  <a:cubicBezTo>
                    <a:pt x="159" y="89"/>
                    <a:pt x="159" y="89"/>
                    <a:pt x="159" y="90"/>
                  </a:cubicBezTo>
                  <a:close/>
                  <a:moveTo>
                    <a:pt x="160" y="91"/>
                  </a:moveTo>
                  <a:cubicBezTo>
                    <a:pt x="160" y="91"/>
                    <a:pt x="160" y="91"/>
                    <a:pt x="159" y="91"/>
                  </a:cubicBezTo>
                  <a:cubicBezTo>
                    <a:pt x="159" y="91"/>
                    <a:pt x="160" y="91"/>
                    <a:pt x="160" y="91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1" y="5"/>
                  </a:moveTo>
                  <a:cubicBezTo>
                    <a:pt x="22" y="6"/>
                    <a:pt x="22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5" y="8"/>
                    <a:pt x="26" y="8"/>
                  </a:cubicBezTo>
                  <a:cubicBezTo>
                    <a:pt x="26" y="8"/>
                    <a:pt x="26" y="8"/>
                    <a:pt x="25" y="8"/>
                  </a:cubicBezTo>
                  <a:cubicBezTo>
                    <a:pt x="26" y="9"/>
                    <a:pt x="27" y="9"/>
                    <a:pt x="27" y="10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7" y="10"/>
                    <a:pt x="27" y="10"/>
                  </a:cubicBezTo>
                  <a:cubicBezTo>
                    <a:pt x="28" y="10"/>
                    <a:pt x="28" y="11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5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6"/>
                  </a:cubicBezTo>
                  <a:cubicBezTo>
                    <a:pt x="36" y="16"/>
                    <a:pt x="35" y="16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0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3" y="22"/>
                    <a:pt x="42" y="22"/>
                  </a:cubicBezTo>
                  <a:cubicBezTo>
                    <a:pt x="42" y="21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0"/>
                    <a:pt x="40" y="21"/>
                    <a:pt x="41" y="21"/>
                  </a:cubicBezTo>
                  <a:cubicBezTo>
                    <a:pt x="41" y="21"/>
                    <a:pt x="40" y="21"/>
                    <a:pt x="40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2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3"/>
                    <a:pt x="43" y="22"/>
                  </a:cubicBezTo>
                  <a:cubicBezTo>
                    <a:pt x="43" y="23"/>
                    <a:pt x="43" y="23"/>
                    <a:pt x="44" y="23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3" y="23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4" y="22"/>
                    <a:pt x="44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8" y="26"/>
                    <a:pt x="48" y="25"/>
                  </a:cubicBezTo>
                  <a:cubicBezTo>
                    <a:pt x="48" y="25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4" y="29"/>
                    <a:pt x="53" y="29"/>
                    <a:pt x="53" y="28"/>
                  </a:cubicBezTo>
                  <a:cubicBezTo>
                    <a:pt x="54" y="29"/>
                    <a:pt x="55" y="30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3" y="29"/>
                    <a:pt x="52" y="28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9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1" y="29"/>
                  </a:cubicBezTo>
                  <a:cubicBezTo>
                    <a:pt x="51" y="29"/>
                    <a:pt x="50" y="29"/>
                    <a:pt x="50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9" y="28"/>
                    <a:pt x="49" y="28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6" y="26"/>
                    <a:pt x="46" y="26"/>
                    <a:pt x="45" y="25"/>
                  </a:cubicBezTo>
                  <a:cubicBezTo>
                    <a:pt x="46" y="25"/>
                    <a:pt x="46" y="26"/>
                    <a:pt x="47" y="26"/>
                  </a:cubicBezTo>
                  <a:cubicBezTo>
                    <a:pt x="47" y="26"/>
                    <a:pt x="47" y="27"/>
                    <a:pt x="48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7" y="26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4" y="24"/>
                    <a:pt x="44" y="24"/>
                  </a:cubicBezTo>
                  <a:cubicBezTo>
                    <a:pt x="44" y="23"/>
                    <a:pt x="43" y="23"/>
                    <a:pt x="42" y="23"/>
                  </a:cubicBezTo>
                  <a:cubicBezTo>
                    <a:pt x="42" y="22"/>
                    <a:pt x="42" y="23"/>
                    <a:pt x="42" y="23"/>
                  </a:cubicBezTo>
                  <a:cubicBezTo>
                    <a:pt x="42" y="22"/>
                    <a:pt x="42" y="23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0"/>
                    <a:pt x="39" y="21"/>
                  </a:cubicBezTo>
                  <a:cubicBezTo>
                    <a:pt x="39" y="20"/>
                    <a:pt x="39" y="20"/>
                    <a:pt x="39" y="21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6" y="19"/>
                    <a:pt x="36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5" y="18"/>
                    <a:pt x="34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6" y="19"/>
                    <a:pt x="35" y="19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7" y="20"/>
                    <a:pt x="37" y="20"/>
                  </a:cubicBez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2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2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3"/>
                    <a:pt x="41" y="24"/>
                    <a:pt x="41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1" y="24"/>
                    <a:pt x="41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5"/>
                    <a:pt x="42" y="25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3" y="25"/>
                    <a:pt x="43" y="25"/>
                  </a:cubicBezTo>
                  <a:cubicBezTo>
                    <a:pt x="42" y="26"/>
                    <a:pt x="43" y="26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5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8"/>
                  </a:cubicBezTo>
                  <a:cubicBezTo>
                    <a:pt x="45" y="27"/>
                    <a:pt x="45" y="28"/>
                    <a:pt x="46" y="27"/>
                  </a:cubicBezTo>
                  <a:cubicBezTo>
                    <a:pt x="45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7"/>
                    <a:pt x="45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9"/>
                    <a:pt x="49" y="29"/>
                    <a:pt x="50" y="29"/>
                  </a:cubicBezTo>
                  <a:cubicBezTo>
                    <a:pt x="50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30"/>
                  </a:cubicBezTo>
                  <a:cubicBezTo>
                    <a:pt x="50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2" y="30"/>
                    <a:pt x="52" y="30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30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7"/>
                    <a:pt x="46" y="27"/>
                  </a:cubicBezTo>
                  <a:cubicBezTo>
                    <a:pt x="46" y="27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5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3" y="26"/>
                  </a:cubicBezTo>
                  <a:cubicBezTo>
                    <a:pt x="43" y="26"/>
                    <a:pt x="43" y="26"/>
                    <a:pt x="42" y="26"/>
                  </a:cubicBezTo>
                  <a:cubicBezTo>
                    <a:pt x="43" y="26"/>
                    <a:pt x="42" y="26"/>
                    <a:pt x="42" y="26"/>
                  </a:cubicBezTo>
                  <a:cubicBezTo>
                    <a:pt x="42" y="26"/>
                    <a:pt x="42" y="26"/>
                    <a:pt x="43" y="26"/>
                  </a:cubicBezTo>
                  <a:cubicBezTo>
                    <a:pt x="43" y="27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9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6" y="24"/>
                    <a:pt x="37" y="24"/>
                    <a:pt x="37" y="24"/>
                  </a:cubicBezTo>
                  <a:cubicBezTo>
                    <a:pt x="37" y="24"/>
                    <a:pt x="37" y="24"/>
                    <a:pt x="36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3"/>
                    <a:pt x="36" y="24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3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2"/>
                  </a:cubicBezTo>
                  <a:cubicBezTo>
                    <a:pt x="34" y="22"/>
                    <a:pt x="34" y="23"/>
                    <a:pt x="34" y="22"/>
                  </a:cubicBezTo>
                  <a:cubicBezTo>
                    <a:pt x="33" y="22"/>
                    <a:pt x="34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3"/>
                    <a:pt x="33" y="22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4" y="23"/>
                    <a:pt x="34" y="23"/>
                    <a:pt x="33" y="23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5"/>
                  </a:cubicBezTo>
                  <a:cubicBezTo>
                    <a:pt x="34" y="25"/>
                    <a:pt x="34" y="24"/>
                    <a:pt x="34" y="24"/>
                  </a:cubicBezTo>
                  <a:cubicBezTo>
                    <a:pt x="34" y="25"/>
                    <a:pt x="35" y="24"/>
                    <a:pt x="35" y="25"/>
                  </a:cubicBezTo>
                  <a:cubicBezTo>
                    <a:pt x="35" y="25"/>
                    <a:pt x="34" y="24"/>
                    <a:pt x="34" y="24"/>
                  </a:cubicBezTo>
                  <a:cubicBezTo>
                    <a:pt x="34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5"/>
                  </a:cubicBezTo>
                  <a:cubicBezTo>
                    <a:pt x="35" y="25"/>
                    <a:pt x="35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5"/>
                    <a:pt x="37" y="26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1" y="28"/>
                  </a:cubicBezTo>
                  <a:cubicBezTo>
                    <a:pt x="41" y="28"/>
                    <a:pt x="40" y="27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8"/>
                    <a:pt x="40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30"/>
                  </a:cubicBezTo>
                  <a:cubicBezTo>
                    <a:pt x="43" y="30"/>
                    <a:pt x="42" y="30"/>
                    <a:pt x="42" y="30"/>
                  </a:cubicBezTo>
                  <a:cubicBezTo>
                    <a:pt x="41" y="29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6"/>
                    <a:pt x="37" y="27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6"/>
                    <a:pt x="34" y="26"/>
                  </a:cubicBezTo>
                  <a:cubicBezTo>
                    <a:pt x="34" y="27"/>
                    <a:pt x="34" y="26"/>
                    <a:pt x="34" y="27"/>
                  </a:cubicBezTo>
                  <a:cubicBezTo>
                    <a:pt x="33" y="26"/>
                    <a:pt x="34" y="26"/>
                    <a:pt x="34" y="26"/>
                  </a:cubicBezTo>
                  <a:cubicBezTo>
                    <a:pt x="34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2" y="26"/>
                  </a:cubicBezTo>
                  <a:cubicBezTo>
                    <a:pt x="32" y="26"/>
                    <a:pt x="33" y="26"/>
                    <a:pt x="32" y="26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5"/>
                    <a:pt x="32" y="25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1" y="26"/>
                    <a:pt x="31" y="27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6"/>
                    <a:pt x="30" y="26"/>
                    <a:pt x="31" y="26"/>
                  </a:cubicBezTo>
                  <a:cubicBezTo>
                    <a:pt x="31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6"/>
                    <a:pt x="29" y="25"/>
                  </a:cubicBezTo>
                  <a:cubicBezTo>
                    <a:pt x="29" y="25"/>
                    <a:pt x="30" y="26"/>
                    <a:pt x="29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8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4"/>
                    <a:pt x="26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5"/>
                    <a:pt x="24" y="24"/>
                    <a:pt x="24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3" y="24"/>
                    <a:pt x="24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3"/>
                  </a:cubicBezTo>
                  <a:cubicBezTo>
                    <a:pt x="22" y="23"/>
                    <a:pt x="22" y="23"/>
                    <a:pt x="22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7" y="22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3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7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7" y="14"/>
                    <a:pt x="8" y="14"/>
                  </a:cubicBezTo>
                  <a:cubicBezTo>
                    <a:pt x="7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4"/>
                    <a:pt x="6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8"/>
                    <a:pt x="0" y="7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1" y="0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9" y="4"/>
                    <a:pt x="20" y="4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3"/>
                    <a:pt x="21" y="23"/>
                    <a:pt x="21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2" y="23"/>
                    <a:pt x="22" y="23"/>
                  </a:cubicBezTo>
                  <a:cubicBezTo>
                    <a:pt x="21" y="22"/>
                    <a:pt x="21" y="22"/>
                    <a:pt x="21" y="23"/>
                  </a:cubicBezTo>
                  <a:close/>
                  <a:moveTo>
                    <a:pt x="26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4" y="23"/>
                  </a:moveTo>
                  <a:cubicBezTo>
                    <a:pt x="23" y="23"/>
                    <a:pt x="24" y="23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3" y="23"/>
                    <a:pt x="24" y="23"/>
                    <a:pt x="24" y="23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6" y="23"/>
                  </a:move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4" y="23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9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3"/>
                    <a:pt x="29" y="24"/>
                    <a:pt x="29" y="24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3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31" y="24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4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5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3" y="25"/>
                    <a:pt x="33" y="25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5"/>
                    <a:pt x="36" y="25"/>
                  </a:cubicBezTo>
                  <a:cubicBezTo>
                    <a:pt x="36" y="25"/>
                    <a:pt x="36" y="26"/>
                    <a:pt x="36" y="26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1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lose/>
                  <a:moveTo>
                    <a:pt x="22" y="17"/>
                  </a:move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1"/>
                    <a:pt x="32" y="22"/>
                    <a:pt x="32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1" y="22"/>
                  </a:moveTo>
                  <a:cubicBezTo>
                    <a:pt x="31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29" y="21"/>
                  </a:moveTo>
                  <a:cubicBezTo>
                    <a:pt x="29" y="21"/>
                    <a:pt x="30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lose/>
                  <a:moveTo>
                    <a:pt x="33" y="22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2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1"/>
                  </a:moveTo>
                  <a:cubicBezTo>
                    <a:pt x="32" y="22"/>
                    <a:pt x="32" y="21"/>
                    <a:pt x="32" y="21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3" y="22"/>
                    <a:pt x="32" y="21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3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3" y="22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5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7" y="23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50" y="30"/>
                  </a:moveTo>
                  <a:cubicBezTo>
                    <a:pt x="50" y="30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36" y="22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9" y="25"/>
                  </a:move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9" y="24"/>
                    <a:pt x="39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6"/>
                    <a:pt x="42" y="26"/>
                  </a:cubicBezTo>
                  <a:cubicBezTo>
                    <a:pt x="42" y="26"/>
                    <a:pt x="41" y="25"/>
                    <a:pt x="41" y="25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0" y="25"/>
                    <a:pt x="40" y="25"/>
                    <a:pt x="41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0" y="25"/>
                    <a:pt x="40" y="24"/>
                    <a:pt x="40" y="25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lose/>
                  <a:moveTo>
                    <a:pt x="38" y="23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8" y="23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2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23"/>
                    <a:pt x="39" y="23"/>
                    <a:pt x="40" y="23"/>
                  </a:cubicBezTo>
                  <a:cubicBezTo>
                    <a:pt x="40" y="23"/>
                    <a:pt x="39" y="23"/>
                    <a:pt x="39" y="23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4" y="18"/>
                    <a:pt x="34" y="18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3" y="18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4" y="18"/>
                  </a:cubicBezTo>
                  <a:close/>
                  <a:moveTo>
                    <a:pt x="34" y="19"/>
                  </a:moveTo>
                  <a:cubicBezTo>
                    <a:pt x="34" y="18"/>
                    <a:pt x="34" y="19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9"/>
                  </a:cubicBezTo>
                  <a:close/>
                  <a:moveTo>
                    <a:pt x="34" y="19"/>
                  </a:moveTo>
                  <a:cubicBezTo>
                    <a:pt x="34" y="19"/>
                    <a:pt x="34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0"/>
                    <a:pt x="37" y="20"/>
                  </a:cubicBezTo>
                  <a:cubicBezTo>
                    <a:pt x="37" y="21"/>
                    <a:pt x="38" y="21"/>
                    <a:pt x="38" y="21"/>
                  </a:cubicBezTo>
                  <a:close/>
                  <a:moveTo>
                    <a:pt x="40" y="22"/>
                  </a:moveTo>
                  <a:cubicBezTo>
                    <a:pt x="40" y="22"/>
                    <a:pt x="39" y="21"/>
                    <a:pt x="39" y="21"/>
                  </a:cubicBezTo>
                  <a:cubicBezTo>
                    <a:pt x="39" y="22"/>
                    <a:pt x="39" y="22"/>
                    <a:pt x="40" y="22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7"/>
                    <a:pt x="32" y="17"/>
                  </a:cubicBezTo>
                  <a:lnTo>
                    <a:pt x="31" y="16"/>
                  </a:ln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lnTo>
                    <a:pt x="33" y="17"/>
                  </a:ln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4" y="18"/>
                  </a:cubicBezTo>
                  <a:cubicBezTo>
                    <a:pt x="34" y="17"/>
                    <a:pt x="34" y="17"/>
                    <a:pt x="33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lose/>
                  <a:moveTo>
                    <a:pt x="49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4"/>
                  </a:moveTo>
                  <a:cubicBezTo>
                    <a:pt x="46" y="24"/>
                    <a:pt x="45" y="24"/>
                    <a:pt x="45" y="24"/>
                  </a:cubicBezTo>
                  <a:cubicBezTo>
                    <a:pt x="45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37" y="19"/>
                  </a:moveTo>
                  <a:cubicBezTo>
                    <a:pt x="37" y="19"/>
                    <a:pt x="36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18"/>
                    <a:pt x="37" y="18"/>
                  </a:cubicBezTo>
                  <a:cubicBezTo>
                    <a:pt x="37" y="19"/>
                    <a:pt x="36" y="18"/>
                    <a:pt x="36" y="18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8" y="19"/>
                    <a:pt x="38" y="20"/>
                  </a:cubicBezTo>
                  <a:cubicBezTo>
                    <a:pt x="38" y="19"/>
                    <a:pt x="37" y="18"/>
                    <a:pt x="37" y="19"/>
                  </a:cubicBezTo>
                  <a:close/>
                  <a:moveTo>
                    <a:pt x="38" y="19"/>
                  </a:moveTo>
                  <a:cubicBezTo>
                    <a:pt x="39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6" y="18"/>
                  </a:move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6" y="18"/>
                    <a:pt x="35" y="18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cubicBezTo>
                    <a:pt x="35" y="18"/>
                    <a:pt x="35" y="17"/>
                    <a:pt x="35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5" y="18"/>
                    <a:pt x="35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lose/>
                  <a:moveTo>
                    <a:pt x="37" y="18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lose/>
                  <a:moveTo>
                    <a:pt x="34" y="15"/>
                  </a:moveTo>
                  <a:cubicBezTo>
                    <a:pt x="34" y="15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0" y="12"/>
                  </a:moveTo>
                  <a:cubicBezTo>
                    <a:pt x="29" y="12"/>
                    <a:pt x="29" y="11"/>
                    <a:pt x="29" y="11"/>
                  </a:cubicBezTo>
                  <a:cubicBezTo>
                    <a:pt x="29" y="11"/>
                    <a:pt x="29" y="12"/>
                    <a:pt x="29" y="11"/>
                  </a:cubicBezTo>
                  <a:cubicBezTo>
                    <a:pt x="29" y="12"/>
                    <a:pt x="30" y="12"/>
                    <a:pt x="30" y="12"/>
                  </a:cubicBezTo>
                  <a:close/>
                  <a:moveTo>
                    <a:pt x="27" y="10"/>
                  </a:move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0"/>
                    <a:pt x="27" y="10"/>
                    <a:pt x="28" y="10"/>
                  </a:cubicBezTo>
                  <a:cubicBezTo>
                    <a:pt x="27" y="10"/>
                    <a:pt x="28" y="10"/>
                    <a:pt x="27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4" y="26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30" y="28"/>
                  </a:moveTo>
                  <a:cubicBezTo>
                    <a:pt x="30" y="28"/>
                    <a:pt x="30" y="28"/>
                    <a:pt x="31" y="28"/>
                  </a:cubicBezTo>
                  <a:cubicBezTo>
                    <a:pt x="31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8"/>
                  </a:cubicBezTo>
                  <a:cubicBezTo>
                    <a:pt x="35" y="28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7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6" y="27"/>
                  </a:move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8" y="28"/>
                    <a:pt x="38" y="29"/>
                  </a:cubicBezTo>
                  <a:cubicBezTo>
                    <a:pt x="38" y="29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8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8"/>
                    <a:pt x="38" y="27"/>
                    <a:pt x="38" y="28"/>
                  </a:cubicBezTo>
                  <a:cubicBezTo>
                    <a:pt x="37" y="28"/>
                    <a:pt x="37" y="27"/>
                    <a:pt x="37" y="27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7" y="29"/>
                    <a:pt x="37" y="29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lose/>
                  <a:moveTo>
                    <a:pt x="39" y="28"/>
                  </a:moveTo>
                  <a:cubicBezTo>
                    <a:pt x="39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28"/>
                    <a:pt x="39" y="28"/>
                    <a:pt x="39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2" y="23"/>
                  </a:moveTo>
                  <a:cubicBezTo>
                    <a:pt x="42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4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9"/>
                  </a:moveTo>
                  <a:cubicBezTo>
                    <a:pt x="41" y="30"/>
                    <a:pt x="42" y="30"/>
                    <a:pt x="43" y="31"/>
                  </a:cubicBezTo>
                  <a:cubicBezTo>
                    <a:pt x="43" y="31"/>
                    <a:pt x="42" y="31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0" y="29"/>
                    <a:pt x="39" y="29"/>
                  </a:cubicBezTo>
                  <a:cubicBezTo>
                    <a:pt x="39" y="29"/>
                    <a:pt x="40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29"/>
                    <a:pt x="41" y="29"/>
                    <a:pt x="40" y="29"/>
                  </a:cubicBezTo>
                  <a:close/>
                  <a:moveTo>
                    <a:pt x="40" y="29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30"/>
                    <a:pt x="39" y="29"/>
                  </a:cubicBezTo>
                  <a:cubicBezTo>
                    <a:pt x="39" y="29"/>
                    <a:pt x="40" y="29"/>
                    <a:pt x="40" y="29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ubicBezTo>
                    <a:pt x="44" y="25"/>
                    <a:pt x="43" y="25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40" y="32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5" y="30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0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8" y="31"/>
                  </a:cubicBezTo>
                  <a:cubicBezTo>
                    <a:pt x="48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7" y="31"/>
                    <a:pt x="47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6" y="32"/>
                    <a:pt x="47" y="33"/>
                    <a:pt x="47" y="32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8" y="34"/>
                  </a:moveTo>
                  <a:cubicBezTo>
                    <a:pt x="48" y="35"/>
                    <a:pt x="49" y="35"/>
                    <a:pt x="50" y="35"/>
                  </a:cubicBezTo>
                  <a:cubicBezTo>
                    <a:pt x="49" y="35"/>
                    <a:pt x="49" y="36"/>
                    <a:pt x="50" y="36"/>
                  </a:cubicBezTo>
                  <a:cubicBezTo>
                    <a:pt x="49" y="36"/>
                    <a:pt x="49" y="35"/>
                    <a:pt x="49" y="35"/>
                  </a:cubicBezTo>
                  <a:cubicBezTo>
                    <a:pt x="48" y="35"/>
                    <a:pt x="47" y="34"/>
                    <a:pt x="46" y="34"/>
                  </a:cubicBezTo>
                  <a:cubicBezTo>
                    <a:pt x="47" y="34"/>
                    <a:pt x="47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8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55" y="28"/>
                  </a:moveTo>
                  <a:cubicBezTo>
                    <a:pt x="55" y="28"/>
                    <a:pt x="54" y="28"/>
                    <a:pt x="54" y="28"/>
                  </a:cubicBezTo>
                  <a:cubicBezTo>
                    <a:pt x="54" y="28"/>
                    <a:pt x="55" y="28"/>
                    <a:pt x="55" y="29"/>
                  </a:cubicBezTo>
                  <a:cubicBezTo>
                    <a:pt x="55" y="29"/>
                    <a:pt x="55" y="28"/>
                    <a:pt x="55" y="28"/>
                  </a:cubicBezTo>
                  <a:cubicBezTo>
                    <a:pt x="55" y="29"/>
                    <a:pt x="55" y="28"/>
                    <a:pt x="55" y="29"/>
                  </a:cubicBezTo>
                  <a:cubicBezTo>
                    <a:pt x="55" y="29"/>
                    <a:pt x="55" y="29"/>
                    <a:pt x="55" y="28"/>
                  </a:cubicBezTo>
                  <a:close/>
                  <a:moveTo>
                    <a:pt x="54" y="30"/>
                  </a:moveTo>
                  <a:cubicBezTo>
                    <a:pt x="54" y="31"/>
                    <a:pt x="54" y="30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6" y="31"/>
                  </a:cubicBezTo>
                  <a:cubicBezTo>
                    <a:pt x="55" y="32"/>
                    <a:pt x="55" y="31"/>
                    <a:pt x="54" y="30"/>
                  </a:cubicBezTo>
                  <a:close/>
                  <a:moveTo>
                    <a:pt x="52" y="35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5"/>
                    <a:pt x="52" y="35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5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3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4"/>
                    <a:pt x="58" y="33"/>
                    <a:pt x="57" y="32"/>
                  </a:cubicBezTo>
                  <a:cubicBezTo>
                    <a:pt x="57" y="32"/>
                    <a:pt x="56" y="32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6" y="32"/>
                  </a:cubicBezTo>
                  <a:cubicBezTo>
                    <a:pt x="57" y="32"/>
                    <a:pt x="58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9" y="34"/>
                    <a:pt x="59" y="33"/>
                    <a:pt x="60" y="33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3"/>
                    <a:pt x="59" y="33"/>
                    <a:pt x="59" y="33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8" y="31"/>
                  </a:move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0"/>
                    <a:pt x="58" y="31"/>
                    <a:pt x="58" y="31"/>
                  </a:cubicBezTo>
                  <a:close/>
                  <a:moveTo>
                    <a:pt x="58" y="30"/>
                  </a:moveTo>
                  <a:cubicBezTo>
                    <a:pt x="58" y="30"/>
                    <a:pt x="59" y="30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58" y="31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9" y="31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60" y="32"/>
                  </a:move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2"/>
                  </a:cubicBezTo>
                  <a:close/>
                  <a:moveTo>
                    <a:pt x="58" y="35"/>
                  </a:moveTo>
                  <a:cubicBezTo>
                    <a:pt x="59" y="35"/>
                    <a:pt x="58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ubicBezTo>
                    <a:pt x="58" y="35"/>
                    <a:pt x="58" y="35"/>
                    <a:pt x="59" y="35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9" y="34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8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6"/>
                    <a:pt x="60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0" y="36"/>
                    <a:pt x="60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2" y="36"/>
                    <a:pt x="62" y="35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4"/>
                    <a:pt x="61" y="34"/>
                    <a:pt x="61" y="33"/>
                  </a:cubicBezTo>
                  <a:cubicBezTo>
                    <a:pt x="61" y="34"/>
                    <a:pt x="61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4" y="35"/>
                    <a:pt x="64" y="35"/>
                  </a:cubicBezTo>
                  <a:cubicBezTo>
                    <a:pt x="64" y="35"/>
                    <a:pt x="65" y="35"/>
                    <a:pt x="65" y="36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4" y="35"/>
                    <a:pt x="64" y="35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4" y="34"/>
                    <a:pt x="64" y="35"/>
                    <a:pt x="65" y="34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6" y="35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7" y="36"/>
                    <a:pt x="67" y="35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5"/>
                  </a:cubicBezTo>
                  <a:cubicBezTo>
                    <a:pt x="67" y="36"/>
                    <a:pt x="68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7"/>
                    <a:pt x="68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70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8" y="37"/>
                  </a:cubicBezTo>
                  <a:cubicBezTo>
                    <a:pt x="68" y="37"/>
                    <a:pt x="69" y="37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9"/>
                  </a:cubicBezTo>
                  <a:cubicBezTo>
                    <a:pt x="69" y="39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40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7"/>
                  </a:cubicBezTo>
                  <a:cubicBezTo>
                    <a:pt x="67" y="37"/>
                    <a:pt x="66" y="37"/>
                    <a:pt x="66" y="36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7" y="38"/>
                  </a:cubicBezTo>
                  <a:cubicBezTo>
                    <a:pt x="67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1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8" y="40"/>
                    <a:pt x="68" y="39"/>
                  </a:cubicBezTo>
                  <a:cubicBezTo>
                    <a:pt x="68" y="39"/>
                    <a:pt x="68" y="39"/>
                    <a:pt x="68" y="40"/>
                  </a:cubicBezTo>
                  <a:cubicBezTo>
                    <a:pt x="67" y="39"/>
                    <a:pt x="65" y="38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7"/>
                    <a:pt x="63" y="37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8"/>
                    <a:pt x="65" y="39"/>
                  </a:cubicBezTo>
                  <a:cubicBezTo>
                    <a:pt x="65" y="39"/>
                    <a:pt x="66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6" y="40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8"/>
                    <a:pt x="64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4" y="38"/>
                    <a:pt x="64" y="39"/>
                  </a:cubicBezTo>
                  <a:cubicBezTo>
                    <a:pt x="64" y="39"/>
                    <a:pt x="63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3" y="38"/>
                    <a:pt x="63" y="38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4" y="39"/>
                    <a:pt x="63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3" y="40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0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8"/>
                    <a:pt x="62" y="39"/>
                    <a:pt x="61" y="39"/>
                  </a:cubicBezTo>
                  <a:cubicBezTo>
                    <a:pt x="61" y="38"/>
                    <a:pt x="61" y="39"/>
                    <a:pt x="62" y="39"/>
                  </a:cubicBezTo>
                  <a:cubicBezTo>
                    <a:pt x="62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0" y="37"/>
                    <a:pt x="60" y="3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7"/>
                  </a:cubicBezTo>
                  <a:cubicBezTo>
                    <a:pt x="63" y="37"/>
                    <a:pt x="62" y="37"/>
                    <a:pt x="63" y="37"/>
                  </a:cubicBezTo>
                  <a:cubicBezTo>
                    <a:pt x="63" y="37"/>
                    <a:pt x="62" y="37"/>
                    <a:pt x="62" y="37"/>
                  </a:cubicBezTo>
                  <a:cubicBezTo>
                    <a:pt x="62" y="37"/>
                    <a:pt x="63" y="37"/>
                    <a:pt x="63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1" y="36"/>
                    <a:pt x="61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5"/>
                    <a:pt x="61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3" y="37"/>
                  </a:cubicBezTo>
                  <a:cubicBezTo>
                    <a:pt x="63" y="37"/>
                    <a:pt x="62" y="36"/>
                    <a:pt x="63" y="37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7"/>
                    <a:pt x="63" y="37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lose/>
                  <a:moveTo>
                    <a:pt x="62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3" y="40"/>
                    <a:pt x="63" y="40"/>
                  </a:cubicBezTo>
                  <a:cubicBezTo>
                    <a:pt x="63" y="40"/>
                    <a:pt x="63" y="40"/>
                    <a:pt x="63" y="39"/>
                  </a:cubicBezTo>
                  <a:cubicBezTo>
                    <a:pt x="63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2" y="39"/>
                    <a:pt x="63" y="39"/>
                    <a:pt x="63" y="39"/>
                  </a:cubicBezTo>
                  <a:cubicBezTo>
                    <a:pt x="63" y="39"/>
                    <a:pt x="63" y="38"/>
                    <a:pt x="63" y="39"/>
                  </a:cubicBezTo>
                  <a:close/>
                  <a:moveTo>
                    <a:pt x="63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lose/>
                  <a:moveTo>
                    <a:pt x="69" y="39"/>
                  </a:moveTo>
                  <a:cubicBezTo>
                    <a:pt x="69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69" y="39"/>
                  </a:cubicBezTo>
                  <a:cubicBezTo>
                    <a:pt x="69" y="39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7"/>
                    <a:pt x="67" y="38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4" y="34"/>
                    <a:pt x="64" y="34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6"/>
                    <a:pt x="67" y="37"/>
                  </a:cubicBez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6"/>
                  </a:cubicBezTo>
                  <a:cubicBezTo>
                    <a:pt x="67" y="37"/>
                    <a:pt x="67" y="36"/>
                    <a:pt x="68" y="37"/>
                  </a:cubicBezTo>
                  <a:cubicBezTo>
                    <a:pt x="68" y="37"/>
                    <a:pt x="67" y="36"/>
                    <a:pt x="68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6" y="37"/>
                    <a:pt x="67" y="37"/>
                  </a:cubicBezTo>
                  <a:close/>
                  <a:moveTo>
                    <a:pt x="65" y="35"/>
                  </a:moveTo>
                  <a:cubicBezTo>
                    <a:pt x="64" y="35"/>
                    <a:pt x="64" y="35"/>
                    <a:pt x="64" y="35"/>
                  </a:cubicBezTo>
                  <a:cubicBezTo>
                    <a:pt x="64" y="36"/>
                    <a:pt x="64" y="35"/>
                    <a:pt x="65" y="35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6" y="38"/>
                  </a:cubicBezTo>
                  <a:cubicBezTo>
                    <a:pt x="65" y="38"/>
                    <a:pt x="66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5" y="37"/>
                    <a:pt x="65" y="38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5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5"/>
                    <a:pt x="64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2" y="35"/>
                  </a:cubicBezTo>
                  <a:cubicBezTo>
                    <a:pt x="63" y="36"/>
                    <a:pt x="63" y="35"/>
                    <a:pt x="64" y="36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5"/>
                    <a:pt x="62" y="35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8" y="39"/>
                  </a:moveTo>
                  <a:cubicBezTo>
                    <a:pt x="68" y="39"/>
                    <a:pt x="69" y="39"/>
                    <a:pt x="69" y="39"/>
                  </a:cubicBezTo>
                  <a:cubicBezTo>
                    <a:pt x="69" y="39"/>
                    <a:pt x="69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9" y="39"/>
                    <a:pt x="68" y="39"/>
                  </a:cubicBezTo>
                  <a:cubicBezTo>
                    <a:pt x="68" y="39"/>
                    <a:pt x="68" y="39"/>
                    <a:pt x="69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lose/>
                  <a:moveTo>
                    <a:pt x="66" y="36"/>
                  </a:moveTo>
                  <a:cubicBezTo>
                    <a:pt x="66" y="36"/>
                    <a:pt x="66" y="36"/>
                    <a:pt x="66" y="35"/>
                  </a:cubicBezTo>
                  <a:cubicBezTo>
                    <a:pt x="66" y="35"/>
                    <a:pt x="66" y="36"/>
                    <a:pt x="66" y="36"/>
                  </a:cubicBezTo>
                  <a:close/>
                  <a:moveTo>
                    <a:pt x="60" y="36"/>
                  </a:moveTo>
                  <a:cubicBezTo>
                    <a:pt x="59" y="36"/>
                    <a:pt x="60" y="36"/>
                    <a:pt x="59" y="36"/>
                  </a:cubicBezTo>
                  <a:cubicBezTo>
                    <a:pt x="60" y="36"/>
                    <a:pt x="60" y="37"/>
                    <a:pt x="60" y="36"/>
                  </a:cubicBezTo>
                  <a:close/>
                  <a:moveTo>
                    <a:pt x="59" y="37"/>
                  </a:moveTo>
                  <a:cubicBezTo>
                    <a:pt x="59" y="37"/>
                    <a:pt x="59" y="37"/>
                    <a:pt x="59" y="38"/>
                  </a:cubicBez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7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58" y="42"/>
                  </a:moveTo>
                  <a:cubicBezTo>
                    <a:pt x="58" y="42"/>
                    <a:pt x="58" y="42"/>
                    <a:pt x="57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lose/>
                  <a:moveTo>
                    <a:pt x="59" y="40"/>
                  </a:moveTo>
                  <a:cubicBezTo>
                    <a:pt x="59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9"/>
                    <a:pt x="60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2" y="41"/>
                    <a:pt x="62" y="41"/>
                  </a:cubicBezTo>
                  <a:cubicBezTo>
                    <a:pt x="62" y="42"/>
                    <a:pt x="62" y="41"/>
                    <a:pt x="61" y="41"/>
                  </a:cubicBezTo>
                  <a:cubicBezTo>
                    <a:pt x="62" y="41"/>
                    <a:pt x="62" y="42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3" y="43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3" y="43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4"/>
                    <a:pt x="62" y="43"/>
                    <a:pt x="62" y="44"/>
                  </a:cubicBezTo>
                  <a:cubicBezTo>
                    <a:pt x="62" y="44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5"/>
                    <a:pt x="63" y="44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3" y="45"/>
                    <a:pt x="62" y="45"/>
                    <a:pt x="63" y="44"/>
                  </a:cubicBezTo>
                  <a:cubicBezTo>
                    <a:pt x="62" y="44"/>
                    <a:pt x="62" y="44"/>
                    <a:pt x="61" y="44"/>
                  </a:cubicBezTo>
                  <a:cubicBezTo>
                    <a:pt x="62" y="44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2" y="43"/>
                    <a:pt x="61" y="43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0" y="42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1" y="41"/>
                  </a:cubicBezTo>
                  <a:cubicBezTo>
                    <a:pt x="61" y="41"/>
                    <a:pt x="60" y="40"/>
                    <a:pt x="60" y="40"/>
                  </a:cubicBezTo>
                  <a:cubicBezTo>
                    <a:pt x="60" y="40"/>
                    <a:pt x="59" y="40"/>
                    <a:pt x="59" y="40"/>
                  </a:cubicBezTo>
                  <a:close/>
                  <a:moveTo>
                    <a:pt x="62" y="43"/>
                  </a:move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2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0"/>
                    <a:pt x="61" y="40"/>
                  </a:cubicBezTo>
                  <a:cubicBezTo>
                    <a:pt x="61" y="40"/>
                    <a:pt x="61" y="41"/>
                    <a:pt x="61" y="41"/>
                  </a:cubicBezTo>
                  <a:close/>
                  <a:moveTo>
                    <a:pt x="61" y="36"/>
                  </a:moveTo>
                  <a:cubicBezTo>
                    <a:pt x="62" y="36"/>
                    <a:pt x="61" y="37"/>
                    <a:pt x="62" y="37"/>
                  </a:cubicBezTo>
                  <a:cubicBezTo>
                    <a:pt x="62" y="37"/>
                    <a:pt x="62" y="37"/>
                    <a:pt x="61" y="36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5" y="40"/>
                  </a:moveTo>
                  <a:cubicBezTo>
                    <a:pt x="65" y="40"/>
                    <a:pt x="64" y="40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5" y="39"/>
                  </a:cubicBezTo>
                  <a:cubicBezTo>
                    <a:pt x="64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6" y="40"/>
                    <a:pt x="65" y="41"/>
                  </a:cubicBezTo>
                  <a:cubicBezTo>
                    <a:pt x="66" y="40"/>
                    <a:pt x="65" y="40"/>
                    <a:pt x="65" y="40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5" y="38"/>
                    <a:pt x="65" y="39"/>
                  </a:cubicBezTo>
                  <a:cubicBezTo>
                    <a:pt x="65" y="38"/>
                    <a:pt x="66" y="39"/>
                    <a:pt x="66" y="39"/>
                  </a:cubicBezTo>
                  <a:close/>
                  <a:moveTo>
                    <a:pt x="96" y="57"/>
                  </a:move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9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61"/>
                    <a:pt x="99" y="59"/>
                    <a:pt x="98" y="60"/>
                  </a:cubicBezTo>
                  <a:cubicBezTo>
                    <a:pt x="98" y="60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0"/>
                    <a:pt x="99" y="61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0"/>
                    <a:pt x="100" y="60"/>
                  </a:cubicBezTo>
                  <a:cubicBezTo>
                    <a:pt x="99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99" y="61"/>
                    <a:pt x="100" y="61"/>
                  </a:cubicBezTo>
                  <a:cubicBezTo>
                    <a:pt x="99" y="60"/>
                    <a:pt x="98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6" y="59"/>
                  </a:cubicBezTo>
                  <a:cubicBezTo>
                    <a:pt x="97" y="59"/>
                    <a:pt x="97" y="60"/>
                    <a:pt x="98" y="60"/>
                  </a:cubicBezTo>
                  <a:cubicBezTo>
                    <a:pt x="98" y="60"/>
                    <a:pt x="98" y="60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7" y="60"/>
                    <a:pt x="97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7" y="61"/>
                    <a:pt x="97" y="60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5" y="58"/>
                    <a:pt x="94" y="58"/>
                    <a:pt x="94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8"/>
                    <a:pt x="96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6" y="59"/>
                    <a:pt x="97" y="58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5" y="58"/>
                    <a:pt x="95" y="58"/>
                    <a:pt x="94" y="57"/>
                  </a:cubicBezTo>
                  <a:cubicBezTo>
                    <a:pt x="95" y="57"/>
                    <a:pt x="94" y="57"/>
                    <a:pt x="94" y="56"/>
                  </a:cubicBezTo>
                  <a:cubicBezTo>
                    <a:pt x="93" y="56"/>
                    <a:pt x="94" y="57"/>
                    <a:pt x="93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2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6"/>
                    <a:pt x="93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0" y="54"/>
                  </a:cubicBezTo>
                  <a:cubicBezTo>
                    <a:pt x="90" y="54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5"/>
                    <a:pt x="90" y="54"/>
                    <a:pt x="89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9" y="53"/>
                  </a:cubicBezTo>
                  <a:cubicBezTo>
                    <a:pt x="89" y="53"/>
                    <a:pt x="88" y="53"/>
                    <a:pt x="88" y="53"/>
                  </a:cubicBezTo>
                  <a:cubicBezTo>
                    <a:pt x="87" y="52"/>
                    <a:pt x="86" y="52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7" y="51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3"/>
                    <a:pt x="89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1"/>
                    <a:pt x="87" y="52"/>
                  </a:cubicBezTo>
                  <a:cubicBezTo>
                    <a:pt x="87" y="52"/>
                    <a:pt x="87" y="52"/>
                    <a:pt x="87" y="51"/>
                  </a:cubicBezTo>
                  <a:cubicBezTo>
                    <a:pt x="87" y="51"/>
                    <a:pt x="87" y="51"/>
                    <a:pt x="87" y="52"/>
                  </a:cubicBezTo>
                  <a:cubicBezTo>
                    <a:pt x="87" y="51"/>
                    <a:pt x="86" y="51"/>
                    <a:pt x="85" y="50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6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5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5"/>
                    <a:pt x="89" y="55"/>
                    <a:pt x="88" y="54"/>
                  </a:cubicBezTo>
                  <a:cubicBezTo>
                    <a:pt x="89" y="54"/>
                    <a:pt x="89" y="55"/>
                    <a:pt x="89" y="54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9" y="55"/>
                    <a:pt x="90" y="55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1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89" y="55"/>
                    <a:pt x="89" y="56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6"/>
                    <a:pt x="89" y="56"/>
                    <a:pt x="89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8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89" y="56"/>
                    <a:pt x="90" y="56"/>
                  </a:cubicBezTo>
                  <a:cubicBezTo>
                    <a:pt x="90" y="56"/>
                    <a:pt x="89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89" y="57"/>
                    <a:pt x="89" y="56"/>
                  </a:cubicBezTo>
                  <a:cubicBezTo>
                    <a:pt x="88" y="56"/>
                    <a:pt x="88" y="56"/>
                    <a:pt x="89" y="57"/>
                  </a:cubicBezTo>
                  <a:cubicBezTo>
                    <a:pt x="88" y="56"/>
                    <a:pt x="88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8" y="56"/>
                    <a:pt x="88" y="56"/>
                  </a:cubicBezTo>
                  <a:cubicBezTo>
                    <a:pt x="88" y="56"/>
                    <a:pt x="87" y="56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5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2"/>
                    <a:pt x="83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3"/>
                    <a:pt x="84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3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3" y="51"/>
                    <a:pt x="83" y="52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4" y="52"/>
                    <a:pt x="84" y="52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4" y="51"/>
                    <a:pt x="84" y="51"/>
                  </a:cubicBezTo>
                  <a:cubicBezTo>
                    <a:pt x="83" y="51"/>
                    <a:pt x="84" y="51"/>
                    <a:pt x="83" y="51"/>
                  </a:cubicBezTo>
                  <a:cubicBezTo>
                    <a:pt x="83" y="51"/>
                    <a:pt x="83" y="51"/>
                    <a:pt x="84" y="51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49"/>
                    <a:pt x="82" y="49"/>
                  </a:cubicBezTo>
                  <a:cubicBezTo>
                    <a:pt x="82" y="49"/>
                    <a:pt x="82" y="49"/>
                    <a:pt x="81" y="49"/>
                  </a:cubicBezTo>
                  <a:cubicBezTo>
                    <a:pt x="81" y="49"/>
                    <a:pt x="82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3" y="49"/>
                  </a:cubicBezTo>
                  <a:cubicBezTo>
                    <a:pt x="83" y="49"/>
                    <a:pt x="82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50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2" y="48"/>
                    <a:pt x="81" y="48"/>
                    <a:pt x="81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48"/>
                    <a:pt x="81" y="47"/>
                    <a:pt x="82" y="48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0" y="47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6"/>
                  </a:cubicBezTo>
                  <a:cubicBezTo>
                    <a:pt x="80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7"/>
                  </a:cubicBezTo>
                  <a:cubicBezTo>
                    <a:pt x="79" y="46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6"/>
                    <a:pt x="79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8" y="46"/>
                    <a:pt x="78" y="45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4"/>
                    <a:pt x="77" y="45"/>
                    <a:pt x="77" y="45"/>
                  </a:cubicBezTo>
                  <a:cubicBezTo>
                    <a:pt x="77" y="45"/>
                    <a:pt x="77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5" y="44"/>
                  </a:cubicBezTo>
                  <a:cubicBezTo>
                    <a:pt x="76" y="44"/>
                    <a:pt x="76" y="44"/>
                    <a:pt x="75" y="43"/>
                  </a:cubicBezTo>
                  <a:cubicBezTo>
                    <a:pt x="76" y="43"/>
                    <a:pt x="76" y="44"/>
                    <a:pt x="76" y="43"/>
                  </a:cubicBezTo>
                  <a:cubicBezTo>
                    <a:pt x="76" y="44"/>
                    <a:pt x="75" y="43"/>
                    <a:pt x="75" y="43"/>
                  </a:cubicBezTo>
                  <a:cubicBezTo>
                    <a:pt x="75" y="43"/>
                    <a:pt x="75" y="44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3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2"/>
                    <a:pt x="74" y="42"/>
                    <a:pt x="73" y="42"/>
                  </a:cubicBez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5" y="42"/>
                  </a:cubicBezTo>
                  <a:cubicBezTo>
                    <a:pt x="75" y="42"/>
                    <a:pt x="75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4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3"/>
                    <a:pt x="77" y="43"/>
                    <a:pt x="76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3"/>
                    <a:pt x="76" y="43"/>
                  </a:cubicBezTo>
                  <a:cubicBezTo>
                    <a:pt x="76" y="43"/>
                    <a:pt x="76" y="42"/>
                    <a:pt x="76" y="43"/>
                  </a:cubicBezTo>
                  <a:cubicBezTo>
                    <a:pt x="76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3" y="41"/>
                  </a:cubicBezTo>
                  <a:cubicBezTo>
                    <a:pt x="73" y="41"/>
                    <a:pt x="74" y="41"/>
                    <a:pt x="73" y="41"/>
                  </a:cubicBezTo>
                  <a:cubicBezTo>
                    <a:pt x="73" y="41"/>
                    <a:pt x="73" y="41"/>
                    <a:pt x="72" y="40"/>
                  </a:cubicBezTo>
                  <a:cubicBezTo>
                    <a:pt x="72" y="40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1" y="39"/>
                    <a:pt x="71" y="39"/>
                  </a:cubicBezTo>
                  <a:cubicBezTo>
                    <a:pt x="71" y="39"/>
                    <a:pt x="72" y="39"/>
                    <a:pt x="71" y="39"/>
                  </a:cubicBez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1" y="40"/>
                    <a:pt x="71" y="39"/>
                  </a:cubicBezTo>
                  <a:cubicBezTo>
                    <a:pt x="71" y="39"/>
                    <a:pt x="71" y="39"/>
                    <a:pt x="71" y="40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2" y="39"/>
                  </a:cubicBezTo>
                  <a:cubicBezTo>
                    <a:pt x="71" y="39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0" y="38"/>
                    <a:pt x="71" y="38"/>
                    <a:pt x="70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69" y="37"/>
                    <a:pt x="70" y="37"/>
                    <a:pt x="70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69" y="37"/>
                    <a:pt x="69" y="36"/>
                    <a:pt x="68" y="36"/>
                  </a:cubicBezTo>
                  <a:cubicBezTo>
                    <a:pt x="68" y="36"/>
                    <a:pt x="69" y="36"/>
                    <a:pt x="69" y="36"/>
                  </a:cubicBezTo>
                  <a:cubicBezTo>
                    <a:pt x="69" y="36"/>
                    <a:pt x="70" y="36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1" y="37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1" y="37"/>
                    <a:pt x="72" y="37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8" y="41"/>
                    <a:pt x="78" y="41"/>
                    <a:pt x="78" y="42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9" y="42"/>
                    <a:pt x="81" y="43"/>
                    <a:pt x="82" y="44"/>
                  </a:cubicBezTo>
                  <a:cubicBezTo>
                    <a:pt x="82" y="44"/>
                    <a:pt x="82" y="43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7" y="47"/>
                  </a:cubicBezTo>
                  <a:cubicBezTo>
                    <a:pt x="87" y="47"/>
                    <a:pt x="87" y="46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8" y="48"/>
                    <a:pt x="88" y="48"/>
                  </a:cubicBezTo>
                  <a:cubicBezTo>
                    <a:pt x="88" y="48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6" y="47"/>
                    <a:pt x="86" y="46"/>
                    <a:pt x="85" y="46"/>
                  </a:cubicBezTo>
                  <a:cubicBezTo>
                    <a:pt x="84" y="46"/>
                    <a:pt x="85" y="46"/>
                    <a:pt x="85" y="46"/>
                  </a:cubicBezTo>
                  <a:cubicBezTo>
                    <a:pt x="84" y="45"/>
                    <a:pt x="82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3"/>
                    <a:pt x="81" y="44"/>
                    <a:pt x="81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9" y="42"/>
                    <a:pt x="79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4"/>
                    <a:pt x="81" y="44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5"/>
                    <a:pt x="81" y="45"/>
                  </a:cubicBezTo>
                  <a:cubicBezTo>
                    <a:pt x="81" y="45"/>
                    <a:pt x="81" y="45"/>
                    <a:pt x="80" y="44"/>
                  </a:cubicBezTo>
                  <a:cubicBezTo>
                    <a:pt x="81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1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6"/>
                  </a:cubicBezTo>
                  <a:cubicBezTo>
                    <a:pt x="81" y="45"/>
                    <a:pt x="81" y="46"/>
                    <a:pt x="82" y="46"/>
                  </a:cubicBezTo>
                  <a:cubicBezTo>
                    <a:pt x="81" y="46"/>
                    <a:pt x="81" y="46"/>
                    <a:pt x="81" y="45"/>
                  </a:cubicBezTo>
                  <a:cubicBezTo>
                    <a:pt x="81" y="45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7"/>
                    <a:pt x="84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6"/>
                    <a:pt x="83" y="47"/>
                    <a:pt x="83" y="47"/>
                  </a:cubicBezTo>
                  <a:cubicBezTo>
                    <a:pt x="83" y="46"/>
                    <a:pt x="83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4" y="47"/>
                    <a:pt x="85" y="47"/>
                  </a:cubicBezTo>
                  <a:cubicBezTo>
                    <a:pt x="85" y="47"/>
                    <a:pt x="85" y="47"/>
                    <a:pt x="85" y="48"/>
                  </a:cubicBezTo>
                  <a:cubicBezTo>
                    <a:pt x="85" y="48"/>
                    <a:pt x="85" y="47"/>
                    <a:pt x="85" y="47"/>
                  </a:cubicBezTo>
                  <a:cubicBezTo>
                    <a:pt x="85" y="47"/>
                    <a:pt x="85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8"/>
                    <a:pt x="86" y="48"/>
                    <a:pt x="86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8" y="48"/>
                  </a:cubicBezTo>
                  <a:cubicBezTo>
                    <a:pt x="88" y="48"/>
                    <a:pt x="87" y="48"/>
                    <a:pt x="87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8"/>
                    <a:pt x="88" y="48"/>
                  </a:cubicBezTo>
                  <a:cubicBezTo>
                    <a:pt x="88" y="48"/>
                    <a:pt x="88" y="49"/>
                    <a:pt x="88" y="49"/>
                  </a:cubicBez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90" y="49"/>
                  </a:cubicBezTo>
                  <a:cubicBezTo>
                    <a:pt x="90" y="50"/>
                    <a:pt x="91" y="50"/>
                    <a:pt x="92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1" y="51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3"/>
                    <a:pt x="94" y="52"/>
                  </a:cubicBezTo>
                  <a:cubicBezTo>
                    <a:pt x="94" y="52"/>
                    <a:pt x="94" y="52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2"/>
                    <a:pt x="95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53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4"/>
                  </a:cubicBezTo>
                  <a:cubicBezTo>
                    <a:pt x="99" y="54"/>
                    <a:pt x="98" y="54"/>
                    <a:pt x="98" y="54"/>
                  </a:cubicBezTo>
                  <a:cubicBezTo>
                    <a:pt x="98" y="54"/>
                    <a:pt x="97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3" y="51"/>
                    <a:pt x="91" y="50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7"/>
                    <a:pt x="88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5" y="52"/>
                    <a:pt x="97" y="53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99" y="54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4"/>
                  </a:cubicBezTo>
                  <a:cubicBezTo>
                    <a:pt x="99" y="54"/>
                    <a:pt x="99" y="55"/>
                    <a:pt x="98" y="54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100" y="55"/>
                  </a:cubicBezTo>
                  <a:cubicBezTo>
                    <a:pt x="100" y="55"/>
                    <a:pt x="100" y="55"/>
                    <a:pt x="100" y="56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1" y="56"/>
                    <a:pt x="101" y="56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2" y="57"/>
                  </a:cubicBezTo>
                  <a:cubicBezTo>
                    <a:pt x="101" y="57"/>
                    <a:pt x="101" y="57"/>
                    <a:pt x="100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0" y="56"/>
                    <a:pt x="99" y="56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8" y="55"/>
                    <a:pt x="98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ubicBezTo>
                    <a:pt x="96" y="54"/>
                    <a:pt x="96" y="54"/>
                    <a:pt x="96" y="55"/>
                  </a:cubicBezTo>
                  <a:cubicBezTo>
                    <a:pt x="97" y="55"/>
                    <a:pt x="96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6"/>
                    <a:pt x="98" y="56"/>
                  </a:cubicBezTo>
                  <a:cubicBezTo>
                    <a:pt x="98" y="56"/>
                    <a:pt x="98" y="56"/>
                    <a:pt x="97" y="55"/>
                  </a:cubicBezTo>
                  <a:cubicBezTo>
                    <a:pt x="98" y="55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8"/>
                    <a:pt x="99" y="58"/>
                  </a:cubicBezTo>
                  <a:cubicBezTo>
                    <a:pt x="98" y="58"/>
                    <a:pt x="98" y="57"/>
                    <a:pt x="98" y="57"/>
                  </a:cubicBezTo>
                  <a:cubicBezTo>
                    <a:pt x="97" y="57"/>
                    <a:pt x="98" y="57"/>
                    <a:pt x="98" y="57"/>
                  </a:cubicBezTo>
                  <a:cubicBezTo>
                    <a:pt x="98" y="57"/>
                    <a:pt x="97" y="57"/>
                    <a:pt x="97" y="57"/>
                  </a:cubicBez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2" y="53"/>
                  </a:cubicBezTo>
                  <a:cubicBezTo>
                    <a:pt x="93" y="54"/>
                    <a:pt x="92" y="54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ubicBezTo>
                    <a:pt x="92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5"/>
                  </a:cubicBezTo>
                  <a:cubicBezTo>
                    <a:pt x="93" y="55"/>
                    <a:pt x="93" y="54"/>
                    <a:pt x="93" y="54"/>
                  </a:cubicBezTo>
                  <a:cubicBezTo>
                    <a:pt x="94" y="55"/>
                    <a:pt x="94" y="55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5" y="56"/>
                    <a:pt x="95" y="56"/>
                  </a:cubicBezTo>
                  <a:cubicBezTo>
                    <a:pt x="96" y="56"/>
                    <a:pt x="96" y="56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5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4" y="57"/>
                    <a:pt x="94" y="56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8"/>
                    <a:pt x="96" y="58"/>
                    <a:pt x="97" y="58"/>
                  </a:cubicBezTo>
                  <a:cubicBezTo>
                    <a:pt x="96" y="58"/>
                    <a:pt x="95" y="57"/>
                    <a:pt x="94" y="57"/>
                  </a:cubicBezTo>
                  <a:cubicBezTo>
                    <a:pt x="95" y="56"/>
                    <a:pt x="96" y="58"/>
                    <a:pt x="97" y="58"/>
                  </a:cubicBezTo>
                  <a:cubicBezTo>
                    <a:pt x="97" y="57"/>
                    <a:pt x="97" y="57"/>
                    <a:pt x="96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6" y="58"/>
                    <a:pt x="96" y="57"/>
                  </a:cubicBezTo>
                  <a:close/>
                  <a:moveTo>
                    <a:pt x="75" y="40"/>
                  </a:move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39"/>
                    <a:pt x="75" y="40"/>
                  </a:cubicBezTo>
                  <a:close/>
                  <a:moveTo>
                    <a:pt x="84" y="45"/>
                  </a:moveTo>
                  <a:cubicBezTo>
                    <a:pt x="83" y="45"/>
                    <a:pt x="83" y="45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4" y="45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4"/>
                    <a:pt x="80" y="44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4" y="40"/>
                  </a:moveTo>
                  <a:cubicBezTo>
                    <a:pt x="74" y="40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lose/>
                  <a:moveTo>
                    <a:pt x="77" y="41"/>
                  </a:moveTo>
                  <a:cubicBezTo>
                    <a:pt x="77" y="42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5" y="40"/>
                    <a:pt x="75" y="40"/>
                  </a:cubicBezTo>
                  <a:cubicBezTo>
                    <a:pt x="75" y="41"/>
                    <a:pt x="76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3" y="39"/>
                  </a:cubicBezTo>
                  <a:cubicBezTo>
                    <a:pt x="72" y="39"/>
                    <a:pt x="73" y="39"/>
                    <a:pt x="73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3" y="40"/>
                    <a:pt x="73" y="40"/>
                  </a:cubicBezTo>
                  <a:cubicBezTo>
                    <a:pt x="73" y="39"/>
                    <a:pt x="72" y="39"/>
                    <a:pt x="72" y="39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2" y="40"/>
                  </a:move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0"/>
                    <a:pt x="73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4" y="41"/>
                    <a:pt x="74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0"/>
                    <a:pt x="73" y="40"/>
                  </a:cubicBezTo>
                  <a:close/>
                  <a:moveTo>
                    <a:pt x="78" y="44"/>
                  </a:moveTo>
                  <a:cubicBezTo>
                    <a:pt x="78" y="44"/>
                    <a:pt x="79" y="44"/>
                    <a:pt x="80" y="45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7" y="43"/>
                    <a:pt x="78" y="43"/>
                    <a:pt x="77" y="43"/>
                  </a:cubicBezTo>
                  <a:cubicBezTo>
                    <a:pt x="77" y="43"/>
                    <a:pt x="77" y="43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8" y="43"/>
                    <a:pt x="77" y="43"/>
                  </a:cubicBezTo>
                  <a:cubicBezTo>
                    <a:pt x="77" y="43"/>
                    <a:pt x="78" y="43"/>
                    <a:pt x="78" y="43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6" y="42"/>
                  </a:cubicBezTo>
                  <a:cubicBezTo>
                    <a:pt x="76" y="42"/>
                    <a:pt x="77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3"/>
                  </a:cubicBezTo>
                  <a:cubicBezTo>
                    <a:pt x="77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7" y="43"/>
                    <a:pt x="77" y="43"/>
                  </a:cubicBezTo>
                  <a:cubicBezTo>
                    <a:pt x="78" y="43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9" y="56"/>
                  </a:move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4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7" y="55"/>
                    <a:pt x="87" y="54"/>
                    <a:pt x="87" y="55"/>
                  </a:cubicBezTo>
                  <a:close/>
                  <a:moveTo>
                    <a:pt x="87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lose/>
                  <a:moveTo>
                    <a:pt x="87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49"/>
                  </a:cubicBezTo>
                  <a:cubicBezTo>
                    <a:pt x="83" y="49"/>
                    <a:pt x="83" y="50"/>
                    <a:pt x="83" y="50"/>
                  </a:cubicBezTo>
                  <a:close/>
                  <a:moveTo>
                    <a:pt x="84" y="51"/>
                  </a:moveTo>
                  <a:cubicBezTo>
                    <a:pt x="84" y="51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3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5" y="51"/>
                    <a:pt x="84" y="50"/>
                  </a:cubicBezTo>
                  <a:cubicBezTo>
                    <a:pt x="84" y="50"/>
                    <a:pt x="85" y="51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3" y="55"/>
                  </a:move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2" y="54"/>
                    <a:pt x="92" y="54"/>
                    <a:pt x="91" y="54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3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1" y="54"/>
                  </a:cubicBezTo>
                  <a:close/>
                  <a:moveTo>
                    <a:pt x="90" y="53"/>
                  </a:moveTo>
                  <a:cubicBezTo>
                    <a:pt x="90" y="53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88" y="51"/>
                  </a:moveTo>
                  <a:cubicBezTo>
                    <a:pt x="88" y="51"/>
                    <a:pt x="87" y="51"/>
                    <a:pt x="87" y="51"/>
                  </a:cubicBezTo>
                  <a:cubicBezTo>
                    <a:pt x="88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7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8" y="52"/>
                    <a:pt x="88" y="51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1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1" y="54"/>
                    <a:pt x="92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2" y="54"/>
                    <a:pt x="92" y="54"/>
                  </a:cubicBezTo>
                  <a:cubicBezTo>
                    <a:pt x="92" y="54"/>
                    <a:pt x="92" y="53"/>
                    <a:pt x="92" y="53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0" y="52"/>
                  </a:moveTo>
                  <a:cubicBezTo>
                    <a:pt x="89" y="52"/>
                    <a:pt x="89" y="52"/>
                    <a:pt x="90" y="52"/>
                  </a:cubicBezTo>
                  <a:cubicBezTo>
                    <a:pt x="89" y="51"/>
                    <a:pt x="89" y="52"/>
                    <a:pt x="89" y="51"/>
                  </a:cubicBezTo>
                  <a:cubicBezTo>
                    <a:pt x="89" y="51"/>
                    <a:pt x="89" y="52"/>
                    <a:pt x="89" y="52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3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89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2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7" y="50"/>
                    <a:pt x="87" y="50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7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9"/>
                    <a:pt x="84" y="48"/>
                  </a:cubicBezTo>
                  <a:close/>
                  <a:moveTo>
                    <a:pt x="91" y="52"/>
                  </a:moveTo>
                  <a:cubicBezTo>
                    <a:pt x="91" y="52"/>
                    <a:pt x="90" y="52"/>
                    <a:pt x="90" y="52"/>
                  </a:cubicBezTo>
                  <a:cubicBezTo>
                    <a:pt x="90" y="52"/>
                    <a:pt x="91" y="52"/>
                    <a:pt x="90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0" y="52"/>
                    <a:pt x="91" y="52"/>
                  </a:cubicBezTo>
                  <a:close/>
                  <a:moveTo>
                    <a:pt x="89" y="51"/>
                  </a:move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0"/>
                    <a:pt x="88" y="50"/>
                  </a:cubicBezTo>
                  <a:cubicBezTo>
                    <a:pt x="88" y="51"/>
                    <a:pt x="89" y="50"/>
                    <a:pt x="89" y="51"/>
                  </a:cubicBezTo>
                  <a:cubicBezTo>
                    <a:pt x="89" y="51"/>
                    <a:pt x="88" y="51"/>
                    <a:pt x="88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3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4" y="53"/>
                  </a:move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3" y="53"/>
                    <a:pt x="93" y="53"/>
                  </a:cubicBezTo>
                  <a:cubicBezTo>
                    <a:pt x="93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4" y="54"/>
                  </a:moveTo>
                  <a:cubicBezTo>
                    <a:pt x="94" y="54"/>
                    <a:pt x="93" y="54"/>
                    <a:pt x="93" y="54"/>
                  </a:cubicBezTo>
                  <a:cubicBezTo>
                    <a:pt x="93" y="54"/>
                    <a:pt x="93" y="54"/>
                    <a:pt x="94" y="54"/>
                  </a:cubicBezTo>
                  <a:close/>
                  <a:moveTo>
                    <a:pt x="95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5"/>
                    <a:pt x="95" y="54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6"/>
                    <a:pt x="96" y="55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8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4"/>
                    <a:pt x="94" y="54"/>
                  </a:cubicBezTo>
                  <a:cubicBezTo>
                    <a:pt x="95" y="54"/>
                    <a:pt x="95" y="54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4"/>
                    <a:pt x="95" y="54"/>
                    <a:pt x="94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7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8" y="55"/>
                    <a:pt x="98" y="55"/>
                  </a:cubicBezTo>
                  <a:cubicBezTo>
                    <a:pt x="98" y="55"/>
                    <a:pt x="99" y="55"/>
                    <a:pt x="99" y="55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8" y="55"/>
                    <a:pt x="98" y="54"/>
                  </a:cubicBezTo>
                  <a:cubicBezTo>
                    <a:pt x="98" y="54"/>
                    <a:pt x="98" y="55"/>
                    <a:pt x="98" y="55"/>
                  </a:cubicBezTo>
                  <a:cubicBezTo>
                    <a:pt x="98" y="54"/>
                    <a:pt x="98" y="55"/>
                    <a:pt x="97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6" y="53"/>
                    <a:pt x="96" y="54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5" y="53"/>
                    <a:pt x="96" y="53"/>
                    <a:pt x="95" y="53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5" y="54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3" y="52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2"/>
                    <a:pt x="93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89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49"/>
                  </a:move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49"/>
                    <a:pt x="90" y="50"/>
                  </a:cubicBezTo>
                  <a:cubicBezTo>
                    <a:pt x="90" y="49"/>
                    <a:pt x="90" y="49"/>
                    <a:pt x="89" y="49"/>
                  </a:cubicBezTo>
                  <a:cubicBezTo>
                    <a:pt x="89" y="49"/>
                    <a:pt x="90" y="49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49"/>
                  </a:moveTo>
                  <a:cubicBezTo>
                    <a:pt x="88" y="49"/>
                    <a:pt x="89" y="50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7" y="50"/>
                  </a:cubicBezTo>
                  <a:cubicBezTo>
                    <a:pt x="87" y="50"/>
                    <a:pt x="86" y="49"/>
                    <a:pt x="86" y="49"/>
                  </a:cubicBezTo>
                  <a:cubicBezTo>
                    <a:pt x="86" y="49"/>
                    <a:pt x="87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49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1"/>
                    <a:pt x="89" y="50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0"/>
                    <a:pt x="89" y="50"/>
                  </a:cubicBezTo>
                  <a:cubicBezTo>
                    <a:pt x="89" y="50"/>
                    <a:pt x="88" y="50"/>
                    <a:pt x="88" y="49"/>
                  </a:cubicBezTo>
                  <a:cubicBezTo>
                    <a:pt x="88" y="49"/>
                    <a:pt x="88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6" y="48"/>
                    <a:pt x="86" y="48"/>
                  </a:cubicBezTo>
                  <a:cubicBezTo>
                    <a:pt x="87" y="49"/>
                    <a:pt x="87" y="49"/>
                    <a:pt x="88" y="50"/>
                  </a:cubicBezTo>
                  <a:close/>
                  <a:moveTo>
                    <a:pt x="83" y="47"/>
                  </a:moveTo>
                  <a:cubicBezTo>
                    <a:pt x="83" y="48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7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6" y="49"/>
                    <a:pt x="86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7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3" y="47"/>
                  </a:moveTo>
                  <a:cubicBezTo>
                    <a:pt x="82" y="47"/>
                    <a:pt x="82" y="46"/>
                    <a:pt x="82" y="46"/>
                  </a:cubicBezTo>
                  <a:cubicBezTo>
                    <a:pt x="82" y="47"/>
                    <a:pt x="82" y="47"/>
                    <a:pt x="83" y="47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8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5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8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2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5" y="43"/>
                    <a:pt x="75" y="43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4"/>
                  </a:cubicBezTo>
                  <a:cubicBezTo>
                    <a:pt x="76" y="44"/>
                    <a:pt x="76" y="43"/>
                    <a:pt x="76" y="43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3" y="48"/>
                    <a:pt x="82" y="47"/>
                    <a:pt x="82" y="47"/>
                  </a:cubicBezTo>
                  <a:cubicBezTo>
                    <a:pt x="82" y="47"/>
                    <a:pt x="83" y="48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5"/>
                    <a:pt x="80" y="45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0" y="46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6"/>
                    <a:pt x="80" y="46"/>
                  </a:cubicBezTo>
                  <a:cubicBezTo>
                    <a:pt x="81" y="46"/>
                    <a:pt x="80" y="46"/>
                    <a:pt x="81" y="46"/>
                  </a:cubicBezTo>
                  <a:cubicBezTo>
                    <a:pt x="81" y="46"/>
                    <a:pt x="81" y="46"/>
                    <a:pt x="80" y="46"/>
                  </a:cubicBezTo>
                  <a:cubicBezTo>
                    <a:pt x="80" y="46"/>
                    <a:pt x="80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7"/>
                  </a:cubicBezTo>
                  <a:cubicBezTo>
                    <a:pt x="81" y="46"/>
                    <a:pt x="81" y="47"/>
                    <a:pt x="82" y="47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lose/>
                  <a:moveTo>
                    <a:pt x="86" y="50"/>
                  </a:moveTo>
                  <a:cubicBezTo>
                    <a:pt x="86" y="50"/>
                    <a:pt x="87" y="51"/>
                    <a:pt x="87" y="50"/>
                  </a:cubicBezTo>
                  <a:cubicBezTo>
                    <a:pt x="87" y="50"/>
                    <a:pt x="86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5" y="50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1"/>
                    <a:pt x="87" y="51"/>
                    <a:pt x="87" y="51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2" y="48"/>
                  </a:moveTo>
                  <a:cubicBezTo>
                    <a:pt x="82" y="48"/>
                    <a:pt x="83" y="49"/>
                    <a:pt x="83" y="48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8" y="52"/>
                  </a:moveTo>
                  <a:cubicBezTo>
                    <a:pt x="88" y="52"/>
                    <a:pt x="89" y="52"/>
                    <a:pt x="89" y="52"/>
                  </a:cubicBezTo>
                  <a:cubicBezTo>
                    <a:pt x="89" y="52"/>
                    <a:pt x="88" y="52"/>
                    <a:pt x="88" y="52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4"/>
                    <a:pt x="90" y="54"/>
                  </a:cubicBezTo>
                  <a:cubicBezTo>
                    <a:pt x="90" y="54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4"/>
                    <a:pt x="90" y="53"/>
                    <a:pt x="90" y="53"/>
                  </a:cubicBezTo>
                  <a:close/>
                  <a:moveTo>
                    <a:pt x="90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0" y="53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0" y="54"/>
                  </a:move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4"/>
                    <a:pt x="90" y="54"/>
                  </a:cubicBezTo>
                  <a:close/>
                  <a:moveTo>
                    <a:pt x="94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5" y="56"/>
                    <a:pt x="94" y="56"/>
                    <a:pt x="95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lose/>
                  <a:moveTo>
                    <a:pt x="97" y="59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50"/>
                    <a:pt x="82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5" y="42"/>
                  </a:cubicBezTo>
                  <a:cubicBezTo>
                    <a:pt x="65" y="42"/>
                    <a:pt x="66" y="42"/>
                    <a:pt x="66" y="42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1"/>
                  </a:cubicBezTo>
                  <a:cubicBezTo>
                    <a:pt x="66" y="41"/>
                    <a:pt x="66" y="41"/>
                    <a:pt x="67" y="41"/>
                  </a:cubicBezTo>
                  <a:cubicBezTo>
                    <a:pt x="67" y="41"/>
                    <a:pt x="67" y="41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6" y="41"/>
                  </a:cubicBezTo>
                  <a:cubicBezTo>
                    <a:pt x="66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3"/>
                    <a:pt x="67" y="43"/>
                    <a:pt x="67" y="42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8" y="40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72" y="42"/>
                  </a:move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1" y="43"/>
                  </a:cubicBezTo>
                  <a:cubicBezTo>
                    <a:pt x="71" y="43"/>
                    <a:pt x="72" y="43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0" y="42"/>
                  </a:cubicBezTo>
                  <a:cubicBezTo>
                    <a:pt x="71" y="42"/>
                    <a:pt x="71" y="43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1"/>
                    <a:pt x="69" y="40"/>
                    <a:pt x="69" y="41"/>
                  </a:cubicBezTo>
                  <a:cubicBezTo>
                    <a:pt x="69" y="41"/>
                    <a:pt x="68" y="40"/>
                    <a:pt x="68" y="40"/>
                  </a:cubicBezTo>
                  <a:cubicBezTo>
                    <a:pt x="68" y="40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1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2" y="43"/>
                    <a:pt x="72" y="42"/>
                    <a:pt x="72" y="42"/>
                  </a:cubicBezTo>
                  <a:close/>
                  <a:moveTo>
                    <a:pt x="70" y="41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1" y="42"/>
                    <a:pt x="70" y="42"/>
                  </a:cubicBezTo>
                  <a:cubicBezTo>
                    <a:pt x="71" y="42"/>
                    <a:pt x="70" y="41"/>
                    <a:pt x="70" y="41"/>
                  </a:cubicBezTo>
                  <a:close/>
                  <a:moveTo>
                    <a:pt x="66" y="44"/>
                  </a:moveTo>
                  <a:cubicBezTo>
                    <a:pt x="66" y="44"/>
                    <a:pt x="67" y="44"/>
                    <a:pt x="66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4"/>
                    <a:pt x="67" y="44"/>
                    <a:pt x="66" y="44"/>
                  </a:cubicBezTo>
                  <a:close/>
                  <a:moveTo>
                    <a:pt x="65" y="46"/>
                  </a:moveTo>
                  <a:cubicBezTo>
                    <a:pt x="66" y="46"/>
                    <a:pt x="66" y="46"/>
                    <a:pt x="65" y="46"/>
                  </a:cubicBezTo>
                  <a:cubicBezTo>
                    <a:pt x="65" y="46"/>
                    <a:pt x="66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7"/>
                    <a:pt x="66" y="46"/>
                    <a:pt x="66" y="46"/>
                  </a:cubicBezTo>
                  <a:cubicBezTo>
                    <a:pt x="66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6" y="47"/>
                    <a:pt x="66" y="47"/>
                    <a:pt x="65" y="46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6" y="46"/>
                    <a:pt x="66" y="45"/>
                  </a:cubicBezTo>
                  <a:cubicBezTo>
                    <a:pt x="66" y="45"/>
                    <a:pt x="67" y="45"/>
                    <a:pt x="67" y="46"/>
                  </a:cubicBezTo>
                  <a:cubicBezTo>
                    <a:pt x="67" y="46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6"/>
                  </a:cubicBezTo>
                  <a:cubicBezTo>
                    <a:pt x="68" y="46"/>
                    <a:pt x="67" y="46"/>
                    <a:pt x="67" y="45"/>
                  </a:cubicBezTo>
                  <a:cubicBezTo>
                    <a:pt x="67" y="46"/>
                    <a:pt x="68" y="46"/>
                    <a:pt x="68" y="4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8" y="46"/>
                    <a:pt x="67" y="46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8"/>
                    <a:pt x="69" y="48"/>
                  </a:cubicBezTo>
                  <a:cubicBezTo>
                    <a:pt x="69" y="47"/>
                    <a:pt x="68" y="47"/>
                    <a:pt x="67" y="46"/>
                  </a:cubicBezTo>
                  <a:cubicBezTo>
                    <a:pt x="67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lose/>
                  <a:moveTo>
                    <a:pt x="68" y="45"/>
                  </a:moveTo>
                  <a:cubicBezTo>
                    <a:pt x="69" y="44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68" y="44"/>
                  </a:cubicBezTo>
                  <a:cubicBezTo>
                    <a:pt x="69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8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5"/>
                    <a:pt x="70" y="45"/>
                  </a:cubicBezTo>
                  <a:cubicBezTo>
                    <a:pt x="70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69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50"/>
                    <a:pt x="72" y="50"/>
                  </a:cubicBezTo>
                  <a:cubicBezTo>
                    <a:pt x="71" y="50"/>
                    <a:pt x="72" y="50"/>
                    <a:pt x="72" y="50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49"/>
                  </a:cubicBezTo>
                  <a:cubicBezTo>
                    <a:pt x="71" y="49"/>
                    <a:pt x="71" y="50"/>
                    <a:pt x="71" y="49"/>
                  </a:cubicBezTo>
                  <a:close/>
                  <a:moveTo>
                    <a:pt x="71" y="46"/>
                  </a:moveTo>
                  <a:cubicBezTo>
                    <a:pt x="71" y="46"/>
                    <a:pt x="72" y="46"/>
                    <a:pt x="71" y="46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74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8"/>
                    <a:pt x="74" y="48"/>
                  </a:cubicBezTo>
                  <a:cubicBezTo>
                    <a:pt x="74" y="48"/>
                    <a:pt x="74" y="48"/>
                    <a:pt x="75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3" y="48"/>
                    <a:pt x="73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69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2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5" y="45"/>
                  </a:moveTo>
                  <a:cubicBezTo>
                    <a:pt x="74" y="45"/>
                    <a:pt x="74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6"/>
                  </a:cubicBezTo>
                  <a:cubicBezTo>
                    <a:pt x="72" y="46"/>
                    <a:pt x="72" y="46"/>
                    <a:pt x="72" y="45"/>
                  </a:cubicBezTo>
                  <a:cubicBezTo>
                    <a:pt x="73" y="46"/>
                    <a:pt x="73" y="46"/>
                    <a:pt x="74" y="46"/>
                  </a:cubicBezTo>
                  <a:cubicBezTo>
                    <a:pt x="73" y="46"/>
                    <a:pt x="74" y="47"/>
                    <a:pt x="75" y="47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3" y="44"/>
                    <a:pt x="73" y="44"/>
                  </a:cubicBezTo>
                  <a:cubicBezTo>
                    <a:pt x="74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4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3"/>
                    <a:pt x="74" y="43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7" y="46"/>
                  </a:moveTo>
                  <a:cubicBezTo>
                    <a:pt x="76" y="46"/>
                    <a:pt x="77" y="46"/>
                    <a:pt x="77" y="47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7" y="47"/>
                  </a:cubicBezTo>
                  <a:cubicBezTo>
                    <a:pt x="77" y="47"/>
                    <a:pt x="77" y="46"/>
                    <a:pt x="77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2" y="49"/>
                    <a:pt x="72" y="49"/>
                  </a:cubicBezTo>
                  <a:cubicBezTo>
                    <a:pt x="72" y="49"/>
                    <a:pt x="73" y="49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6" y="51"/>
                  </a:cubicBezTo>
                  <a:cubicBezTo>
                    <a:pt x="76" y="51"/>
                    <a:pt x="75" y="51"/>
                    <a:pt x="75" y="51"/>
                  </a:cubicBezTo>
                  <a:cubicBezTo>
                    <a:pt x="74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2" y="50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6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6"/>
                    <a:pt x="74" y="46"/>
                  </a:cubicBezTo>
                  <a:cubicBezTo>
                    <a:pt x="75" y="46"/>
                    <a:pt x="76" y="46"/>
                    <a:pt x="76" y="47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7" y="45"/>
                  </a:moveTo>
                  <a:cubicBezTo>
                    <a:pt x="77" y="45"/>
                    <a:pt x="78" y="45"/>
                    <a:pt x="78" y="45"/>
                  </a:cubicBezTo>
                  <a:cubicBezTo>
                    <a:pt x="78" y="45"/>
                    <a:pt x="77" y="45"/>
                    <a:pt x="77" y="45"/>
                  </a:cubicBezTo>
                  <a:close/>
                  <a:moveTo>
                    <a:pt x="76" y="49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7" y="50"/>
                    <a:pt x="77" y="50"/>
                  </a:cubicBezTo>
                  <a:cubicBezTo>
                    <a:pt x="77" y="50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80" y="44"/>
                    <a:pt x="79" y="44"/>
                  </a:cubicBezTo>
                  <a:close/>
                  <a:moveTo>
                    <a:pt x="75" y="53"/>
                  </a:move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3"/>
                  </a:cubicBezTo>
                  <a:cubicBezTo>
                    <a:pt x="76" y="53"/>
                    <a:pt x="75" y="52"/>
                    <a:pt x="75" y="53"/>
                  </a:cubicBezTo>
                  <a:close/>
                  <a:moveTo>
                    <a:pt x="76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lose/>
                  <a:moveTo>
                    <a:pt x="82" y="44"/>
                  </a:moveTo>
                  <a:cubicBezTo>
                    <a:pt x="81" y="44"/>
                    <a:pt x="82" y="45"/>
                    <a:pt x="82" y="45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1" y="44"/>
                    <a:pt x="82" y="44"/>
                  </a:cubicBezTo>
                  <a:close/>
                  <a:moveTo>
                    <a:pt x="81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2" y="45"/>
                    <a:pt x="81" y="45"/>
                  </a:cubicBezTo>
                  <a:close/>
                  <a:moveTo>
                    <a:pt x="79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9" y="53"/>
                    <a:pt x="79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0" y="55"/>
                  </a:move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0" y="55"/>
                    <a:pt x="79" y="55"/>
                    <a:pt x="78" y="54"/>
                  </a:cubicBezTo>
                  <a:cubicBezTo>
                    <a:pt x="78" y="54"/>
                    <a:pt x="78" y="54"/>
                    <a:pt x="79" y="54"/>
                  </a:cubicBezTo>
                  <a:cubicBezTo>
                    <a:pt x="79" y="54"/>
                    <a:pt x="79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lose/>
                  <a:moveTo>
                    <a:pt x="79" y="53"/>
                  </a:moveTo>
                  <a:cubicBezTo>
                    <a:pt x="79" y="53"/>
                    <a:pt x="80" y="53"/>
                    <a:pt x="8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3"/>
                    <a:pt x="80" y="53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0" y="53"/>
                    <a:pt x="80" y="53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1" y="52"/>
                  </a:cubicBezTo>
                  <a:cubicBezTo>
                    <a:pt x="81" y="52"/>
                    <a:pt x="80" y="52"/>
                    <a:pt x="80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2" y="52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2" y="53"/>
                    <a:pt x="82" y="53"/>
                    <a:pt x="83" y="53"/>
                  </a:cubicBezTo>
                  <a:cubicBezTo>
                    <a:pt x="83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5" y="55"/>
                  </a:cubicBezTo>
                  <a:cubicBezTo>
                    <a:pt x="85" y="55"/>
                    <a:pt x="84" y="54"/>
                    <a:pt x="84" y="54"/>
                  </a:cubicBezTo>
                  <a:cubicBezTo>
                    <a:pt x="84" y="55"/>
                    <a:pt x="83" y="54"/>
                    <a:pt x="84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2" y="54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1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4"/>
                  </a:cubicBezTo>
                  <a:cubicBezTo>
                    <a:pt x="83" y="54"/>
                    <a:pt x="83" y="54"/>
                    <a:pt x="83" y="55"/>
                  </a:cubicBezTo>
                  <a:close/>
                  <a:moveTo>
                    <a:pt x="80" y="53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79" y="53"/>
                    <a:pt x="80" y="54"/>
                  </a:cubicBezTo>
                  <a:cubicBezTo>
                    <a:pt x="80" y="54"/>
                    <a:pt x="80" y="53"/>
                    <a:pt x="80" y="53"/>
                  </a:cubicBezTo>
                  <a:cubicBezTo>
                    <a:pt x="80" y="53"/>
                    <a:pt x="80" y="54"/>
                    <a:pt x="80" y="53"/>
                  </a:cubicBezTo>
                  <a:close/>
                  <a:moveTo>
                    <a:pt x="82" y="53"/>
                  </a:move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2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6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6" y="58"/>
                    <a:pt x="87" y="58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5" y="57"/>
                  </a:cubicBez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6" y="57"/>
                    <a:pt x="87" y="58"/>
                  </a:cubicBezTo>
                  <a:close/>
                  <a:moveTo>
                    <a:pt x="86" y="58"/>
                  </a:move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7" y="58"/>
                    <a:pt x="87" y="58"/>
                    <a:pt x="86" y="58"/>
                  </a:cubicBezTo>
                  <a:close/>
                  <a:moveTo>
                    <a:pt x="92" y="50"/>
                  </a:moveTo>
                  <a:cubicBezTo>
                    <a:pt x="92" y="51"/>
                    <a:pt x="91" y="50"/>
                    <a:pt x="91" y="50"/>
                  </a:cubicBezTo>
                  <a:cubicBezTo>
                    <a:pt x="92" y="50"/>
                    <a:pt x="92" y="50"/>
                    <a:pt x="92" y="50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5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6"/>
                    <a:pt x="92" y="57"/>
                    <a:pt x="93" y="57"/>
                  </a:cubicBezTo>
                  <a:cubicBezTo>
                    <a:pt x="92" y="57"/>
                    <a:pt x="92" y="57"/>
                    <a:pt x="92" y="56"/>
                  </a:cubicBezTo>
                  <a:cubicBezTo>
                    <a:pt x="92" y="57"/>
                    <a:pt x="91" y="56"/>
                    <a:pt x="91" y="56"/>
                  </a:cubicBezTo>
                  <a:close/>
                  <a:moveTo>
                    <a:pt x="89" y="55"/>
                  </a:move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4" y="52"/>
                  </a:cubicBezTo>
                  <a:cubicBezTo>
                    <a:pt x="93" y="52"/>
                    <a:pt x="93" y="51"/>
                    <a:pt x="93" y="51"/>
                  </a:cubicBezTo>
                  <a:close/>
                  <a:moveTo>
                    <a:pt x="89" y="59"/>
                  </a:moveTo>
                  <a:cubicBezTo>
                    <a:pt x="89" y="59"/>
                    <a:pt x="89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8" y="59"/>
                  </a:cubicBezTo>
                  <a:cubicBezTo>
                    <a:pt x="88" y="59"/>
                    <a:pt x="89" y="60"/>
                    <a:pt x="89" y="60"/>
                  </a:cubicBezTo>
                  <a:cubicBezTo>
                    <a:pt x="88" y="60"/>
                    <a:pt x="88" y="59"/>
                    <a:pt x="88" y="59"/>
                  </a:cubicBezTo>
                  <a:cubicBezTo>
                    <a:pt x="88" y="59"/>
                    <a:pt x="89" y="59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4" y="50"/>
                    <a:pt x="94" y="51"/>
                    <a:pt x="94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5"/>
                    <a:pt x="98" y="56"/>
                    <a:pt x="99" y="56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2" y="58"/>
                  </a:cubicBezTo>
                  <a:cubicBezTo>
                    <a:pt x="102" y="59"/>
                    <a:pt x="101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2" y="59"/>
                    <a:pt x="102" y="59"/>
                    <a:pt x="102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lose/>
                  <a:moveTo>
                    <a:pt x="101" y="59"/>
                  </a:moveTo>
                  <a:cubicBezTo>
                    <a:pt x="101" y="59"/>
                    <a:pt x="101" y="59"/>
                    <a:pt x="100" y="59"/>
                  </a:cubicBezTo>
                  <a:cubicBezTo>
                    <a:pt x="100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lose/>
                  <a:moveTo>
                    <a:pt x="103" y="60"/>
                  </a:move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4" y="61"/>
                    <a:pt x="103" y="61"/>
                    <a:pt x="103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1"/>
                    <a:pt x="103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2" y="59"/>
                    <a:pt x="102" y="60"/>
                  </a:cubicBezTo>
                  <a:cubicBezTo>
                    <a:pt x="102" y="60"/>
                    <a:pt x="102" y="59"/>
                    <a:pt x="102" y="59"/>
                  </a:cubicBezTo>
                  <a:cubicBezTo>
                    <a:pt x="102" y="59"/>
                    <a:pt x="102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1" y="60"/>
                    <a:pt x="101" y="60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0" y="59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9" y="57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7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9"/>
                    <a:pt x="101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3" y="59"/>
                    <a:pt x="103" y="60"/>
                    <a:pt x="103" y="60"/>
                  </a:cubicBezTo>
                  <a:close/>
                  <a:moveTo>
                    <a:pt x="101" y="59"/>
                  </a:moveTo>
                  <a:cubicBezTo>
                    <a:pt x="101" y="58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8"/>
                    <a:pt x="101" y="59"/>
                    <a:pt x="101" y="59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7"/>
                    <a:pt x="99" y="56"/>
                    <a:pt x="99" y="56"/>
                  </a:cubicBezTo>
                  <a:close/>
                  <a:moveTo>
                    <a:pt x="99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59"/>
                    <a:pt x="100" y="59"/>
                  </a:cubicBezTo>
                  <a:cubicBezTo>
                    <a:pt x="100" y="59"/>
                    <a:pt x="99" y="59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2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2" y="57"/>
                  </a:move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4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4" y="59"/>
                    <a:pt x="104" y="58"/>
                    <a:pt x="104" y="58"/>
                  </a:cubicBezTo>
                  <a:cubicBezTo>
                    <a:pt x="104" y="58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8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8"/>
                    <a:pt x="105" y="58"/>
                  </a:cubicBezTo>
                  <a:cubicBezTo>
                    <a:pt x="105" y="58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7" y="59"/>
                    <a:pt x="107" y="60"/>
                    <a:pt x="106" y="60"/>
                  </a:cubicBezTo>
                  <a:cubicBezTo>
                    <a:pt x="106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5" y="60"/>
                    <a:pt x="105" y="59"/>
                    <a:pt x="104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4" y="59"/>
                  </a:cubicBezTo>
                  <a:cubicBezTo>
                    <a:pt x="104" y="59"/>
                    <a:pt x="103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59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3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lose/>
                  <a:moveTo>
                    <a:pt x="104" y="59"/>
                  </a:move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lose/>
                  <a:moveTo>
                    <a:pt x="105" y="61"/>
                  </a:moveTo>
                  <a:cubicBezTo>
                    <a:pt x="105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4" y="61"/>
                    <a:pt x="105" y="61"/>
                    <a:pt x="105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59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9" y="64"/>
                  </a:move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09" y="64"/>
                    <a:pt x="110" y="64"/>
                    <a:pt x="109" y="64"/>
                  </a:cubicBezTo>
                  <a:cubicBezTo>
                    <a:pt x="109" y="64"/>
                    <a:pt x="110" y="64"/>
                    <a:pt x="109" y="64"/>
                  </a:cubicBezTo>
                  <a:close/>
                  <a:moveTo>
                    <a:pt x="110" y="64"/>
                  </a:moveTo>
                  <a:cubicBezTo>
                    <a:pt x="110" y="64"/>
                    <a:pt x="110" y="65"/>
                    <a:pt x="110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6"/>
                  </a:cubicBezTo>
                  <a:cubicBezTo>
                    <a:pt x="116" y="66"/>
                    <a:pt x="117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5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5" y="64"/>
                  </a:cubicBezTo>
                  <a:cubicBezTo>
                    <a:pt x="115" y="64"/>
                    <a:pt x="115" y="65"/>
                    <a:pt x="116" y="65"/>
                  </a:cubicBezTo>
                  <a:cubicBezTo>
                    <a:pt x="116" y="65"/>
                    <a:pt x="116" y="64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7" y="66"/>
                  </a:moveTo>
                  <a:cubicBezTo>
                    <a:pt x="117" y="66"/>
                    <a:pt x="117" y="65"/>
                    <a:pt x="116" y="65"/>
                  </a:cubicBezTo>
                  <a:cubicBezTo>
                    <a:pt x="117" y="65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lose/>
                  <a:moveTo>
                    <a:pt x="121" y="68"/>
                  </a:moveTo>
                  <a:cubicBezTo>
                    <a:pt x="121" y="68"/>
                    <a:pt x="121" y="69"/>
                    <a:pt x="121" y="69"/>
                  </a:cubicBezTo>
                  <a:cubicBezTo>
                    <a:pt x="121" y="69"/>
                    <a:pt x="121" y="69"/>
                    <a:pt x="121" y="68"/>
                  </a:cubicBezTo>
                  <a:cubicBezTo>
                    <a:pt x="122" y="69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0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70"/>
                    <a:pt x="122" y="69"/>
                    <a:pt x="122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8"/>
                    <a:pt x="119" y="68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8" y="67"/>
                    <a:pt x="117" y="66"/>
                    <a:pt x="116" y="66"/>
                  </a:cubicBezTo>
                  <a:cubicBezTo>
                    <a:pt x="117" y="66"/>
                    <a:pt x="119" y="67"/>
                    <a:pt x="121" y="68"/>
                  </a:cubicBezTo>
                  <a:cubicBezTo>
                    <a:pt x="120" y="68"/>
                    <a:pt x="121" y="68"/>
                    <a:pt x="121" y="68"/>
                  </a:cubicBezTo>
                  <a:close/>
                  <a:moveTo>
                    <a:pt x="116" y="66"/>
                  </a:moveTo>
                  <a:cubicBezTo>
                    <a:pt x="116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6" y="66"/>
                    <a:pt x="116" y="66"/>
                    <a:pt x="116" y="67"/>
                  </a:cubicBezTo>
                  <a:cubicBezTo>
                    <a:pt x="116" y="66"/>
                    <a:pt x="117" y="66"/>
                    <a:pt x="116" y="66"/>
                  </a:cubicBezTo>
                  <a:close/>
                  <a:moveTo>
                    <a:pt x="127" y="71"/>
                  </a:moveTo>
                  <a:cubicBezTo>
                    <a:pt x="126" y="71"/>
                    <a:pt x="124" y="70"/>
                    <a:pt x="123" y="69"/>
                  </a:cubicBezTo>
                  <a:cubicBezTo>
                    <a:pt x="125" y="70"/>
                    <a:pt x="126" y="71"/>
                    <a:pt x="127" y="71"/>
                  </a:cubicBezTo>
                  <a:close/>
                  <a:moveTo>
                    <a:pt x="130" y="74"/>
                  </a:moveTo>
                  <a:cubicBezTo>
                    <a:pt x="130" y="75"/>
                    <a:pt x="130" y="74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lose/>
                  <a:moveTo>
                    <a:pt x="136" y="76"/>
                  </a:moveTo>
                  <a:cubicBezTo>
                    <a:pt x="136" y="76"/>
                    <a:pt x="136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6" y="77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lose/>
                  <a:moveTo>
                    <a:pt x="145" y="82"/>
                  </a:moveTo>
                  <a:cubicBezTo>
                    <a:pt x="145" y="81"/>
                    <a:pt x="144" y="81"/>
                    <a:pt x="144" y="80"/>
                  </a:cubicBezTo>
                  <a:cubicBezTo>
                    <a:pt x="144" y="80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0"/>
                    <a:pt x="143" y="81"/>
                    <a:pt x="144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1"/>
                  </a:cubicBezTo>
                  <a:cubicBezTo>
                    <a:pt x="142" y="80"/>
                    <a:pt x="142" y="80"/>
                    <a:pt x="141" y="79"/>
                  </a:cubicBezTo>
                  <a:cubicBezTo>
                    <a:pt x="141" y="79"/>
                    <a:pt x="141" y="79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8"/>
                    <a:pt x="140" y="78"/>
                  </a:cubicBezTo>
                  <a:cubicBezTo>
                    <a:pt x="140" y="78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80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5" y="81"/>
                  </a:cubicBezTo>
                  <a:cubicBezTo>
                    <a:pt x="145" y="81"/>
                    <a:pt x="144" y="81"/>
                    <a:pt x="144" y="81"/>
                  </a:cubicBezTo>
                  <a:cubicBezTo>
                    <a:pt x="144" y="80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0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6" y="81"/>
                    <a:pt x="146" y="81"/>
                    <a:pt x="145" y="81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80"/>
                    <a:pt x="141" y="80"/>
                  </a:cubicBezTo>
                  <a:cubicBezTo>
                    <a:pt x="140" y="80"/>
                    <a:pt x="140" y="80"/>
                    <a:pt x="140" y="79"/>
                  </a:cubicBezTo>
                  <a:close/>
                  <a:moveTo>
                    <a:pt x="141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lose/>
                  <a:moveTo>
                    <a:pt x="141" y="81"/>
                  </a:moveTo>
                  <a:cubicBezTo>
                    <a:pt x="141" y="81"/>
                    <a:pt x="142" y="81"/>
                    <a:pt x="142" y="81"/>
                  </a:cubicBezTo>
                  <a:cubicBezTo>
                    <a:pt x="142" y="81"/>
                    <a:pt x="141" y="81"/>
                    <a:pt x="141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8" y="83"/>
                    <a:pt x="148" y="83"/>
                  </a:cubicBezTo>
                  <a:cubicBezTo>
                    <a:pt x="148" y="83"/>
                    <a:pt x="149" y="83"/>
                    <a:pt x="149" y="83"/>
                  </a:cubicBezTo>
                  <a:close/>
                  <a:moveTo>
                    <a:pt x="149" y="85"/>
                  </a:moveTo>
                  <a:cubicBezTo>
                    <a:pt x="149" y="85"/>
                    <a:pt x="149" y="86"/>
                    <a:pt x="149" y="86"/>
                  </a:cubicBezTo>
                  <a:cubicBezTo>
                    <a:pt x="149" y="86"/>
                    <a:pt x="149" y="85"/>
                    <a:pt x="149" y="85"/>
                  </a:cubicBezTo>
                  <a:cubicBezTo>
                    <a:pt x="149" y="85"/>
                    <a:pt x="148" y="85"/>
                    <a:pt x="149" y="85"/>
                  </a:cubicBezTo>
                  <a:cubicBezTo>
                    <a:pt x="149" y="85"/>
                    <a:pt x="149" y="85"/>
                    <a:pt x="149" y="85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5" y="92"/>
                    <a:pt x="155" y="92"/>
                  </a:cubicBezTo>
                  <a:cubicBezTo>
                    <a:pt x="155" y="92"/>
                    <a:pt x="155" y="92"/>
                    <a:pt x="156" y="92"/>
                  </a:cubicBezTo>
                  <a:cubicBezTo>
                    <a:pt x="155" y="92"/>
                    <a:pt x="155" y="92"/>
                    <a:pt x="155" y="92"/>
                  </a:cubicBezTo>
                  <a:close/>
                  <a:moveTo>
                    <a:pt x="158" y="90"/>
                  </a:moveTo>
                  <a:cubicBezTo>
                    <a:pt x="159" y="90"/>
                    <a:pt x="159" y="90"/>
                    <a:pt x="159" y="91"/>
                  </a:cubicBezTo>
                  <a:cubicBezTo>
                    <a:pt x="159" y="91"/>
                    <a:pt x="159" y="90"/>
                    <a:pt x="158" y="90"/>
                  </a:cubicBezTo>
                  <a:close/>
                  <a:moveTo>
                    <a:pt x="12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2" y="18"/>
                    <a:pt x="11" y="18"/>
                    <a:pt x="12" y="18"/>
                  </a:cubicBezTo>
                  <a:cubicBezTo>
                    <a:pt x="11" y="18"/>
                    <a:pt x="12" y="18"/>
                    <a:pt x="12" y="18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4" y="28"/>
                    <a:pt x="34" y="27"/>
                    <a:pt x="33" y="27"/>
                  </a:cubicBezTo>
                  <a:close/>
                  <a:moveTo>
                    <a:pt x="34" y="26"/>
                  </a:move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36" y="28"/>
                    <a:pt x="36" y="27"/>
                    <a:pt x="36" y="28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lose/>
                  <a:moveTo>
                    <a:pt x="38" y="24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8" y="24"/>
                    <a:pt x="38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6"/>
                    <a:pt x="46" y="25"/>
                  </a:cubicBezTo>
                  <a:cubicBezTo>
                    <a:pt x="46" y="25"/>
                    <a:pt x="46" y="26"/>
                    <a:pt x="46" y="26"/>
                  </a:cubicBezTo>
                  <a:cubicBezTo>
                    <a:pt x="46" y="26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5" y="32"/>
                  </a:moveTo>
                  <a:cubicBezTo>
                    <a:pt x="46" y="32"/>
                    <a:pt x="46" y="32"/>
                    <a:pt x="46" y="33"/>
                  </a:cubicBezTo>
                  <a:cubicBezTo>
                    <a:pt x="46" y="33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57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lose/>
                  <a:moveTo>
                    <a:pt x="62" y="33"/>
                  </a:move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3" y="34"/>
                    <a:pt x="63" y="34"/>
                  </a:cubicBezTo>
                  <a:cubicBezTo>
                    <a:pt x="63" y="34"/>
                    <a:pt x="63" y="34"/>
                    <a:pt x="64" y="34"/>
                  </a:cubicBezTo>
                  <a:cubicBezTo>
                    <a:pt x="63" y="34"/>
                    <a:pt x="63" y="34"/>
                    <a:pt x="62" y="33"/>
                  </a:cubicBezTo>
                  <a:close/>
                  <a:moveTo>
                    <a:pt x="60" y="39"/>
                  </a:moveTo>
                  <a:cubicBezTo>
                    <a:pt x="60" y="39"/>
                    <a:pt x="61" y="39"/>
                    <a:pt x="6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lnTo>
                    <a:pt x="60" y="39"/>
                  </a:lnTo>
                  <a:close/>
                  <a:moveTo>
                    <a:pt x="66" y="41"/>
                  </a:moveTo>
                  <a:cubicBezTo>
                    <a:pt x="66" y="41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1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7" y="46"/>
                    <a:pt x="67" y="46"/>
                    <a:pt x="67" y="47"/>
                  </a:cubicBezTo>
                  <a:close/>
                  <a:moveTo>
                    <a:pt x="73" y="44"/>
                  </a:moveTo>
                  <a:cubicBezTo>
                    <a:pt x="72" y="44"/>
                    <a:pt x="72" y="44"/>
                    <a:pt x="71" y="44"/>
                  </a:cubicBez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3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3"/>
                    <a:pt x="69" y="43"/>
                  </a:cubicBezTo>
                  <a:cubicBezTo>
                    <a:pt x="69" y="43"/>
                    <a:pt x="69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1" y="44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1" y="43"/>
                    <a:pt x="71" y="43"/>
                    <a:pt x="72" y="4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2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5" y="47"/>
                  </a:cubicBezTo>
                  <a:cubicBezTo>
                    <a:pt x="74" y="47"/>
                    <a:pt x="75" y="47"/>
                    <a:pt x="76" y="48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75" y="52"/>
                  </a:moveTo>
                  <a:cubicBezTo>
                    <a:pt x="75" y="52"/>
                    <a:pt x="74" y="51"/>
                    <a:pt x="73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5" y="51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78" y="47"/>
                  </a:moveTo>
                  <a:cubicBezTo>
                    <a:pt x="78" y="47"/>
                    <a:pt x="78" y="47"/>
                    <a:pt x="79" y="48"/>
                  </a:cubicBezTo>
                  <a:cubicBezTo>
                    <a:pt x="79" y="48"/>
                    <a:pt x="78" y="48"/>
                    <a:pt x="79" y="48"/>
                  </a:cubicBezTo>
                  <a:cubicBezTo>
                    <a:pt x="78" y="48"/>
                    <a:pt x="78" y="48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7" y="58"/>
                  </a:cubicBezTo>
                  <a:cubicBezTo>
                    <a:pt x="98" y="58"/>
                    <a:pt x="97" y="58"/>
                    <a:pt x="97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7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2536EEC-3653-43DB-BD26-9E12AAF370A4}"/>
                </a:ext>
              </a:extLst>
            </p:cNvPr>
            <p:cNvSpPr/>
            <p:nvPr/>
          </p:nvSpPr>
          <p:spPr bwMode="auto">
            <a:xfrm>
              <a:off x="3395663" y="2001838"/>
              <a:ext cx="398463" cy="236538"/>
            </a:xfrm>
            <a:custGeom>
              <a:avLst/>
              <a:gdLst>
                <a:gd name="T0" fmla="*/ 36 w 161"/>
                <a:gd name="T1" fmla="*/ 28 h 96"/>
                <a:gd name="T2" fmla="*/ 42 w 161"/>
                <a:gd name="T3" fmla="*/ 28 h 96"/>
                <a:gd name="T4" fmla="*/ 46 w 161"/>
                <a:gd name="T5" fmla="*/ 32 h 96"/>
                <a:gd name="T6" fmla="*/ 49 w 161"/>
                <a:gd name="T7" fmla="*/ 35 h 96"/>
                <a:gd name="T8" fmla="*/ 55 w 161"/>
                <a:gd name="T9" fmla="*/ 39 h 96"/>
                <a:gd name="T10" fmla="*/ 64 w 161"/>
                <a:gd name="T11" fmla="*/ 34 h 96"/>
                <a:gd name="T12" fmla="*/ 70 w 161"/>
                <a:gd name="T13" fmla="*/ 39 h 96"/>
                <a:gd name="T14" fmla="*/ 70 w 161"/>
                <a:gd name="T15" fmla="*/ 47 h 96"/>
                <a:gd name="T16" fmla="*/ 75 w 161"/>
                <a:gd name="T17" fmla="*/ 45 h 96"/>
                <a:gd name="T18" fmla="*/ 79 w 161"/>
                <a:gd name="T19" fmla="*/ 52 h 96"/>
                <a:gd name="T20" fmla="*/ 87 w 161"/>
                <a:gd name="T21" fmla="*/ 57 h 96"/>
                <a:gd name="T22" fmla="*/ 93 w 161"/>
                <a:gd name="T23" fmla="*/ 59 h 96"/>
                <a:gd name="T24" fmla="*/ 103 w 161"/>
                <a:gd name="T25" fmla="*/ 58 h 96"/>
                <a:gd name="T26" fmla="*/ 104 w 161"/>
                <a:gd name="T27" fmla="*/ 64 h 96"/>
                <a:gd name="T28" fmla="*/ 116 w 161"/>
                <a:gd name="T29" fmla="*/ 65 h 96"/>
                <a:gd name="T30" fmla="*/ 145 w 161"/>
                <a:gd name="T31" fmla="*/ 82 h 96"/>
                <a:gd name="T32" fmla="*/ 154 w 161"/>
                <a:gd name="T33" fmla="*/ 95 h 96"/>
                <a:gd name="T34" fmla="*/ 43 w 161"/>
                <a:gd name="T35" fmla="*/ 22 h 96"/>
                <a:gd name="T36" fmla="*/ 49 w 161"/>
                <a:gd name="T37" fmla="*/ 27 h 96"/>
                <a:gd name="T38" fmla="*/ 42 w 161"/>
                <a:gd name="T39" fmla="*/ 24 h 96"/>
                <a:gd name="T40" fmla="*/ 47 w 161"/>
                <a:gd name="T41" fmla="*/ 29 h 96"/>
                <a:gd name="T42" fmla="*/ 35 w 161"/>
                <a:gd name="T43" fmla="*/ 23 h 96"/>
                <a:gd name="T44" fmla="*/ 33 w 161"/>
                <a:gd name="T45" fmla="*/ 27 h 96"/>
                <a:gd name="T46" fmla="*/ 18 w 161"/>
                <a:gd name="T47" fmla="*/ 22 h 96"/>
                <a:gd name="T48" fmla="*/ 24 w 161"/>
                <a:gd name="T49" fmla="*/ 24 h 96"/>
                <a:gd name="T50" fmla="*/ 33 w 161"/>
                <a:gd name="T51" fmla="*/ 24 h 96"/>
                <a:gd name="T52" fmla="*/ 46 w 161"/>
                <a:gd name="T53" fmla="*/ 28 h 96"/>
                <a:gd name="T54" fmla="*/ 35 w 161"/>
                <a:gd name="T55" fmla="*/ 20 h 96"/>
                <a:gd name="T56" fmla="*/ 36 w 161"/>
                <a:gd name="T57" fmla="*/ 18 h 96"/>
                <a:gd name="T58" fmla="*/ 39 w 161"/>
                <a:gd name="T59" fmla="*/ 29 h 96"/>
                <a:gd name="T60" fmla="*/ 45 w 161"/>
                <a:gd name="T61" fmla="*/ 31 h 96"/>
                <a:gd name="T62" fmla="*/ 59 w 161"/>
                <a:gd name="T63" fmla="*/ 31 h 96"/>
                <a:gd name="T64" fmla="*/ 64 w 161"/>
                <a:gd name="T65" fmla="*/ 35 h 96"/>
                <a:gd name="T66" fmla="*/ 67 w 161"/>
                <a:gd name="T67" fmla="*/ 37 h 96"/>
                <a:gd name="T68" fmla="*/ 63 w 161"/>
                <a:gd name="T69" fmla="*/ 37 h 96"/>
                <a:gd name="T70" fmla="*/ 65 w 161"/>
                <a:gd name="T71" fmla="*/ 36 h 96"/>
                <a:gd name="T72" fmla="*/ 64 w 161"/>
                <a:gd name="T73" fmla="*/ 44 h 96"/>
                <a:gd name="T74" fmla="*/ 99 w 161"/>
                <a:gd name="T75" fmla="*/ 60 h 96"/>
                <a:gd name="T76" fmla="*/ 92 w 161"/>
                <a:gd name="T77" fmla="*/ 55 h 96"/>
                <a:gd name="T78" fmla="*/ 89 w 161"/>
                <a:gd name="T79" fmla="*/ 56 h 96"/>
                <a:gd name="T80" fmla="*/ 83 w 161"/>
                <a:gd name="T81" fmla="*/ 50 h 96"/>
                <a:gd name="T82" fmla="*/ 74 w 161"/>
                <a:gd name="T83" fmla="*/ 42 h 96"/>
                <a:gd name="T84" fmla="*/ 74 w 161"/>
                <a:gd name="T85" fmla="*/ 39 h 96"/>
                <a:gd name="T86" fmla="*/ 87 w 161"/>
                <a:gd name="T87" fmla="*/ 48 h 96"/>
                <a:gd name="T88" fmla="*/ 99 w 161"/>
                <a:gd name="T89" fmla="*/ 55 h 96"/>
                <a:gd name="T90" fmla="*/ 94 w 161"/>
                <a:gd name="T91" fmla="*/ 57 h 96"/>
                <a:gd name="T92" fmla="*/ 74 w 161"/>
                <a:gd name="T93" fmla="*/ 41 h 96"/>
                <a:gd name="T94" fmla="*/ 85 w 161"/>
                <a:gd name="T95" fmla="*/ 51 h 96"/>
                <a:gd name="T96" fmla="*/ 87 w 161"/>
                <a:gd name="T97" fmla="*/ 50 h 96"/>
                <a:gd name="T98" fmla="*/ 99 w 161"/>
                <a:gd name="T99" fmla="*/ 55 h 96"/>
                <a:gd name="T100" fmla="*/ 88 w 161"/>
                <a:gd name="T101" fmla="*/ 51 h 96"/>
                <a:gd name="T102" fmla="*/ 80 w 161"/>
                <a:gd name="T103" fmla="*/ 46 h 96"/>
                <a:gd name="T104" fmla="*/ 95 w 161"/>
                <a:gd name="T105" fmla="*/ 56 h 96"/>
                <a:gd name="T106" fmla="*/ 72 w 161"/>
                <a:gd name="T107" fmla="*/ 42 h 96"/>
                <a:gd name="T108" fmla="*/ 72 w 161"/>
                <a:gd name="T109" fmla="*/ 45 h 96"/>
                <a:gd name="T110" fmla="*/ 72 w 161"/>
                <a:gd name="T111" fmla="*/ 49 h 96"/>
                <a:gd name="T112" fmla="*/ 76 w 161"/>
                <a:gd name="T113" fmla="*/ 53 h 96"/>
                <a:gd name="T114" fmla="*/ 83 w 161"/>
                <a:gd name="T115" fmla="*/ 53 h 96"/>
                <a:gd name="T116" fmla="*/ 100 w 161"/>
                <a:gd name="T117" fmla="*/ 56 h 96"/>
                <a:gd name="T118" fmla="*/ 103 w 161"/>
                <a:gd name="T119" fmla="*/ 57 h 96"/>
                <a:gd name="T120" fmla="*/ 117 w 161"/>
                <a:gd name="T121" fmla="*/ 66 h 96"/>
                <a:gd name="T122" fmla="*/ 146 w 161"/>
                <a:gd name="T123" fmla="*/ 82 h 96"/>
                <a:gd name="T124" fmla="*/ 68 w 161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96">
                  <a:moveTo>
                    <a:pt x="5" y="1"/>
                  </a:moveTo>
                  <a:cubicBezTo>
                    <a:pt x="5" y="0"/>
                    <a:pt x="5" y="1"/>
                    <a:pt x="5" y="0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lose/>
                  <a:moveTo>
                    <a:pt x="11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lose/>
                  <a:moveTo>
                    <a:pt x="13" y="19"/>
                  </a:moveTo>
                  <a:cubicBezTo>
                    <a:pt x="13" y="19"/>
                    <a:pt x="14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lose/>
                  <a:moveTo>
                    <a:pt x="15" y="20"/>
                  </a:moveTo>
                  <a:cubicBezTo>
                    <a:pt x="14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lose/>
                  <a:moveTo>
                    <a:pt x="17" y="22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lose/>
                  <a:moveTo>
                    <a:pt x="21" y="24"/>
                  </a:moveTo>
                  <a:cubicBezTo>
                    <a:pt x="21" y="24"/>
                    <a:pt x="22" y="24"/>
                    <a:pt x="22" y="25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5"/>
                  </a:move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lose/>
                  <a:moveTo>
                    <a:pt x="24" y="25"/>
                  </a:moveTo>
                  <a:cubicBezTo>
                    <a:pt x="23" y="25"/>
                    <a:pt x="23" y="24"/>
                    <a:pt x="23" y="24"/>
                  </a:cubicBezTo>
                  <a:cubicBezTo>
                    <a:pt x="23" y="24"/>
                    <a:pt x="23" y="24"/>
                    <a:pt x="24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6" y="24"/>
                    <a:pt x="27" y="24"/>
                    <a:pt x="27" y="24"/>
                  </a:cubicBezTo>
                  <a:cubicBezTo>
                    <a:pt x="27" y="25"/>
                    <a:pt x="27" y="25"/>
                    <a:pt x="28" y="25"/>
                  </a:cubicBezTo>
                  <a:close/>
                  <a:moveTo>
                    <a:pt x="27" y="26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lose/>
                  <a:moveTo>
                    <a:pt x="29" y="2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7"/>
                  </a:cubicBezTo>
                  <a:cubicBezTo>
                    <a:pt x="29" y="27"/>
                    <a:pt x="28" y="26"/>
                    <a:pt x="29" y="26"/>
                  </a:cubicBezTo>
                  <a:close/>
                  <a:moveTo>
                    <a:pt x="30" y="27"/>
                  </a:moveTo>
                  <a:cubicBezTo>
                    <a:pt x="31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1" y="28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1" y="28"/>
                  </a:cubicBezTo>
                  <a:close/>
                  <a:moveTo>
                    <a:pt x="31" y="29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lose/>
                  <a:moveTo>
                    <a:pt x="35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lose/>
                  <a:moveTo>
                    <a:pt x="34" y="25"/>
                  </a:moveTo>
                  <a:cubicBezTo>
                    <a:pt x="34" y="25"/>
                    <a:pt x="35" y="25"/>
                    <a:pt x="34" y="25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5"/>
                    <a:pt x="34" y="25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4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4"/>
                  </a:cubicBezTo>
                  <a:cubicBezTo>
                    <a:pt x="37" y="25"/>
                    <a:pt x="37" y="24"/>
                    <a:pt x="37" y="24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8" y="24"/>
                  </a:cubicBezTo>
                  <a:cubicBezTo>
                    <a:pt x="38" y="25"/>
                    <a:pt x="37" y="25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9"/>
                    <a:pt x="35" y="29"/>
                  </a:cubicBezTo>
                  <a:cubicBezTo>
                    <a:pt x="35" y="29"/>
                    <a:pt x="35" y="29"/>
                    <a:pt x="35" y="28"/>
                  </a:cubicBezTo>
                  <a:close/>
                  <a:moveTo>
                    <a:pt x="37" y="25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1" y="20"/>
                  </a:move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lose/>
                  <a:moveTo>
                    <a:pt x="38" y="26"/>
                  </a:moveTo>
                  <a:cubicBezTo>
                    <a:pt x="38" y="26"/>
                    <a:pt x="39" y="26"/>
                    <a:pt x="39" y="26"/>
                  </a:cubicBezTo>
                  <a:cubicBezTo>
                    <a:pt x="39" y="26"/>
                    <a:pt x="38" y="26"/>
                    <a:pt x="38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7" y="29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9" y="26"/>
                  </a:move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lose/>
                  <a:moveTo>
                    <a:pt x="37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7" y="30"/>
                    <a:pt x="37" y="30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7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38" y="33"/>
                  </a:move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2" y="27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3" y="27"/>
                    <a:pt x="43" y="27"/>
                  </a:cubicBezTo>
                  <a:close/>
                  <a:moveTo>
                    <a:pt x="42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29"/>
                    <a:pt x="41" y="30"/>
                    <a:pt x="41" y="30"/>
                  </a:cubicBezTo>
                  <a:cubicBezTo>
                    <a:pt x="42" y="30"/>
                    <a:pt x="41" y="30"/>
                    <a:pt x="42" y="30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2"/>
                    <a:pt x="40" y="32"/>
                  </a:cubicBezTo>
                  <a:cubicBezTo>
                    <a:pt x="40" y="32"/>
                    <a:pt x="40" y="32"/>
                    <a:pt x="40" y="31"/>
                  </a:cubicBezTo>
                  <a:close/>
                  <a:moveTo>
                    <a:pt x="43" y="28"/>
                  </a:moveTo>
                  <a:cubicBezTo>
                    <a:pt x="43" y="28"/>
                    <a:pt x="42" y="28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2" y="28"/>
                    <a:pt x="42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28"/>
                  </a:moveTo>
                  <a:cubicBezTo>
                    <a:pt x="44" y="28"/>
                    <a:pt x="44" y="28"/>
                    <a:pt x="43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1" y="32"/>
                    <a:pt x="42" y="32"/>
                  </a:cubicBezTo>
                  <a:cubicBezTo>
                    <a:pt x="41" y="33"/>
                    <a:pt x="41" y="32"/>
                    <a:pt x="41" y="32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5" y="29"/>
                  </a:cubicBezTo>
                  <a:cubicBezTo>
                    <a:pt x="45" y="30"/>
                    <a:pt x="44" y="29"/>
                    <a:pt x="44" y="29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8"/>
                    <a:pt x="45" y="29"/>
                    <a:pt x="45" y="29"/>
                  </a:cubicBezTo>
                  <a:close/>
                  <a:moveTo>
                    <a:pt x="42" y="33"/>
                  </a:moveTo>
                  <a:cubicBezTo>
                    <a:pt x="42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lose/>
                  <a:moveTo>
                    <a:pt x="44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6" y="30"/>
                  </a:cubicBezTo>
                  <a:cubicBezTo>
                    <a:pt x="45" y="30"/>
                    <a:pt x="45" y="30"/>
                    <a:pt x="46" y="30"/>
                  </a:cubicBezTo>
                  <a:cubicBezTo>
                    <a:pt x="46" y="31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8" y="25"/>
                  </a:moveTo>
                  <a:cubicBezTo>
                    <a:pt x="48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1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0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50" y="26"/>
                  </a:moveTo>
                  <a:cubicBezTo>
                    <a:pt x="50" y="26"/>
                    <a:pt x="49" y="25"/>
                    <a:pt x="49" y="25"/>
                  </a:cubicBezTo>
                  <a:cubicBezTo>
                    <a:pt x="50" y="25"/>
                    <a:pt x="50" y="26"/>
                    <a:pt x="50" y="26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7" y="33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6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8" y="30"/>
                    <a:pt x="48" y="30"/>
                  </a:cubicBezTo>
                  <a:close/>
                  <a:moveTo>
                    <a:pt x="50" y="27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lose/>
                  <a:moveTo>
                    <a:pt x="46" y="33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6" y="33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lose/>
                  <a:moveTo>
                    <a:pt x="49" y="31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1"/>
                    <a:pt x="49" y="31"/>
                  </a:cubicBez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7" y="34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49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3"/>
                  </a:moveTo>
                  <a:cubicBezTo>
                    <a:pt x="49" y="33"/>
                    <a:pt x="50" y="33"/>
                    <a:pt x="50" y="33"/>
                  </a:cubicBezTo>
                  <a:cubicBezTo>
                    <a:pt x="50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ubicBezTo>
                    <a:pt x="49" y="33"/>
                    <a:pt x="50" y="33"/>
                    <a:pt x="51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8"/>
                    <a:pt x="52" y="27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3" y="29"/>
                    <a:pt x="52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29"/>
                    <a:pt x="52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8"/>
                    <a:pt x="54" y="28"/>
                  </a:cubicBezTo>
                  <a:cubicBezTo>
                    <a:pt x="53" y="28"/>
                    <a:pt x="53" y="27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2" y="30"/>
                  </a:move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4" y="30"/>
                    <a:pt x="55" y="31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2" y="30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0"/>
                  </a:cubicBezTo>
                  <a:close/>
                  <a:moveTo>
                    <a:pt x="50" y="34"/>
                  </a:moveTo>
                  <a:cubicBezTo>
                    <a:pt x="50" y="34"/>
                    <a:pt x="51" y="34"/>
                    <a:pt x="51" y="34"/>
                  </a:cubicBezTo>
                  <a:cubicBezTo>
                    <a:pt x="51" y="34"/>
                    <a:pt x="51" y="34"/>
                    <a:pt x="50" y="34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6"/>
                    <a:pt x="50" y="36"/>
                  </a:cubicBezTo>
                  <a:cubicBezTo>
                    <a:pt x="50" y="36"/>
                    <a:pt x="50" y="35"/>
                    <a:pt x="50" y="35"/>
                  </a:cubicBezTo>
                  <a:close/>
                  <a:moveTo>
                    <a:pt x="53" y="30"/>
                  </a:move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30"/>
                  </a:cubicBezTo>
                  <a:close/>
                  <a:moveTo>
                    <a:pt x="51" y="36"/>
                  </a:moveTo>
                  <a:cubicBezTo>
                    <a:pt x="51" y="36"/>
                    <a:pt x="50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1" y="36"/>
                  </a:move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2"/>
                    <a:pt x="54" y="32"/>
                  </a:cubicBezTo>
                  <a:cubicBezTo>
                    <a:pt x="54" y="32"/>
                    <a:pt x="53" y="32"/>
                    <a:pt x="53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2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2" y="37"/>
                  </a:move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8"/>
                    <a:pt x="54" y="38"/>
                  </a:cubicBezTo>
                  <a:cubicBezTo>
                    <a:pt x="54" y="38"/>
                    <a:pt x="53" y="38"/>
                    <a:pt x="54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1" y="37"/>
                    <a:pt x="52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6"/>
                    <a:pt x="52" y="37"/>
                    <a:pt x="52" y="37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53" y="34"/>
                  </a:moveTo>
                  <a:cubicBezTo>
                    <a:pt x="53" y="34"/>
                    <a:pt x="54" y="35"/>
                    <a:pt x="54" y="35"/>
                  </a:cubicBezTo>
                  <a:cubicBezTo>
                    <a:pt x="53" y="35"/>
                    <a:pt x="53" y="35"/>
                    <a:pt x="53" y="34"/>
                  </a:cubicBezTo>
                  <a:close/>
                  <a:moveTo>
                    <a:pt x="57" y="29"/>
                  </a:moveTo>
                  <a:cubicBezTo>
                    <a:pt x="57" y="29"/>
                    <a:pt x="56" y="29"/>
                    <a:pt x="57" y="29"/>
                  </a:cubicBezTo>
                  <a:cubicBezTo>
                    <a:pt x="56" y="30"/>
                    <a:pt x="56" y="29"/>
                    <a:pt x="56" y="29"/>
                  </a:cubicBezTo>
                  <a:cubicBezTo>
                    <a:pt x="56" y="29"/>
                    <a:pt x="56" y="29"/>
                    <a:pt x="57" y="29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3"/>
                    <a:pt x="55" y="33"/>
                  </a:cubicBezTo>
                  <a:cubicBezTo>
                    <a:pt x="55" y="33"/>
                    <a:pt x="55" y="32"/>
                    <a:pt x="55" y="33"/>
                  </a:cubicBezTo>
                  <a:close/>
                  <a:moveTo>
                    <a:pt x="57" y="30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58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40"/>
                    <a:pt x="52" y="41"/>
                  </a:cubicBezTo>
                  <a:cubicBezTo>
                    <a:pt x="52" y="41"/>
                    <a:pt x="52" y="40"/>
                    <a:pt x="52" y="40"/>
                  </a:cubicBezTo>
                  <a:close/>
                  <a:moveTo>
                    <a:pt x="54" y="38"/>
                  </a:move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5" y="38"/>
                    <a:pt x="54" y="38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6" y="39"/>
                    <a:pt x="56" y="40"/>
                  </a:cubicBezTo>
                  <a:cubicBezTo>
                    <a:pt x="55" y="39"/>
                    <a:pt x="55" y="39"/>
                    <a:pt x="54" y="39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56" y="39"/>
                  </a:moveTo>
                  <a:cubicBezTo>
                    <a:pt x="56" y="39"/>
                    <a:pt x="55" y="39"/>
                    <a:pt x="55" y="39"/>
                  </a:cubicBezTo>
                  <a:cubicBezTo>
                    <a:pt x="55" y="38"/>
                    <a:pt x="56" y="39"/>
                    <a:pt x="56" y="39"/>
                  </a:cubicBezTo>
                  <a:close/>
                  <a:moveTo>
                    <a:pt x="58" y="35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lose/>
                  <a:moveTo>
                    <a:pt x="55" y="40"/>
                  </a:move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5" y="40"/>
                  </a:cubicBezTo>
                  <a:close/>
                  <a:moveTo>
                    <a:pt x="58" y="36"/>
                  </a:moveTo>
                  <a:cubicBezTo>
                    <a:pt x="58" y="35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7" y="38"/>
                  </a:moveTo>
                  <a:cubicBezTo>
                    <a:pt x="57" y="38"/>
                    <a:pt x="57" y="38"/>
                    <a:pt x="57" y="38"/>
                  </a:cubicBezTo>
                  <a:cubicBezTo>
                    <a:pt x="57" y="38"/>
                    <a:pt x="57" y="38"/>
                    <a:pt x="57" y="38"/>
                  </a:cubicBezTo>
                  <a:close/>
                  <a:moveTo>
                    <a:pt x="57" y="39"/>
                  </a:moveTo>
                  <a:cubicBezTo>
                    <a:pt x="57" y="39"/>
                    <a:pt x="57" y="39"/>
                    <a:pt x="56" y="39"/>
                  </a:cubicBezTo>
                  <a:cubicBezTo>
                    <a:pt x="57" y="39"/>
                    <a:pt x="57" y="39"/>
                    <a:pt x="57" y="39"/>
                  </a:cubicBezTo>
                  <a:close/>
                  <a:moveTo>
                    <a:pt x="56" y="42"/>
                  </a:moveTo>
                  <a:cubicBezTo>
                    <a:pt x="56" y="42"/>
                    <a:pt x="55" y="41"/>
                    <a:pt x="55" y="41"/>
                  </a:cubicBezTo>
                  <a:cubicBezTo>
                    <a:pt x="55" y="41"/>
                    <a:pt x="56" y="41"/>
                    <a:pt x="56" y="42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59" y="34"/>
                  </a:cubicBezTo>
                  <a:cubicBezTo>
                    <a:pt x="60" y="34"/>
                    <a:pt x="60" y="35"/>
                    <a:pt x="60" y="35"/>
                  </a:cubicBezTo>
                  <a:close/>
                  <a:moveTo>
                    <a:pt x="61" y="33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3"/>
                  </a:cubicBezTo>
                  <a:close/>
                  <a:moveTo>
                    <a:pt x="59" y="37"/>
                  </a:moveTo>
                  <a:cubicBezTo>
                    <a:pt x="59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8"/>
                    <a:pt x="60" y="37"/>
                    <a:pt x="60" y="37"/>
                  </a:cubicBezTo>
                  <a:cubicBezTo>
                    <a:pt x="60" y="37"/>
                    <a:pt x="59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6"/>
                    <a:pt x="60" y="35"/>
                    <a:pt x="60" y="36"/>
                  </a:cubicBezTo>
                  <a:cubicBezTo>
                    <a:pt x="60" y="36"/>
                    <a:pt x="60" y="36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lose/>
                  <a:moveTo>
                    <a:pt x="60" y="37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7"/>
                    <a:pt x="60" y="36"/>
                  </a:cubicBezTo>
                  <a:cubicBezTo>
                    <a:pt x="60" y="37"/>
                    <a:pt x="60" y="36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61" y="35"/>
                  </a:moveTo>
                  <a:cubicBezTo>
                    <a:pt x="61" y="35"/>
                    <a:pt x="61" y="35"/>
                    <a:pt x="61" y="34"/>
                  </a:cubicBezTo>
                  <a:cubicBezTo>
                    <a:pt x="62" y="34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ubicBezTo>
                    <a:pt x="61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9" y="40"/>
                  </a:cubicBezTo>
                  <a:cubicBezTo>
                    <a:pt x="58" y="41"/>
                    <a:pt x="58" y="40"/>
                    <a:pt x="58" y="40"/>
                  </a:cubicBezTo>
                  <a:close/>
                  <a:moveTo>
                    <a:pt x="60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lose/>
                  <a:moveTo>
                    <a:pt x="61" y="37"/>
                  </a:move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8"/>
                    <a:pt x="60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1" y="39"/>
                    <a:pt x="62" y="39"/>
                    <a:pt x="61" y="39"/>
                  </a:cubicBezTo>
                  <a:cubicBezTo>
                    <a:pt x="61" y="39"/>
                    <a:pt x="61" y="39"/>
                    <a:pt x="60" y="39"/>
                  </a:cubicBezTo>
                  <a:close/>
                  <a:moveTo>
                    <a:pt x="63" y="33"/>
                  </a:moveTo>
                  <a:cubicBezTo>
                    <a:pt x="63" y="34"/>
                    <a:pt x="63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3" y="34"/>
                    <a:pt x="63" y="34"/>
                    <a:pt x="63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5"/>
                  </a:cubicBezTo>
                  <a:cubicBezTo>
                    <a:pt x="63" y="35"/>
                    <a:pt x="63" y="35"/>
                    <a:pt x="62" y="35"/>
                  </a:cubicBezTo>
                  <a:close/>
                  <a:moveTo>
                    <a:pt x="65" y="34"/>
                  </a:moveTo>
                  <a:cubicBezTo>
                    <a:pt x="65" y="34"/>
                    <a:pt x="66" y="35"/>
                    <a:pt x="66" y="35"/>
                  </a:cubicBezTo>
                  <a:cubicBezTo>
                    <a:pt x="65" y="35"/>
                    <a:pt x="64" y="34"/>
                    <a:pt x="64" y="33"/>
                  </a:cubicBezTo>
                  <a:cubicBezTo>
                    <a:pt x="64" y="33"/>
                    <a:pt x="64" y="34"/>
                    <a:pt x="65" y="34"/>
                  </a:cubicBezTo>
                  <a:close/>
                  <a:moveTo>
                    <a:pt x="60" y="42"/>
                  </a:moveTo>
                  <a:cubicBezTo>
                    <a:pt x="60" y="41"/>
                    <a:pt x="60" y="42"/>
                    <a:pt x="60" y="41"/>
                  </a:cubicBezTo>
                  <a:cubicBezTo>
                    <a:pt x="60" y="41"/>
                    <a:pt x="60" y="41"/>
                    <a:pt x="60" y="42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7"/>
                  </a:cubicBezTo>
                  <a:cubicBezTo>
                    <a:pt x="63" y="37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2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2" y="40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8" y="36"/>
                  </a:moveTo>
                  <a:cubicBezTo>
                    <a:pt x="68" y="36"/>
                    <a:pt x="67" y="35"/>
                    <a:pt x="68" y="36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39"/>
                    <a:pt x="66" y="39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2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1"/>
                    <a:pt x="65" y="41"/>
                  </a:cubicBezTo>
                  <a:cubicBezTo>
                    <a:pt x="66" y="41"/>
                    <a:pt x="66" y="42"/>
                    <a:pt x="67" y="42"/>
                  </a:cubicBezTo>
                  <a:close/>
                  <a:moveTo>
                    <a:pt x="65" y="42"/>
                  </a:moveTo>
                  <a:cubicBezTo>
                    <a:pt x="66" y="42"/>
                    <a:pt x="65" y="42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7" y="40"/>
                  </a:cubicBezTo>
                  <a:close/>
                  <a:moveTo>
                    <a:pt x="67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7" y="41"/>
                    <a:pt x="67" y="41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6"/>
                  </a:cubicBezTo>
                  <a:cubicBezTo>
                    <a:pt x="70" y="36"/>
                    <a:pt x="70" y="37"/>
                    <a:pt x="70" y="37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6" y="45"/>
                  </a:moveTo>
                  <a:cubicBezTo>
                    <a:pt x="65" y="45"/>
                    <a:pt x="66" y="45"/>
                    <a:pt x="66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4"/>
                    <a:pt x="66" y="45"/>
                  </a:cubicBezTo>
                  <a:close/>
                  <a:moveTo>
                    <a:pt x="66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38"/>
                    <a:pt x="70" y="38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1" y="39"/>
                  </a:move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1" y="39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67" y="48"/>
                  </a:moveTo>
                  <a:cubicBezTo>
                    <a:pt x="67" y="49"/>
                    <a:pt x="68" y="49"/>
                    <a:pt x="69" y="49"/>
                  </a:cubicBezTo>
                  <a:cubicBezTo>
                    <a:pt x="68" y="49"/>
                    <a:pt x="67" y="48"/>
                    <a:pt x="66" y="48"/>
                  </a:cubicBezTo>
                  <a:cubicBezTo>
                    <a:pt x="66" y="48"/>
                    <a:pt x="66" y="48"/>
                    <a:pt x="66" y="47"/>
                  </a:cubicBezTo>
                  <a:cubicBezTo>
                    <a:pt x="66" y="47"/>
                    <a:pt x="66" y="48"/>
                    <a:pt x="67" y="48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5"/>
                    <a:pt x="68" y="45"/>
                  </a:cubicBezTo>
                  <a:cubicBezTo>
                    <a:pt x="68" y="45"/>
                    <a:pt x="68" y="44"/>
                    <a:pt x="68" y="44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68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5"/>
                    <a:pt x="67" y="46"/>
                    <a:pt x="68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7" y="45"/>
                    <a:pt x="67" y="45"/>
                  </a:cubicBezTo>
                  <a:cubicBezTo>
                    <a:pt x="67" y="46"/>
                    <a:pt x="68" y="45"/>
                    <a:pt x="68" y="46"/>
                  </a:cubicBezTo>
                  <a:cubicBezTo>
                    <a:pt x="67" y="45"/>
                    <a:pt x="67" y="46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lnTo>
                    <a:pt x="68" y="45"/>
                  </a:ln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7" y="47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8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0" y="44"/>
                  </a:moveTo>
                  <a:cubicBezTo>
                    <a:pt x="69" y="44"/>
                    <a:pt x="69" y="43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4"/>
                    <a:pt x="70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0" y="43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3"/>
                    <a:pt x="70" y="43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lose/>
                  <a:moveTo>
                    <a:pt x="70" y="44"/>
                  </a:moveTo>
                  <a:cubicBezTo>
                    <a:pt x="70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1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70" y="43"/>
                  </a:moveTo>
                  <a:cubicBezTo>
                    <a:pt x="70" y="42"/>
                    <a:pt x="71" y="42"/>
                    <a:pt x="71" y="42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68" y="48"/>
                  </a:moveTo>
                  <a:cubicBezTo>
                    <a:pt x="68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7"/>
                    <a:pt x="70" y="47"/>
                    <a:pt x="69" y="47"/>
                  </a:cubicBezTo>
                  <a:cubicBezTo>
                    <a:pt x="69" y="47"/>
                    <a:pt x="69" y="47"/>
                    <a:pt x="70" y="47"/>
                  </a:cubicBezTo>
                  <a:close/>
                  <a:moveTo>
                    <a:pt x="70" y="47"/>
                  </a:moveTo>
                  <a:cubicBezTo>
                    <a:pt x="70" y="47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2" y="45"/>
                  </a:cubicBezTo>
                  <a:cubicBezTo>
                    <a:pt x="72" y="45"/>
                    <a:pt x="71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3" y="43"/>
                  </a:moveTo>
                  <a:cubicBezTo>
                    <a:pt x="73" y="43"/>
                    <a:pt x="73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lose/>
                  <a:moveTo>
                    <a:pt x="74" y="42"/>
                  </a:move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1"/>
                    <a:pt x="72" y="41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3" y="42"/>
                    <a:pt x="74" y="42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69" y="49"/>
                    <a:pt x="69" y="48"/>
                  </a:cubicBezTo>
                  <a:cubicBezTo>
                    <a:pt x="70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70" y="50"/>
                    <a:pt x="69" y="50"/>
                  </a:cubicBezTo>
                  <a:close/>
                  <a:moveTo>
                    <a:pt x="70" y="49"/>
                  </a:moveTo>
                  <a:cubicBezTo>
                    <a:pt x="69" y="49"/>
                    <a:pt x="70" y="50"/>
                    <a:pt x="70" y="50"/>
                  </a:cubicBezTo>
                  <a:cubicBezTo>
                    <a:pt x="70" y="50"/>
                    <a:pt x="70" y="49"/>
                    <a:pt x="69" y="49"/>
                  </a:cubicBezTo>
                  <a:cubicBezTo>
                    <a:pt x="69" y="49"/>
                    <a:pt x="69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2" y="47"/>
                    <a:pt x="72" y="47"/>
                  </a:cubicBezTo>
                  <a:close/>
                  <a:moveTo>
                    <a:pt x="74" y="43"/>
                  </a:moveTo>
                  <a:cubicBezTo>
                    <a:pt x="74" y="44"/>
                    <a:pt x="74" y="44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4"/>
                    <a:pt x="74" y="44"/>
                  </a:cubicBezTo>
                  <a:cubicBezTo>
                    <a:pt x="74" y="44"/>
                    <a:pt x="74" y="44"/>
                    <a:pt x="74" y="43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2" y="49"/>
                  </a:moveTo>
                  <a:cubicBezTo>
                    <a:pt x="71" y="48"/>
                    <a:pt x="72" y="48"/>
                    <a:pt x="71" y="48"/>
                  </a:cubicBezTo>
                  <a:cubicBezTo>
                    <a:pt x="71" y="48"/>
                    <a:pt x="71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0" y="50"/>
                  </a:cubicBezTo>
                  <a:cubicBezTo>
                    <a:pt x="70" y="50"/>
                    <a:pt x="71" y="50"/>
                    <a:pt x="71" y="50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6"/>
                  </a:cubicBezTo>
                  <a:close/>
                  <a:moveTo>
                    <a:pt x="75" y="46"/>
                  </a:moveTo>
                  <a:cubicBezTo>
                    <a:pt x="75" y="46"/>
                    <a:pt x="74" y="45"/>
                    <a:pt x="74" y="45"/>
                  </a:cubicBezTo>
                  <a:cubicBezTo>
                    <a:pt x="74" y="45"/>
                    <a:pt x="75" y="46"/>
                    <a:pt x="75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45"/>
                  </a:moveTo>
                  <a:cubicBezTo>
                    <a:pt x="75" y="45"/>
                    <a:pt x="76" y="45"/>
                    <a:pt x="76" y="46"/>
                  </a:cubicBezTo>
                  <a:cubicBezTo>
                    <a:pt x="76" y="46"/>
                    <a:pt x="75" y="45"/>
                    <a:pt x="75" y="45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5" y="47"/>
                    <a:pt x="75" y="47"/>
                  </a:cubicBezTo>
                  <a:close/>
                  <a:moveTo>
                    <a:pt x="74" y="49"/>
                  </a:moveTo>
                  <a:cubicBezTo>
                    <a:pt x="74" y="49"/>
                    <a:pt x="74" y="49"/>
                    <a:pt x="73" y="49"/>
                  </a:cubicBezTo>
                  <a:cubicBezTo>
                    <a:pt x="74" y="49"/>
                    <a:pt x="74" y="49"/>
                    <a:pt x="74" y="49"/>
                  </a:cubicBezTo>
                  <a:close/>
                  <a:moveTo>
                    <a:pt x="77" y="45"/>
                  </a:moveTo>
                  <a:cubicBezTo>
                    <a:pt x="77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3" y="51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7" y="47"/>
                  </a:cubicBezTo>
                  <a:cubicBezTo>
                    <a:pt x="76" y="48"/>
                    <a:pt x="76" y="47"/>
                    <a:pt x="76" y="47"/>
                  </a:cubicBezTo>
                  <a:close/>
                  <a:moveTo>
                    <a:pt x="74" y="52"/>
                  </a:move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lose/>
                  <a:moveTo>
                    <a:pt x="75" y="50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7" y="48"/>
                  </a:moveTo>
                  <a:cubicBezTo>
                    <a:pt x="77" y="47"/>
                    <a:pt x="78" y="48"/>
                    <a:pt x="78" y="48"/>
                  </a:cubicBezTo>
                  <a:cubicBezTo>
                    <a:pt x="77" y="48"/>
                    <a:pt x="77" y="48"/>
                    <a:pt x="77" y="48"/>
                  </a:cubicBezTo>
                  <a:close/>
                  <a:moveTo>
                    <a:pt x="76" y="50"/>
                  </a:move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lose/>
                  <a:moveTo>
                    <a:pt x="77" y="49"/>
                  </a:moveTo>
                  <a:cubicBezTo>
                    <a:pt x="77" y="48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76" y="51"/>
                  </a:move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6" y="53"/>
                    <a:pt x="76" y="52"/>
                  </a:cubicBezTo>
                  <a:cubicBezTo>
                    <a:pt x="76" y="52"/>
                    <a:pt x="77" y="53"/>
                    <a:pt x="77" y="53"/>
                  </a:cubicBezTo>
                  <a:close/>
                  <a:moveTo>
                    <a:pt x="77" y="51"/>
                  </a:moveTo>
                  <a:cubicBezTo>
                    <a:pt x="78" y="51"/>
                    <a:pt x="78" y="51"/>
                    <a:pt x="78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8" y="52"/>
                  </a:cubicBezTo>
                  <a:cubicBezTo>
                    <a:pt x="78" y="51"/>
                    <a:pt x="77" y="51"/>
                    <a:pt x="77" y="51"/>
                  </a:cubicBezTo>
                  <a:close/>
                  <a:moveTo>
                    <a:pt x="81" y="48"/>
                  </a:move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1" y="48"/>
                  </a:cubicBezTo>
                  <a:close/>
                  <a:moveTo>
                    <a:pt x="78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9" y="51"/>
                  </a:cubicBezTo>
                  <a:cubicBezTo>
                    <a:pt x="78" y="51"/>
                    <a:pt x="79" y="51"/>
                    <a:pt x="78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7" y="54"/>
                    <a:pt x="77" y="54"/>
                  </a:cubicBezTo>
                  <a:cubicBezTo>
                    <a:pt x="77" y="54"/>
                    <a:pt x="77" y="54"/>
                    <a:pt x="77" y="53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3"/>
                    <a:pt x="77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lose/>
                  <a:moveTo>
                    <a:pt x="80" y="49"/>
                  </a:move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lose/>
                  <a:moveTo>
                    <a:pt x="78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3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81" y="52"/>
                  </a:moveTo>
                  <a:cubicBezTo>
                    <a:pt x="80" y="52"/>
                    <a:pt x="79" y="51"/>
                    <a:pt x="79" y="51"/>
                  </a:cubicBezTo>
                  <a:cubicBezTo>
                    <a:pt x="79" y="51"/>
                    <a:pt x="80" y="52"/>
                    <a:pt x="81" y="52"/>
                  </a:cubicBezTo>
                  <a:close/>
                  <a:moveTo>
                    <a:pt x="81" y="48"/>
                  </a:moveTo>
                  <a:cubicBezTo>
                    <a:pt x="81" y="48"/>
                    <a:pt x="81" y="48"/>
                    <a:pt x="81" y="49"/>
                  </a:cubicBezTo>
                  <a:cubicBezTo>
                    <a:pt x="81" y="49"/>
                    <a:pt x="81" y="48"/>
                    <a:pt x="81" y="48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7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lose/>
                  <a:moveTo>
                    <a:pt x="81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1" y="50"/>
                    <a:pt x="81" y="50"/>
                    <a:pt x="81" y="50"/>
                  </a:cubicBezTo>
                  <a:close/>
                  <a:moveTo>
                    <a:pt x="80" y="54"/>
                  </a:move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lose/>
                  <a:moveTo>
                    <a:pt x="85" y="45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4" y="45"/>
                    <a:pt x="85" y="45"/>
                    <a:pt x="85" y="45"/>
                  </a:cubicBezTo>
                  <a:close/>
                  <a:moveTo>
                    <a:pt x="82" y="49"/>
                  </a:moveTo>
                  <a:cubicBezTo>
                    <a:pt x="82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lose/>
                  <a:moveTo>
                    <a:pt x="85" y="46"/>
                  </a:moveTo>
                  <a:cubicBezTo>
                    <a:pt x="85" y="47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5" y="46"/>
                  </a:cubicBezTo>
                  <a:close/>
                  <a:moveTo>
                    <a:pt x="83" y="50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2" y="51"/>
                    <a:pt x="82" y="51"/>
                    <a:pt x="82" y="50"/>
                  </a:cubicBezTo>
                  <a:cubicBezTo>
                    <a:pt x="82" y="50"/>
                    <a:pt x="83" y="51"/>
                    <a:pt x="83" y="50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2"/>
                  </a:move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3"/>
                    <a:pt x="82" y="52"/>
                  </a:cubicBezTo>
                  <a:close/>
                  <a:moveTo>
                    <a:pt x="81" y="54"/>
                  </a:moveTo>
                  <a:cubicBezTo>
                    <a:pt x="81" y="55"/>
                    <a:pt x="81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lose/>
                  <a:moveTo>
                    <a:pt x="86" y="47"/>
                  </a:move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lose/>
                  <a:moveTo>
                    <a:pt x="82" y="56"/>
                  </a:moveTo>
                  <a:cubicBezTo>
                    <a:pt x="82" y="56"/>
                    <a:pt x="82" y="55"/>
                    <a:pt x="81" y="55"/>
                  </a:cubicBezTo>
                  <a:cubicBezTo>
                    <a:pt x="81" y="55"/>
                    <a:pt x="82" y="55"/>
                    <a:pt x="82" y="56"/>
                  </a:cubicBezTo>
                  <a:close/>
                  <a:moveTo>
                    <a:pt x="83" y="55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5"/>
                    <a:pt x="83" y="55"/>
                    <a:pt x="82" y="55"/>
                  </a:cubicBezTo>
                  <a:cubicBezTo>
                    <a:pt x="82" y="55"/>
                    <a:pt x="83" y="55"/>
                    <a:pt x="83" y="55"/>
                  </a:cubicBezTo>
                  <a:close/>
                  <a:moveTo>
                    <a:pt x="83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6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lose/>
                  <a:moveTo>
                    <a:pt x="86" y="53"/>
                  </a:moveTo>
                  <a:cubicBezTo>
                    <a:pt x="87" y="53"/>
                    <a:pt x="87" y="53"/>
                    <a:pt x="87" y="52"/>
                  </a:cubicBezTo>
                  <a:cubicBezTo>
                    <a:pt x="87" y="52"/>
                    <a:pt x="87" y="53"/>
                    <a:pt x="87" y="53"/>
                  </a:cubicBezTo>
                  <a:cubicBezTo>
                    <a:pt x="87" y="53"/>
                    <a:pt x="87" y="53"/>
                    <a:pt x="86" y="53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2" y="50"/>
                    <a:pt x="91" y="49"/>
                    <a:pt x="90" y="48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1" y="49"/>
                    <a:pt x="92" y="49"/>
                    <a:pt x="92" y="50"/>
                  </a:cubicBezTo>
                  <a:cubicBezTo>
                    <a:pt x="93" y="50"/>
                    <a:pt x="92" y="50"/>
                    <a:pt x="93" y="50"/>
                  </a:cubicBezTo>
                  <a:close/>
                  <a:moveTo>
                    <a:pt x="87" y="56"/>
                  </a:move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5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7"/>
                    <a:pt x="88" y="58"/>
                  </a:cubicBezTo>
                  <a:cubicBezTo>
                    <a:pt x="88" y="58"/>
                    <a:pt x="88" y="58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lose/>
                  <a:moveTo>
                    <a:pt x="89" y="54"/>
                  </a:move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5"/>
                  </a:cubicBezTo>
                  <a:cubicBezTo>
                    <a:pt x="89" y="55"/>
                    <a:pt x="89" y="54"/>
                    <a:pt x="89" y="54"/>
                  </a:cubicBezTo>
                  <a:close/>
                  <a:moveTo>
                    <a:pt x="87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7" y="57"/>
                  </a:cubicBezTo>
                  <a:cubicBezTo>
                    <a:pt x="88" y="57"/>
                    <a:pt x="87" y="57"/>
                    <a:pt x="87" y="57"/>
                  </a:cubicBezTo>
                  <a:close/>
                  <a:moveTo>
                    <a:pt x="88" y="58"/>
                  </a:moveTo>
                  <a:cubicBezTo>
                    <a:pt x="88" y="58"/>
                    <a:pt x="87" y="58"/>
                    <a:pt x="87" y="58"/>
                  </a:cubicBezTo>
                  <a:cubicBezTo>
                    <a:pt x="87" y="57"/>
                    <a:pt x="88" y="58"/>
                    <a:pt x="88" y="58"/>
                  </a:cubicBezTo>
                  <a:close/>
                  <a:moveTo>
                    <a:pt x="88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8" y="58"/>
                    <a:pt x="88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6"/>
                    <a:pt x="90" y="56"/>
                  </a:cubicBezTo>
                  <a:cubicBezTo>
                    <a:pt x="90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9" y="59"/>
                  </a:moveTo>
                  <a:cubicBezTo>
                    <a:pt x="89" y="59"/>
                    <a:pt x="88" y="59"/>
                    <a:pt x="88" y="59"/>
                  </a:cubicBezTo>
                  <a:cubicBezTo>
                    <a:pt x="88" y="59"/>
                    <a:pt x="89" y="59"/>
                    <a:pt x="89" y="59"/>
                  </a:cubicBezTo>
                  <a:close/>
                  <a:moveTo>
                    <a:pt x="89" y="57"/>
                  </a:move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9" y="59"/>
                  </a:moveTo>
                  <a:cubicBezTo>
                    <a:pt x="89" y="59"/>
                    <a:pt x="90" y="60"/>
                    <a:pt x="90" y="60"/>
                  </a:cubicBezTo>
                  <a:cubicBezTo>
                    <a:pt x="90" y="60"/>
                    <a:pt x="89" y="59"/>
                    <a:pt x="89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89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1" y="56"/>
                  </a:moveTo>
                  <a:cubicBezTo>
                    <a:pt x="92" y="56"/>
                    <a:pt x="93" y="56"/>
                    <a:pt x="93" y="56"/>
                  </a:cubicBezTo>
                  <a:cubicBezTo>
                    <a:pt x="92" y="56"/>
                    <a:pt x="92" y="56"/>
                    <a:pt x="91" y="56"/>
                  </a:cubicBezTo>
                  <a:cubicBezTo>
                    <a:pt x="91" y="56"/>
                    <a:pt x="91" y="55"/>
                    <a:pt x="91" y="56"/>
                  </a:cubicBezTo>
                  <a:close/>
                  <a:moveTo>
                    <a:pt x="91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8"/>
                    <a:pt x="91" y="58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2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2" y="59"/>
                  </a:cubicBezTo>
                  <a:cubicBezTo>
                    <a:pt x="92" y="59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3" y="58"/>
                  </a:moveTo>
                  <a:cubicBezTo>
                    <a:pt x="93" y="58"/>
                    <a:pt x="93" y="57"/>
                    <a:pt x="93" y="57"/>
                  </a:cubicBezTo>
                  <a:cubicBezTo>
                    <a:pt x="93" y="57"/>
                    <a:pt x="93" y="58"/>
                    <a:pt x="93" y="57"/>
                  </a:cubicBezTo>
                  <a:cubicBezTo>
                    <a:pt x="93" y="58"/>
                    <a:pt x="93" y="57"/>
                    <a:pt x="93" y="58"/>
                  </a:cubicBezTo>
                  <a:cubicBezTo>
                    <a:pt x="93" y="58"/>
                    <a:pt x="94" y="59"/>
                    <a:pt x="95" y="58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4" y="59"/>
                    <a:pt x="93" y="58"/>
                    <a:pt x="92" y="57"/>
                  </a:cubicBezTo>
                  <a:cubicBezTo>
                    <a:pt x="92" y="57"/>
                    <a:pt x="92" y="57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1" y="61"/>
                    <a:pt x="90" y="61"/>
                  </a:cubicBezTo>
                  <a:cubicBezTo>
                    <a:pt x="91" y="60"/>
                    <a:pt x="91" y="61"/>
                    <a:pt x="91" y="60"/>
                  </a:cubicBezTo>
                  <a:close/>
                  <a:moveTo>
                    <a:pt x="93" y="58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1" y="60"/>
                    <a:pt x="92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1" y="61"/>
                  </a:cubicBezTo>
                  <a:close/>
                  <a:moveTo>
                    <a:pt x="94" y="55"/>
                  </a:moveTo>
                  <a:cubicBezTo>
                    <a:pt x="94" y="55"/>
                    <a:pt x="95" y="55"/>
                    <a:pt x="95" y="56"/>
                  </a:cubicBezTo>
                  <a:cubicBezTo>
                    <a:pt x="95" y="56"/>
                    <a:pt x="95" y="55"/>
                    <a:pt x="94" y="56"/>
                  </a:cubicBezTo>
                  <a:cubicBezTo>
                    <a:pt x="94" y="55"/>
                    <a:pt x="94" y="55"/>
                    <a:pt x="94" y="55"/>
                  </a:cubicBezTo>
                  <a:close/>
                  <a:moveTo>
                    <a:pt x="93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3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2" y="61"/>
                  </a:move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1"/>
                    <a:pt x="92" y="61"/>
                  </a:cubicBezTo>
                  <a:close/>
                  <a:moveTo>
                    <a:pt x="93" y="59"/>
                  </a:move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lose/>
                  <a:moveTo>
                    <a:pt x="93" y="61"/>
                  </a:moveTo>
                  <a:cubicBezTo>
                    <a:pt x="93" y="61"/>
                    <a:pt x="93" y="60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5" y="56"/>
                  </a:cubicBezTo>
                  <a:close/>
                  <a:moveTo>
                    <a:pt x="95" y="61"/>
                  </a:move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lose/>
                  <a:moveTo>
                    <a:pt x="98" y="57"/>
                  </a:moveTo>
                  <a:cubicBezTo>
                    <a:pt x="98" y="57"/>
                    <a:pt x="97" y="57"/>
                    <a:pt x="97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8"/>
                    <a:pt x="98" y="58"/>
                    <a:pt x="98" y="57"/>
                  </a:cubicBezTo>
                  <a:close/>
                  <a:moveTo>
                    <a:pt x="99" y="59"/>
                  </a:moveTo>
                  <a:cubicBezTo>
                    <a:pt x="99" y="59"/>
                    <a:pt x="98" y="59"/>
                    <a:pt x="98" y="59"/>
                  </a:cubicBezTo>
                  <a:cubicBezTo>
                    <a:pt x="98" y="58"/>
                    <a:pt x="99" y="59"/>
                    <a:pt x="99" y="59"/>
                  </a:cubicBezTo>
                  <a:close/>
                  <a:moveTo>
                    <a:pt x="97" y="61"/>
                  </a:moveTo>
                  <a:cubicBezTo>
                    <a:pt x="97" y="61"/>
                    <a:pt x="97" y="61"/>
                    <a:pt x="97" y="62"/>
                  </a:cubicBezTo>
                  <a:cubicBezTo>
                    <a:pt x="97" y="62"/>
                    <a:pt x="97" y="61"/>
                    <a:pt x="97" y="61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0" y="58"/>
                  </a:cubicBezTo>
                  <a:cubicBezTo>
                    <a:pt x="100" y="57"/>
                    <a:pt x="101" y="58"/>
                    <a:pt x="101" y="58"/>
                  </a:cubicBezTo>
                  <a:cubicBezTo>
                    <a:pt x="101" y="58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1" y="57"/>
                    <a:pt x="100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9" y="59"/>
                  </a:move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lose/>
                  <a:moveTo>
                    <a:pt x="100" y="58"/>
                  </a:move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0" y="58"/>
                  </a:moveTo>
                  <a:cubicBezTo>
                    <a:pt x="100" y="57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8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0" y="62"/>
                  </a:moveTo>
                  <a:cubicBezTo>
                    <a:pt x="99" y="62"/>
                    <a:pt x="99" y="62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lose/>
                  <a:moveTo>
                    <a:pt x="102" y="61"/>
                  </a:moveTo>
                  <a:cubicBezTo>
                    <a:pt x="101" y="60"/>
                    <a:pt x="101" y="61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1" y="61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2" y="61"/>
                  </a:cubicBezTo>
                  <a:close/>
                  <a:moveTo>
                    <a:pt x="104" y="58"/>
                  </a:move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3" y="59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4" y="58"/>
                  </a:cubicBezTo>
                  <a:cubicBezTo>
                    <a:pt x="103" y="58"/>
                    <a:pt x="104" y="58"/>
                    <a:pt x="104" y="58"/>
                  </a:cubicBezTo>
                  <a:close/>
                  <a:moveTo>
                    <a:pt x="104" y="57"/>
                  </a:moveTo>
                  <a:cubicBezTo>
                    <a:pt x="104" y="58"/>
                    <a:pt x="104" y="57"/>
                    <a:pt x="104" y="57"/>
                  </a:cubicBezTo>
                  <a:cubicBezTo>
                    <a:pt x="104" y="57"/>
                    <a:pt x="104" y="57"/>
                    <a:pt x="103" y="57"/>
                  </a:cubicBezTo>
                  <a:cubicBezTo>
                    <a:pt x="104" y="57"/>
                    <a:pt x="104" y="57"/>
                    <a:pt x="104" y="57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2" y="63"/>
                  </a:moveTo>
                  <a:cubicBezTo>
                    <a:pt x="102" y="63"/>
                    <a:pt x="102" y="63"/>
                    <a:pt x="102" y="63"/>
                  </a:cubicBezTo>
                  <a:cubicBezTo>
                    <a:pt x="101" y="63"/>
                    <a:pt x="101" y="62"/>
                    <a:pt x="101" y="63"/>
                  </a:cubicBezTo>
                  <a:cubicBezTo>
                    <a:pt x="101" y="63"/>
                    <a:pt x="101" y="62"/>
                    <a:pt x="101" y="62"/>
                  </a:cubicBezTo>
                  <a:cubicBezTo>
                    <a:pt x="101" y="62"/>
                    <a:pt x="101" y="63"/>
                    <a:pt x="102" y="63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60"/>
                    <a:pt x="103" y="60"/>
                  </a:cubicBezTo>
                  <a:cubicBezTo>
                    <a:pt x="103" y="60"/>
                    <a:pt x="103" y="59"/>
                    <a:pt x="103" y="59"/>
                  </a:cubicBezTo>
                  <a:close/>
                  <a:moveTo>
                    <a:pt x="103" y="59"/>
                  </a:moveTo>
                  <a:cubicBezTo>
                    <a:pt x="104" y="59"/>
                    <a:pt x="104" y="59"/>
                    <a:pt x="104" y="60"/>
                  </a:cubicBezTo>
                  <a:cubicBezTo>
                    <a:pt x="104" y="60"/>
                    <a:pt x="104" y="59"/>
                    <a:pt x="103" y="59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3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2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lose/>
                  <a:moveTo>
                    <a:pt x="105" y="60"/>
                  </a:moveTo>
                  <a:cubicBezTo>
                    <a:pt x="105" y="60"/>
                    <a:pt x="104" y="59"/>
                    <a:pt x="104" y="59"/>
                  </a:cubicBezTo>
                  <a:cubicBezTo>
                    <a:pt x="104" y="59"/>
                    <a:pt x="105" y="60"/>
                    <a:pt x="105" y="60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04" y="62"/>
                  </a:moveTo>
                  <a:cubicBezTo>
                    <a:pt x="104" y="63"/>
                    <a:pt x="104" y="62"/>
                    <a:pt x="103" y="62"/>
                  </a:cubicBezTo>
                  <a:cubicBezTo>
                    <a:pt x="103" y="62"/>
                    <a:pt x="104" y="62"/>
                    <a:pt x="104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2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0"/>
                    <a:pt x="105" y="60"/>
                  </a:cubicBezTo>
                  <a:close/>
                  <a:moveTo>
                    <a:pt x="106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9"/>
                    <a:pt x="106" y="58"/>
                  </a:cubicBezTo>
                  <a:cubicBezTo>
                    <a:pt x="106" y="59"/>
                    <a:pt x="106" y="59"/>
                    <a:pt x="106" y="59"/>
                  </a:cubicBezTo>
                  <a:close/>
                  <a:moveTo>
                    <a:pt x="106" y="59"/>
                  </a:moveTo>
                  <a:cubicBezTo>
                    <a:pt x="106" y="59"/>
                    <a:pt x="107" y="59"/>
                    <a:pt x="107" y="59"/>
                  </a:cubicBezTo>
                  <a:cubicBezTo>
                    <a:pt x="106" y="59"/>
                    <a:pt x="107" y="59"/>
                    <a:pt x="106" y="59"/>
                  </a:cubicBezTo>
                  <a:close/>
                  <a:moveTo>
                    <a:pt x="107" y="58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8"/>
                    <a:pt x="107" y="59"/>
                    <a:pt x="107" y="58"/>
                  </a:cubicBezTo>
                  <a:close/>
                  <a:moveTo>
                    <a:pt x="104" y="65"/>
                  </a:moveTo>
                  <a:cubicBezTo>
                    <a:pt x="104" y="65"/>
                    <a:pt x="104" y="64"/>
                    <a:pt x="103" y="64"/>
                  </a:cubicBezTo>
                  <a:cubicBezTo>
                    <a:pt x="104" y="64"/>
                    <a:pt x="104" y="65"/>
                    <a:pt x="104" y="65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5" y="64"/>
                  </a:moveTo>
                  <a:cubicBezTo>
                    <a:pt x="105" y="65"/>
                    <a:pt x="104" y="64"/>
                    <a:pt x="104" y="64"/>
                  </a:cubicBezTo>
                  <a:cubicBezTo>
                    <a:pt x="104" y="64"/>
                    <a:pt x="105" y="64"/>
                    <a:pt x="104" y="64"/>
                  </a:cubicBezTo>
                  <a:cubicBezTo>
                    <a:pt x="105" y="64"/>
                    <a:pt x="104" y="64"/>
                    <a:pt x="105" y="64"/>
                  </a:cubicBezTo>
                  <a:close/>
                  <a:moveTo>
                    <a:pt x="105" y="64"/>
                  </a:move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4" y="64"/>
                    <a:pt x="105" y="64"/>
                    <a:pt x="105" y="64"/>
                  </a:cubicBezTo>
                  <a:cubicBezTo>
                    <a:pt x="105" y="63"/>
                    <a:pt x="105" y="64"/>
                    <a:pt x="105" y="64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3" y="66"/>
                  </a:cubicBezTo>
                  <a:cubicBezTo>
                    <a:pt x="103" y="66"/>
                    <a:pt x="103" y="66"/>
                    <a:pt x="103" y="66"/>
                  </a:cubicBezTo>
                  <a:close/>
                  <a:moveTo>
                    <a:pt x="106" y="61"/>
                  </a:moveTo>
                  <a:cubicBezTo>
                    <a:pt x="106" y="60"/>
                    <a:pt x="107" y="61"/>
                    <a:pt x="107" y="60"/>
                  </a:cubicBezTo>
                  <a:cubicBezTo>
                    <a:pt x="107" y="60"/>
                    <a:pt x="107" y="60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6" y="61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59"/>
                    <a:pt x="108" y="60"/>
                  </a:cubicBezTo>
                  <a:cubicBezTo>
                    <a:pt x="108" y="60"/>
                    <a:pt x="108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59"/>
                  </a:cubicBezTo>
                  <a:close/>
                  <a:moveTo>
                    <a:pt x="107" y="61"/>
                  </a:moveTo>
                  <a:cubicBezTo>
                    <a:pt x="107" y="61"/>
                    <a:pt x="107" y="61"/>
                    <a:pt x="108" y="61"/>
                  </a:cubicBezTo>
                  <a:cubicBezTo>
                    <a:pt x="107" y="61"/>
                    <a:pt x="107" y="61"/>
                    <a:pt x="107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7" y="65"/>
                    <a:pt x="107" y="65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  <a:moveTo>
                    <a:pt x="109" y="64"/>
                  </a:moveTo>
                  <a:cubicBezTo>
                    <a:pt x="109" y="64"/>
                    <a:pt x="109" y="64"/>
                    <a:pt x="108" y="63"/>
                  </a:cubicBezTo>
                  <a:cubicBezTo>
                    <a:pt x="109" y="63"/>
                    <a:pt x="109" y="64"/>
                    <a:pt x="109" y="64"/>
                  </a:cubicBezTo>
                  <a:close/>
                  <a:moveTo>
                    <a:pt x="106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6" y="68"/>
                    <a:pt x="106" y="69"/>
                    <a:pt x="106" y="69"/>
                  </a:cubicBez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8" y="66"/>
                    <a:pt x="108" y="66"/>
                  </a:cubicBezTo>
                  <a:cubicBezTo>
                    <a:pt x="108" y="66"/>
                    <a:pt x="109" y="67"/>
                    <a:pt x="109" y="66"/>
                  </a:cubicBezTo>
                  <a:cubicBezTo>
                    <a:pt x="109" y="67"/>
                    <a:pt x="109" y="66"/>
                    <a:pt x="109" y="67"/>
                  </a:cubicBezTo>
                  <a:close/>
                  <a:moveTo>
                    <a:pt x="108" y="70"/>
                  </a:moveTo>
                  <a:cubicBezTo>
                    <a:pt x="108" y="70"/>
                    <a:pt x="108" y="70"/>
                    <a:pt x="108" y="70"/>
                  </a:cubicBezTo>
                  <a:cubicBezTo>
                    <a:pt x="108" y="70"/>
                    <a:pt x="108" y="70"/>
                    <a:pt x="107" y="70"/>
                  </a:cubicBezTo>
                  <a:cubicBezTo>
                    <a:pt x="107" y="69"/>
                    <a:pt x="108" y="70"/>
                    <a:pt x="108" y="70"/>
                  </a:cubicBezTo>
                  <a:close/>
                  <a:moveTo>
                    <a:pt x="109" y="66"/>
                  </a:moveTo>
                  <a:cubicBezTo>
                    <a:pt x="109" y="66"/>
                    <a:pt x="110" y="66"/>
                    <a:pt x="110" y="66"/>
                  </a:cubicBezTo>
                  <a:cubicBezTo>
                    <a:pt x="110" y="67"/>
                    <a:pt x="110" y="66"/>
                    <a:pt x="109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lose/>
                  <a:moveTo>
                    <a:pt x="109" y="67"/>
                  </a:moveTo>
                  <a:cubicBezTo>
                    <a:pt x="110" y="67"/>
                    <a:pt x="110" y="67"/>
                    <a:pt x="109" y="67"/>
                  </a:cubicBezTo>
                  <a:close/>
                  <a:moveTo>
                    <a:pt x="108" y="71"/>
                  </a:moveTo>
                  <a:cubicBezTo>
                    <a:pt x="108" y="71"/>
                    <a:pt x="108" y="71"/>
                    <a:pt x="108" y="71"/>
                  </a:cubicBezTo>
                  <a:cubicBezTo>
                    <a:pt x="108" y="71"/>
                    <a:pt x="109" y="71"/>
                    <a:pt x="108" y="71"/>
                  </a:cubicBezTo>
                  <a:close/>
                  <a:moveTo>
                    <a:pt x="112" y="66"/>
                  </a:moveTo>
                  <a:cubicBezTo>
                    <a:pt x="112" y="66"/>
                    <a:pt x="111" y="66"/>
                    <a:pt x="111" y="66"/>
                  </a:cubicBezTo>
                  <a:cubicBezTo>
                    <a:pt x="111" y="65"/>
                    <a:pt x="112" y="66"/>
                    <a:pt x="112" y="66"/>
                  </a:cubicBezTo>
                  <a:close/>
                  <a:moveTo>
                    <a:pt x="114" y="66"/>
                  </a:moveTo>
                  <a:cubicBezTo>
                    <a:pt x="114" y="66"/>
                    <a:pt x="113" y="66"/>
                    <a:pt x="113" y="66"/>
                  </a:cubicBezTo>
                  <a:cubicBezTo>
                    <a:pt x="113" y="65"/>
                    <a:pt x="114" y="66"/>
                    <a:pt x="114" y="66"/>
                  </a:cubicBezTo>
                  <a:close/>
                  <a:moveTo>
                    <a:pt x="112" y="70"/>
                  </a:move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2" y="70"/>
                    <a:pt x="112" y="70"/>
                  </a:cubicBezTo>
                  <a:close/>
                  <a:moveTo>
                    <a:pt x="113" y="69"/>
                  </a:moveTo>
                  <a:cubicBezTo>
                    <a:pt x="113" y="69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5" y="66"/>
                    <a:pt x="115" y="67"/>
                  </a:cubicBezTo>
                  <a:cubicBezTo>
                    <a:pt x="115" y="67"/>
                    <a:pt x="115" y="66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3" y="71"/>
                  </a:move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4" y="71"/>
                    <a:pt x="113" y="71"/>
                  </a:cubicBezTo>
                  <a:close/>
                  <a:moveTo>
                    <a:pt x="118" y="65"/>
                  </a:moveTo>
                  <a:cubicBezTo>
                    <a:pt x="118" y="65"/>
                    <a:pt x="117" y="65"/>
                    <a:pt x="117" y="64"/>
                  </a:cubicBezTo>
                  <a:cubicBezTo>
                    <a:pt x="117" y="64"/>
                    <a:pt x="118" y="65"/>
                    <a:pt x="118" y="65"/>
                  </a:cubicBezTo>
                  <a:close/>
                  <a:moveTo>
                    <a:pt x="116" y="67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lose/>
                  <a:moveTo>
                    <a:pt x="118" y="73"/>
                  </a:move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lose/>
                  <a:moveTo>
                    <a:pt x="125" y="72"/>
                  </a:moveTo>
                  <a:cubicBezTo>
                    <a:pt x="125" y="72"/>
                    <a:pt x="126" y="72"/>
                    <a:pt x="126" y="72"/>
                  </a:cubicBezTo>
                  <a:cubicBezTo>
                    <a:pt x="126" y="72"/>
                    <a:pt x="125" y="72"/>
                    <a:pt x="125" y="72"/>
                  </a:cubicBezTo>
                  <a:close/>
                  <a:moveTo>
                    <a:pt x="124" y="76"/>
                  </a:moveTo>
                  <a:cubicBezTo>
                    <a:pt x="124" y="75"/>
                    <a:pt x="125" y="76"/>
                    <a:pt x="125" y="76"/>
                  </a:cubicBezTo>
                  <a:cubicBezTo>
                    <a:pt x="124" y="76"/>
                    <a:pt x="124" y="76"/>
                    <a:pt x="124" y="76"/>
                  </a:cubicBezTo>
                  <a:close/>
                  <a:moveTo>
                    <a:pt x="127" y="72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2"/>
                    <a:pt x="127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3" y="75"/>
                  </a:moveTo>
                  <a:cubicBezTo>
                    <a:pt x="133" y="75"/>
                    <a:pt x="134" y="75"/>
                    <a:pt x="134" y="75"/>
                  </a:cubicBezTo>
                  <a:cubicBezTo>
                    <a:pt x="134" y="75"/>
                    <a:pt x="133" y="75"/>
                    <a:pt x="133" y="75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5" y="76"/>
                    <a:pt x="135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lose/>
                  <a:moveTo>
                    <a:pt x="135" y="80"/>
                  </a:moveTo>
                  <a:cubicBezTo>
                    <a:pt x="135" y="80"/>
                    <a:pt x="135" y="79"/>
                    <a:pt x="135" y="79"/>
                  </a:cubicBezTo>
                  <a:cubicBezTo>
                    <a:pt x="135" y="79"/>
                    <a:pt x="135" y="79"/>
                    <a:pt x="135" y="80"/>
                  </a:cubicBezTo>
                  <a:close/>
                  <a:moveTo>
                    <a:pt x="139" y="78"/>
                  </a:moveTo>
                  <a:cubicBezTo>
                    <a:pt x="139" y="79"/>
                    <a:pt x="139" y="79"/>
                    <a:pt x="139" y="78"/>
                  </a:cubicBezTo>
                  <a:cubicBezTo>
                    <a:pt x="138" y="78"/>
                    <a:pt x="138" y="78"/>
                    <a:pt x="137" y="77"/>
                  </a:cubicBezTo>
                  <a:cubicBezTo>
                    <a:pt x="138" y="78"/>
                    <a:pt x="139" y="78"/>
                    <a:pt x="139" y="78"/>
                  </a:cubicBezTo>
                  <a:close/>
                  <a:moveTo>
                    <a:pt x="137" y="81"/>
                  </a:moveTo>
                  <a:cubicBezTo>
                    <a:pt x="137" y="81"/>
                    <a:pt x="137" y="81"/>
                    <a:pt x="136" y="80"/>
                  </a:cubicBezTo>
                  <a:cubicBezTo>
                    <a:pt x="136" y="80"/>
                    <a:pt x="137" y="81"/>
                    <a:pt x="137" y="81"/>
                  </a:cubicBezTo>
                  <a:close/>
                  <a:moveTo>
                    <a:pt x="140" y="79"/>
                  </a:moveTo>
                  <a:cubicBezTo>
                    <a:pt x="140" y="79"/>
                    <a:pt x="141" y="79"/>
                    <a:pt x="141" y="79"/>
                  </a:cubicBezTo>
                  <a:cubicBezTo>
                    <a:pt x="141" y="80"/>
                    <a:pt x="140" y="79"/>
                    <a:pt x="140" y="79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4" y="80"/>
                    <a:pt x="144" y="80"/>
                  </a:cubicBezTo>
                  <a:cubicBezTo>
                    <a:pt x="144" y="81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2"/>
                    <a:pt x="143" y="81"/>
                  </a:cubicBezTo>
                  <a:close/>
                  <a:moveTo>
                    <a:pt x="141" y="85"/>
                  </a:moveTo>
                  <a:cubicBezTo>
                    <a:pt x="141" y="86"/>
                    <a:pt x="141" y="85"/>
                    <a:pt x="141" y="85"/>
                  </a:cubicBezTo>
                  <a:cubicBezTo>
                    <a:pt x="141" y="85"/>
                    <a:pt x="141" y="85"/>
                    <a:pt x="141" y="85"/>
                  </a:cubicBezTo>
                  <a:close/>
                  <a:moveTo>
                    <a:pt x="144" y="83"/>
                  </a:moveTo>
                  <a:cubicBezTo>
                    <a:pt x="144" y="83"/>
                    <a:pt x="143" y="82"/>
                    <a:pt x="143" y="82"/>
                  </a:cubicBezTo>
                  <a:cubicBezTo>
                    <a:pt x="143" y="82"/>
                    <a:pt x="144" y="82"/>
                    <a:pt x="144" y="83"/>
                  </a:cubicBezTo>
                  <a:close/>
                  <a:moveTo>
                    <a:pt x="144" y="81"/>
                  </a:move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4" y="82"/>
                    <a:pt x="145" y="82"/>
                  </a:cubicBezTo>
                  <a:cubicBezTo>
                    <a:pt x="145" y="82"/>
                    <a:pt x="144" y="81"/>
                    <a:pt x="144" y="82"/>
                  </a:cubicBezTo>
                  <a:close/>
                  <a:moveTo>
                    <a:pt x="145" y="83"/>
                  </a:moveTo>
                  <a:cubicBezTo>
                    <a:pt x="145" y="83"/>
                    <a:pt x="144" y="83"/>
                    <a:pt x="144" y="83"/>
                  </a:cubicBezTo>
                  <a:cubicBezTo>
                    <a:pt x="144" y="83"/>
                    <a:pt x="145" y="83"/>
                    <a:pt x="145" y="83"/>
                  </a:cubicBezTo>
                  <a:close/>
                  <a:moveTo>
                    <a:pt x="144" y="83"/>
                  </a:moveTo>
                  <a:cubicBezTo>
                    <a:pt x="144" y="83"/>
                    <a:pt x="145" y="83"/>
                    <a:pt x="145" y="83"/>
                  </a:cubicBezTo>
                  <a:cubicBezTo>
                    <a:pt x="145" y="83"/>
                    <a:pt x="144" y="83"/>
                    <a:pt x="144" y="83"/>
                  </a:cubicBezTo>
                  <a:close/>
                  <a:moveTo>
                    <a:pt x="145" y="82"/>
                  </a:moveTo>
                  <a:cubicBezTo>
                    <a:pt x="145" y="83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lose/>
                  <a:moveTo>
                    <a:pt x="147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7" y="82"/>
                  </a:cubicBezTo>
                  <a:close/>
                  <a:moveTo>
                    <a:pt x="144" y="87"/>
                  </a:moveTo>
                  <a:cubicBezTo>
                    <a:pt x="144" y="88"/>
                    <a:pt x="144" y="87"/>
                    <a:pt x="144" y="87"/>
                  </a:cubicBezTo>
                  <a:cubicBezTo>
                    <a:pt x="144" y="87"/>
                    <a:pt x="144" y="87"/>
                    <a:pt x="144" y="87"/>
                  </a:cubicBezTo>
                  <a:close/>
                  <a:moveTo>
                    <a:pt x="145" y="88"/>
                  </a:moveTo>
                  <a:cubicBezTo>
                    <a:pt x="145" y="89"/>
                    <a:pt x="145" y="88"/>
                    <a:pt x="145" y="88"/>
                  </a:cubicBezTo>
                  <a:cubicBezTo>
                    <a:pt x="145" y="88"/>
                    <a:pt x="145" y="88"/>
                    <a:pt x="145" y="88"/>
                  </a:cubicBezTo>
                  <a:close/>
                  <a:moveTo>
                    <a:pt x="149" y="84"/>
                  </a:moveTo>
                  <a:cubicBezTo>
                    <a:pt x="149" y="84"/>
                    <a:pt x="150" y="85"/>
                    <a:pt x="151" y="86"/>
                  </a:cubicBezTo>
                  <a:cubicBezTo>
                    <a:pt x="152" y="86"/>
                    <a:pt x="153" y="87"/>
                    <a:pt x="153" y="87"/>
                  </a:cubicBezTo>
                  <a:cubicBezTo>
                    <a:pt x="152" y="86"/>
                    <a:pt x="150" y="85"/>
                    <a:pt x="149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49" y="86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lose/>
                  <a:moveTo>
                    <a:pt x="151" y="84"/>
                  </a:moveTo>
                  <a:cubicBezTo>
                    <a:pt x="151" y="84"/>
                    <a:pt x="150" y="84"/>
                    <a:pt x="150" y="84"/>
                  </a:cubicBezTo>
                  <a:cubicBezTo>
                    <a:pt x="150" y="84"/>
                    <a:pt x="151" y="84"/>
                    <a:pt x="151" y="84"/>
                  </a:cubicBezTo>
                  <a:close/>
                  <a:moveTo>
                    <a:pt x="151" y="85"/>
                  </a:moveTo>
                  <a:cubicBezTo>
                    <a:pt x="151" y="85"/>
                    <a:pt x="150" y="85"/>
                    <a:pt x="150" y="84"/>
                  </a:cubicBezTo>
                  <a:cubicBezTo>
                    <a:pt x="150" y="84"/>
                    <a:pt x="151" y="85"/>
                    <a:pt x="151" y="85"/>
                  </a:cubicBezTo>
                  <a:close/>
                  <a:moveTo>
                    <a:pt x="151" y="84"/>
                  </a:moveTo>
                  <a:cubicBezTo>
                    <a:pt x="151" y="84"/>
                    <a:pt x="151" y="84"/>
                    <a:pt x="152" y="85"/>
                  </a:cubicBezTo>
                  <a:cubicBezTo>
                    <a:pt x="152" y="85"/>
                    <a:pt x="152" y="85"/>
                    <a:pt x="151" y="85"/>
                  </a:cubicBezTo>
                  <a:cubicBezTo>
                    <a:pt x="152" y="85"/>
                    <a:pt x="151" y="84"/>
                    <a:pt x="151" y="84"/>
                  </a:cubicBezTo>
                  <a:close/>
                  <a:moveTo>
                    <a:pt x="150" y="87"/>
                  </a:moveTo>
                  <a:cubicBezTo>
                    <a:pt x="150" y="87"/>
                    <a:pt x="150" y="86"/>
                    <a:pt x="150" y="86"/>
                  </a:cubicBezTo>
                  <a:cubicBezTo>
                    <a:pt x="150" y="86"/>
                    <a:pt x="150" y="87"/>
                    <a:pt x="150" y="87"/>
                  </a:cubicBezTo>
                  <a:close/>
                  <a:moveTo>
                    <a:pt x="149" y="91"/>
                  </a:moveTo>
                  <a:cubicBezTo>
                    <a:pt x="149" y="91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2" y="88"/>
                    <a:pt x="152" y="88"/>
                  </a:cubicBezTo>
                  <a:close/>
                  <a:moveTo>
                    <a:pt x="153" y="88"/>
                  </a:move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4" y="89"/>
                  </a:cubicBezTo>
                  <a:cubicBezTo>
                    <a:pt x="153" y="89"/>
                    <a:pt x="153" y="88"/>
                    <a:pt x="153" y="88"/>
                  </a:cubicBezTo>
                  <a:close/>
                  <a:moveTo>
                    <a:pt x="155" y="86"/>
                  </a:moveTo>
                  <a:cubicBezTo>
                    <a:pt x="155" y="87"/>
                    <a:pt x="154" y="86"/>
                    <a:pt x="154" y="86"/>
                  </a:cubicBezTo>
                  <a:cubicBezTo>
                    <a:pt x="154" y="86"/>
                    <a:pt x="155" y="86"/>
                    <a:pt x="155" y="86"/>
                  </a:cubicBezTo>
                  <a:close/>
                  <a:moveTo>
                    <a:pt x="152" y="93"/>
                  </a:moveTo>
                  <a:cubicBezTo>
                    <a:pt x="152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2" y="93"/>
                  </a:cubicBezTo>
                  <a:close/>
                  <a:moveTo>
                    <a:pt x="154" y="88"/>
                  </a:move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8"/>
                    <a:pt x="154" y="89"/>
                    <a:pt x="154" y="88"/>
                  </a:cubicBezTo>
                  <a:close/>
                  <a:moveTo>
                    <a:pt x="155" y="87"/>
                  </a:moveTo>
                  <a:cubicBezTo>
                    <a:pt x="155" y="87"/>
                    <a:pt x="156" y="87"/>
                    <a:pt x="156" y="87"/>
                  </a:cubicBezTo>
                  <a:cubicBezTo>
                    <a:pt x="156" y="87"/>
                    <a:pt x="155" y="87"/>
                    <a:pt x="155" y="87"/>
                  </a:cubicBezTo>
                  <a:close/>
                  <a:moveTo>
                    <a:pt x="154" y="88"/>
                  </a:moveTo>
                  <a:cubicBezTo>
                    <a:pt x="154" y="88"/>
                    <a:pt x="155" y="88"/>
                    <a:pt x="155" y="88"/>
                  </a:cubicBezTo>
                  <a:cubicBezTo>
                    <a:pt x="155" y="88"/>
                    <a:pt x="155" y="88"/>
                    <a:pt x="154" y="88"/>
                  </a:cubicBezTo>
                  <a:close/>
                  <a:moveTo>
                    <a:pt x="152" y="93"/>
                  </a:moveTo>
                  <a:cubicBezTo>
                    <a:pt x="152" y="93"/>
                    <a:pt x="153" y="93"/>
                    <a:pt x="153" y="93"/>
                  </a:cubicBezTo>
                  <a:cubicBezTo>
                    <a:pt x="153" y="93"/>
                    <a:pt x="152" y="93"/>
                    <a:pt x="152" y="93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3" y="91"/>
                  </a:cubicBezTo>
                  <a:cubicBezTo>
                    <a:pt x="153" y="91"/>
                    <a:pt x="154" y="91"/>
                    <a:pt x="154" y="91"/>
                  </a:cubicBezTo>
                  <a:close/>
                  <a:moveTo>
                    <a:pt x="155" y="89"/>
                  </a:moveTo>
                  <a:cubicBezTo>
                    <a:pt x="155" y="89"/>
                    <a:pt x="155" y="90"/>
                    <a:pt x="155" y="90"/>
                  </a:cubicBezTo>
                  <a:cubicBezTo>
                    <a:pt x="155" y="90"/>
                    <a:pt x="155" y="90"/>
                    <a:pt x="155" y="89"/>
                  </a:cubicBezTo>
                  <a:close/>
                  <a:moveTo>
                    <a:pt x="157" y="88"/>
                  </a:moveTo>
                  <a:cubicBezTo>
                    <a:pt x="157" y="88"/>
                    <a:pt x="156" y="87"/>
                    <a:pt x="156" y="87"/>
                  </a:cubicBezTo>
                  <a:cubicBezTo>
                    <a:pt x="156" y="87"/>
                    <a:pt x="157" y="87"/>
                    <a:pt x="157" y="88"/>
                  </a:cubicBezTo>
                  <a:close/>
                  <a:moveTo>
                    <a:pt x="155" y="92"/>
                  </a:moveTo>
                  <a:cubicBezTo>
                    <a:pt x="155" y="92"/>
                    <a:pt x="154" y="91"/>
                    <a:pt x="154" y="91"/>
                  </a:cubicBezTo>
                  <a:cubicBezTo>
                    <a:pt x="155" y="91"/>
                    <a:pt x="155" y="92"/>
                    <a:pt x="155" y="92"/>
                  </a:cubicBezTo>
                  <a:close/>
                  <a:moveTo>
                    <a:pt x="153" y="94"/>
                  </a:moveTo>
                  <a:cubicBezTo>
                    <a:pt x="153" y="94"/>
                    <a:pt x="153" y="94"/>
                    <a:pt x="153" y="94"/>
                  </a:cubicBezTo>
                  <a:cubicBezTo>
                    <a:pt x="153" y="94"/>
                    <a:pt x="153" y="94"/>
                    <a:pt x="153" y="94"/>
                  </a:cubicBezTo>
                  <a:close/>
                  <a:moveTo>
                    <a:pt x="158" y="89"/>
                  </a:moveTo>
                  <a:cubicBezTo>
                    <a:pt x="158" y="89"/>
                    <a:pt x="158" y="88"/>
                    <a:pt x="158" y="88"/>
                  </a:cubicBezTo>
                  <a:cubicBezTo>
                    <a:pt x="158" y="89"/>
                    <a:pt x="158" y="89"/>
                    <a:pt x="158" y="89"/>
                  </a:cubicBezTo>
                  <a:cubicBezTo>
                    <a:pt x="158" y="89"/>
                    <a:pt x="157" y="88"/>
                    <a:pt x="158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8" y="88"/>
                    <a:pt x="158" y="89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0"/>
                  </a:moveTo>
                  <a:cubicBezTo>
                    <a:pt x="157" y="90"/>
                    <a:pt x="156" y="90"/>
                    <a:pt x="156" y="90"/>
                  </a:cubicBezTo>
                  <a:cubicBezTo>
                    <a:pt x="156" y="90"/>
                    <a:pt x="157" y="90"/>
                    <a:pt x="157" y="90"/>
                  </a:cubicBezTo>
                  <a:close/>
                  <a:moveTo>
                    <a:pt x="157" y="91"/>
                  </a:moveTo>
                  <a:cubicBezTo>
                    <a:pt x="157" y="91"/>
                    <a:pt x="156" y="91"/>
                    <a:pt x="156" y="90"/>
                  </a:cubicBezTo>
                  <a:cubicBezTo>
                    <a:pt x="156" y="90"/>
                    <a:pt x="157" y="91"/>
                    <a:pt x="157" y="91"/>
                  </a:cubicBezTo>
                  <a:close/>
                  <a:moveTo>
                    <a:pt x="155" y="95"/>
                  </a:moveTo>
                  <a:cubicBezTo>
                    <a:pt x="155" y="95"/>
                    <a:pt x="154" y="95"/>
                    <a:pt x="154" y="95"/>
                  </a:cubicBezTo>
                  <a:cubicBezTo>
                    <a:pt x="155" y="95"/>
                    <a:pt x="155" y="95"/>
                    <a:pt x="155" y="95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5"/>
                    <a:pt x="154" y="95"/>
                  </a:cubicBezTo>
                  <a:cubicBezTo>
                    <a:pt x="155" y="95"/>
                    <a:pt x="155" y="96"/>
                    <a:pt x="155" y="96"/>
                  </a:cubicBezTo>
                  <a:close/>
                  <a:moveTo>
                    <a:pt x="157" y="93"/>
                  </a:move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6" y="96"/>
                  </a:moveTo>
                  <a:cubicBezTo>
                    <a:pt x="156" y="96"/>
                    <a:pt x="156" y="96"/>
                    <a:pt x="156" y="96"/>
                  </a:cubicBezTo>
                  <a:cubicBezTo>
                    <a:pt x="156" y="96"/>
                    <a:pt x="156" y="96"/>
                    <a:pt x="156" y="96"/>
                  </a:cubicBezTo>
                  <a:close/>
                  <a:moveTo>
                    <a:pt x="160" y="90"/>
                  </a:moveTo>
                  <a:cubicBezTo>
                    <a:pt x="159" y="90"/>
                    <a:pt x="159" y="90"/>
                    <a:pt x="159" y="90"/>
                  </a:cubicBezTo>
                  <a:cubicBezTo>
                    <a:pt x="159" y="90"/>
                    <a:pt x="160" y="90"/>
                    <a:pt x="159" y="90"/>
                  </a:cubicBezTo>
                  <a:cubicBezTo>
                    <a:pt x="160" y="90"/>
                    <a:pt x="160" y="90"/>
                    <a:pt x="160" y="90"/>
                  </a:cubicBezTo>
                  <a:close/>
                  <a:moveTo>
                    <a:pt x="161" y="92"/>
                  </a:moveTo>
                  <a:cubicBezTo>
                    <a:pt x="160" y="92"/>
                    <a:pt x="160" y="91"/>
                    <a:pt x="160" y="91"/>
                  </a:cubicBezTo>
                  <a:cubicBezTo>
                    <a:pt x="160" y="91"/>
                    <a:pt x="161" y="91"/>
                    <a:pt x="161" y="92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6"/>
                  </a:moveTo>
                  <a:cubicBezTo>
                    <a:pt x="23" y="6"/>
                    <a:pt x="23" y="6"/>
                    <a:pt x="24" y="7"/>
                  </a:cubicBezTo>
                  <a:cubicBezTo>
                    <a:pt x="24" y="7"/>
                    <a:pt x="24" y="7"/>
                    <a:pt x="23" y="7"/>
                  </a:cubicBezTo>
                  <a:cubicBezTo>
                    <a:pt x="24" y="7"/>
                    <a:pt x="24" y="7"/>
                    <a:pt x="24" y="8"/>
                  </a:cubicBezTo>
                  <a:cubicBezTo>
                    <a:pt x="25" y="8"/>
                    <a:pt x="25" y="8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10"/>
                    <a:pt x="28" y="9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5"/>
                    <a:pt x="33" y="14"/>
                  </a:cubicBezTo>
                  <a:cubicBezTo>
                    <a:pt x="33" y="15"/>
                    <a:pt x="34" y="15"/>
                    <a:pt x="35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8"/>
                    <a:pt x="39" y="18"/>
                    <a:pt x="39" y="19"/>
                  </a:cubicBezTo>
                  <a:cubicBezTo>
                    <a:pt x="39" y="19"/>
                    <a:pt x="39" y="19"/>
                    <a:pt x="38" y="18"/>
                  </a:cubicBezTo>
                  <a:cubicBezTo>
                    <a:pt x="38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2"/>
                    <a:pt x="43" y="21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2" y="22"/>
                    <a:pt x="41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2"/>
                    <a:pt x="42" y="21"/>
                    <a:pt x="42" y="22"/>
                  </a:cubicBezTo>
                  <a:cubicBezTo>
                    <a:pt x="42" y="22"/>
                    <a:pt x="42" y="22"/>
                    <a:pt x="43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3" y="23"/>
                    <a:pt x="43" y="23"/>
                    <a:pt x="43" y="22"/>
                  </a:cubicBezTo>
                  <a:cubicBezTo>
                    <a:pt x="43" y="22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23"/>
                    <a:pt x="45" y="23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8" y="25"/>
                  </a:cubicBezTo>
                  <a:cubicBezTo>
                    <a:pt x="48" y="25"/>
                    <a:pt x="47" y="25"/>
                    <a:pt x="47" y="24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7"/>
                    <a:pt x="50" y="26"/>
                  </a:cubicBezTo>
                  <a:cubicBezTo>
                    <a:pt x="50" y="27"/>
                    <a:pt x="49" y="27"/>
                    <a:pt x="50" y="27"/>
                  </a:cubicBezTo>
                  <a:cubicBezTo>
                    <a:pt x="50" y="27"/>
                    <a:pt x="50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2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53" y="29"/>
                    <a:pt x="54" y="29"/>
                    <a:pt x="53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6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6" y="31"/>
                    <a:pt x="57" y="31"/>
                  </a:cubicBezTo>
                  <a:cubicBezTo>
                    <a:pt x="57" y="31"/>
                    <a:pt x="56" y="30"/>
                    <a:pt x="56" y="3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3" y="29"/>
                    <a:pt x="53" y="29"/>
                    <a:pt x="51" y="28"/>
                  </a:cubicBezTo>
                  <a:cubicBezTo>
                    <a:pt x="51" y="28"/>
                    <a:pt x="51" y="28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7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7" y="26"/>
                    <a:pt x="47" y="27"/>
                  </a:cubicBezTo>
                  <a:cubicBezTo>
                    <a:pt x="47" y="26"/>
                    <a:pt x="48" y="27"/>
                    <a:pt x="48" y="27"/>
                  </a:cubicBezTo>
                  <a:cubicBezTo>
                    <a:pt x="48" y="27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7" y="25"/>
                    <a:pt x="46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4"/>
                    <a:pt x="43" y="24"/>
                    <a:pt x="42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2"/>
                    <a:pt x="42" y="22"/>
                    <a:pt x="42" y="23"/>
                  </a:cubicBezTo>
                  <a:cubicBezTo>
                    <a:pt x="42" y="22"/>
                    <a:pt x="41" y="22"/>
                    <a:pt x="42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4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19"/>
                    <a:pt x="36" y="19"/>
                    <a:pt x="36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9"/>
                  </a:cubicBezTo>
                  <a:cubicBezTo>
                    <a:pt x="35" y="19"/>
                    <a:pt x="35" y="19"/>
                    <a:pt x="35" y="18"/>
                  </a:cubicBezTo>
                  <a:cubicBezTo>
                    <a:pt x="35" y="19"/>
                    <a:pt x="35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7" y="19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3" y="25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1" y="24"/>
                  </a:cubicBezTo>
                  <a:cubicBezTo>
                    <a:pt x="41" y="24"/>
                    <a:pt x="41" y="24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5"/>
                    <a:pt x="42" y="25"/>
                  </a:cubicBezTo>
                  <a:cubicBezTo>
                    <a:pt x="42" y="25"/>
                    <a:pt x="42" y="25"/>
                    <a:pt x="43" y="25"/>
                  </a:cubicBezTo>
                  <a:cubicBezTo>
                    <a:pt x="43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6"/>
                  </a:cubicBezTo>
                  <a:cubicBezTo>
                    <a:pt x="43" y="26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7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4" y="26"/>
                  </a:cubicBezTo>
                  <a:cubicBezTo>
                    <a:pt x="45" y="26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8"/>
                    <a:pt x="46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1"/>
                    <a:pt x="51" y="31"/>
                    <a:pt x="52" y="31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1"/>
                    <a:pt x="51" y="31"/>
                  </a:cubicBezTo>
                  <a:cubicBezTo>
                    <a:pt x="50" y="30"/>
                    <a:pt x="50" y="31"/>
                    <a:pt x="50" y="31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0"/>
                  </a:cubicBezTo>
                  <a:cubicBezTo>
                    <a:pt x="50" y="30"/>
                    <a:pt x="50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6" y="28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2" y="26"/>
                  </a:cubicBezTo>
                  <a:cubicBezTo>
                    <a:pt x="42" y="26"/>
                    <a:pt x="42" y="27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0" y="26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40" y="25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3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6" y="24"/>
                    <a:pt x="36" y="24"/>
                    <a:pt x="37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3"/>
                    <a:pt x="35" y="24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5" y="23"/>
                    <a:pt x="35" y="23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5" y="24"/>
                  </a:cubicBezTo>
                  <a:cubicBezTo>
                    <a:pt x="34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4"/>
                    <a:pt x="35" y="24"/>
                  </a:cubicBezTo>
                  <a:cubicBezTo>
                    <a:pt x="34" y="24"/>
                    <a:pt x="34" y="25"/>
                    <a:pt x="34" y="24"/>
                  </a:cubicBezTo>
                  <a:cubicBezTo>
                    <a:pt x="34" y="24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5" y="25"/>
                    <a:pt x="34" y="25"/>
                    <a:pt x="35" y="25"/>
                  </a:cubicBezTo>
                  <a:cubicBezTo>
                    <a:pt x="35" y="25"/>
                    <a:pt x="35" y="25"/>
                    <a:pt x="36" y="25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7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ubicBezTo>
                    <a:pt x="38" y="26"/>
                    <a:pt x="38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9" y="26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8"/>
                  </a:cubicBezTo>
                  <a:cubicBezTo>
                    <a:pt x="40" y="28"/>
                    <a:pt x="40" y="27"/>
                    <a:pt x="40" y="28"/>
                  </a:cubicBezTo>
                  <a:cubicBezTo>
                    <a:pt x="40" y="28"/>
                    <a:pt x="40" y="27"/>
                    <a:pt x="40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1" y="28"/>
                    <a:pt x="41" y="29"/>
                  </a:cubicBezTo>
                  <a:cubicBezTo>
                    <a:pt x="41" y="29"/>
                    <a:pt x="41" y="28"/>
                    <a:pt x="41" y="2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29"/>
                    <a:pt x="40" y="29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9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5" y="27"/>
                    <a:pt x="35" y="27"/>
                  </a:cubicBezTo>
                  <a:cubicBezTo>
                    <a:pt x="35" y="27"/>
                    <a:pt x="35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3" y="26"/>
                    <a:pt x="33" y="27"/>
                  </a:cubicBezTo>
                  <a:cubicBezTo>
                    <a:pt x="33" y="27"/>
                    <a:pt x="33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2" y="26"/>
                    <a:pt x="32" y="26"/>
                    <a:pt x="32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6"/>
                    <a:pt x="31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29" y="25"/>
                    <a:pt x="29" y="25"/>
                  </a:cubicBezTo>
                  <a:cubicBezTo>
                    <a:pt x="29" y="25"/>
                    <a:pt x="29" y="25"/>
                    <a:pt x="30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5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6"/>
                    <a:pt x="26" y="26"/>
                  </a:cubicBezTo>
                  <a:cubicBezTo>
                    <a:pt x="26" y="26"/>
                    <a:pt x="26" y="26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5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5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3"/>
                    <a:pt x="21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2"/>
                    <a:pt x="18" y="22"/>
                    <a:pt x="18" y="22"/>
                  </a:cubicBezTo>
                  <a:cubicBezTo>
                    <a:pt x="18" y="22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7" y="21"/>
                    <a:pt x="17" y="21"/>
                    <a:pt x="16" y="20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20"/>
                    <a:pt x="14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14" y="19"/>
                    <a:pt x="14" y="18"/>
                    <a:pt x="13" y="18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3" y="18"/>
                    <a:pt x="14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10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9" y="15"/>
                  </a:cubicBezTo>
                  <a:cubicBezTo>
                    <a:pt x="8" y="15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7" y="15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8" y="15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4" y="12"/>
                    <a:pt x="3" y="11"/>
                    <a:pt x="3" y="11"/>
                  </a:cubicBezTo>
                  <a:cubicBezTo>
                    <a:pt x="3" y="10"/>
                    <a:pt x="3" y="11"/>
                    <a:pt x="3" y="10"/>
                  </a:cubicBezTo>
                  <a:cubicBezTo>
                    <a:pt x="2" y="9"/>
                    <a:pt x="1" y="7"/>
                    <a:pt x="1" y="5"/>
                  </a:cubicBezTo>
                  <a:cubicBezTo>
                    <a:pt x="1" y="5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2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1" y="1"/>
                    <a:pt x="13" y="2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4"/>
                    <a:pt x="17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  <a:moveTo>
                    <a:pt x="22" y="23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3"/>
                    <a:pt x="22" y="23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26" y="25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4" y="24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4"/>
                    <a:pt x="24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5" y="24"/>
                    <a:pt x="25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lose/>
                  <a:moveTo>
                    <a:pt x="29" y="25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31" y="25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5"/>
                    <a:pt x="31" y="25"/>
                  </a:cubicBezTo>
                  <a:close/>
                  <a:moveTo>
                    <a:pt x="30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29" y="24"/>
                  </a:move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4"/>
                    <a:pt x="30" y="25"/>
                    <a:pt x="30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1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0" y="25"/>
                    <a:pt x="30" y="25"/>
                  </a:cubicBezTo>
                  <a:close/>
                  <a:moveTo>
                    <a:pt x="32" y="25"/>
                  </a:move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4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4" y="26"/>
                    <a:pt x="34" y="26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5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8" y="26"/>
                  </a:moveTo>
                  <a:cubicBezTo>
                    <a:pt x="38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8"/>
                  </a:cubicBezTo>
                  <a:cubicBezTo>
                    <a:pt x="39" y="27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5"/>
                  </a:cubicBezTo>
                  <a:cubicBezTo>
                    <a:pt x="36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2" y="23"/>
                  </a:moveTo>
                  <a:cubicBezTo>
                    <a:pt x="32" y="24"/>
                    <a:pt x="33" y="24"/>
                    <a:pt x="33" y="24"/>
                  </a:cubicBezTo>
                  <a:cubicBezTo>
                    <a:pt x="33" y="23"/>
                    <a:pt x="32" y="23"/>
                    <a:pt x="32" y="23"/>
                  </a:cubicBezTo>
                  <a:close/>
                  <a:moveTo>
                    <a:pt x="23" y="17"/>
                  </a:moveTo>
                  <a:cubicBezTo>
                    <a:pt x="23" y="17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1" y="21"/>
                    <a:pt x="32" y="22"/>
                    <a:pt x="32" y="21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32" y="22"/>
                    <a:pt x="31" y="21"/>
                    <a:pt x="31" y="21"/>
                  </a:cubicBezTo>
                  <a:cubicBezTo>
                    <a:pt x="31" y="21"/>
                    <a:pt x="32" y="22"/>
                    <a:pt x="31" y="22"/>
                  </a:cubicBezTo>
                  <a:cubicBezTo>
                    <a:pt x="31" y="22"/>
                    <a:pt x="31" y="21"/>
                    <a:pt x="31" y="22"/>
                  </a:cubicBezTo>
                  <a:cubicBezTo>
                    <a:pt x="31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3"/>
                    <a:pt x="32" y="23"/>
                    <a:pt x="33" y="23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0" y="21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4" y="24"/>
                    <a:pt x="34" y="24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3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3" y="23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2"/>
                  </a:cubicBezTo>
                  <a:cubicBezTo>
                    <a:pt x="33" y="21"/>
                    <a:pt x="33" y="22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5" y="22"/>
                  </a:moveTo>
                  <a:cubicBezTo>
                    <a:pt x="34" y="22"/>
                    <a:pt x="35" y="22"/>
                    <a:pt x="35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5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4"/>
                  </a:moveTo>
                  <a:cubicBezTo>
                    <a:pt x="37" y="23"/>
                    <a:pt x="37" y="23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lose/>
                  <a:moveTo>
                    <a:pt x="51" y="30"/>
                  </a:moveTo>
                  <a:cubicBezTo>
                    <a:pt x="51" y="30"/>
                    <a:pt x="50" y="30"/>
                    <a:pt x="50" y="30"/>
                  </a:cubicBezTo>
                  <a:cubicBezTo>
                    <a:pt x="51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lose/>
                  <a:moveTo>
                    <a:pt x="46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lose/>
                  <a:moveTo>
                    <a:pt x="42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43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2" y="26"/>
                    <a:pt x="43" y="26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6"/>
                  </a:cubicBezTo>
                  <a:cubicBezTo>
                    <a:pt x="41" y="25"/>
                    <a:pt x="41" y="25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3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8" y="22"/>
                  </a:cubicBezTo>
                  <a:cubicBezTo>
                    <a:pt x="38" y="22"/>
                    <a:pt x="39" y="23"/>
                    <a:pt x="39" y="22"/>
                  </a:cubicBezTo>
                  <a:close/>
                  <a:moveTo>
                    <a:pt x="40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lose/>
                  <a:moveTo>
                    <a:pt x="32" y="17"/>
                  </a:moveTo>
                  <a:cubicBezTo>
                    <a:pt x="33" y="18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3" y="18"/>
                  </a:cubicBezTo>
                  <a:cubicBezTo>
                    <a:pt x="33" y="18"/>
                    <a:pt x="34" y="18"/>
                    <a:pt x="33" y="18"/>
                  </a:cubicBezTo>
                  <a:lnTo>
                    <a:pt x="34" y="18"/>
                  </a:lnTo>
                  <a:close/>
                  <a:moveTo>
                    <a:pt x="34" y="19"/>
                  </a:moveTo>
                  <a:cubicBezTo>
                    <a:pt x="34" y="19"/>
                    <a:pt x="34" y="18"/>
                    <a:pt x="34" y="18"/>
                  </a:cubicBezTo>
                  <a:cubicBezTo>
                    <a:pt x="34" y="18"/>
                    <a:pt x="34" y="19"/>
                    <a:pt x="34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9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2"/>
                  </a:cubicBezTo>
                  <a:close/>
                  <a:moveTo>
                    <a:pt x="41" y="23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35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20"/>
                  </a:cubicBezTo>
                  <a:cubicBezTo>
                    <a:pt x="35" y="19"/>
                    <a:pt x="36" y="19"/>
                    <a:pt x="35" y="19"/>
                  </a:cubicBezTo>
                  <a:close/>
                  <a:moveTo>
                    <a:pt x="36" y="20"/>
                  </a:moveTo>
                  <a:cubicBezTo>
                    <a:pt x="36" y="20"/>
                    <a:pt x="36" y="19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9" y="21"/>
                    <a:pt x="38" y="21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9" y="27"/>
                    <a:pt x="49" y="28"/>
                    <a:pt x="50" y="28"/>
                  </a:cubicBezTo>
                  <a:cubicBezTo>
                    <a:pt x="49" y="28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5" y="24"/>
                  </a:cubicBezTo>
                  <a:cubicBezTo>
                    <a:pt x="45" y="24"/>
                    <a:pt x="46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8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9" y="20"/>
                  </a:move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39" y="20"/>
                    <a:pt x="39" y="20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6" y="18"/>
                  </a:moveTo>
                  <a:cubicBezTo>
                    <a:pt x="36" y="18"/>
                    <a:pt x="37" y="18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7" y="18"/>
                    <a:pt x="37" y="19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20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8" y="18"/>
                  </a:move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1" y="12"/>
                    <a:pt x="30" y="12"/>
                  </a:cubicBezTo>
                  <a:close/>
                  <a:moveTo>
                    <a:pt x="28" y="10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9" y="11"/>
                    <a:pt x="29" y="11"/>
                  </a:cubicBezTo>
                  <a:cubicBezTo>
                    <a:pt x="28" y="11"/>
                    <a:pt x="29" y="11"/>
                    <a:pt x="28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5" y="27"/>
                    <a:pt x="34" y="27"/>
                  </a:cubicBezTo>
                  <a:close/>
                  <a:moveTo>
                    <a:pt x="41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lose/>
                  <a:moveTo>
                    <a:pt x="5" y="1"/>
                  </a:move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0"/>
                    <a:pt x="5" y="1"/>
                    <a:pt x="5" y="1"/>
                  </a:cubicBezTo>
                  <a:close/>
                  <a:moveTo>
                    <a:pt x="31" y="28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8"/>
                  </a:cubicBezTo>
                  <a:close/>
                  <a:moveTo>
                    <a:pt x="35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8" y="28"/>
                    <a:pt x="38" y="29"/>
                    <a:pt x="39" y="29"/>
                  </a:cubicBezTo>
                  <a:cubicBezTo>
                    <a:pt x="39" y="29"/>
                    <a:pt x="38" y="29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7" y="27"/>
                  </a:move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7" y="27"/>
                    <a:pt x="37" y="27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30"/>
                    <a:pt x="39" y="30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lose/>
                  <a:moveTo>
                    <a:pt x="39" y="28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8"/>
                  </a:cubicBezTo>
                  <a:close/>
                  <a:moveTo>
                    <a:pt x="42" y="28"/>
                  </a:moveTo>
                  <a:cubicBezTo>
                    <a:pt x="41" y="27"/>
                    <a:pt x="41" y="27"/>
                    <a:pt x="40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1" y="27"/>
                    <a:pt x="40" y="27"/>
                  </a:cubicBezTo>
                  <a:cubicBezTo>
                    <a:pt x="40" y="27"/>
                    <a:pt x="41" y="27"/>
                    <a:pt x="41" y="27"/>
                  </a:cubicBezTo>
                  <a:cubicBezTo>
                    <a:pt x="41" y="27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6"/>
                    <a:pt x="41" y="27"/>
                    <a:pt x="41" y="27"/>
                  </a:cubicBezTo>
                  <a:close/>
                  <a:moveTo>
                    <a:pt x="43" y="24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6"/>
                    <a:pt x="45" y="25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2" y="27"/>
                    <a:pt x="42" y="27"/>
                  </a:cubicBezTo>
                  <a:cubicBezTo>
                    <a:pt x="42" y="27"/>
                    <a:pt x="41" y="27"/>
                    <a:pt x="41" y="27"/>
                  </a:cubicBezTo>
                  <a:close/>
                  <a:moveTo>
                    <a:pt x="41" y="30"/>
                  </a:moveTo>
                  <a:cubicBezTo>
                    <a:pt x="42" y="30"/>
                    <a:pt x="43" y="31"/>
                    <a:pt x="44" y="32"/>
                  </a:cubicBezTo>
                  <a:cubicBezTo>
                    <a:pt x="44" y="32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1" y="30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30"/>
                    <a:pt x="40" y="29"/>
                    <a:pt x="40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5" y="27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6"/>
                  </a:cubicBezTo>
                  <a:cubicBezTo>
                    <a:pt x="45" y="26"/>
                    <a:pt x="45" y="26"/>
                    <a:pt x="46" y="26"/>
                  </a:cubicBezTo>
                  <a:cubicBezTo>
                    <a:pt x="46" y="26"/>
                    <a:pt x="45" y="26"/>
                    <a:pt x="45" y="27"/>
                  </a:cubicBezTo>
                  <a:cubicBezTo>
                    <a:pt x="45" y="27"/>
                    <a:pt x="45" y="26"/>
                    <a:pt x="45" y="27"/>
                  </a:cubicBezTo>
                  <a:close/>
                  <a:moveTo>
                    <a:pt x="40" y="33"/>
                  </a:moveTo>
                  <a:cubicBezTo>
                    <a:pt x="40" y="33"/>
                    <a:pt x="40" y="32"/>
                    <a:pt x="40" y="32"/>
                  </a:cubicBezTo>
                  <a:cubicBezTo>
                    <a:pt x="40" y="32"/>
                    <a:pt x="40" y="33"/>
                    <a:pt x="40" y="33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2"/>
                    <a:pt x="41" y="31"/>
                  </a:cubicBezTo>
                  <a:cubicBezTo>
                    <a:pt x="41" y="32"/>
                    <a:pt x="41" y="31"/>
                    <a:pt x="40" y="31"/>
                  </a:cubicBezTo>
                  <a:cubicBezTo>
                    <a:pt x="40" y="31"/>
                    <a:pt x="40" y="31"/>
                    <a:pt x="41" y="31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5" y="31"/>
                    <a:pt x="44" y="31"/>
                    <a:pt x="43" y="30"/>
                  </a:cubicBezTo>
                  <a:cubicBezTo>
                    <a:pt x="43" y="30"/>
                    <a:pt x="44" y="30"/>
                    <a:pt x="44" y="30"/>
                  </a:cubicBezTo>
                  <a:close/>
                  <a:moveTo>
                    <a:pt x="47" y="31"/>
                  </a:move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7" y="32"/>
                    <a:pt x="47" y="31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8" y="35"/>
                  </a:moveTo>
                  <a:cubicBezTo>
                    <a:pt x="49" y="35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5"/>
                    <a:pt x="48" y="35"/>
                    <a:pt x="47" y="34"/>
                  </a:cubicBezTo>
                  <a:cubicBezTo>
                    <a:pt x="47" y="34"/>
                    <a:pt x="48" y="35"/>
                    <a:pt x="48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50" y="34"/>
                  </a:cubicBezTo>
                  <a:cubicBezTo>
                    <a:pt x="50" y="34"/>
                    <a:pt x="50" y="34"/>
                    <a:pt x="49" y="34"/>
                  </a:cubicBezTo>
                  <a:cubicBezTo>
                    <a:pt x="49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4"/>
                    <a:pt x="49" y="35"/>
                    <a:pt x="49" y="35"/>
                  </a:cubicBezTo>
                  <a:cubicBezTo>
                    <a:pt x="50" y="35"/>
                    <a:pt x="49" y="35"/>
                    <a:pt x="49" y="35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1" y="33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0" y="33"/>
                  </a:cubicBezTo>
                  <a:close/>
                  <a:moveTo>
                    <a:pt x="55" y="29"/>
                  </a:moveTo>
                  <a:cubicBezTo>
                    <a:pt x="55" y="29"/>
                    <a:pt x="54" y="28"/>
                    <a:pt x="54" y="28"/>
                  </a:cubicBezTo>
                  <a:cubicBezTo>
                    <a:pt x="55" y="28"/>
                    <a:pt x="55" y="29"/>
                    <a:pt x="56" y="29"/>
                  </a:cubicBezTo>
                  <a:cubicBezTo>
                    <a:pt x="56" y="29"/>
                    <a:pt x="55" y="29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6" y="31"/>
                  </a:cubicBezTo>
                  <a:cubicBezTo>
                    <a:pt x="56" y="31"/>
                    <a:pt x="55" y="31"/>
                    <a:pt x="56" y="31"/>
                  </a:cubicBezTo>
                  <a:cubicBezTo>
                    <a:pt x="56" y="31"/>
                    <a:pt x="56" y="31"/>
                    <a:pt x="57" y="32"/>
                  </a:cubicBezTo>
                  <a:cubicBezTo>
                    <a:pt x="56" y="32"/>
                    <a:pt x="55" y="31"/>
                    <a:pt x="55" y="31"/>
                  </a:cubicBezTo>
                  <a:close/>
                  <a:moveTo>
                    <a:pt x="52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2" y="36"/>
                  </a:cubicBezTo>
                  <a:close/>
                  <a:moveTo>
                    <a:pt x="60" y="33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4"/>
                    <a:pt x="61" y="34"/>
                  </a:cubicBezTo>
                  <a:cubicBezTo>
                    <a:pt x="61" y="35"/>
                    <a:pt x="61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59" y="33"/>
                    <a:pt x="58" y="33"/>
                  </a:cubicBezTo>
                  <a:cubicBezTo>
                    <a:pt x="58" y="33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9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8" y="32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2"/>
                    <a:pt x="58" y="32"/>
                  </a:cubicBezTo>
                  <a:close/>
                  <a:moveTo>
                    <a:pt x="59" y="31"/>
                  </a:move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lose/>
                  <a:moveTo>
                    <a:pt x="59" y="30"/>
                  </a:move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59" y="31"/>
                    <a:pt x="59" y="31"/>
                  </a:cubicBez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60" y="32"/>
                    <a:pt x="60" y="32"/>
                  </a:cubicBezTo>
                  <a:cubicBezTo>
                    <a:pt x="60" y="32"/>
                    <a:pt x="59" y="32"/>
                    <a:pt x="59" y="32"/>
                  </a:cubicBezTo>
                  <a:cubicBezTo>
                    <a:pt x="59" y="31"/>
                    <a:pt x="59" y="32"/>
                    <a:pt x="59" y="32"/>
                  </a:cubicBezTo>
                  <a:cubicBezTo>
                    <a:pt x="59" y="32"/>
                    <a:pt x="59" y="32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lose/>
                  <a:moveTo>
                    <a:pt x="61" y="32"/>
                  </a:move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1" y="32"/>
                    <a:pt x="61" y="32"/>
                  </a:cubicBezTo>
                  <a:close/>
                  <a:moveTo>
                    <a:pt x="59" y="35"/>
                  </a:moveTo>
                  <a:cubicBezTo>
                    <a:pt x="59" y="36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9" y="35"/>
                    <a:pt x="58" y="35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6"/>
                    <a:pt x="60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7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9" y="36"/>
                  </a:moveTo>
                  <a:cubicBezTo>
                    <a:pt x="59" y="36"/>
                    <a:pt x="60" y="36"/>
                    <a:pt x="59" y="35"/>
                  </a:cubicBezTo>
                  <a:cubicBezTo>
                    <a:pt x="59" y="36"/>
                    <a:pt x="59" y="35"/>
                    <a:pt x="59" y="36"/>
                  </a:cubicBezTo>
                  <a:close/>
                  <a:moveTo>
                    <a:pt x="58" y="35"/>
                  </a:moveTo>
                  <a:cubicBezTo>
                    <a:pt x="59" y="34"/>
                    <a:pt x="59" y="34"/>
                    <a:pt x="59" y="35"/>
                  </a:cubicBezTo>
                  <a:cubicBezTo>
                    <a:pt x="59" y="35"/>
                    <a:pt x="59" y="35"/>
                    <a:pt x="58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1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6"/>
                  </a:move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1" y="35"/>
                    <a:pt x="61" y="36"/>
                  </a:cubicBezTo>
                  <a:cubicBezTo>
                    <a:pt x="61" y="36"/>
                    <a:pt x="61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3" y="37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2" y="36"/>
                  </a:cubicBezTo>
                  <a:cubicBezTo>
                    <a:pt x="62" y="36"/>
                    <a:pt x="63" y="35"/>
                    <a:pt x="62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2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3" y="35"/>
                    <a:pt x="63" y="35"/>
                  </a:cubicBezTo>
                  <a:cubicBezTo>
                    <a:pt x="63" y="35"/>
                    <a:pt x="63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5" y="36"/>
                    <a:pt x="65" y="35"/>
                  </a:cubicBezTo>
                  <a:cubicBezTo>
                    <a:pt x="65" y="36"/>
                    <a:pt x="66" y="36"/>
                    <a:pt x="66" y="36"/>
                  </a:cubicBezTo>
                  <a:cubicBezTo>
                    <a:pt x="66" y="36"/>
                    <a:pt x="65" y="35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5" y="36"/>
                    <a:pt x="65" y="36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4"/>
                    <a:pt x="65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6"/>
                    <a:pt x="66" y="35"/>
                  </a:cubicBezTo>
                  <a:cubicBezTo>
                    <a:pt x="66" y="36"/>
                    <a:pt x="66" y="35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70" y="38"/>
                    <a:pt x="70" y="38"/>
                    <a:pt x="70" y="37"/>
                  </a:cubicBezTo>
                  <a:cubicBezTo>
                    <a:pt x="69" y="37"/>
                    <a:pt x="69" y="38"/>
                    <a:pt x="70" y="38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8"/>
                    <a:pt x="69" y="38"/>
                  </a:cubicBezTo>
                  <a:cubicBezTo>
                    <a:pt x="69" y="39"/>
                    <a:pt x="70" y="38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69" y="39"/>
                    <a:pt x="70" y="38"/>
                    <a:pt x="69" y="38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8"/>
                    <a:pt x="70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0" y="40"/>
                    <a:pt x="70" y="40"/>
                  </a:cubicBezTo>
                  <a:cubicBezTo>
                    <a:pt x="70" y="39"/>
                    <a:pt x="70" y="40"/>
                    <a:pt x="71" y="40"/>
                  </a:cubicBezTo>
                  <a:cubicBezTo>
                    <a:pt x="71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8" y="39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7" y="38"/>
                  </a:cubicBezTo>
                  <a:cubicBezTo>
                    <a:pt x="68" y="38"/>
                    <a:pt x="67" y="37"/>
                    <a:pt x="67" y="37"/>
                  </a:cubicBezTo>
                  <a:cubicBezTo>
                    <a:pt x="67" y="37"/>
                    <a:pt x="67" y="37"/>
                    <a:pt x="67" y="38"/>
                  </a:cubicBezTo>
                  <a:cubicBezTo>
                    <a:pt x="67" y="38"/>
                    <a:pt x="67" y="37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7"/>
                    <a:pt x="67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7"/>
                    <a:pt x="66" y="37"/>
                  </a:cubicBezTo>
                  <a:cubicBezTo>
                    <a:pt x="67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7" y="39"/>
                    <a:pt x="66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9"/>
                    <a:pt x="65" y="39"/>
                    <a:pt x="66" y="39"/>
                  </a:cubicBezTo>
                  <a:cubicBezTo>
                    <a:pt x="65" y="39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4" y="39"/>
                  </a:cubicBezTo>
                  <a:cubicBezTo>
                    <a:pt x="64" y="39"/>
                    <a:pt x="63" y="39"/>
                    <a:pt x="63" y="39"/>
                  </a:cubicBezTo>
                  <a:cubicBezTo>
                    <a:pt x="63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1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1" y="37"/>
                    <a:pt x="61" y="38"/>
                    <a:pt x="62" y="38"/>
                  </a:cubicBezTo>
                  <a:cubicBezTo>
                    <a:pt x="62" y="37"/>
                    <a:pt x="61" y="37"/>
                    <a:pt x="61" y="37"/>
                  </a:cubicBezTo>
                  <a:cubicBezTo>
                    <a:pt x="61" y="37"/>
                    <a:pt x="61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8"/>
                    <a:pt x="63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2" y="36"/>
                    <a:pt x="62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6"/>
                    <a:pt x="61" y="36"/>
                  </a:cubicBezTo>
                  <a:cubicBezTo>
                    <a:pt x="61" y="36"/>
                    <a:pt x="62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39"/>
                  </a:moveTo>
                  <a:cubicBezTo>
                    <a:pt x="63" y="39"/>
                    <a:pt x="62" y="39"/>
                    <a:pt x="62" y="39"/>
                  </a:cubicBezTo>
                  <a:cubicBezTo>
                    <a:pt x="62" y="40"/>
                    <a:pt x="63" y="39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3" y="40"/>
                    <a:pt x="63" y="39"/>
                    <a:pt x="63" y="40"/>
                  </a:cubicBezTo>
                  <a:cubicBezTo>
                    <a:pt x="63" y="39"/>
                    <a:pt x="62" y="39"/>
                    <a:pt x="63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64" y="38"/>
                  </a:moveTo>
                  <a:cubicBezTo>
                    <a:pt x="63" y="38"/>
                    <a:pt x="64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lose/>
                  <a:moveTo>
                    <a:pt x="70" y="39"/>
                  </a:move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9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9" y="38"/>
                    <a:pt x="69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8"/>
                    <a:pt x="69" y="38"/>
                  </a:cubicBezTo>
                  <a:cubicBezTo>
                    <a:pt x="69" y="38"/>
                    <a:pt x="69" y="38"/>
                    <a:pt x="68" y="37"/>
                  </a:cubicBezTo>
                  <a:cubicBezTo>
                    <a:pt x="68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6"/>
                    <a:pt x="68" y="36"/>
                  </a:cubicBezTo>
                  <a:cubicBezTo>
                    <a:pt x="68" y="36"/>
                    <a:pt x="67" y="37"/>
                    <a:pt x="67" y="36"/>
                  </a:cubicBezTo>
                  <a:cubicBezTo>
                    <a:pt x="67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8" y="37"/>
                    <a:pt x="67" y="37"/>
                    <a:pt x="67" y="37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4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6" y="38"/>
                  </a:move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5" y="36"/>
                  </a:moveTo>
                  <a:cubicBezTo>
                    <a:pt x="65" y="37"/>
                    <a:pt x="64" y="36"/>
                    <a:pt x="64" y="36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6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3" y="36"/>
                    <a:pt x="63" y="35"/>
                    <a:pt x="63" y="36"/>
                  </a:cubicBezTo>
                  <a:cubicBezTo>
                    <a:pt x="63" y="36"/>
                    <a:pt x="64" y="36"/>
                    <a:pt x="6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9" y="39"/>
                  </a:moveTo>
                  <a:cubicBezTo>
                    <a:pt x="69" y="40"/>
                    <a:pt x="69" y="40"/>
                    <a:pt x="69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39"/>
                    <a:pt x="69" y="40"/>
                  </a:cubicBezTo>
                  <a:cubicBezTo>
                    <a:pt x="68" y="39"/>
                    <a:pt x="69" y="39"/>
                    <a:pt x="69" y="39"/>
                  </a:cubicBezTo>
                  <a:close/>
                  <a:moveTo>
                    <a:pt x="67" y="36"/>
                  </a:move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1" y="37"/>
                    <a:pt x="60" y="36"/>
                  </a:cubicBezTo>
                  <a:close/>
                  <a:moveTo>
                    <a:pt x="59" y="38"/>
                  </a:move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7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0" y="38"/>
                  </a:cubicBezTo>
                  <a:lnTo>
                    <a:pt x="60" y="37"/>
                  </a:lnTo>
                  <a:close/>
                  <a:moveTo>
                    <a:pt x="59" y="43"/>
                  </a:moveTo>
                  <a:cubicBezTo>
                    <a:pt x="58" y="42"/>
                    <a:pt x="59" y="43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3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1"/>
                    <a:pt x="61" y="41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1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2" y="41"/>
                    <a:pt x="62" y="40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3" y="41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2" y="41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3"/>
                  </a:cubicBezTo>
                  <a:cubicBezTo>
                    <a:pt x="64" y="42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3" y="42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2"/>
                  </a:cubicBezTo>
                  <a:cubicBezTo>
                    <a:pt x="63" y="42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4"/>
                  </a:cubicBezTo>
                  <a:cubicBezTo>
                    <a:pt x="63" y="43"/>
                    <a:pt x="64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4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5"/>
                    <a:pt x="64" y="45"/>
                  </a:cubicBezTo>
                  <a:cubicBezTo>
                    <a:pt x="64" y="46"/>
                    <a:pt x="64" y="45"/>
                    <a:pt x="65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2" y="44"/>
                    <a:pt x="62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2" y="44"/>
                  </a:cubicBezTo>
                  <a:cubicBezTo>
                    <a:pt x="62" y="43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1" y="43"/>
                    <a:pt x="62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2"/>
                    <a:pt x="62" y="43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2"/>
                    <a:pt x="62" y="42"/>
                  </a:cubicBezTo>
                  <a:cubicBezTo>
                    <a:pt x="62" y="42"/>
                    <a:pt x="61" y="42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2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3"/>
                  </a:moveTo>
                  <a:cubicBezTo>
                    <a:pt x="63" y="43"/>
                    <a:pt x="63" y="44"/>
                    <a:pt x="63" y="44"/>
                  </a:cubicBezTo>
                  <a:cubicBezTo>
                    <a:pt x="63" y="44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lose/>
                  <a:moveTo>
                    <a:pt x="63" y="43"/>
                  </a:move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2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2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lose/>
                  <a:moveTo>
                    <a:pt x="62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6" y="41"/>
                  </a:move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6" y="40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7" y="39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7" y="39"/>
                  </a:cubicBezTo>
                  <a:close/>
                  <a:moveTo>
                    <a:pt x="97" y="58"/>
                  </a:moveTo>
                  <a:cubicBezTo>
                    <a:pt x="97" y="58"/>
                    <a:pt x="97" y="58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99" y="59"/>
                    <a:pt x="99" y="60"/>
                  </a:cubicBezTo>
                  <a:cubicBezTo>
                    <a:pt x="99" y="60"/>
                    <a:pt x="98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0"/>
                    <a:pt x="100" y="60"/>
                    <a:pt x="101" y="61"/>
                  </a:cubicBezTo>
                  <a:cubicBezTo>
                    <a:pt x="100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9" y="60"/>
                    <a:pt x="100" y="62"/>
                    <a:pt x="100" y="61"/>
                  </a:cubicBezTo>
                  <a:cubicBezTo>
                    <a:pt x="100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99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1"/>
                    <a:pt x="100" y="60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1" y="61"/>
                    <a:pt x="100" y="61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2"/>
                    <a:pt x="101" y="62"/>
                    <a:pt x="101" y="62"/>
                  </a:cubicBezTo>
                  <a:cubicBezTo>
                    <a:pt x="101" y="62"/>
                    <a:pt x="100" y="61"/>
                    <a:pt x="100" y="61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0"/>
                    <a:pt x="98" y="61"/>
                    <a:pt x="98" y="60"/>
                  </a:cubicBezTo>
                  <a:cubicBezTo>
                    <a:pt x="98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60"/>
                    <a:pt x="98" y="59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7" y="59"/>
                    <a:pt x="97" y="59"/>
                  </a:cubicBezTo>
                  <a:cubicBezTo>
                    <a:pt x="97" y="59"/>
                    <a:pt x="97" y="59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59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61"/>
                    <a:pt x="97" y="60"/>
                    <a:pt x="97" y="60"/>
                  </a:cubicBezTo>
                  <a:cubicBezTo>
                    <a:pt x="96" y="60"/>
                    <a:pt x="96" y="60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60"/>
                    <a:pt x="96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5" y="59"/>
                    <a:pt x="96" y="58"/>
                    <a:pt x="95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9"/>
                    <a:pt x="95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6" y="58"/>
                    <a:pt x="97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8"/>
                  </a:cubicBezTo>
                  <a:cubicBezTo>
                    <a:pt x="96" y="58"/>
                    <a:pt x="96" y="58"/>
                    <a:pt x="95" y="58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3" y="56"/>
                  </a:cubicBezTo>
                  <a:cubicBezTo>
                    <a:pt x="93" y="56"/>
                    <a:pt x="94" y="56"/>
                    <a:pt x="94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2" y="56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6"/>
                  </a:cubicBezTo>
                  <a:cubicBezTo>
                    <a:pt x="92" y="56"/>
                    <a:pt x="92" y="55"/>
                    <a:pt x="92" y="56"/>
                  </a:cubicBezTo>
                  <a:cubicBezTo>
                    <a:pt x="92" y="56"/>
                    <a:pt x="93" y="56"/>
                    <a:pt x="93" y="56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90" y="55"/>
                    <a:pt x="90" y="55"/>
                    <a:pt x="91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3"/>
                    <a:pt x="89" y="54"/>
                    <a:pt x="89" y="54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3"/>
                    <a:pt x="89" y="53"/>
                    <a:pt x="89" y="54"/>
                  </a:cubicBez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3"/>
                    <a:pt x="90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2"/>
                    <a:pt x="89" y="53"/>
                    <a:pt x="89" y="53"/>
                  </a:cubicBezTo>
                  <a:cubicBezTo>
                    <a:pt x="89" y="53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2"/>
                    <a:pt x="86" y="52"/>
                  </a:cubicBezTo>
                  <a:cubicBezTo>
                    <a:pt x="86" y="51"/>
                    <a:pt x="86" y="52"/>
                    <a:pt x="85" y="52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4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90" y="55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6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6"/>
                    <a:pt x="91" y="57"/>
                    <a:pt x="91" y="57"/>
                  </a:cubicBezTo>
                  <a:cubicBezTo>
                    <a:pt x="91" y="57"/>
                    <a:pt x="91" y="56"/>
                    <a:pt x="91" y="56"/>
                  </a:cubicBezTo>
                  <a:cubicBezTo>
                    <a:pt x="90" y="56"/>
                    <a:pt x="91" y="57"/>
                    <a:pt x="90" y="57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90" y="57"/>
                    <a:pt x="90" y="56"/>
                  </a:cubicBezTo>
                  <a:cubicBezTo>
                    <a:pt x="90" y="57"/>
                    <a:pt x="90" y="56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0" y="57"/>
                  </a:cubicBezTo>
                  <a:cubicBezTo>
                    <a:pt x="90" y="57"/>
                    <a:pt x="91" y="57"/>
                    <a:pt x="90" y="57"/>
                  </a:cubicBezTo>
                  <a:cubicBezTo>
                    <a:pt x="90" y="57"/>
                    <a:pt x="90" y="57"/>
                    <a:pt x="91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0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8" y="57"/>
                    <a:pt x="88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4" y="53"/>
                    <a:pt x="84" y="53"/>
                    <a:pt x="83" y="52"/>
                  </a:cubicBezTo>
                  <a:cubicBezTo>
                    <a:pt x="84" y="52"/>
                    <a:pt x="84" y="53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4"/>
                    <a:pt x="86" y="53"/>
                    <a:pt x="86" y="54"/>
                  </a:cubicBezTo>
                  <a:cubicBezTo>
                    <a:pt x="86" y="54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3"/>
                    <a:pt x="85" y="53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4" y="51"/>
                    <a:pt x="84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3"/>
                  </a:cubicBezTo>
                  <a:cubicBezTo>
                    <a:pt x="86" y="52"/>
                    <a:pt x="85" y="52"/>
                    <a:pt x="85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5" y="52"/>
                    <a:pt x="84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1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3" y="50"/>
                  </a:cubicBezTo>
                  <a:cubicBezTo>
                    <a:pt x="82" y="50"/>
                    <a:pt x="82" y="50"/>
                    <a:pt x="82" y="49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3" y="49"/>
                    <a:pt x="83" y="50"/>
                  </a:cubicBezTo>
                  <a:cubicBezTo>
                    <a:pt x="83" y="50"/>
                    <a:pt x="82" y="49"/>
                    <a:pt x="82" y="49"/>
                  </a:cubicBezTo>
                  <a:cubicBezTo>
                    <a:pt x="83" y="49"/>
                    <a:pt x="83" y="49"/>
                    <a:pt x="83" y="50"/>
                  </a:cubicBezTo>
                  <a:cubicBezTo>
                    <a:pt x="83" y="50"/>
                    <a:pt x="83" y="49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3" y="49"/>
                    <a:pt x="83" y="49"/>
                  </a:cubicBezTo>
                  <a:cubicBezTo>
                    <a:pt x="83" y="49"/>
                    <a:pt x="83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2" y="48"/>
                    <a:pt x="83" y="49"/>
                    <a:pt x="83" y="49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1" y="48"/>
                  </a:cubicBezTo>
                  <a:cubicBezTo>
                    <a:pt x="81" y="48"/>
                    <a:pt x="82" y="48"/>
                    <a:pt x="82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8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0" y="47"/>
                    <a:pt x="81" y="47"/>
                  </a:cubicBezTo>
                  <a:cubicBezTo>
                    <a:pt x="81" y="47"/>
                    <a:pt x="80" y="47"/>
                    <a:pt x="80" y="47"/>
                  </a:cubicBezTo>
                  <a:cubicBezTo>
                    <a:pt x="80" y="47"/>
                    <a:pt x="80" y="47"/>
                    <a:pt x="81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8" y="46"/>
                    <a:pt x="77" y="46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8" y="45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80" y="46"/>
                  </a:cubicBezTo>
                  <a:cubicBezTo>
                    <a:pt x="79" y="46"/>
                    <a:pt x="79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6"/>
                    <a:pt x="78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5"/>
                    <a:pt x="76" y="44"/>
                  </a:cubicBezTo>
                  <a:cubicBezTo>
                    <a:pt x="76" y="45"/>
                    <a:pt x="75" y="45"/>
                    <a:pt x="76" y="45"/>
                  </a:cubicBezTo>
                  <a:cubicBezTo>
                    <a:pt x="76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5" y="42"/>
                    <a:pt x="75" y="43"/>
                    <a:pt x="75" y="42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7" y="44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6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4" y="41"/>
                  </a:cubicBezTo>
                  <a:cubicBezTo>
                    <a:pt x="74" y="41"/>
                    <a:pt x="75" y="41"/>
                    <a:pt x="75" y="42"/>
                  </a:cubicBezTo>
                  <a:cubicBezTo>
                    <a:pt x="75" y="42"/>
                    <a:pt x="74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2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3" y="41"/>
                  </a:cubicBezTo>
                  <a:cubicBezTo>
                    <a:pt x="73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2" y="40"/>
                  </a:cubicBezTo>
                  <a:cubicBezTo>
                    <a:pt x="73" y="40"/>
                    <a:pt x="72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1" y="40"/>
                    <a:pt x="72" y="40"/>
                    <a:pt x="71" y="40"/>
                  </a:cubicBezTo>
                  <a:cubicBezTo>
                    <a:pt x="71" y="40"/>
                    <a:pt x="72" y="40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9"/>
                    <a:pt x="71" y="39"/>
                  </a:cubicBezTo>
                  <a:cubicBezTo>
                    <a:pt x="71" y="38"/>
                    <a:pt x="71" y="38"/>
                    <a:pt x="70" y="38"/>
                  </a:cubicBezTo>
                  <a:cubicBezTo>
                    <a:pt x="70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8"/>
                    <a:pt x="72" y="37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9"/>
                    <a:pt x="74" y="39"/>
                  </a:cubicBezTo>
                  <a:cubicBezTo>
                    <a:pt x="74" y="39"/>
                    <a:pt x="74" y="39"/>
                    <a:pt x="74" y="38"/>
                  </a:cubicBezTo>
                  <a:cubicBezTo>
                    <a:pt x="74" y="38"/>
                    <a:pt x="74" y="39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5" y="39"/>
                    <a:pt x="76" y="40"/>
                  </a:cubicBezTo>
                  <a:cubicBezTo>
                    <a:pt x="76" y="40"/>
                    <a:pt x="77" y="40"/>
                    <a:pt x="77" y="41"/>
                  </a:cubicBezTo>
                  <a:cubicBezTo>
                    <a:pt x="77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7" y="40"/>
                  </a:cubicBezTo>
                  <a:cubicBezTo>
                    <a:pt x="76" y="40"/>
                    <a:pt x="78" y="41"/>
                    <a:pt x="78" y="41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8" y="42"/>
                    <a:pt x="78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80" y="42"/>
                    <a:pt x="81" y="43"/>
                    <a:pt x="82" y="44"/>
                  </a:cubicBezTo>
                  <a:cubicBezTo>
                    <a:pt x="82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5"/>
                  </a:cubicBezTo>
                  <a:cubicBezTo>
                    <a:pt x="83" y="45"/>
                    <a:pt x="83" y="44"/>
                    <a:pt x="83" y="44"/>
                  </a:cubicBezTo>
                  <a:cubicBezTo>
                    <a:pt x="83" y="44"/>
                    <a:pt x="83" y="44"/>
                    <a:pt x="84" y="44"/>
                  </a:cubicBezTo>
                  <a:cubicBezTo>
                    <a:pt x="84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6"/>
                    <a:pt x="85" y="46"/>
                  </a:cubicBezTo>
                  <a:cubicBezTo>
                    <a:pt x="85" y="46"/>
                    <a:pt x="85" y="45"/>
                    <a:pt x="85" y="46"/>
                  </a:cubicBezTo>
                  <a:cubicBezTo>
                    <a:pt x="85" y="46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7"/>
                    <a:pt x="88" y="47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7"/>
                    <a:pt x="88" y="48"/>
                    <a:pt x="87" y="48"/>
                  </a:cubicBezTo>
                  <a:cubicBezTo>
                    <a:pt x="87" y="47"/>
                    <a:pt x="86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4" y="46"/>
                    <a:pt x="83" y="45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1" y="44"/>
                    <a:pt x="81" y="44"/>
                  </a:cubicBezTo>
                  <a:cubicBezTo>
                    <a:pt x="81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80" y="43"/>
                    <a:pt x="80" y="44"/>
                  </a:cubicBezTo>
                  <a:cubicBezTo>
                    <a:pt x="80" y="44"/>
                    <a:pt x="80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2" y="45"/>
                    <a:pt x="81" y="44"/>
                  </a:cubicBezTo>
                  <a:cubicBezTo>
                    <a:pt x="82" y="44"/>
                    <a:pt x="82" y="45"/>
                    <a:pt x="81" y="44"/>
                  </a:cubicBezTo>
                  <a:cubicBezTo>
                    <a:pt x="81" y="45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4"/>
                    <a:pt x="81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1" y="45"/>
                  </a:cubicBezTo>
                  <a:cubicBezTo>
                    <a:pt x="80" y="45"/>
                    <a:pt x="81" y="45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3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5" y="48"/>
                    <a:pt x="85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49"/>
                    <a:pt x="87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9" y="49"/>
                  </a:cubicBezTo>
                  <a:cubicBezTo>
                    <a:pt x="89" y="49"/>
                    <a:pt x="89" y="49"/>
                    <a:pt x="88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90" y="50"/>
                    <a:pt x="90" y="49"/>
                  </a:cubicBezTo>
                  <a:cubicBezTo>
                    <a:pt x="91" y="50"/>
                    <a:pt x="91" y="50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2" y="51"/>
                  </a:cubicBezTo>
                  <a:cubicBezTo>
                    <a:pt x="92" y="51"/>
                    <a:pt x="91" y="51"/>
                    <a:pt x="92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3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3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2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7" y="53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9" y="54"/>
                    <a:pt x="99" y="55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4"/>
                    <a:pt x="99" y="55"/>
                  </a:cubicBezTo>
                  <a:cubicBezTo>
                    <a:pt x="98" y="54"/>
                    <a:pt x="97" y="54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6" y="53"/>
                    <a:pt x="96" y="53"/>
                    <a:pt x="96" y="52"/>
                  </a:cubicBezTo>
                  <a:cubicBezTo>
                    <a:pt x="96" y="52"/>
                    <a:pt x="96" y="52"/>
                    <a:pt x="96" y="53"/>
                  </a:cubicBezTo>
                  <a:cubicBezTo>
                    <a:pt x="93" y="51"/>
                    <a:pt x="91" y="50"/>
                    <a:pt x="89" y="49"/>
                  </a:cubicBezTo>
                  <a:cubicBezTo>
                    <a:pt x="89" y="48"/>
                    <a:pt x="89" y="49"/>
                    <a:pt x="89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5" y="52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6"/>
                    <a:pt x="100" y="55"/>
                    <a:pt x="100" y="56"/>
                  </a:cubicBezTo>
                  <a:cubicBezTo>
                    <a:pt x="100" y="56"/>
                    <a:pt x="101" y="56"/>
                    <a:pt x="101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1" y="56"/>
                    <a:pt x="101" y="56"/>
                    <a:pt x="101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1" y="57"/>
                    <a:pt x="102" y="57"/>
                    <a:pt x="101" y="57"/>
                  </a:cubicBezTo>
                  <a:cubicBezTo>
                    <a:pt x="102" y="57"/>
                    <a:pt x="102" y="57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8"/>
                    <a:pt x="102" y="58"/>
                  </a:cubicBezTo>
                  <a:cubicBezTo>
                    <a:pt x="102" y="58"/>
                    <a:pt x="102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6"/>
                    <a:pt x="100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ubicBezTo>
                    <a:pt x="100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7"/>
                  </a:cubicBezTo>
                  <a:cubicBezTo>
                    <a:pt x="98" y="56"/>
                    <a:pt x="98" y="57"/>
                    <a:pt x="99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8"/>
                  </a:cubicBezTo>
                  <a:cubicBezTo>
                    <a:pt x="99" y="58"/>
                    <a:pt x="98" y="58"/>
                    <a:pt x="98" y="57"/>
                  </a:cubicBezTo>
                  <a:cubicBezTo>
                    <a:pt x="98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7" y="57"/>
                  </a:cubicBezTo>
                  <a:cubicBezTo>
                    <a:pt x="97" y="56"/>
                    <a:pt x="97" y="57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4" y="55"/>
                    <a:pt x="94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5"/>
                    <a:pt x="93" y="55"/>
                  </a:cubicBezTo>
                  <a:cubicBezTo>
                    <a:pt x="93" y="54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5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6" y="56"/>
                    <a:pt x="96" y="57"/>
                    <a:pt x="96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7"/>
                    <a:pt x="96" y="56"/>
                    <a:pt x="96" y="57"/>
                  </a:cubicBezTo>
                  <a:cubicBezTo>
                    <a:pt x="96" y="57"/>
                    <a:pt x="96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7" y="58"/>
                  </a:cubicBezTo>
                  <a:cubicBezTo>
                    <a:pt x="96" y="57"/>
                    <a:pt x="96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5" y="57"/>
                    <a:pt x="95" y="57"/>
                  </a:cubicBezTo>
                  <a:cubicBezTo>
                    <a:pt x="95" y="57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lose/>
                  <a:moveTo>
                    <a:pt x="76" y="40"/>
                  </a:move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1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3"/>
                    <a:pt x="80" y="44"/>
                  </a:cubicBezTo>
                  <a:cubicBezTo>
                    <a:pt x="80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8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9" y="42"/>
                    <a:pt x="79" y="42"/>
                  </a:cubicBezTo>
                  <a:close/>
                  <a:moveTo>
                    <a:pt x="74" y="40"/>
                  </a:move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39"/>
                  </a:cubicBezTo>
                  <a:cubicBezTo>
                    <a:pt x="74" y="39"/>
                    <a:pt x="74" y="39"/>
                    <a:pt x="74" y="40"/>
                  </a:cubicBezTo>
                  <a:close/>
                  <a:moveTo>
                    <a:pt x="75" y="40"/>
                  </a:moveTo>
                  <a:cubicBezTo>
                    <a:pt x="75" y="40"/>
                    <a:pt x="74" y="40"/>
                    <a:pt x="74" y="40"/>
                  </a:cubicBezTo>
                  <a:cubicBezTo>
                    <a:pt x="74" y="40"/>
                    <a:pt x="75" y="40"/>
                    <a:pt x="75" y="40"/>
                  </a:cubicBezTo>
                  <a:close/>
                  <a:moveTo>
                    <a:pt x="77" y="42"/>
                  </a:moveTo>
                  <a:cubicBezTo>
                    <a:pt x="78" y="42"/>
                    <a:pt x="78" y="42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6" y="41"/>
                    <a:pt x="75" y="40"/>
                  </a:cubicBezTo>
                  <a:cubicBezTo>
                    <a:pt x="76" y="41"/>
                    <a:pt x="77" y="41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2" y="39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lose/>
                  <a:moveTo>
                    <a:pt x="73" y="39"/>
                  </a:moveTo>
                  <a:cubicBezTo>
                    <a:pt x="73" y="39"/>
                    <a:pt x="73" y="40"/>
                    <a:pt x="73" y="40"/>
                  </a:cubicBezTo>
                  <a:cubicBezTo>
                    <a:pt x="73" y="40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0"/>
                    <a:pt x="74" y="40"/>
                  </a:cubicBezTo>
                  <a:cubicBezTo>
                    <a:pt x="73" y="40"/>
                    <a:pt x="73" y="39"/>
                    <a:pt x="73" y="40"/>
                  </a:cubicBezTo>
                  <a:close/>
                  <a:moveTo>
                    <a:pt x="76" y="42"/>
                  </a:moveTo>
                  <a:cubicBezTo>
                    <a:pt x="76" y="42"/>
                    <a:pt x="75" y="41"/>
                    <a:pt x="75" y="42"/>
                  </a:cubicBezTo>
                  <a:cubicBezTo>
                    <a:pt x="76" y="42"/>
                    <a:pt x="75" y="42"/>
                    <a:pt x="76" y="42"/>
                  </a:cubicBezTo>
                  <a:close/>
                  <a:moveTo>
                    <a:pt x="73" y="41"/>
                  </a:move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1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1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4" y="41"/>
                  </a:moveTo>
                  <a:cubicBezTo>
                    <a:pt x="73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7" y="43"/>
                  </a:cubicBezTo>
                  <a:cubicBezTo>
                    <a:pt x="78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2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3"/>
                  </a:cubicBezTo>
                  <a:cubicBezTo>
                    <a:pt x="77" y="43"/>
                    <a:pt x="77" y="42"/>
                    <a:pt x="76" y="42"/>
                  </a:cubicBezTo>
                  <a:cubicBezTo>
                    <a:pt x="77" y="42"/>
                    <a:pt x="77" y="43"/>
                    <a:pt x="78" y="43"/>
                  </a:cubicBezTo>
                  <a:cubicBezTo>
                    <a:pt x="78" y="43"/>
                    <a:pt x="78" y="44"/>
                    <a:pt x="78" y="43"/>
                  </a:cubicBezTo>
                  <a:cubicBezTo>
                    <a:pt x="78" y="44"/>
                    <a:pt x="79" y="44"/>
                    <a:pt x="78" y="44"/>
                  </a:cubicBezTo>
                  <a:cubicBezTo>
                    <a:pt x="78" y="44"/>
                    <a:pt x="78" y="43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56"/>
                    <a:pt x="88" y="56"/>
                    <a:pt x="88" y="56"/>
                  </a:cubicBezTo>
                  <a:close/>
                  <a:moveTo>
                    <a:pt x="90" y="57"/>
                  </a:move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8" y="55"/>
                  </a:moveTo>
                  <a:cubicBezTo>
                    <a:pt x="88" y="55"/>
                    <a:pt x="89" y="56"/>
                    <a:pt x="89" y="56"/>
                  </a:cubicBezTo>
                  <a:cubicBezTo>
                    <a:pt x="89" y="55"/>
                    <a:pt x="88" y="55"/>
                    <a:pt x="88" y="55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4"/>
                  </a:cubicBezTo>
                  <a:cubicBezTo>
                    <a:pt x="86" y="53"/>
                    <a:pt x="87" y="54"/>
                    <a:pt x="87" y="54"/>
                  </a:cubicBezTo>
                  <a:cubicBezTo>
                    <a:pt x="87" y="54"/>
                    <a:pt x="87" y="53"/>
                    <a:pt x="87" y="54"/>
                  </a:cubicBezTo>
                  <a:cubicBezTo>
                    <a:pt x="87" y="54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4"/>
                    <a:pt x="88" y="54"/>
                    <a:pt x="88" y="53"/>
                  </a:cubicBezTo>
                  <a:cubicBezTo>
                    <a:pt x="87" y="54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4" y="51"/>
                  </a:move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4" y="51"/>
                    <a:pt x="84" y="51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1"/>
                    <a:pt x="85" y="50"/>
                  </a:cubicBezTo>
                  <a:close/>
                  <a:moveTo>
                    <a:pt x="95" y="57"/>
                  </a:moveTo>
                  <a:cubicBezTo>
                    <a:pt x="95" y="56"/>
                    <a:pt x="95" y="57"/>
                    <a:pt x="95" y="57"/>
                  </a:cubicBez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5" y="57"/>
                  </a:cubicBezTo>
                  <a:close/>
                  <a:moveTo>
                    <a:pt x="93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lose/>
                  <a:moveTo>
                    <a:pt x="92" y="54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4"/>
                    <a:pt x="92" y="55"/>
                    <a:pt x="92" y="54"/>
                  </a:cubicBezTo>
                  <a:close/>
                  <a:moveTo>
                    <a:pt x="91" y="53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8" y="51"/>
                    <a:pt x="87" y="51"/>
                  </a:cubicBezTo>
                  <a:cubicBezTo>
                    <a:pt x="87" y="51"/>
                    <a:pt x="88" y="51"/>
                    <a:pt x="87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2"/>
                    <a:pt x="88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89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lose/>
                  <a:moveTo>
                    <a:pt x="93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4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3"/>
                  </a:cubicBezTo>
                  <a:cubicBezTo>
                    <a:pt x="92" y="54"/>
                    <a:pt x="91" y="53"/>
                    <a:pt x="91" y="54"/>
                  </a:cubicBezTo>
                  <a:close/>
                  <a:moveTo>
                    <a:pt x="90" y="52"/>
                  </a:move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1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1" y="53"/>
                    <a:pt x="90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1" y="53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1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49"/>
                    <a:pt x="86" y="50"/>
                    <a:pt x="86" y="50"/>
                  </a:cubicBezTo>
                  <a:cubicBezTo>
                    <a:pt x="86" y="50"/>
                    <a:pt x="85" y="49"/>
                    <a:pt x="85" y="49"/>
                  </a:cubicBezTo>
                  <a:cubicBezTo>
                    <a:pt x="85" y="49"/>
                    <a:pt x="85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5" y="49"/>
                    <a:pt x="85" y="49"/>
                  </a:cubicBezTo>
                  <a:close/>
                  <a:moveTo>
                    <a:pt x="91" y="53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2" y="53"/>
                    <a:pt x="92" y="53"/>
                  </a:cubicBezTo>
                  <a:cubicBezTo>
                    <a:pt x="92" y="53"/>
                    <a:pt x="91" y="52"/>
                    <a:pt x="91" y="53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1"/>
                    <a:pt x="90" y="52"/>
                  </a:cubicBezTo>
                  <a:cubicBezTo>
                    <a:pt x="90" y="52"/>
                    <a:pt x="90" y="52"/>
                    <a:pt x="90" y="51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4"/>
                  </a:moveTo>
                  <a:cubicBezTo>
                    <a:pt x="94" y="54"/>
                    <a:pt x="95" y="54"/>
                    <a:pt x="95" y="54"/>
                  </a:cubicBezTo>
                  <a:cubicBezTo>
                    <a:pt x="95" y="54"/>
                    <a:pt x="95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3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2" y="53"/>
                  </a:cubicBezTo>
                  <a:close/>
                  <a:moveTo>
                    <a:pt x="93" y="53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6" y="55"/>
                  </a:move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6" y="56"/>
                    <a:pt x="96" y="55"/>
                  </a:cubicBezTo>
                  <a:close/>
                  <a:moveTo>
                    <a:pt x="94" y="55"/>
                  </a:moveTo>
                  <a:cubicBezTo>
                    <a:pt x="94" y="55"/>
                    <a:pt x="94" y="54"/>
                    <a:pt x="94" y="54"/>
                  </a:cubicBezTo>
                  <a:cubicBezTo>
                    <a:pt x="94" y="54"/>
                    <a:pt x="94" y="55"/>
                    <a:pt x="94" y="55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3" y="54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lose/>
                  <a:moveTo>
                    <a:pt x="96" y="55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6"/>
                  </a:cubicBezTo>
                  <a:cubicBezTo>
                    <a:pt x="96" y="56"/>
                    <a:pt x="96" y="56"/>
                    <a:pt x="96" y="55"/>
                  </a:cubicBezTo>
                  <a:close/>
                  <a:moveTo>
                    <a:pt x="98" y="56"/>
                  </a:move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lose/>
                  <a:moveTo>
                    <a:pt x="98" y="56"/>
                  </a:moveTo>
                  <a:cubicBezTo>
                    <a:pt x="98" y="57"/>
                    <a:pt x="99" y="57"/>
                    <a:pt x="99" y="57"/>
                  </a:cubicBezTo>
                  <a:cubicBezTo>
                    <a:pt x="98" y="56"/>
                    <a:pt x="99" y="56"/>
                    <a:pt x="98" y="56"/>
                  </a:cubicBezTo>
                  <a:close/>
                  <a:moveTo>
                    <a:pt x="95" y="54"/>
                  </a:move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5" y="55"/>
                    <a:pt x="95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7" y="54"/>
                    <a:pt x="97" y="54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99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99" y="56"/>
                  </a:cubicBezTo>
                  <a:close/>
                  <a:moveTo>
                    <a:pt x="99" y="56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lose/>
                  <a:moveTo>
                    <a:pt x="98" y="55"/>
                  </a:move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100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8" y="55"/>
                    <a:pt x="98" y="55"/>
                    <a:pt x="98" y="55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6" y="54"/>
                    <a:pt x="95" y="54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5" y="53"/>
                  </a:cubicBezTo>
                  <a:close/>
                  <a:moveTo>
                    <a:pt x="93" y="53"/>
                  </a:moveTo>
                  <a:cubicBezTo>
                    <a:pt x="94" y="53"/>
                    <a:pt x="94" y="53"/>
                    <a:pt x="93" y="53"/>
                  </a:cubicBez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lose/>
                  <a:moveTo>
                    <a:pt x="93" y="53"/>
                  </a:moveTo>
                  <a:cubicBezTo>
                    <a:pt x="93" y="53"/>
                    <a:pt x="93" y="52"/>
                    <a:pt x="92" y="53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3"/>
                    <a:pt x="93" y="53"/>
                  </a:cubicBezTo>
                  <a:cubicBezTo>
                    <a:pt x="94" y="53"/>
                    <a:pt x="93" y="53"/>
                    <a:pt x="94" y="53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0" y="51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0" y="50"/>
                    <a:pt x="90" y="51"/>
                  </a:cubicBezTo>
                  <a:close/>
                  <a:moveTo>
                    <a:pt x="90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lose/>
                  <a:moveTo>
                    <a:pt x="89" y="49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1"/>
                    <a:pt x="90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49"/>
                  </a:cubicBezTo>
                  <a:cubicBezTo>
                    <a:pt x="89" y="49"/>
                    <a:pt x="90" y="50"/>
                    <a:pt x="90" y="50"/>
                  </a:cubicBezTo>
                  <a:cubicBezTo>
                    <a:pt x="90" y="49"/>
                    <a:pt x="90" y="50"/>
                    <a:pt x="90" y="50"/>
                  </a:cubicBezTo>
                  <a:cubicBezTo>
                    <a:pt x="89" y="49"/>
                    <a:pt x="89" y="49"/>
                    <a:pt x="89" y="49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8" y="50"/>
                    <a:pt x="88" y="49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1"/>
                  </a:cubicBezTo>
                  <a:cubicBezTo>
                    <a:pt x="88" y="50"/>
                    <a:pt x="87" y="50"/>
                    <a:pt x="87" y="51"/>
                  </a:cubicBezTo>
                  <a:cubicBezTo>
                    <a:pt x="88" y="50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0"/>
                    <a:pt x="88" y="5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8" y="50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1"/>
                    <a:pt x="89" y="51"/>
                  </a:cubicBezTo>
                  <a:cubicBezTo>
                    <a:pt x="89" y="50"/>
                    <a:pt x="90" y="51"/>
                    <a:pt x="90" y="51"/>
                  </a:cubicBezTo>
                  <a:cubicBezTo>
                    <a:pt x="89" y="51"/>
                    <a:pt x="89" y="51"/>
                    <a:pt x="89" y="50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1"/>
                    <a:pt x="91" y="52"/>
                  </a:cubicBezTo>
                  <a:cubicBezTo>
                    <a:pt x="91" y="51"/>
                    <a:pt x="90" y="51"/>
                    <a:pt x="90" y="50"/>
                  </a:cubicBezTo>
                  <a:cubicBezTo>
                    <a:pt x="89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ubicBezTo>
                    <a:pt x="88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8" y="50"/>
                    <a:pt x="88" y="50"/>
                  </a:cubicBezTo>
                  <a:close/>
                  <a:moveTo>
                    <a:pt x="84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5" y="49"/>
                  </a:moveTo>
                  <a:cubicBezTo>
                    <a:pt x="85" y="49"/>
                    <a:pt x="86" y="49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5" y="49"/>
                  </a:cubicBezTo>
                  <a:cubicBezTo>
                    <a:pt x="85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6" y="49"/>
                    <a:pt x="85" y="49"/>
                  </a:cubicBezTo>
                  <a:cubicBezTo>
                    <a:pt x="86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lose/>
                  <a:moveTo>
                    <a:pt x="85" y="48"/>
                  </a:moveTo>
                  <a:cubicBezTo>
                    <a:pt x="84" y="48"/>
                    <a:pt x="84" y="47"/>
                    <a:pt x="83" y="47"/>
                  </a:cubicBezTo>
                  <a:cubicBezTo>
                    <a:pt x="83" y="47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lose/>
                  <a:moveTo>
                    <a:pt x="83" y="47"/>
                  </a:moveTo>
                  <a:cubicBezTo>
                    <a:pt x="83" y="47"/>
                    <a:pt x="83" y="47"/>
                    <a:pt x="82" y="47"/>
                  </a:cubicBezTo>
                  <a:cubicBezTo>
                    <a:pt x="83" y="47"/>
                    <a:pt x="83" y="47"/>
                    <a:pt x="83" y="47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9" y="45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7" y="44"/>
                  </a:cubicBezTo>
                  <a:cubicBezTo>
                    <a:pt x="77" y="43"/>
                    <a:pt x="76" y="43"/>
                    <a:pt x="76" y="43"/>
                  </a:cubicBezTo>
                  <a:close/>
                  <a:moveTo>
                    <a:pt x="78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8" y="45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5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6"/>
                  </a:cubicBezTo>
                  <a:cubicBezTo>
                    <a:pt x="81" y="46"/>
                    <a:pt x="81" y="46"/>
                    <a:pt x="82" y="46"/>
                  </a:cubicBezTo>
                  <a:cubicBezTo>
                    <a:pt x="82" y="46"/>
                    <a:pt x="82" y="47"/>
                    <a:pt x="82" y="47"/>
                  </a:cubicBezTo>
                  <a:cubicBezTo>
                    <a:pt x="82" y="47"/>
                    <a:pt x="82" y="46"/>
                    <a:pt x="82" y="46"/>
                  </a:cubicBezTo>
                  <a:cubicBezTo>
                    <a:pt x="82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1" y="46"/>
                    <a:pt x="81" y="47"/>
                    <a:pt x="81" y="47"/>
                  </a:cubicBezTo>
                  <a:cubicBezTo>
                    <a:pt x="81" y="47"/>
                    <a:pt x="82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8"/>
                    <a:pt x="84" y="48"/>
                    <a:pt x="83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9"/>
                    <a:pt x="84" y="48"/>
                    <a:pt x="84" y="49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4" y="49"/>
                    <a:pt x="84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7" y="51"/>
                  </a:move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lose/>
                  <a:moveTo>
                    <a:pt x="87" y="51"/>
                  </a:move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7" y="51"/>
                    <a:pt x="86" y="51"/>
                  </a:cubicBezTo>
                  <a:cubicBezTo>
                    <a:pt x="86" y="51"/>
                    <a:pt x="86" y="50"/>
                    <a:pt x="86" y="51"/>
                  </a:cubicBezTo>
                  <a:cubicBezTo>
                    <a:pt x="86" y="51"/>
                    <a:pt x="86" y="51"/>
                    <a:pt x="87" y="51"/>
                  </a:cubicBezTo>
                  <a:cubicBezTo>
                    <a:pt x="87" y="51"/>
                    <a:pt x="88" y="52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7" y="51"/>
                    <a:pt x="87" y="51"/>
                  </a:cubicBezTo>
                  <a:close/>
                  <a:moveTo>
                    <a:pt x="83" y="49"/>
                  </a:moveTo>
                  <a:cubicBezTo>
                    <a:pt x="83" y="49"/>
                    <a:pt x="84" y="49"/>
                    <a:pt x="83" y="49"/>
                  </a:cubicBezTo>
                  <a:cubicBezTo>
                    <a:pt x="83" y="49"/>
                    <a:pt x="83" y="48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lose/>
                  <a:moveTo>
                    <a:pt x="86" y="51"/>
                  </a:moveTo>
                  <a:cubicBezTo>
                    <a:pt x="86" y="51"/>
                    <a:pt x="86" y="51"/>
                    <a:pt x="86" y="50"/>
                  </a:cubicBezTo>
                  <a:cubicBezTo>
                    <a:pt x="86" y="50"/>
                    <a:pt x="86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6" y="50"/>
                    <a:pt x="85" y="50"/>
                    <a:pt x="86" y="51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4" y="50"/>
                  </a:cubicBezTo>
                  <a:cubicBezTo>
                    <a:pt x="84" y="50"/>
                    <a:pt x="85" y="50"/>
                    <a:pt x="85" y="50"/>
                  </a:cubicBezTo>
                  <a:close/>
                  <a:moveTo>
                    <a:pt x="85" y="50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5" y="51"/>
                    <a:pt x="86" y="51"/>
                    <a:pt x="85" y="50"/>
                  </a:cubicBezTo>
                  <a:close/>
                  <a:moveTo>
                    <a:pt x="89" y="53"/>
                  </a:move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2"/>
                    <a:pt x="89" y="53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4"/>
                    <a:pt x="91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2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lose/>
                  <a:moveTo>
                    <a:pt x="90" y="54"/>
                  </a:move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4" y="56"/>
                    <a:pt x="94" y="56"/>
                  </a:cubicBezTo>
                  <a:cubicBezTo>
                    <a:pt x="94" y="56"/>
                    <a:pt x="95" y="56"/>
                    <a:pt x="95" y="56"/>
                  </a:cubicBezTo>
                  <a:cubicBezTo>
                    <a:pt x="94" y="56"/>
                    <a:pt x="94" y="56"/>
                    <a:pt x="94" y="55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7"/>
                    <a:pt x="94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8" y="59"/>
                  </a:move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7" y="59"/>
                    <a:pt x="98" y="59"/>
                  </a:cubicBezTo>
                  <a:close/>
                  <a:moveTo>
                    <a:pt x="83" y="50"/>
                  </a:moveTo>
                  <a:cubicBezTo>
                    <a:pt x="82" y="50"/>
                    <a:pt x="83" y="50"/>
                    <a:pt x="82" y="50"/>
                  </a:cubicBezTo>
                  <a:cubicBezTo>
                    <a:pt x="82" y="50"/>
                    <a:pt x="83" y="50"/>
                    <a:pt x="83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3"/>
                    <a:pt x="67" y="43"/>
                  </a:cubicBezTo>
                  <a:cubicBezTo>
                    <a:pt x="67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2"/>
                    <a:pt x="66" y="43"/>
                    <a:pt x="66" y="42"/>
                  </a:cubicBezTo>
                  <a:close/>
                  <a:moveTo>
                    <a:pt x="65" y="47"/>
                  </a:moveTo>
                  <a:cubicBezTo>
                    <a:pt x="65" y="47"/>
                    <a:pt x="64" y="46"/>
                    <a:pt x="65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6"/>
                    <a:pt x="64" y="46"/>
                  </a:cubicBezTo>
                  <a:cubicBezTo>
                    <a:pt x="64" y="46"/>
                    <a:pt x="65" y="46"/>
                    <a:pt x="65" y="47"/>
                  </a:cubicBezTo>
                  <a:close/>
                  <a:moveTo>
                    <a:pt x="68" y="41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7" y="42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8" y="41"/>
                    <a:pt x="68" y="41"/>
                  </a:cubicBezTo>
                  <a:close/>
                  <a:moveTo>
                    <a:pt x="68" y="43"/>
                  </a:moveTo>
                  <a:cubicBezTo>
                    <a:pt x="67" y="43"/>
                    <a:pt x="67" y="43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8" y="42"/>
                    <a:pt x="68" y="42"/>
                  </a:cubicBezTo>
                  <a:cubicBezTo>
                    <a:pt x="67" y="42"/>
                    <a:pt x="68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3"/>
                    <a:pt x="68" y="42"/>
                    <a:pt x="68" y="43"/>
                  </a:cubicBezTo>
                  <a:cubicBezTo>
                    <a:pt x="68" y="43"/>
                    <a:pt x="68" y="43"/>
                    <a:pt x="68" y="42"/>
                  </a:cubicBezTo>
                  <a:cubicBezTo>
                    <a:pt x="68" y="43"/>
                    <a:pt x="68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8" y="43"/>
                    <a:pt x="68" y="43"/>
                    <a:pt x="68" y="43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0"/>
                    <a:pt x="68" y="41"/>
                    <a:pt x="68" y="40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4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70" y="41"/>
                    <a:pt x="70" y="41"/>
                  </a:cubicBezTo>
                  <a:cubicBezTo>
                    <a:pt x="70" y="41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2" y="43"/>
                  </a:cubicBezTo>
                  <a:close/>
                  <a:moveTo>
                    <a:pt x="71" y="42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5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8" y="45"/>
                    <a:pt x="67" y="45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8" y="47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lose/>
                  <a:moveTo>
                    <a:pt x="66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8" y="46"/>
                  </a:cubicBezTo>
                  <a:cubicBezTo>
                    <a:pt x="68" y="46"/>
                    <a:pt x="67" y="46"/>
                    <a:pt x="68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8" y="47"/>
                    <a:pt x="68" y="47"/>
                  </a:cubicBezTo>
                  <a:cubicBezTo>
                    <a:pt x="68" y="47"/>
                    <a:pt x="68" y="46"/>
                    <a:pt x="68" y="46"/>
                  </a:cubicBezTo>
                  <a:cubicBezTo>
                    <a:pt x="68" y="46"/>
                    <a:pt x="67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6"/>
                    <a:pt x="68" y="47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9" y="47"/>
                    <a:pt x="69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8" y="47"/>
                    <a:pt x="68" y="47"/>
                  </a:cubicBezTo>
                  <a:cubicBezTo>
                    <a:pt x="68" y="47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7" y="46"/>
                    <a:pt x="67" y="47"/>
                  </a:cubicBezTo>
                  <a:cubicBezTo>
                    <a:pt x="67" y="47"/>
                    <a:pt x="67" y="47"/>
                    <a:pt x="66" y="46"/>
                  </a:cubicBezTo>
                  <a:cubicBezTo>
                    <a:pt x="66" y="46"/>
                    <a:pt x="67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4"/>
                    <a:pt x="69" y="45"/>
                    <a:pt x="69" y="44"/>
                  </a:cubicBezTo>
                  <a:cubicBezTo>
                    <a:pt x="69" y="44"/>
                    <a:pt x="69" y="44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69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70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69" y="46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1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2"/>
                  </a:cubicBezTo>
                  <a:close/>
                  <a:moveTo>
                    <a:pt x="71" y="45"/>
                  </a:move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1" y="46"/>
                    <a:pt x="71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6"/>
                    <a:pt x="71" y="46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3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1" y="49"/>
                    <a:pt x="70" y="50"/>
                    <a:pt x="70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1" y="50"/>
                    <a:pt x="71" y="50"/>
                    <a:pt x="71" y="49"/>
                  </a:cubicBezTo>
                  <a:cubicBezTo>
                    <a:pt x="71" y="50"/>
                    <a:pt x="72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lose/>
                  <a:moveTo>
                    <a:pt x="71" y="50"/>
                  </a:moveTo>
                  <a:cubicBezTo>
                    <a:pt x="71" y="50"/>
                    <a:pt x="71" y="49"/>
                    <a:pt x="71" y="50"/>
                  </a:cubicBezTo>
                  <a:cubicBezTo>
                    <a:pt x="71" y="50"/>
                    <a:pt x="72" y="50"/>
                    <a:pt x="71" y="50"/>
                  </a:cubicBezTo>
                  <a:close/>
                  <a:moveTo>
                    <a:pt x="72" y="46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6"/>
                    <a:pt x="72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3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9"/>
                    <a:pt x="75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9"/>
                    <a:pt x="74" y="49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4" y="48"/>
                    <a:pt x="74" y="48"/>
                    <a:pt x="73" y="47"/>
                  </a:cubicBezTo>
                  <a:cubicBezTo>
                    <a:pt x="73" y="48"/>
                    <a:pt x="72" y="48"/>
                    <a:pt x="73" y="48"/>
                  </a:cubicBezTo>
                  <a:close/>
                  <a:moveTo>
                    <a:pt x="73" y="50"/>
                  </a:moveTo>
                  <a:cubicBezTo>
                    <a:pt x="73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9"/>
                    <a:pt x="71" y="48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3" y="49"/>
                    <a:pt x="72" y="50"/>
                  </a:cubicBezTo>
                  <a:cubicBezTo>
                    <a:pt x="73" y="50"/>
                    <a:pt x="72" y="50"/>
                    <a:pt x="73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49"/>
                  </a:lnTo>
                  <a:close/>
                  <a:moveTo>
                    <a:pt x="75" y="45"/>
                  </a:moveTo>
                  <a:cubicBezTo>
                    <a:pt x="75" y="45"/>
                    <a:pt x="74" y="45"/>
                    <a:pt x="74" y="45"/>
                  </a:cubicBezTo>
                  <a:cubicBezTo>
                    <a:pt x="74" y="45"/>
                    <a:pt x="74" y="44"/>
                    <a:pt x="74" y="44"/>
                  </a:cubicBezTo>
                  <a:cubicBezTo>
                    <a:pt x="74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5" y="47"/>
                    <a:pt x="75" y="47"/>
                  </a:cubicBezTo>
                  <a:cubicBezTo>
                    <a:pt x="75" y="47"/>
                    <a:pt x="75" y="47"/>
                    <a:pt x="74" y="47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4"/>
                    <a:pt x="75" y="44"/>
                  </a:cubicBez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4"/>
                    <a:pt x="75" y="43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8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6"/>
                  </a:cubicBezTo>
                  <a:cubicBezTo>
                    <a:pt x="77" y="47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7" y="46"/>
                    <a:pt x="77" y="46"/>
                  </a:cubicBezTo>
                  <a:cubicBezTo>
                    <a:pt x="77" y="46"/>
                    <a:pt x="78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2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1"/>
                    <a:pt x="74" y="51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6" y="47"/>
                    <a:pt x="76" y="47"/>
                  </a:cubicBezTo>
                  <a:cubicBezTo>
                    <a:pt x="76" y="47"/>
                    <a:pt x="77" y="47"/>
                    <a:pt x="77" y="48"/>
                  </a:cubicBezTo>
                  <a:cubicBezTo>
                    <a:pt x="76" y="47"/>
                    <a:pt x="75" y="47"/>
                    <a:pt x="75" y="46"/>
                  </a:cubicBezTo>
                  <a:cubicBezTo>
                    <a:pt x="76" y="46"/>
                    <a:pt x="76" y="47"/>
                    <a:pt x="77" y="47"/>
                  </a:cubicBezTo>
                  <a:close/>
                  <a:moveTo>
                    <a:pt x="74" y="51"/>
                  </a:moveTo>
                  <a:cubicBezTo>
                    <a:pt x="74" y="51"/>
                    <a:pt x="74" y="51"/>
                    <a:pt x="73" y="50"/>
                  </a:cubicBezTo>
                  <a:cubicBezTo>
                    <a:pt x="74" y="50"/>
                    <a:pt x="74" y="51"/>
                    <a:pt x="74" y="5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6"/>
                    <a:pt x="78" y="45"/>
                    <a:pt x="78" y="4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7" y="50"/>
                  </a:cubicBezTo>
                  <a:cubicBezTo>
                    <a:pt x="77" y="49"/>
                    <a:pt x="78" y="50"/>
                    <a:pt x="78" y="50"/>
                  </a:cubicBezTo>
                  <a:cubicBezTo>
                    <a:pt x="78" y="50"/>
                    <a:pt x="77" y="50"/>
                    <a:pt x="77" y="50"/>
                  </a:cubicBezTo>
                  <a:cubicBezTo>
                    <a:pt x="77" y="49"/>
                    <a:pt x="77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80" y="45"/>
                  </a:moveTo>
                  <a:cubicBezTo>
                    <a:pt x="80" y="44"/>
                    <a:pt x="80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4"/>
                    <a:pt x="80" y="44"/>
                    <a:pt x="80" y="45"/>
                  </a:cubicBezTo>
                  <a:close/>
                  <a:moveTo>
                    <a:pt x="76" y="53"/>
                  </a:moveTo>
                  <a:cubicBezTo>
                    <a:pt x="75" y="53"/>
                    <a:pt x="75" y="53"/>
                    <a:pt x="75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7" y="50"/>
                    <a:pt x="77" y="50"/>
                  </a:cubicBezTo>
                  <a:close/>
                  <a:moveTo>
                    <a:pt x="82" y="45"/>
                  </a:moveTo>
                  <a:cubicBezTo>
                    <a:pt x="82" y="45"/>
                    <a:pt x="83" y="45"/>
                    <a:pt x="83" y="46"/>
                  </a:cubicBezTo>
                  <a:cubicBezTo>
                    <a:pt x="83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2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5"/>
                    <a:pt x="83" y="46"/>
                  </a:cubicBezTo>
                  <a:cubicBezTo>
                    <a:pt x="82" y="46"/>
                    <a:pt x="84" y="46"/>
                    <a:pt x="84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5"/>
                    <a:pt x="82" y="46"/>
                    <a:pt x="82" y="46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0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80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1" y="56"/>
                  </a:move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5"/>
                    <a:pt x="79" y="55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1" y="56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lose/>
                  <a:moveTo>
                    <a:pt x="80" y="53"/>
                  </a:moveTo>
                  <a:cubicBezTo>
                    <a:pt x="79" y="53"/>
                    <a:pt x="80" y="53"/>
                    <a:pt x="80" y="54"/>
                  </a:cubicBezTo>
                  <a:cubicBezTo>
                    <a:pt x="80" y="54"/>
                    <a:pt x="80" y="53"/>
                    <a:pt x="80" y="54"/>
                  </a:cubicBezTo>
                  <a:cubicBezTo>
                    <a:pt x="79" y="53"/>
                    <a:pt x="80" y="53"/>
                    <a:pt x="80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4"/>
                    <a:pt x="80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3"/>
                  </a:cubicBezTo>
                  <a:cubicBezTo>
                    <a:pt x="81" y="53"/>
                    <a:pt x="81" y="53"/>
                    <a:pt x="80" y="53"/>
                  </a:cubicBezTo>
                  <a:cubicBezTo>
                    <a:pt x="80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3"/>
                    <a:pt x="81" y="53"/>
                  </a:cubicBezTo>
                  <a:cubicBezTo>
                    <a:pt x="81" y="53"/>
                    <a:pt x="81" y="52"/>
                    <a:pt x="81" y="52"/>
                  </a:cubicBezTo>
                  <a:cubicBezTo>
                    <a:pt x="81" y="52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5"/>
                    <a:pt x="85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4"/>
                    <a:pt x="84" y="54"/>
                  </a:cubicBezTo>
                  <a:cubicBezTo>
                    <a:pt x="83" y="54"/>
                    <a:pt x="83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1" y="54"/>
                    <a:pt x="80" y="54"/>
                  </a:cubicBezTo>
                  <a:cubicBezTo>
                    <a:pt x="80" y="54"/>
                    <a:pt x="80" y="54"/>
                    <a:pt x="81" y="54"/>
                  </a:cubicBezTo>
                  <a:cubicBezTo>
                    <a:pt x="81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4"/>
                  </a:cubicBezTo>
                  <a:close/>
                  <a:moveTo>
                    <a:pt x="83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4" y="53"/>
                    <a:pt x="84" y="54"/>
                  </a:cubicBezTo>
                  <a:cubicBezTo>
                    <a:pt x="84" y="54"/>
                    <a:pt x="83" y="53"/>
                    <a:pt x="83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8" y="58"/>
                  </a:cubicBezTo>
                  <a:cubicBezTo>
                    <a:pt x="87" y="58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lose/>
                  <a:moveTo>
                    <a:pt x="93" y="51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3" y="51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1" y="56"/>
                    <a:pt x="91" y="55"/>
                    <a:pt x="91" y="56"/>
                  </a:cubicBezTo>
                  <a:cubicBezTo>
                    <a:pt x="90" y="56"/>
                    <a:pt x="91" y="55"/>
                    <a:pt x="91" y="56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2" y="56"/>
                    <a:pt x="92" y="57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3" y="57"/>
                    <a:pt x="93" y="57"/>
                    <a:pt x="92" y="57"/>
                  </a:cubicBezTo>
                  <a:cubicBezTo>
                    <a:pt x="92" y="57"/>
                    <a:pt x="92" y="57"/>
                    <a:pt x="91" y="56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3" y="52"/>
                  </a:cubicBezTo>
                  <a:close/>
                  <a:moveTo>
                    <a:pt x="89" y="60"/>
                  </a:move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1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60"/>
                    <a:pt x="90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90" y="60"/>
                  </a:cubicBezTo>
                  <a:cubicBezTo>
                    <a:pt x="90" y="60"/>
                    <a:pt x="89" y="60"/>
                    <a:pt x="89" y="60"/>
                  </a:cubicBezTo>
                  <a:close/>
                  <a:moveTo>
                    <a:pt x="95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1"/>
                    <a:pt x="95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100" y="56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9" y="56"/>
                    <a:pt x="99" y="56"/>
                    <a:pt x="99" y="56"/>
                  </a:cubicBezTo>
                  <a:close/>
                  <a:moveTo>
                    <a:pt x="103" y="59"/>
                  </a:moveTo>
                  <a:cubicBezTo>
                    <a:pt x="103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8"/>
                  </a:cubicBezTo>
                  <a:cubicBezTo>
                    <a:pt x="102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7"/>
                    <a:pt x="100" y="56"/>
                  </a:cubicBezTo>
                  <a:close/>
                  <a:moveTo>
                    <a:pt x="102" y="60"/>
                  </a:moveTo>
                  <a:cubicBezTo>
                    <a:pt x="101" y="60"/>
                    <a:pt x="101" y="60"/>
                    <a:pt x="101" y="59"/>
                  </a:cubicBezTo>
                  <a:cubicBezTo>
                    <a:pt x="101" y="59"/>
                    <a:pt x="101" y="60"/>
                    <a:pt x="101" y="60"/>
                  </a:cubicBezTo>
                  <a:cubicBezTo>
                    <a:pt x="101" y="59"/>
                    <a:pt x="101" y="60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04" y="61"/>
                    <a:pt x="104" y="60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ubicBezTo>
                    <a:pt x="104" y="61"/>
                    <a:pt x="103" y="61"/>
                    <a:pt x="103" y="61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2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59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3" y="60"/>
                    <a:pt x="102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1" y="60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1" y="59"/>
                  </a:cubicBezTo>
                  <a:cubicBezTo>
                    <a:pt x="101" y="59"/>
                    <a:pt x="101" y="59"/>
                    <a:pt x="101" y="58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lose/>
                  <a:moveTo>
                    <a:pt x="102" y="59"/>
                  </a:move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1" y="60"/>
                    <a:pt x="100" y="60"/>
                    <a:pt x="101" y="60"/>
                  </a:cubicBezTo>
                  <a:cubicBezTo>
                    <a:pt x="101" y="60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102" y="57"/>
                  </a:moveTo>
                  <a:cubicBezTo>
                    <a:pt x="101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1" y="56"/>
                  </a:cubicBezTo>
                  <a:cubicBezTo>
                    <a:pt x="102" y="56"/>
                    <a:pt x="101" y="56"/>
                    <a:pt x="102" y="56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0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100" y="62"/>
                    <a:pt x="100" y="62"/>
                  </a:cubicBezTo>
                  <a:close/>
                  <a:moveTo>
                    <a:pt x="102" y="56"/>
                  </a:moveTo>
                  <a:cubicBezTo>
                    <a:pt x="102" y="56"/>
                    <a:pt x="102" y="56"/>
                    <a:pt x="102" y="56"/>
                  </a:cubicBezTo>
                  <a:cubicBezTo>
                    <a:pt x="102" y="57"/>
                    <a:pt x="103" y="56"/>
                    <a:pt x="103" y="57"/>
                  </a:cubicBezTo>
                  <a:cubicBezTo>
                    <a:pt x="103" y="57"/>
                    <a:pt x="102" y="57"/>
                    <a:pt x="102" y="57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6"/>
                    <a:pt x="102" y="56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3" y="58"/>
                    <a:pt x="102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lose/>
                  <a:moveTo>
                    <a:pt x="105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4" y="59"/>
                    <a:pt x="104" y="59"/>
                  </a:cubicBezTo>
                  <a:cubicBezTo>
                    <a:pt x="104" y="58"/>
                    <a:pt x="103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9"/>
                    <a:pt x="105" y="58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6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6" y="60"/>
                    <a:pt x="106" y="60"/>
                    <a:pt x="105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5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60"/>
                    <a:pt x="105" y="60"/>
                  </a:cubicBezTo>
                  <a:close/>
                  <a:moveTo>
                    <a:pt x="106" y="61"/>
                  </a:moveTo>
                  <a:cubicBezTo>
                    <a:pt x="106" y="62"/>
                    <a:pt x="106" y="62"/>
                    <a:pt x="107" y="62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6" y="61"/>
                    <a:pt x="105" y="61"/>
                    <a:pt x="105" y="61"/>
                  </a:cubicBezTo>
                  <a:cubicBezTo>
                    <a:pt x="105" y="61"/>
                    <a:pt x="106" y="61"/>
                    <a:pt x="106" y="61"/>
                  </a:cubicBezTo>
                  <a:close/>
                  <a:moveTo>
                    <a:pt x="108" y="61"/>
                  </a:moveTo>
                  <a:cubicBezTo>
                    <a:pt x="108" y="61"/>
                    <a:pt x="108" y="61"/>
                    <a:pt x="108" y="61"/>
                  </a:cubicBezTo>
                  <a:cubicBezTo>
                    <a:pt x="108" y="60"/>
                    <a:pt x="109" y="61"/>
                    <a:pt x="108" y="60"/>
                  </a:cubicBezTo>
                  <a:cubicBezTo>
                    <a:pt x="108" y="60"/>
                    <a:pt x="109" y="60"/>
                    <a:pt x="109" y="61"/>
                  </a:cubicBezTo>
                  <a:cubicBezTo>
                    <a:pt x="109" y="61"/>
                    <a:pt x="108" y="61"/>
                    <a:pt x="108" y="61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110" y="65"/>
                  </a:move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4"/>
                  </a:cubicBezTo>
                  <a:cubicBezTo>
                    <a:pt x="110" y="64"/>
                    <a:pt x="110" y="65"/>
                    <a:pt x="110" y="65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6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0" y="65"/>
                    <a:pt x="111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1" y="65"/>
                  </a:cubicBezTo>
                  <a:cubicBezTo>
                    <a:pt x="111" y="65"/>
                    <a:pt x="110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7" y="66"/>
                    <a:pt x="118" y="67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6" y="66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lose/>
                  <a:moveTo>
                    <a:pt x="117" y="66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7" y="65"/>
                    <a:pt x="117" y="66"/>
                    <a:pt x="117" y="66"/>
                  </a:cubicBezTo>
                  <a:close/>
                  <a:moveTo>
                    <a:pt x="118" y="66"/>
                  </a:moveTo>
                  <a:cubicBezTo>
                    <a:pt x="118" y="66"/>
                    <a:pt x="117" y="66"/>
                    <a:pt x="117" y="66"/>
                  </a:cubicBezTo>
                  <a:cubicBezTo>
                    <a:pt x="117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lose/>
                  <a:moveTo>
                    <a:pt x="121" y="69"/>
                  </a:moveTo>
                  <a:cubicBezTo>
                    <a:pt x="121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2" y="70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6" y="71"/>
                    <a:pt x="126" y="72"/>
                  </a:cubicBezTo>
                  <a:cubicBezTo>
                    <a:pt x="125" y="72"/>
                    <a:pt x="125" y="72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4" y="71"/>
                    <a:pt x="124" y="70"/>
                    <a:pt x="123" y="70"/>
                  </a:cubicBezTo>
                  <a:cubicBezTo>
                    <a:pt x="123" y="70"/>
                    <a:pt x="123" y="70"/>
                    <a:pt x="124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69"/>
                    <a:pt x="121" y="69"/>
                    <a:pt x="120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19" y="68"/>
                    <a:pt x="119" y="68"/>
                  </a:cubicBezTo>
                  <a:cubicBezTo>
                    <a:pt x="119" y="67"/>
                    <a:pt x="118" y="67"/>
                    <a:pt x="117" y="66"/>
                  </a:cubicBezTo>
                  <a:cubicBezTo>
                    <a:pt x="118" y="66"/>
                    <a:pt x="120" y="68"/>
                    <a:pt x="121" y="68"/>
                  </a:cubicBezTo>
                  <a:cubicBezTo>
                    <a:pt x="121" y="69"/>
                    <a:pt x="121" y="69"/>
                    <a:pt x="121" y="69"/>
                  </a:cubicBezTo>
                  <a:close/>
                  <a:moveTo>
                    <a:pt x="117" y="67"/>
                  </a:move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lose/>
                  <a:moveTo>
                    <a:pt x="128" y="72"/>
                  </a:moveTo>
                  <a:cubicBezTo>
                    <a:pt x="126" y="71"/>
                    <a:pt x="125" y="70"/>
                    <a:pt x="124" y="69"/>
                  </a:cubicBezTo>
                  <a:cubicBezTo>
                    <a:pt x="125" y="70"/>
                    <a:pt x="126" y="71"/>
                    <a:pt x="128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7" y="77"/>
                  </a:move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6"/>
                    <a:pt x="136" y="76"/>
                  </a:cubicBezTo>
                  <a:cubicBezTo>
                    <a:pt x="136" y="77"/>
                    <a:pt x="136" y="77"/>
                    <a:pt x="136" y="76"/>
                  </a:cubicBezTo>
                  <a:cubicBezTo>
                    <a:pt x="137" y="77"/>
                    <a:pt x="136" y="77"/>
                    <a:pt x="137" y="77"/>
                  </a:cubicBezTo>
                  <a:close/>
                  <a:moveTo>
                    <a:pt x="146" y="82"/>
                  </a:moveTo>
                  <a:cubicBezTo>
                    <a:pt x="145" y="82"/>
                    <a:pt x="145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0"/>
                    <a:pt x="142" y="81"/>
                    <a:pt x="141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1" y="80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2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1"/>
                    <a:pt x="143" y="80"/>
                    <a:pt x="143" y="80"/>
                  </a:cubicBezTo>
                  <a:cubicBezTo>
                    <a:pt x="143" y="80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1"/>
                    <a:pt x="145" y="81"/>
                    <a:pt x="145" y="81"/>
                  </a:cubicBezTo>
                  <a:cubicBezTo>
                    <a:pt x="146" y="81"/>
                    <a:pt x="146" y="82"/>
                    <a:pt x="147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0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0" y="80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1" y="80"/>
                    <a:pt x="142" y="81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3" y="81"/>
                  </a:cubicBezTo>
                  <a:cubicBezTo>
                    <a:pt x="143" y="81"/>
                    <a:pt x="142" y="81"/>
                    <a:pt x="142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1" y="86"/>
                  </a:moveTo>
                  <a:cubicBezTo>
                    <a:pt x="151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1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6" y="92"/>
                    <a:pt x="156" y="92"/>
                  </a:cubicBezTo>
                  <a:cubicBezTo>
                    <a:pt x="156" y="92"/>
                    <a:pt x="156" y="92"/>
                    <a:pt x="156" y="93"/>
                  </a:cubicBezTo>
                  <a:cubicBezTo>
                    <a:pt x="156" y="93"/>
                    <a:pt x="156" y="92"/>
                    <a:pt x="155" y="92"/>
                  </a:cubicBezTo>
                  <a:close/>
                  <a:moveTo>
                    <a:pt x="159" y="90"/>
                  </a:moveTo>
                  <a:cubicBezTo>
                    <a:pt x="159" y="90"/>
                    <a:pt x="159" y="91"/>
                    <a:pt x="160" y="91"/>
                  </a:cubicBezTo>
                  <a:cubicBezTo>
                    <a:pt x="159" y="91"/>
                    <a:pt x="159" y="91"/>
                    <a:pt x="159" y="90"/>
                  </a:cubicBezTo>
                  <a:close/>
                  <a:moveTo>
                    <a:pt x="12" y="19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9"/>
                    <a:pt x="12" y="19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4" y="28"/>
                    <a:pt x="34" y="28"/>
                    <a:pt x="34" y="28"/>
                  </a:cubicBezTo>
                  <a:close/>
                  <a:moveTo>
                    <a:pt x="35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lose/>
                  <a:moveTo>
                    <a:pt x="36" y="27"/>
                  </a:moveTo>
                  <a:cubicBezTo>
                    <a:pt x="36" y="28"/>
                    <a:pt x="36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6" y="27"/>
                    <a:pt x="36" y="28"/>
                    <a:pt x="36" y="27"/>
                  </a:cubicBezTo>
                  <a:close/>
                  <a:moveTo>
                    <a:pt x="38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6"/>
                  </a:cubicBezTo>
                  <a:cubicBezTo>
                    <a:pt x="39" y="26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7" y="26"/>
                    <a:pt x="47" y="26"/>
                  </a:cubicBezTo>
                  <a:close/>
                  <a:moveTo>
                    <a:pt x="46" y="32"/>
                  </a:moveTo>
                  <a:cubicBezTo>
                    <a:pt x="46" y="33"/>
                    <a:pt x="46" y="33"/>
                    <a:pt x="47" y="33"/>
                  </a:cubicBezTo>
                  <a:cubicBezTo>
                    <a:pt x="46" y="33"/>
                    <a:pt x="46" y="33"/>
                    <a:pt x="45" y="32"/>
                  </a:cubicBezTo>
                  <a:cubicBezTo>
                    <a:pt x="46" y="32"/>
                    <a:pt x="46" y="33"/>
                    <a:pt x="4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7" y="31"/>
                    <a:pt x="57" y="31"/>
                  </a:cubicBezTo>
                  <a:cubicBezTo>
                    <a:pt x="57" y="31"/>
                    <a:pt x="58" y="31"/>
                    <a:pt x="58" y="32"/>
                  </a:cubicBezTo>
                  <a:close/>
                  <a:moveTo>
                    <a:pt x="63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4" y="34"/>
                    <a:pt x="64" y="34"/>
                  </a:cubicBezTo>
                  <a:cubicBezTo>
                    <a:pt x="64" y="34"/>
                    <a:pt x="64" y="34"/>
                    <a:pt x="64" y="35"/>
                  </a:cubicBezTo>
                  <a:cubicBezTo>
                    <a:pt x="64" y="34"/>
                    <a:pt x="63" y="34"/>
                    <a:pt x="63" y="34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40"/>
                  </a:cubicBezTo>
                  <a:lnTo>
                    <a:pt x="61" y="39"/>
                  </a:lnTo>
                  <a:close/>
                  <a:moveTo>
                    <a:pt x="67" y="41"/>
                  </a:moveTo>
                  <a:cubicBezTo>
                    <a:pt x="67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0"/>
                    <a:pt x="67" y="41"/>
                    <a:pt x="67" y="41"/>
                  </a:cubicBezTo>
                  <a:close/>
                  <a:moveTo>
                    <a:pt x="68" y="47"/>
                  </a:move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2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2" y="43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ubicBezTo>
                    <a:pt x="73" y="44"/>
                    <a:pt x="73" y="44"/>
                    <a:pt x="72" y="44"/>
                  </a:cubicBezTo>
                  <a:cubicBezTo>
                    <a:pt x="73" y="44"/>
                    <a:pt x="73" y="45"/>
                    <a:pt x="73" y="45"/>
                  </a:cubicBezTo>
                  <a:close/>
                  <a:moveTo>
                    <a:pt x="74" y="45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6"/>
                    <a:pt x="74" y="45"/>
                  </a:cubicBezTo>
                  <a:close/>
                  <a:moveTo>
                    <a:pt x="76" y="49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4" y="48"/>
                    <a:pt x="74" y="47"/>
                    <a:pt x="74" y="47"/>
                  </a:cubicBezTo>
                  <a:cubicBezTo>
                    <a:pt x="75" y="47"/>
                    <a:pt x="75" y="47"/>
                    <a:pt x="75" y="48"/>
                  </a:cubicBezTo>
                  <a:cubicBezTo>
                    <a:pt x="75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9"/>
                  </a:cubicBezTo>
                  <a:close/>
                  <a:moveTo>
                    <a:pt x="76" y="52"/>
                  </a:moveTo>
                  <a:cubicBezTo>
                    <a:pt x="75" y="52"/>
                    <a:pt x="75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9" y="48"/>
                  </a:move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lose/>
                  <a:moveTo>
                    <a:pt x="99" y="59"/>
                  </a:moveTo>
                  <a:cubicBezTo>
                    <a:pt x="99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9" y="58"/>
                    <a:pt x="99" y="58"/>
                    <a:pt x="100" y="59"/>
                  </a:cubicBezTo>
                  <a:cubicBezTo>
                    <a:pt x="100" y="59"/>
                    <a:pt x="99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03EBE9C-B6AF-4250-A0B4-275CA17434FB}"/>
                </a:ext>
              </a:extLst>
            </p:cNvPr>
            <p:cNvSpPr/>
            <p:nvPr/>
          </p:nvSpPr>
          <p:spPr bwMode="auto">
            <a:xfrm>
              <a:off x="3595688" y="1528763"/>
              <a:ext cx="255588" cy="385763"/>
            </a:xfrm>
            <a:custGeom>
              <a:avLst/>
              <a:gdLst>
                <a:gd name="T0" fmla="*/ 22 w 103"/>
                <a:gd name="T1" fmla="*/ 40 h 156"/>
                <a:gd name="T2" fmla="*/ 27 w 103"/>
                <a:gd name="T3" fmla="*/ 42 h 156"/>
                <a:gd name="T4" fmla="*/ 29 w 103"/>
                <a:gd name="T5" fmla="*/ 48 h 156"/>
                <a:gd name="T6" fmla="*/ 30 w 103"/>
                <a:gd name="T7" fmla="*/ 51 h 156"/>
                <a:gd name="T8" fmla="*/ 33 w 103"/>
                <a:gd name="T9" fmla="*/ 58 h 156"/>
                <a:gd name="T10" fmla="*/ 43 w 103"/>
                <a:gd name="T11" fmla="*/ 57 h 156"/>
                <a:gd name="T12" fmla="*/ 47 w 103"/>
                <a:gd name="T13" fmla="*/ 65 h 156"/>
                <a:gd name="T14" fmla="*/ 42 w 103"/>
                <a:gd name="T15" fmla="*/ 72 h 156"/>
                <a:gd name="T16" fmla="*/ 48 w 103"/>
                <a:gd name="T17" fmla="*/ 73 h 156"/>
                <a:gd name="T18" fmla="*/ 49 w 103"/>
                <a:gd name="T19" fmla="*/ 81 h 156"/>
                <a:gd name="T20" fmla="*/ 53 w 103"/>
                <a:gd name="T21" fmla="*/ 88 h 156"/>
                <a:gd name="T22" fmla="*/ 58 w 103"/>
                <a:gd name="T23" fmla="*/ 93 h 156"/>
                <a:gd name="T24" fmla="*/ 68 w 103"/>
                <a:gd name="T25" fmla="*/ 97 h 156"/>
                <a:gd name="T26" fmla="*/ 65 w 103"/>
                <a:gd name="T27" fmla="*/ 103 h 156"/>
                <a:gd name="T28" fmla="*/ 74 w 103"/>
                <a:gd name="T29" fmla="*/ 110 h 156"/>
                <a:gd name="T30" fmla="*/ 93 w 103"/>
                <a:gd name="T31" fmla="*/ 138 h 156"/>
                <a:gd name="T32" fmla="*/ 101 w 103"/>
                <a:gd name="T33" fmla="*/ 148 h 156"/>
                <a:gd name="T34" fmla="*/ 30 w 103"/>
                <a:gd name="T35" fmla="*/ 37 h 156"/>
                <a:gd name="T36" fmla="*/ 34 w 103"/>
                <a:gd name="T37" fmla="*/ 44 h 156"/>
                <a:gd name="T38" fmla="*/ 29 w 103"/>
                <a:gd name="T39" fmla="*/ 40 h 156"/>
                <a:gd name="T40" fmla="*/ 31 w 103"/>
                <a:gd name="T41" fmla="*/ 45 h 156"/>
                <a:gd name="T42" fmla="*/ 22 w 103"/>
                <a:gd name="T43" fmla="*/ 34 h 156"/>
                <a:gd name="T44" fmla="*/ 19 w 103"/>
                <a:gd name="T45" fmla="*/ 35 h 156"/>
                <a:gd name="T46" fmla="*/ 9 w 103"/>
                <a:gd name="T47" fmla="*/ 27 h 156"/>
                <a:gd name="T48" fmla="*/ 13 w 103"/>
                <a:gd name="T49" fmla="*/ 30 h 156"/>
                <a:gd name="T50" fmla="*/ 23 w 103"/>
                <a:gd name="T51" fmla="*/ 38 h 156"/>
                <a:gd name="T52" fmla="*/ 30 w 103"/>
                <a:gd name="T53" fmla="*/ 44 h 156"/>
                <a:gd name="T54" fmla="*/ 25 w 103"/>
                <a:gd name="T55" fmla="*/ 31 h 156"/>
                <a:gd name="T56" fmla="*/ 26 w 103"/>
                <a:gd name="T57" fmla="*/ 30 h 156"/>
                <a:gd name="T58" fmla="*/ 23 w 103"/>
                <a:gd name="T59" fmla="*/ 42 h 156"/>
                <a:gd name="T60" fmla="*/ 27 w 103"/>
                <a:gd name="T61" fmla="*/ 45 h 156"/>
                <a:gd name="T62" fmla="*/ 40 w 103"/>
                <a:gd name="T63" fmla="*/ 53 h 156"/>
                <a:gd name="T64" fmla="*/ 44 w 103"/>
                <a:gd name="T65" fmla="*/ 59 h 156"/>
                <a:gd name="T66" fmla="*/ 45 w 103"/>
                <a:gd name="T67" fmla="*/ 63 h 156"/>
                <a:gd name="T68" fmla="*/ 40 w 103"/>
                <a:gd name="T69" fmla="*/ 59 h 156"/>
                <a:gd name="T70" fmla="*/ 43 w 103"/>
                <a:gd name="T71" fmla="*/ 60 h 156"/>
                <a:gd name="T72" fmla="*/ 38 w 103"/>
                <a:gd name="T73" fmla="*/ 66 h 156"/>
                <a:gd name="T74" fmla="*/ 63 w 103"/>
                <a:gd name="T75" fmla="*/ 96 h 156"/>
                <a:gd name="T76" fmla="*/ 58 w 103"/>
                <a:gd name="T77" fmla="*/ 88 h 156"/>
                <a:gd name="T78" fmla="*/ 57 w 103"/>
                <a:gd name="T79" fmla="*/ 89 h 156"/>
                <a:gd name="T80" fmla="*/ 53 w 103"/>
                <a:gd name="T81" fmla="*/ 82 h 156"/>
                <a:gd name="T82" fmla="*/ 49 w 103"/>
                <a:gd name="T83" fmla="*/ 71 h 156"/>
                <a:gd name="T84" fmla="*/ 50 w 103"/>
                <a:gd name="T85" fmla="*/ 65 h 156"/>
                <a:gd name="T86" fmla="*/ 57 w 103"/>
                <a:gd name="T87" fmla="*/ 80 h 156"/>
                <a:gd name="T88" fmla="*/ 65 w 103"/>
                <a:gd name="T89" fmla="*/ 93 h 156"/>
                <a:gd name="T90" fmla="*/ 61 w 103"/>
                <a:gd name="T91" fmla="*/ 92 h 156"/>
                <a:gd name="T92" fmla="*/ 49 w 103"/>
                <a:gd name="T93" fmla="*/ 69 h 156"/>
                <a:gd name="T94" fmla="*/ 54 w 103"/>
                <a:gd name="T95" fmla="*/ 82 h 156"/>
                <a:gd name="T96" fmla="*/ 57 w 103"/>
                <a:gd name="T97" fmla="*/ 84 h 156"/>
                <a:gd name="T98" fmla="*/ 65 w 103"/>
                <a:gd name="T99" fmla="*/ 94 h 156"/>
                <a:gd name="T100" fmla="*/ 57 w 103"/>
                <a:gd name="T101" fmla="*/ 83 h 156"/>
                <a:gd name="T102" fmla="*/ 50 w 103"/>
                <a:gd name="T103" fmla="*/ 72 h 156"/>
                <a:gd name="T104" fmla="*/ 61 w 103"/>
                <a:gd name="T105" fmla="*/ 92 h 156"/>
                <a:gd name="T106" fmla="*/ 46 w 103"/>
                <a:gd name="T107" fmla="*/ 68 h 156"/>
                <a:gd name="T108" fmla="*/ 45 w 103"/>
                <a:gd name="T109" fmla="*/ 71 h 156"/>
                <a:gd name="T110" fmla="*/ 43 w 103"/>
                <a:gd name="T111" fmla="*/ 74 h 156"/>
                <a:gd name="T112" fmla="*/ 45 w 103"/>
                <a:gd name="T113" fmla="*/ 80 h 156"/>
                <a:gd name="T114" fmla="*/ 49 w 103"/>
                <a:gd name="T115" fmla="*/ 83 h 156"/>
                <a:gd name="T116" fmla="*/ 65 w 103"/>
                <a:gd name="T117" fmla="*/ 94 h 156"/>
                <a:gd name="T118" fmla="*/ 67 w 103"/>
                <a:gd name="T119" fmla="*/ 96 h 156"/>
                <a:gd name="T120" fmla="*/ 76 w 103"/>
                <a:gd name="T121" fmla="*/ 109 h 156"/>
                <a:gd name="T122" fmla="*/ 94 w 103"/>
                <a:gd name="T123" fmla="*/ 138 h 156"/>
                <a:gd name="T124" fmla="*/ 41 w 103"/>
                <a:gd name="T125" fmla="*/ 7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" h="156">
                  <a:moveTo>
                    <a:pt x="7" y="0"/>
                  </a:moveTo>
                  <a:cubicBezTo>
                    <a:pt x="7" y="0"/>
                    <a:pt x="7" y="1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lose/>
                  <a:moveTo>
                    <a:pt x="4" y="19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4" y="18"/>
                    <a:pt x="4" y="19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2"/>
                    <a:pt x="6" y="22"/>
                    <a:pt x="6" y="22"/>
                  </a:cubicBezTo>
                  <a:close/>
                  <a:moveTo>
                    <a:pt x="8" y="2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lose/>
                  <a:moveTo>
                    <a:pt x="10" y="29"/>
                  </a:moveTo>
                  <a:cubicBezTo>
                    <a:pt x="10" y="29"/>
                    <a:pt x="10" y="29"/>
                    <a:pt x="11" y="30"/>
                  </a:cubicBezTo>
                  <a:cubicBezTo>
                    <a:pt x="10" y="30"/>
                    <a:pt x="10" y="29"/>
                    <a:pt x="10" y="30"/>
                  </a:cubicBezTo>
                  <a:cubicBezTo>
                    <a:pt x="10" y="29"/>
                    <a:pt x="10" y="29"/>
                    <a:pt x="10" y="29"/>
                  </a:cubicBezTo>
                  <a:close/>
                  <a:moveTo>
                    <a:pt x="10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0" y="30"/>
                  </a:cubicBezTo>
                  <a:close/>
                  <a:moveTo>
                    <a:pt x="12" y="30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16" y="33"/>
                  </a:move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6" y="33"/>
                  </a:cubicBezTo>
                  <a:close/>
                  <a:moveTo>
                    <a:pt x="15" y="33"/>
                  </a:moveTo>
                  <a:cubicBezTo>
                    <a:pt x="15" y="33"/>
                    <a:pt x="15" y="33"/>
                    <a:pt x="15" y="34"/>
                  </a:cubicBezTo>
                  <a:cubicBezTo>
                    <a:pt x="15" y="34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lose/>
                  <a:moveTo>
                    <a:pt x="16" y="34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4"/>
                    <a:pt x="16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17" y="37"/>
                  </a:moveTo>
                  <a:cubicBezTo>
                    <a:pt x="16" y="37"/>
                    <a:pt x="16" y="36"/>
                    <a:pt x="16" y="36"/>
                  </a:cubicBezTo>
                  <a:cubicBezTo>
                    <a:pt x="16" y="36"/>
                    <a:pt x="17" y="37"/>
                    <a:pt x="17" y="37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6" y="37"/>
                  </a:cubicBezTo>
                  <a:cubicBezTo>
                    <a:pt x="17" y="37"/>
                    <a:pt x="17" y="38"/>
                    <a:pt x="17" y="38"/>
                  </a:cubicBezTo>
                  <a:close/>
                  <a:moveTo>
                    <a:pt x="23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3" y="35"/>
                  </a:cubicBezTo>
                  <a:close/>
                  <a:moveTo>
                    <a:pt x="20" y="38"/>
                  </a:move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22" y="36"/>
                  </a:moveTo>
                  <a:cubicBezTo>
                    <a:pt x="22" y="35"/>
                    <a:pt x="22" y="36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lose/>
                  <a:moveTo>
                    <a:pt x="27" y="33"/>
                  </a:move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4" y="37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6"/>
                  </a:cubicBezTo>
                  <a:cubicBezTo>
                    <a:pt x="24" y="37"/>
                    <a:pt x="24" y="36"/>
                    <a:pt x="24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8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1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40"/>
                    <a:pt x="22" y="40"/>
                  </a:cubicBezTo>
                  <a:cubicBezTo>
                    <a:pt x="21" y="39"/>
                    <a:pt x="21" y="39"/>
                    <a:pt x="21" y="39"/>
                  </a:cubicBezTo>
                  <a:close/>
                  <a:moveTo>
                    <a:pt x="24" y="37"/>
                  </a:moveTo>
                  <a:cubicBezTo>
                    <a:pt x="24" y="36"/>
                    <a:pt x="25" y="37"/>
                    <a:pt x="25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5" y="37"/>
                    <a:pt x="24" y="37"/>
                  </a:cubicBezTo>
                  <a:close/>
                  <a:moveTo>
                    <a:pt x="20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40"/>
                  </a:cubicBezTo>
                  <a:cubicBezTo>
                    <a:pt x="21" y="40"/>
                    <a:pt x="21" y="39"/>
                    <a:pt x="20" y="39"/>
                  </a:cubicBezTo>
                  <a:close/>
                  <a:moveTo>
                    <a:pt x="24" y="38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22" y="40"/>
                  </a:moveTo>
                  <a:cubicBezTo>
                    <a:pt x="21" y="40"/>
                    <a:pt x="21" y="40"/>
                    <a:pt x="21" y="39"/>
                  </a:cubicBezTo>
                  <a:cubicBezTo>
                    <a:pt x="21" y="39"/>
                    <a:pt x="22" y="40"/>
                    <a:pt x="22" y="40"/>
                  </a:cubicBezTo>
                  <a:close/>
                  <a:moveTo>
                    <a:pt x="29" y="35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lose/>
                  <a:moveTo>
                    <a:pt x="24" y="38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4" y="38"/>
                  </a:cubicBezTo>
                  <a:close/>
                  <a:moveTo>
                    <a:pt x="22" y="41"/>
                  </a:moveTo>
                  <a:cubicBezTo>
                    <a:pt x="21" y="41"/>
                    <a:pt x="21" y="41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lnTo>
                    <a:pt x="22" y="41"/>
                  </a:lnTo>
                  <a:close/>
                  <a:moveTo>
                    <a:pt x="19" y="42"/>
                  </a:move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19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lose/>
                  <a:moveTo>
                    <a:pt x="30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5"/>
                  </a:cubicBezTo>
                  <a:cubicBezTo>
                    <a:pt x="30" y="35"/>
                    <a:pt x="30" y="36"/>
                    <a:pt x="30" y="36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6" y="39"/>
                  </a:moveTo>
                  <a:cubicBezTo>
                    <a:pt x="26" y="40"/>
                    <a:pt x="26" y="39"/>
                    <a:pt x="25" y="39"/>
                  </a:cubicBezTo>
                  <a:cubicBezTo>
                    <a:pt x="26" y="39"/>
                    <a:pt x="26" y="39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40"/>
                    <a:pt x="26" y="39"/>
                  </a:cubicBezTo>
                  <a:close/>
                  <a:moveTo>
                    <a:pt x="22" y="42"/>
                  </a:move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1"/>
                    <a:pt x="27" y="40"/>
                  </a:cubicBezTo>
                  <a:cubicBezTo>
                    <a:pt x="27" y="40"/>
                    <a:pt x="27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1" y="45"/>
                  </a:move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40"/>
                    <a:pt x="31" y="40"/>
                  </a:cubicBezTo>
                  <a:cubicBezTo>
                    <a:pt x="31" y="40"/>
                    <a:pt x="30" y="39"/>
                    <a:pt x="30" y="39"/>
                  </a:cubicBezTo>
                  <a:close/>
                  <a:moveTo>
                    <a:pt x="28" y="41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1"/>
                  </a:cubicBezTo>
                  <a:close/>
                  <a:moveTo>
                    <a:pt x="26" y="44"/>
                  </a:move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4"/>
                  </a:cubicBezTo>
                  <a:close/>
                  <a:moveTo>
                    <a:pt x="23" y="44"/>
                  </a:moveTo>
                  <a:cubicBezTo>
                    <a:pt x="24" y="44"/>
                    <a:pt x="24" y="44"/>
                    <a:pt x="24" y="45"/>
                  </a:cubicBezTo>
                  <a:cubicBezTo>
                    <a:pt x="24" y="45"/>
                    <a:pt x="24" y="44"/>
                    <a:pt x="23" y="44"/>
                  </a:cubicBezTo>
                  <a:close/>
                  <a:moveTo>
                    <a:pt x="28" y="43"/>
                  </a:moveTo>
                  <a:cubicBezTo>
                    <a:pt x="27" y="43"/>
                    <a:pt x="27" y="42"/>
                    <a:pt x="27" y="42"/>
                  </a:cubicBezTo>
                  <a:cubicBezTo>
                    <a:pt x="27" y="42"/>
                    <a:pt x="28" y="43"/>
                    <a:pt x="28" y="43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7" y="43"/>
                  </a:move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30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30" y="41"/>
                    <a:pt x="30" y="41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9" y="44"/>
                  </a:moveTo>
                  <a:cubicBezTo>
                    <a:pt x="29" y="44"/>
                    <a:pt x="28" y="43"/>
                    <a:pt x="28" y="42"/>
                  </a:cubicBezTo>
                  <a:cubicBezTo>
                    <a:pt x="28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4" y="45"/>
                    <a:pt x="24" y="45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4" y="46"/>
                    <a:pt x="24" y="45"/>
                    <a:pt x="24" y="45"/>
                  </a:cubicBezTo>
                  <a:close/>
                  <a:moveTo>
                    <a:pt x="28" y="44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lose/>
                  <a:moveTo>
                    <a:pt x="28" y="44"/>
                  </a:moveTo>
                  <a:cubicBezTo>
                    <a:pt x="28" y="44"/>
                    <a:pt x="29" y="44"/>
                    <a:pt x="29" y="45"/>
                  </a:cubicBezTo>
                  <a:cubicBezTo>
                    <a:pt x="28" y="45"/>
                    <a:pt x="28" y="44"/>
                    <a:pt x="28" y="44"/>
                  </a:cubicBezTo>
                  <a:close/>
                  <a:moveTo>
                    <a:pt x="23" y="47"/>
                  </a:move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7"/>
                    <a:pt x="23" y="47"/>
                    <a:pt x="23" y="47"/>
                  </a:cubicBezTo>
                  <a:close/>
                  <a:moveTo>
                    <a:pt x="27" y="45"/>
                  </a:move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lose/>
                  <a:moveTo>
                    <a:pt x="25" y="47"/>
                  </a:moveTo>
                  <a:cubicBezTo>
                    <a:pt x="25" y="46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27" y="46"/>
                  </a:move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29" y="45"/>
                  </a:moveTo>
                  <a:cubicBezTo>
                    <a:pt x="29" y="45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8" y="46"/>
                    <a:pt x="28" y="45"/>
                    <a:pt x="29" y="45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1" y="43"/>
                  </a:cubicBezTo>
                  <a:cubicBezTo>
                    <a:pt x="32" y="43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lose/>
                  <a:moveTo>
                    <a:pt x="26" y="47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8"/>
                    <a:pt x="26" y="47"/>
                    <a:pt x="26" y="47"/>
                  </a:cubicBezTo>
                  <a:close/>
                  <a:moveTo>
                    <a:pt x="34" y="42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2"/>
                  </a:cubicBezTo>
                  <a:close/>
                  <a:moveTo>
                    <a:pt x="28" y="47"/>
                  </a:move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7"/>
                    <a:pt x="28" y="47"/>
                  </a:cubicBezTo>
                  <a:close/>
                  <a:moveTo>
                    <a:pt x="27" y="47"/>
                  </a:move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8"/>
                  </a:cubicBezTo>
                  <a:cubicBezTo>
                    <a:pt x="28" y="48"/>
                    <a:pt x="28" y="47"/>
                    <a:pt x="27" y="47"/>
                  </a:cubicBezTo>
                  <a:close/>
                  <a:moveTo>
                    <a:pt x="27" y="47"/>
                  </a:moveTo>
                  <a:cubicBezTo>
                    <a:pt x="28" y="47"/>
                    <a:pt x="28" y="47"/>
                    <a:pt x="28" y="48"/>
                  </a:cubicBezTo>
                  <a:cubicBezTo>
                    <a:pt x="27" y="47"/>
                    <a:pt x="28" y="48"/>
                    <a:pt x="28" y="48"/>
                  </a:cubicBezTo>
                  <a:cubicBezTo>
                    <a:pt x="28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lose/>
                  <a:moveTo>
                    <a:pt x="30" y="46"/>
                  </a:moveTo>
                  <a:cubicBezTo>
                    <a:pt x="30" y="46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8"/>
                  </a:cubicBezTo>
                  <a:cubicBezTo>
                    <a:pt x="30" y="47"/>
                    <a:pt x="30" y="47"/>
                    <a:pt x="29" y="47"/>
                  </a:cubicBezTo>
                  <a:cubicBezTo>
                    <a:pt x="29" y="47"/>
                    <a:pt x="29" y="46"/>
                    <a:pt x="29" y="46"/>
                  </a:cubicBezTo>
                  <a:cubicBezTo>
                    <a:pt x="29" y="46"/>
                    <a:pt x="29" y="46"/>
                    <a:pt x="30" y="46"/>
                  </a:cubicBezTo>
                  <a:close/>
                  <a:moveTo>
                    <a:pt x="35" y="44"/>
                  </a:moveTo>
                  <a:cubicBezTo>
                    <a:pt x="35" y="44"/>
                    <a:pt x="35" y="43"/>
                    <a:pt x="35" y="43"/>
                  </a:cubicBezTo>
                  <a:cubicBezTo>
                    <a:pt x="35" y="43"/>
                    <a:pt x="35" y="44"/>
                    <a:pt x="35" y="44"/>
                  </a:cubicBezTo>
                  <a:close/>
                  <a:moveTo>
                    <a:pt x="29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8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lose/>
                  <a:moveTo>
                    <a:pt x="32" y="47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2" y="46"/>
                    <a:pt x="32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1" y="47"/>
                    <a:pt x="32" y="47"/>
                  </a:cubicBezTo>
                  <a:close/>
                  <a:moveTo>
                    <a:pt x="35" y="45"/>
                  </a:moveTo>
                  <a:cubicBezTo>
                    <a:pt x="35" y="44"/>
                    <a:pt x="35" y="44"/>
                    <a:pt x="35" y="44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28" y="49"/>
                  </a:moveTo>
                  <a:cubicBezTo>
                    <a:pt x="28" y="49"/>
                    <a:pt x="29" y="50"/>
                    <a:pt x="29" y="50"/>
                  </a:cubicBezTo>
                  <a:cubicBezTo>
                    <a:pt x="29" y="50"/>
                    <a:pt x="29" y="49"/>
                    <a:pt x="28" y="49"/>
                  </a:cubicBezTo>
                  <a:close/>
                  <a:moveTo>
                    <a:pt x="25" y="52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2"/>
                    <a:pt x="25" y="52"/>
                  </a:cubicBezTo>
                  <a:close/>
                  <a:moveTo>
                    <a:pt x="32" y="48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2" y="48"/>
                    <a:pt x="32" y="48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lose/>
                  <a:moveTo>
                    <a:pt x="35" y="46"/>
                  </a:moveTo>
                  <a:cubicBezTo>
                    <a:pt x="35" y="46"/>
                    <a:pt x="35" y="46"/>
                    <a:pt x="35" y="45"/>
                  </a:cubicBezTo>
                  <a:cubicBezTo>
                    <a:pt x="35" y="45"/>
                    <a:pt x="35" y="46"/>
                    <a:pt x="36" y="45"/>
                  </a:cubicBezTo>
                  <a:cubicBezTo>
                    <a:pt x="36" y="45"/>
                    <a:pt x="36" y="45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6" y="46"/>
                    <a:pt x="35" y="46"/>
                  </a:cubicBezTo>
                  <a:close/>
                  <a:moveTo>
                    <a:pt x="30" y="50"/>
                  </a:moveTo>
                  <a:cubicBezTo>
                    <a:pt x="29" y="50"/>
                    <a:pt x="29" y="50"/>
                    <a:pt x="29" y="49"/>
                  </a:cubicBezTo>
                  <a:cubicBezTo>
                    <a:pt x="29" y="50"/>
                    <a:pt x="29" y="50"/>
                    <a:pt x="30" y="50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6"/>
                    <a:pt x="36" y="46"/>
                  </a:cubicBezTo>
                  <a:cubicBezTo>
                    <a:pt x="36" y="46"/>
                    <a:pt x="36" y="45"/>
                    <a:pt x="36" y="45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50"/>
                    <a:pt x="31" y="49"/>
                    <a:pt x="31" y="49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1" y="50"/>
                    <a:pt x="32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7" y="46"/>
                    <a:pt x="37" y="46"/>
                  </a:cubicBezTo>
                  <a:cubicBezTo>
                    <a:pt x="37" y="46"/>
                    <a:pt x="36" y="47"/>
                    <a:pt x="36" y="46"/>
                  </a:cubicBezTo>
                  <a:close/>
                  <a:moveTo>
                    <a:pt x="35" y="48"/>
                  </a:moveTo>
                  <a:cubicBezTo>
                    <a:pt x="35" y="48"/>
                    <a:pt x="35" y="48"/>
                    <a:pt x="35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8"/>
                    <a:pt x="35" y="47"/>
                  </a:cubicBezTo>
                  <a:cubicBezTo>
                    <a:pt x="35" y="47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lose/>
                  <a:moveTo>
                    <a:pt x="27" y="54"/>
                  </a:moveTo>
                  <a:cubicBezTo>
                    <a:pt x="26" y="54"/>
                    <a:pt x="26" y="53"/>
                    <a:pt x="26" y="54"/>
                  </a:cubicBezTo>
                  <a:cubicBezTo>
                    <a:pt x="26" y="54"/>
                    <a:pt x="26" y="53"/>
                    <a:pt x="26" y="53"/>
                  </a:cubicBezTo>
                  <a:cubicBezTo>
                    <a:pt x="26" y="53"/>
                    <a:pt x="26" y="54"/>
                    <a:pt x="27" y="54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0" y="52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49"/>
                  </a:moveTo>
                  <a:cubicBezTo>
                    <a:pt x="36" y="49"/>
                    <a:pt x="36" y="48"/>
                    <a:pt x="36" y="48"/>
                  </a:cubicBezTo>
                  <a:cubicBezTo>
                    <a:pt x="36" y="49"/>
                    <a:pt x="37" y="49"/>
                    <a:pt x="37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5" y="49"/>
                    <a:pt x="35" y="49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9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1"/>
                    <a:pt x="32" y="51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7" y="49"/>
                  </a:cubicBezTo>
                  <a:cubicBezTo>
                    <a:pt x="37" y="49"/>
                    <a:pt x="36" y="49"/>
                    <a:pt x="36" y="49"/>
                  </a:cubicBezTo>
                  <a:close/>
                  <a:moveTo>
                    <a:pt x="32" y="53"/>
                  </a:moveTo>
                  <a:cubicBezTo>
                    <a:pt x="31" y="53"/>
                    <a:pt x="31" y="52"/>
                    <a:pt x="31" y="53"/>
                  </a:cubicBezTo>
                  <a:cubicBezTo>
                    <a:pt x="31" y="52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4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4"/>
                  </a:moveTo>
                  <a:cubicBezTo>
                    <a:pt x="31" y="54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5"/>
                    <a:pt x="33" y="56"/>
                    <a:pt x="33" y="56"/>
                  </a:cubicBezTo>
                  <a:cubicBezTo>
                    <a:pt x="33" y="57"/>
                    <a:pt x="32" y="56"/>
                    <a:pt x="33" y="56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2" y="54"/>
                  </a:cubicBezTo>
                  <a:close/>
                  <a:moveTo>
                    <a:pt x="39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9" y="50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7" y="52"/>
                    <a:pt x="37" y="53"/>
                  </a:cubicBezTo>
                  <a:cubicBezTo>
                    <a:pt x="36" y="53"/>
                    <a:pt x="36" y="52"/>
                    <a:pt x="36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40" y="50"/>
                  </a:cubicBezTo>
                  <a:cubicBezTo>
                    <a:pt x="39" y="50"/>
                    <a:pt x="39" y="51"/>
                    <a:pt x="39" y="50"/>
                  </a:cubicBezTo>
                  <a:close/>
                  <a:moveTo>
                    <a:pt x="36" y="53"/>
                  </a:moveTo>
                  <a:cubicBezTo>
                    <a:pt x="36" y="53"/>
                    <a:pt x="35" y="53"/>
                    <a:pt x="35" y="53"/>
                  </a:cubicBezTo>
                  <a:cubicBezTo>
                    <a:pt x="35" y="53"/>
                    <a:pt x="36" y="53"/>
                    <a:pt x="36" y="53"/>
                  </a:cubicBezTo>
                  <a:close/>
                  <a:moveTo>
                    <a:pt x="40" y="51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8"/>
                    <a:pt x="30" y="58"/>
                  </a:cubicBezTo>
                  <a:cubicBezTo>
                    <a:pt x="30" y="58"/>
                    <a:pt x="30" y="58"/>
                    <a:pt x="30" y="57"/>
                  </a:cubicBezTo>
                  <a:close/>
                  <a:moveTo>
                    <a:pt x="33" y="57"/>
                  </a:move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4" y="57"/>
                    <a:pt x="33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3" y="58"/>
                    <a:pt x="34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3" y="58"/>
                    <a:pt x="34" y="59"/>
                    <a:pt x="34" y="59"/>
                  </a:cubicBezTo>
                  <a:cubicBezTo>
                    <a:pt x="33" y="58"/>
                    <a:pt x="33" y="58"/>
                    <a:pt x="33" y="57"/>
                  </a:cubicBezTo>
                  <a:close/>
                  <a:moveTo>
                    <a:pt x="38" y="54"/>
                  </a:move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7" y="54"/>
                    <a:pt x="38" y="54"/>
                  </a:cubicBezTo>
                  <a:close/>
                  <a:moveTo>
                    <a:pt x="36" y="56"/>
                  </a:move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lose/>
                  <a:moveTo>
                    <a:pt x="34" y="58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7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7"/>
                  </a:cubicBezTo>
                  <a:cubicBezTo>
                    <a:pt x="38" y="57"/>
                    <a:pt x="37" y="56"/>
                    <a:pt x="37" y="56"/>
                  </a:cubicBezTo>
                  <a:close/>
                  <a:moveTo>
                    <a:pt x="35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3" y="61"/>
                  </a:moveTo>
                  <a:cubicBezTo>
                    <a:pt x="33" y="61"/>
                    <a:pt x="33" y="60"/>
                    <a:pt x="32" y="60"/>
                  </a:cubicBezTo>
                  <a:cubicBezTo>
                    <a:pt x="33" y="60"/>
                    <a:pt x="33" y="60"/>
                    <a:pt x="33" y="61"/>
                  </a:cubicBezTo>
                  <a:close/>
                  <a:moveTo>
                    <a:pt x="40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40" y="56"/>
                    <a:pt x="39" y="56"/>
                    <a:pt x="40" y="56"/>
                  </a:cubicBezTo>
                  <a:close/>
                  <a:moveTo>
                    <a:pt x="42" y="55"/>
                  </a:move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8" y="58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8" y="58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7"/>
                    <a:pt x="40" y="57"/>
                  </a:cubicBezTo>
                  <a:cubicBezTo>
                    <a:pt x="40" y="57"/>
                    <a:pt x="40" y="57"/>
                    <a:pt x="39" y="57"/>
                  </a:cubicBezTo>
                  <a:cubicBezTo>
                    <a:pt x="39" y="57"/>
                    <a:pt x="40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41" y="57"/>
                  </a:move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8"/>
                    <a:pt x="41" y="58"/>
                  </a:cubicBezTo>
                  <a:cubicBezTo>
                    <a:pt x="41" y="58"/>
                    <a:pt x="41" y="57"/>
                    <a:pt x="41" y="57"/>
                  </a:cubicBezTo>
                  <a:close/>
                  <a:moveTo>
                    <a:pt x="35" y="60"/>
                  </a:moveTo>
                  <a:cubicBezTo>
                    <a:pt x="36" y="60"/>
                    <a:pt x="36" y="61"/>
                    <a:pt x="36" y="61"/>
                  </a:cubicBezTo>
                  <a:cubicBezTo>
                    <a:pt x="36" y="61"/>
                    <a:pt x="36" y="61"/>
                    <a:pt x="35" y="60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9"/>
                    <a:pt x="39" y="59"/>
                  </a:cubicBezTo>
                  <a:cubicBezTo>
                    <a:pt x="39" y="59"/>
                    <a:pt x="40" y="59"/>
                    <a:pt x="39" y="58"/>
                  </a:cubicBezTo>
                  <a:close/>
                  <a:moveTo>
                    <a:pt x="38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0"/>
                    <a:pt x="38" y="60"/>
                    <a:pt x="38" y="60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42" y="58"/>
                  </a:move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lose/>
                  <a:moveTo>
                    <a:pt x="44" y="58"/>
                  </a:moveTo>
                  <a:cubicBezTo>
                    <a:pt x="45" y="58"/>
                    <a:pt x="45" y="59"/>
                    <a:pt x="45" y="59"/>
                  </a:cubicBezTo>
                  <a:cubicBezTo>
                    <a:pt x="45" y="59"/>
                    <a:pt x="44" y="58"/>
                    <a:pt x="44" y="57"/>
                  </a:cubicBezTo>
                  <a:cubicBezTo>
                    <a:pt x="44" y="57"/>
                    <a:pt x="44" y="57"/>
                    <a:pt x="44" y="58"/>
                  </a:cubicBezTo>
                  <a:close/>
                  <a:moveTo>
                    <a:pt x="37" y="63"/>
                  </a:move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3"/>
                  </a:cubicBezTo>
                  <a:close/>
                  <a:moveTo>
                    <a:pt x="42" y="59"/>
                  </a:moveTo>
                  <a:cubicBezTo>
                    <a:pt x="42" y="59"/>
                    <a:pt x="42" y="59"/>
                    <a:pt x="42" y="60"/>
                  </a:cubicBezTo>
                  <a:cubicBezTo>
                    <a:pt x="42" y="60"/>
                    <a:pt x="42" y="59"/>
                    <a:pt x="41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39" y="62"/>
                  </a:move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lose/>
                  <a:moveTo>
                    <a:pt x="39" y="63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lose/>
                  <a:moveTo>
                    <a:pt x="47" y="61"/>
                  </a:moveTo>
                  <a:cubicBezTo>
                    <a:pt x="46" y="61"/>
                    <a:pt x="46" y="60"/>
                    <a:pt x="47" y="61"/>
                  </a:cubicBezTo>
                  <a:close/>
                  <a:moveTo>
                    <a:pt x="43" y="63"/>
                  </a:move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lose/>
                  <a:moveTo>
                    <a:pt x="41" y="65"/>
                  </a:moveTo>
                  <a:cubicBezTo>
                    <a:pt x="41" y="65"/>
                    <a:pt x="41" y="64"/>
                    <a:pt x="41" y="64"/>
                  </a:cubicBezTo>
                  <a:cubicBezTo>
                    <a:pt x="41" y="64"/>
                    <a:pt x="41" y="65"/>
                    <a:pt x="41" y="65"/>
                  </a:cubicBezTo>
                  <a:close/>
                  <a:moveTo>
                    <a:pt x="44" y="63"/>
                  </a:move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lose/>
                  <a:moveTo>
                    <a:pt x="40" y="66"/>
                  </a:moveTo>
                  <a:cubicBezTo>
                    <a:pt x="40" y="66"/>
                    <a:pt x="40" y="66"/>
                    <a:pt x="39" y="66"/>
                  </a:cubicBezTo>
                  <a:cubicBezTo>
                    <a:pt x="39" y="66"/>
                    <a:pt x="40" y="66"/>
                    <a:pt x="40" y="66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5"/>
                    <a:pt x="42" y="65"/>
                  </a:cubicBezTo>
                  <a:cubicBezTo>
                    <a:pt x="42" y="65"/>
                    <a:pt x="41" y="65"/>
                    <a:pt x="41" y="64"/>
                  </a:cubicBezTo>
                  <a:cubicBezTo>
                    <a:pt x="42" y="65"/>
                    <a:pt x="42" y="65"/>
                    <a:pt x="42" y="66"/>
                  </a:cubicBezTo>
                  <a:close/>
                  <a:moveTo>
                    <a:pt x="41" y="66"/>
                  </a:move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6"/>
                  </a:cubicBezTo>
                  <a:close/>
                  <a:moveTo>
                    <a:pt x="43" y="64"/>
                  </a:moveTo>
                  <a:cubicBezTo>
                    <a:pt x="44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lose/>
                  <a:moveTo>
                    <a:pt x="43" y="65"/>
                  </a:move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lose/>
                  <a:moveTo>
                    <a:pt x="48" y="63"/>
                  </a:moveTo>
                  <a:cubicBezTo>
                    <a:pt x="48" y="63"/>
                    <a:pt x="47" y="62"/>
                    <a:pt x="47" y="62"/>
                  </a:cubicBezTo>
                  <a:cubicBezTo>
                    <a:pt x="48" y="62"/>
                    <a:pt x="48" y="63"/>
                    <a:pt x="48" y="63"/>
                  </a:cubicBezTo>
                  <a:close/>
                  <a:moveTo>
                    <a:pt x="38" y="68"/>
                  </a:moveTo>
                  <a:cubicBezTo>
                    <a:pt x="38" y="68"/>
                    <a:pt x="38" y="69"/>
                    <a:pt x="39" y="69"/>
                  </a:cubicBezTo>
                  <a:cubicBezTo>
                    <a:pt x="38" y="69"/>
                    <a:pt x="38" y="69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6"/>
                    <a:pt x="44" y="65"/>
                    <a:pt x="43" y="65"/>
                  </a:cubicBezTo>
                  <a:cubicBezTo>
                    <a:pt x="43" y="65"/>
                    <a:pt x="44" y="65"/>
                    <a:pt x="44" y="65"/>
                  </a:cubicBezTo>
                  <a:close/>
                  <a:moveTo>
                    <a:pt x="40" y="68"/>
                  </a:move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7"/>
                  </a:cubicBezTo>
                  <a:cubicBezTo>
                    <a:pt x="40" y="68"/>
                    <a:pt x="40" y="67"/>
                    <a:pt x="40" y="68"/>
                  </a:cubicBezTo>
                  <a:close/>
                  <a:moveTo>
                    <a:pt x="41" y="67"/>
                  </a:moveTo>
                  <a:cubicBezTo>
                    <a:pt x="42" y="67"/>
                    <a:pt x="42" y="67"/>
                    <a:pt x="42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43" y="66"/>
                  </a:move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6"/>
                  </a:cubicBezTo>
                  <a:close/>
                  <a:moveTo>
                    <a:pt x="44" y="67"/>
                  </a:moveTo>
                  <a:cubicBezTo>
                    <a:pt x="44" y="67"/>
                    <a:pt x="44" y="66"/>
                    <a:pt x="44" y="66"/>
                  </a:cubicBezTo>
                  <a:cubicBezTo>
                    <a:pt x="44" y="66"/>
                    <a:pt x="44" y="67"/>
                    <a:pt x="44" y="67"/>
                  </a:cubicBezTo>
                  <a:close/>
                  <a:moveTo>
                    <a:pt x="40" y="69"/>
                  </a:move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lose/>
                  <a:moveTo>
                    <a:pt x="47" y="65"/>
                  </a:moveTo>
                  <a:cubicBezTo>
                    <a:pt x="47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7" y="64"/>
                    <a:pt x="47" y="65"/>
                    <a:pt x="47" y="65"/>
                  </a:cubicBezTo>
                  <a:cubicBezTo>
                    <a:pt x="47" y="65"/>
                    <a:pt x="47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lose/>
                  <a:moveTo>
                    <a:pt x="41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8"/>
                  </a:cubicBezTo>
                  <a:cubicBezTo>
                    <a:pt x="41" y="68"/>
                    <a:pt x="41" y="69"/>
                    <a:pt x="41" y="69"/>
                  </a:cubicBezTo>
                  <a:close/>
                  <a:moveTo>
                    <a:pt x="38" y="70"/>
                  </a:moveTo>
                  <a:cubicBezTo>
                    <a:pt x="38" y="71"/>
                    <a:pt x="38" y="71"/>
                    <a:pt x="39" y="71"/>
                  </a:cubicBezTo>
                  <a:cubicBezTo>
                    <a:pt x="38" y="71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lose/>
                  <a:moveTo>
                    <a:pt x="40" y="71"/>
                  </a:moveTo>
                  <a:cubicBezTo>
                    <a:pt x="40" y="72"/>
                    <a:pt x="41" y="73"/>
                    <a:pt x="41" y="73"/>
                  </a:cubicBezTo>
                  <a:cubicBezTo>
                    <a:pt x="40" y="73"/>
                    <a:pt x="40" y="72"/>
                    <a:pt x="39" y="71"/>
                  </a:cubicBezTo>
                  <a:cubicBezTo>
                    <a:pt x="39" y="71"/>
                    <a:pt x="39" y="71"/>
                    <a:pt x="39" y="70"/>
                  </a:cubicBezTo>
                  <a:cubicBezTo>
                    <a:pt x="39" y="70"/>
                    <a:pt x="39" y="71"/>
                    <a:pt x="40" y="71"/>
                  </a:cubicBezTo>
                  <a:close/>
                  <a:moveTo>
                    <a:pt x="42" y="68"/>
                  </a:move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8"/>
                    <a:pt x="42" y="68"/>
                  </a:cubicBezTo>
                  <a:close/>
                  <a:moveTo>
                    <a:pt x="42" y="68"/>
                  </a:moveTo>
                  <a:cubicBezTo>
                    <a:pt x="43" y="68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8"/>
                    <a:pt x="43" y="68"/>
                    <a:pt x="42" y="68"/>
                  </a:cubicBezTo>
                  <a:close/>
                  <a:moveTo>
                    <a:pt x="39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lose/>
                  <a:moveTo>
                    <a:pt x="41" y="70"/>
                  </a:moveTo>
                  <a:cubicBezTo>
                    <a:pt x="41" y="70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70"/>
                    <a:pt x="41" y="70"/>
                  </a:cubicBezTo>
                  <a:close/>
                  <a:moveTo>
                    <a:pt x="42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2" y="70"/>
                    <a:pt x="41" y="70"/>
                  </a:cubicBezTo>
                  <a:cubicBezTo>
                    <a:pt x="41" y="69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lnTo>
                    <a:pt x="42" y="69"/>
                  </a:lnTo>
                  <a:close/>
                  <a:moveTo>
                    <a:pt x="40" y="72"/>
                  </a:moveTo>
                  <a:cubicBezTo>
                    <a:pt x="40" y="71"/>
                    <a:pt x="40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2"/>
                  </a:cubicBezTo>
                  <a:close/>
                  <a:moveTo>
                    <a:pt x="40" y="71"/>
                  </a:move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8"/>
                    <a:pt x="44" y="69"/>
                  </a:cubicBezTo>
                  <a:cubicBezTo>
                    <a:pt x="44" y="69"/>
                    <a:pt x="44" y="69"/>
                    <a:pt x="43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4" y="69"/>
                    <a:pt x="44" y="69"/>
                  </a:cubicBezTo>
                  <a:close/>
                  <a:moveTo>
                    <a:pt x="45" y="67"/>
                  </a:moveTo>
                  <a:cubicBezTo>
                    <a:pt x="45" y="67"/>
                    <a:pt x="45" y="68"/>
                    <a:pt x="45" y="68"/>
                  </a:cubicBezTo>
                  <a:cubicBezTo>
                    <a:pt x="45" y="68"/>
                    <a:pt x="45" y="68"/>
                    <a:pt x="45" y="67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3" y="69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69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9"/>
                    <a:pt x="45" y="69"/>
                  </a:cubicBezTo>
                  <a:cubicBezTo>
                    <a:pt x="45" y="69"/>
                    <a:pt x="45" y="69"/>
                    <a:pt x="45" y="68"/>
                  </a:cubicBezTo>
                  <a:close/>
                  <a:moveTo>
                    <a:pt x="45" y="68"/>
                  </a:moveTo>
                  <a:cubicBezTo>
                    <a:pt x="45" y="68"/>
                    <a:pt x="46" y="68"/>
                    <a:pt x="46" y="68"/>
                  </a:cubicBezTo>
                  <a:cubicBezTo>
                    <a:pt x="46" y="68"/>
                    <a:pt x="45" y="68"/>
                    <a:pt x="45" y="68"/>
                  </a:cubicBezTo>
                  <a:close/>
                  <a:moveTo>
                    <a:pt x="41" y="72"/>
                  </a:moveTo>
                  <a:cubicBezTo>
                    <a:pt x="40" y="72"/>
                    <a:pt x="40" y="72"/>
                    <a:pt x="40" y="71"/>
                  </a:cubicBezTo>
                  <a:cubicBezTo>
                    <a:pt x="40" y="71"/>
                    <a:pt x="41" y="72"/>
                    <a:pt x="41" y="72"/>
                  </a:cubicBezTo>
                  <a:close/>
                  <a:moveTo>
                    <a:pt x="41" y="72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lose/>
                  <a:moveTo>
                    <a:pt x="45" y="70"/>
                  </a:move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1"/>
                    <a:pt x="42" y="71"/>
                  </a:cubicBezTo>
                  <a:cubicBezTo>
                    <a:pt x="43" y="72"/>
                    <a:pt x="43" y="72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3" y="72"/>
                  </a:moveTo>
                  <a:cubicBezTo>
                    <a:pt x="43" y="72"/>
                    <a:pt x="43" y="73"/>
                    <a:pt x="43" y="73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0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3"/>
                    <a:pt x="42" y="73"/>
                    <a:pt x="41" y="73"/>
                  </a:cubicBezTo>
                  <a:cubicBezTo>
                    <a:pt x="42" y="73"/>
                    <a:pt x="42" y="72"/>
                    <a:pt x="42" y="72"/>
                  </a:cubicBezTo>
                  <a:close/>
                  <a:moveTo>
                    <a:pt x="47" y="70"/>
                  </a:move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70"/>
                    <a:pt x="47" y="70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48" y="70"/>
                    <a:pt x="49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8"/>
                  </a:cubicBezTo>
                  <a:cubicBezTo>
                    <a:pt x="48" y="68"/>
                    <a:pt x="48" y="69"/>
                    <a:pt x="48" y="6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8" y="68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48" y="69"/>
                    <a:pt x="48" y="69"/>
                  </a:cubicBezTo>
                  <a:close/>
                  <a:moveTo>
                    <a:pt x="42" y="74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6" y="71"/>
                  </a:moveTo>
                  <a:cubicBezTo>
                    <a:pt x="45" y="71"/>
                    <a:pt x="45" y="71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1" y="74"/>
                  </a:moveTo>
                  <a:cubicBezTo>
                    <a:pt x="41" y="74"/>
                    <a:pt x="41" y="74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42" y="74"/>
                  </a:moveTo>
                  <a:cubicBezTo>
                    <a:pt x="41" y="74"/>
                    <a:pt x="42" y="74"/>
                    <a:pt x="42" y="75"/>
                  </a:cubicBezTo>
                  <a:cubicBezTo>
                    <a:pt x="42" y="74"/>
                    <a:pt x="42" y="74"/>
                    <a:pt x="41" y="74"/>
                  </a:cubicBezTo>
                  <a:cubicBezTo>
                    <a:pt x="41" y="74"/>
                    <a:pt x="41" y="73"/>
                    <a:pt x="42" y="74"/>
                  </a:cubicBezTo>
                  <a:close/>
                  <a:moveTo>
                    <a:pt x="46" y="71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5" y="72"/>
                  </a:moveTo>
                  <a:cubicBezTo>
                    <a:pt x="45" y="73"/>
                    <a:pt x="45" y="72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8" y="71"/>
                  </a:moveTo>
                  <a:cubicBezTo>
                    <a:pt x="48" y="71"/>
                    <a:pt x="48" y="71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1"/>
                  </a:cubicBezTo>
                  <a:cubicBezTo>
                    <a:pt x="46" y="71"/>
                    <a:pt x="46" y="71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4" y="74"/>
                  </a:moveTo>
                  <a:cubicBezTo>
                    <a:pt x="43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2" y="75"/>
                  </a:move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lose/>
                  <a:moveTo>
                    <a:pt x="44" y="74"/>
                  </a:move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7" y="72"/>
                  </a:cubicBezTo>
                  <a:cubicBezTo>
                    <a:pt x="48" y="72"/>
                    <a:pt x="48" y="73"/>
                    <a:pt x="48" y="73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6"/>
                    <a:pt x="43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3" y="76"/>
                    <a:pt x="43" y="75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49" y="73"/>
                  </a:cubicBezTo>
                  <a:cubicBezTo>
                    <a:pt x="49" y="74"/>
                    <a:pt x="48" y="73"/>
                    <a:pt x="48" y="73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4"/>
                    <a:pt x="48" y="74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5" y="75"/>
                  </a:cubicBezTo>
                  <a:cubicBezTo>
                    <a:pt x="45" y="75"/>
                    <a:pt x="45" y="76"/>
                    <a:pt x="45" y="76"/>
                  </a:cubicBezTo>
                  <a:close/>
                  <a:moveTo>
                    <a:pt x="50" y="74"/>
                  </a:move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50" y="73"/>
                    <a:pt x="50" y="74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9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9"/>
                  </a:cubicBezTo>
                  <a:cubicBezTo>
                    <a:pt x="44" y="79"/>
                    <a:pt x="44" y="78"/>
                    <a:pt x="44" y="78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9" y="76"/>
                  </a:moveTo>
                  <a:cubicBezTo>
                    <a:pt x="49" y="76"/>
                    <a:pt x="50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lose/>
                  <a:moveTo>
                    <a:pt x="46" y="77"/>
                  </a:moveTo>
                  <a:cubicBezTo>
                    <a:pt x="47" y="77"/>
                    <a:pt x="47" y="78"/>
                    <a:pt x="47" y="78"/>
                  </a:cubicBezTo>
                  <a:cubicBezTo>
                    <a:pt x="47" y="78"/>
                    <a:pt x="47" y="77"/>
                    <a:pt x="46" y="77"/>
                  </a:cubicBezTo>
                  <a:close/>
                  <a:moveTo>
                    <a:pt x="48" y="77"/>
                  </a:moveTo>
                  <a:cubicBezTo>
                    <a:pt x="48" y="76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46" y="78"/>
                  </a:moveTo>
                  <a:cubicBezTo>
                    <a:pt x="46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8"/>
                  </a:cubicBezTo>
                  <a:close/>
                  <a:moveTo>
                    <a:pt x="46" y="80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80"/>
                    <a:pt x="46" y="80"/>
                  </a:cubicBezTo>
                  <a:close/>
                  <a:moveTo>
                    <a:pt x="48" y="79"/>
                  </a:moveTo>
                  <a:cubicBezTo>
                    <a:pt x="48" y="79"/>
                    <a:pt x="48" y="79"/>
                    <a:pt x="48" y="80"/>
                  </a:cubicBezTo>
                  <a:cubicBezTo>
                    <a:pt x="48" y="80"/>
                    <a:pt x="48" y="80"/>
                    <a:pt x="47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7" y="79"/>
                    <a:pt x="48" y="79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49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80"/>
                    <a:pt x="49" y="79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7" y="81"/>
                    <a:pt x="47" y="81"/>
                    <a:pt x="47" y="80"/>
                  </a:cubicBezTo>
                  <a:close/>
                  <a:moveTo>
                    <a:pt x="51" y="78"/>
                  </a:moveTo>
                  <a:cubicBezTo>
                    <a:pt x="51" y="79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48" y="80"/>
                  </a:moveTo>
                  <a:cubicBezTo>
                    <a:pt x="48" y="80"/>
                    <a:pt x="48" y="81"/>
                    <a:pt x="49" y="81"/>
                  </a:cubicBezTo>
                  <a:cubicBezTo>
                    <a:pt x="48" y="81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1"/>
                  </a:moveTo>
                  <a:cubicBezTo>
                    <a:pt x="50" y="81"/>
                    <a:pt x="49" y="80"/>
                    <a:pt x="49" y="80"/>
                  </a:cubicBezTo>
                  <a:cubicBezTo>
                    <a:pt x="49" y="80"/>
                    <a:pt x="50" y="81"/>
                    <a:pt x="50" y="81"/>
                  </a:cubicBezTo>
                  <a:close/>
                  <a:moveTo>
                    <a:pt x="52" y="78"/>
                  </a:moveTo>
                  <a:cubicBezTo>
                    <a:pt x="52" y="78"/>
                    <a:pt x="52" y="78"/>
                    <a:pt x="52" y="79"/>
                  </a:cubicBezTo>
                  <a:cubicBezTo>
                    <a:pt x="52" y="79"/>
                    <a:pt x="52" y="78"/>
                    <a:pt x="52" y="78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2"/>
                    <a:pt x="47" y="82"/>
                  </a:cubicBezTo>
                  <a:close/>
                  <a:moveTo>
                    <a:pt x="49" y="81"/>
                  </a:move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lose/>
                  <a:moveTo>
                    <a:pt x="48" y="83"/>
                  </a:moveTo>
                  <a:cubicBezTo>
                    <a:pt x="48" y="83"/>
                    <a:pt x="48" y="83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lose/>
                  <a:moveTo>
                    <a:pt x="5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3" y="79"/>
                  </a:moveTo>
                  <a:cubicBezTo>
                    <a:pt x="53" y="79"/>
                    <a:pt x="53" y="79"/>
                    <a:pt x="53" y="80"/>
                  </a:cubicBezTo>
                  <a:cubicBezTo>
                    <a:pt x="53" y="80"/>
                    <a:pt x="53" y="79"/>
                    <a:pt x="53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6" y="78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8"/>
                  </a:cubicBezTo>
                  <a:close/>
                  <a:moveTo>
                    <a:pt x="51" y="82"/>
                  </a:move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3"/>
                    <a:pt x="51" y="82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lose/>
                  <a:moveTo>
                    <a:pt x="50" y="85"/>
                  </a:moveTo>
                  <a:cubicBezTo>
                    <a:pt x="49" y="85"/>
                    <a:pt x="49" y="85"/>
                    <a:pt x="49" y="84"/>
                  </a:cubicBezTo>
                  <a:cubicBezTo>
                    <a:pt x="49" y="84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6"/>
                    <a:pt x="50" y="86"/>
                  </a:cubicBezTo>
                  <a:cubicBezTo>
                    <a:pt x="50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0" y="85"/>
                    <a:pt x="50" y="85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1" y="87"/>
                  </a:move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6"/>
                  </a:cubicBezTo>
                  <a:cubicBezTo>
                    <a:pt x="51" y="86"/>
                    <a:pt x="51" y="87"/>
                    <a:pt x="51" y="87"/>
                  </a:cubicBezTo>
                  <a:close/>
                  <a:moveTo>
                    <a:pt x="55" y="85"/>
                  </a:move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lose/>
                  <a:moveTo>
                    <a:pt x="62" y="85"/>
                  </a:moveTo>
                  <a:cubicBezTo>
                    <a:pt x="62" y="85"/>
                    <a:pt x="62" y="85"/>
                    <a:pt x="62" y="86"/>
                  </a:cubicBezTo>
                  <a:cubicBezTo>
                    <a:pt x="61" y="84"/>
                    <a:pt x="60" y="83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3"/>
                    <a:pt x="61" y="84"/>
                    <a:pt x="62" y="85"/>
                  </a:cubicBezTo>
                  <a:cubicBezTo>
                    <a:pt x="62" y="85"/>
                    <a:pt x="61" y="85"/>
                    <a:pt x="62" y="85"/>
                  </a:cubicBezTo>
                  <a:close/>
                  <a:moveTo>
                    <a:pt x="53" y="88"/>
                  </a:moveTo>
                  <a:cubicBezTo>
                    <a:pt x="53" y="88"/>
                    <a:pt x="53" y="87"/>
                    <a:pt x="53" y="87"/>
                  </a:cubicBezTo>
                  <a:cubicBezTo>
                    <a:pt x="53" y="88"/>
                    <a:pt x="53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4" y="88"/>
                    <a:pt x="53" y="88"/>
                  </a:cubicBezTo>
                  <a:close/>
                  <a:moveTo>
                    <a:pt x="54" y="89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90"/>
                    <a:pt x="54" y="89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9"/>
                    <a:pt x="53" y="89"/>
                    <a:pt x="53" y="88"/>
                  </a:cubicBezTo>
                  <a:cubicBezTo>
                    <a:pt x="54" y="89"/>
                    <a:pt x="54" y="89"/>
                    <a:pt x="54" y="88"/>
                  </a:cubicBezTo>
                  <a:cubicBezTo>
                    <a:pt x="54" y="88"/>
                    <a:pt x="54" y="89"/>
                    <a:pt x="54" y="89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8"/>
                  </a:cubicBezTo>
                  <a:cubicBezTo>
                    <a:pt x="56" y="88"/>
                    <a:pt x="56" y="87"/>
                    <a:pt x="56" y="87"/>
                  </a:cubicBezTo>
                  <a:close/>
                  <a:moveTo>
                    <a:pt x="54" y="88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8"/>
                    <a:pt x="54" y="88"/>
                  </a:cubicBezTo>
                  <a:close/>
                  <a:moveTo>
                    <a:pt x="54" y="90"/>
                  </a:moveTo>
                  <a:cubicBezTo>
                    <a:pt x="54" y="90"/>
                    <a:pt x="53" y="89"/>
                    <a:pt x="53" y="89"/>
                  </a:cubicBezTo>
                  <a:cubicBezTo>
                    <a:pt x="53" y="89"/>
                    <a:pt x="54" y="89"/>
                    <a:pt x="54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4" y="90"/>
                    <a:pt x="53" y="90"/>
                  </a:cubicBezTo>
                  <a:close/>
                  <a:moveTo>
                    <a:pt x="57" y="89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2"/>
                    <a:pt x="55" y="92"/>
                    <a:pt x="55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5" y="91"/>
                    <a:pt x="55" y="91"/>
                  </a:cubicBezTo>
                  <a:close/>
                  <a:moveTo>
                    <a:pt x="58" y="89"/>
                  </a:moveTo>
                  <a:cubicBezTo>
                    <a:pt x="58" y="90"/>
                    <a:pt x="59" y="90"/>
                    <a:pt x="59" y="91"/>
                  </a:cubicBezTo>
                  <a:cubicBezTo>
                    <a:pt x="58" y="91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0"/>
                    <a:pt x="57" y="91"/>
                  </a:cubicBezTo>
                  <a:cubicBezTo>
                    <a:pt x="57" y="91"/>
                    <a:pt x="57" y="91"/>
                    <a:pt x="57" y="90"/>
                  </a:cubicBezTo>
                  <a:cubicBezTo>
                    <a:pt x="57" y="90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6" y="91"/>
                  </a:moveTo>
                  <a:cubicBezTo>
                    <a:pt x="56" y="91"/>
                    <a:pt x="57" y="92"/>
                    <a:pt x="57" y="92"/>
                  </a:cubicBezTo>
                  <a:cubicBezTo>
                    <a:pt x="57" y="92"/>
                    <a:pt x="56" y="91"/>
                    <a:pt x="56" y="91"/>
                  </a:cubicBezTo>
                  <a:close/>
                  <a:moveTo>
                    <a:pt x="57" y="92"/>
                  </a:move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lose/>
                  <a:moveTo>
                    <a:pt x="58" y="92"/>
                  </a:move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9" y="93"/>
                    <a:pt x="59" y="93"/>
                  </a:cubicBezTo>
                  <a:cubicBezTo>
                    <a:pt x="59" y="94"/>
                    <a:pt x="60" y="94"/>
                    <a:pt x="60" y="95"/>
                  </a:cubicBezTo>
                  <a:cubicBezTo>
                    <a:pt x="59" y="94"/>
                    <a:pt x="58" y="92"/>
                    <a:pt x="58" y="91"/>
                  </a:cubicBezTo>
                  <a:cubicBezTo>
                    <a:pt x="58" y="91"/>
                    <a:pt x="58" y="92"/>
                    <a:pt x="58" y="92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6" y="94"/>
                    <a:pt x="55" y="94"/>
                  </a:cubicBezTo>
                  <a:cubicBezTo>
                    <a:pt x="55" y="94"/>
                    <a:pt x="55" y="94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8" y="93"/>
                  </a:moveTo>
                  <a:cubicBezTo>
                    <a:pt x="58" y="92"/>
                    <a:pt x="57" y="92"/>
                    <a:pt x="57" y="92"/>
                  </a:cubicBezTo>
                  <a:cubicBezTo>
                    <a:pt x="57" y="92"/>
                    <a:pt x="58" y="92"/>
                    <a:pt x="58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6" y="94"/>
                  </a:moveTo>
                  <a:cubicBezTo>
                    <a:pt x="56" y="94"/>
                    <a:pt x="56" y="94"/>
                    <a:pt x="55" y="94"/>
                  </a:cubicBezTo>
                  <a:cubicBezTo>
                    <a:pt x="56" y="93"/>
                    <a:pt x="56" y="94"/>
                    <a:pt x="56" y="94"/>
                  </a:cubicBezTo>
                  <a:close/>
                  <a:moveTo>
                    <a:pt x="60" y="90"/>
                  </a:moveTo>
                  <a:cubicBezTo>
                    <a:pt x="61" y="90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0" y="90"/>
                  </a:cubicBezTo>
                  <a:close/>
                  <a:moveTo>
                    <a:pt x="59" y="91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59" y="92"/>
                    <a:pt x="59" y="92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lose/>
                  <a:moveTo>
                    <a:pt x="56" y="95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6" y="95"/>
                  </a:cubicBezTo>
                  <a:close/>
                  <a:moveTo>
                    <a:pt x="58" y="93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lose/>
                  <a:moveTo>
                    <a:pt x="57" y="95"/>
                  </a:moveTo>
                  <a:cubicBezTo>
                    <a:pt x="57" y="95"/>
                    <a:pt x="57" y="94"/>
                    <a:pt x="57" y="94"/>
                  </a:cubicBezTo>
                  <a:cubicBezTo>
                    <a:pt x="57" y="94"/>
                    <a:pt x="57" y="95"/>
                    <a:pt x="57" y="95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3"/>
                    <a:pt x="60" y="93"/>
                  </a:cubicBezTo>
                  <a:cubicBezTo>
                    <a:pt x="60" y="93"/>
                    <a:pt x="60" y="93"/>
                    <a:pt x="60" y="9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1" y="92"/>
                    <a:pt x="61" y="92"/>
                  </a:cubicBezTo>
                  <a:close/>
                  <a:moveTo>
                    <a:pt x="59" y="96"/>
                  </a:move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3"/>
                    <a:pt x="63" y="94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5"/>
                    <a:pt x="63" y="95"/>
                  </a:cubicBezTo>
                  <a:cubicBezTo>
                    <a:pt x="63" y="95"/>
                    <a:pt x="63" y="96"/>
                    <a:pt x="63" y="96"/>
                  </a:cubicBezTo>
                  <a:close/>
                  <a:moveTo>
                    <a:pt x="60" y="97"/>
                  </a:moveTo>
                  <a:cubicBezTo>
                    <a:pt x="60" y="97"/>
                    <a:pt x="60" y="97"/>
                    <a:pt x="61" y="98"/>
                  </a:cubicBezTo>
                  <a:cubicBezTo>
                    <a:pt x="60" y="98"/>
                    <a:pt x="60" y="97"/>
                    <a:pt x="60" y="97"/>
                  </a:cubicBezTo>
                  <a:close/>
                  <a:moveTo>
                    <a:pt x="66" y="96"/>
                  </a:moveTo>
                  <a:cubicBezTo>
                    <a:pt x="66" y="96"/>
                    <a:pt x="65" y="96"/>
                    <a:pt x="65" y="95"/>
                  </a:cubicBez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ubicBezTo>
                    <a:pt x="65" y="95"/>
                    <a:pt x="65" y="95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5"/>
                    <a:pt x="66" y="95"/>
                  </a:cubicBezTo>
                  <a:cubicBezTo>
                    <a:pt x="65" y="95"/>
                    <a:pt x="65" y="96"/>
                    <a:pt x="66" y="96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5" y="96"/>
                  </a:cubicBezTo>
                  <a:cubicBezTo>
                    <a:pt x="65" y="96"/>
                    <a:pt x="66" y="96"/>
                    <a:pt x="66" y="96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4" y="95"/>
                  </a:move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4" y="95"/>
                  </a:cubicBezTo>
                  <a:close/>
                  <a:moveTo>
                    <a:pt x="65" y="95"/>
                  </a:moveTo>
                  <a:cubicBezTo>
                    <a:pt x="65" y="95"/>
                    <a:pt x="65" y="95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5"/>
                  </a:cubicBezTo>
                  <a:close/>
                  <a:moveTo>
                    <a:pt x="67" y="94"/>
                  </a:moveTo>
                  <a:cubicBezTo>
                    <a:pt x="67" y="94"/>
                    <a:pt x="67" y="94"/>
                    <a:pt x="67" y="94"/>
                  </a:cubicBezTo>
                  <a:cubicBezTo>
                    <a:pt x="67" y="94"/>
                    <a:pt x="67" y="94"/>
                    <a:pt x="67" y="95"/>
                  </a:cubicBezTo>
                  <a:cubicBezTo>
                    <a:pt x="67" y="95"/>
                    <a:pt x="66" y="94"/>
                    <a:pt x="66" y="94"/>
                  </a:cubicBezTo>
                  <a:cubicBezTo>
                    <a:pt x="67" y="94"/>
                    <a:pt x="67" y="94"/>
                    <a:pt x="67" y="94"/>
                  </a:cubicBezTo>
                  <a:close/>
                  <a:moveTo>
                    <a:pt x="62" y="99"/>
                  </a:moveTo>
                  <a:cubicBezTo>
                    <a:pt x="62" y="99"/>
                    <a:pt x="61" y="98"/>
                    <a:pt x="61" y="98"/>
                  </a:cubicBezTo>
                  <a:cubicBezTo>
                    <a:pt x="61" y="98"/>
                    <a:pt x="61" y="98"/>
                    <a:pt x="62" y="99"/>
                  </a:cubicBezTo>
                  <a:close/>
                  <a:moveTo>
                    <a:pt x="65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7"/>
                    <a:pt x="64" y="97"/>
                  </a:cubicBezTo>
                  <a:cubicBezTo>
                    <a:pt x="64" y="97"/>
                    <a:pt x="64" y="97"/>
                    <a:pt x="64" y="96"/>
                  </a:cubicBezTo>
                  <a:close/>
                  <a:moveTo>
                    <a:pt x="59" y="101"/>
                  </a:moveTo>
                  <a:cubicBezTo>
                    <a:pt x="59" y="101"/>
                    <a:pt x="59" y="101"/>
                    <a:pt x="59" y="100"/>
                  </a:cubicBezTo>
                  <a:cubicBezTo>
                    <a:pt x="59" y="100"/>
                    <a:pt x="59" y="101"/>
                    <a:pt x="59" y="101"/>
                  </a:cubicBezTo>
                  <a:close/>
                  <a:moveTo>
                    <a:pt x="62" y="99"/>
                  </a:moveTo>
                  <a:cubicBezTo>
                    <a:pt x="62" y="98"/>
                    <a:pt x="62" y="99"/>
                    <a:pt x="62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9"/>
                    <a:pt x="62" y="99"/>
                    <a:pt x="62" y="99"/>
                  </a:cubicBezTo>
                  <a:close/>
                  <a:moveTo>
                    <a:pt x="60" y="101"/>
                  </a:move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60" y="101"/>
                  </a:cubicBezTo>
                  <a:close/>
                  <a:moveTo>
                    <a:pt x="65" y="99"/>
                  </a:moveTo>
                  <a:cubicBezTo>
                    <a:pt x="65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5" y="98"/>
                    <a:pt x="65" y="99"/>
                  </a:cubicBezTo>
                  <a:cubicBezTo>
                    <a:pt x="65" y="99"/>
                    <a:pt x="65" y="99"/>
                    <a:pt x="65" y="99"/>
                  </a:cubicBezTo>
                  <a:close/>
                  <a:moveTo>
                    <a:pt x="67" y="97"/>
                  </a:moveTo>
                  <a:cubicBezTo>
                    <a:pt x="67" y="97"/>
                    <a:pt x="67" y="97"/>
                    <a:pt x="68" y="97"/>
                  </a:cubicBezTo>
                  <a:cubicBezTo>
                    <a:pt x="68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lose/>
                  <a:moveTo>
                    <a:pt x="64" y="99"/>
                  </a:move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lose/>
                  <a:moveTo>
                    <a:pt x="67" y="98"/>
                  </a:moveTo>
                  <a:cubicBezTo>
                    <a:pt x="67" y="98"/>
                    <a:pt x="68" y="98"/>
                    <a:pt x="68" y="97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7" y="98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8" y="97"/>
                    <a:pt x="67" y="98"/>
                  </a:cubicBezTo>
                  <a:close/>
                  <a:moveTo>
                    <a:pt x="68" y="97"/>
                  </a:moveTo>
                  <a:cubicBezTo>
                    <a:pt x="68" y="97"/>
                    <a:pt x="68" y="97"/>
                    <a:pt x="68" y="97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8" y="96"/>
                    <a:pt x="68" y="97"/>
                    <a:pt x="68" y="97"/>
                  </a:cubicBezTo>
                  <a:close/>
                  <a:moveTo>
                    <a:pt x="67" y="98"/>
                  </a:moveTo>
                  <a:cubicBezTo>
                    <a:pt x="67" y="97"/>
                    <a:pt x="67" y="98"/>
                    <a:pt x="67" y="98"/>
                  </a:cubicBezTo>
                  <a:cubicBezTo>
                    <a:pt x="66" y="97"/>
                    <a:pt x="67" y="97"/>
                    <a:pt x="67" y="97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67" y="98"/>
                    <a:pt x="67" y="98"/>
                    <a:pt x="67" y="98"/>
                  </a:cubicBezTo>
                  <a:close/>
                  <a:moveTo>
                    <a:pt x="64" y="100"/>
                  </a:moveTo>
                  <a:cubicBezTo>
                    <a:pt x="64" y="101"/>
                    <a:pt x="64" y="101"/>
                    <a:pt x="64" y="101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7" y="99"/>
                  </a:cubicBezTo>
                  <a:cubicBezTo>
                    <a:pt x="66" y="99"/>
                    <a:pt x="66" y="98"/>
                    <a:pt x="66" y="98"/>
                  </a:cubicBezTo>
                  <a:close/>
                  <a:moveTo>
                    <a:pt x="67" y="98"/>
                  </a:moveTo>
                  <a:cubicBezTo>
                    <a:pt x="67" y="98"/>
                    <a:pt x="67" y="98"/>
                    <a:pt x="67" y="99"/>
                  </a:cubicBezTo>
                  <a:cubicBezTo>
                    <a:pt x="67" y="99"/>
                    <a:pt x="67" y="98"/>
                    <a:pt x="67" y="98"/>
                  </a:cubicBezTo>
                  <a:close/>
                  <a:moveTo>
                    <a:pt x="65" y="100"/>
                  </a:move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6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6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0"/>
                    <a:pt x="65" y="101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99"/>
                    <a:pt x="67" y="98"/>
                  </a:cubicBezTo>
                  <a:cubicBezTo>
                    <a:pt x="68" y="99"/>
                    <a:pt x="68" y="99"/>
                    <a:pt x="68" y="100"/>
                  </a:cubicBezTo>
                  <a:close/>
                  <a:moveTo>
                    <a:pt x="66" y="100"/>
                  </a:moveTo>
                  <a:cubicBezTo>
                    <a:pt x="66" y="100"/>
                    <a:pt x="65" y="100"/>
                    <a:pt x="65" y="99"/>
                  </a:cubicBezTo>
                  <a:cubicBezTo>
                    <a:pt x="66" y="100"/>
                    <a:pt x="66" y="100"/>
                    <a:pt x="66" y="100"/>
                  </a:cubicBezTo>
                  <a:close/>
                  <a:moveTo>
                    <a:pt x="69" y="99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98"/>
                    <a:pt x="69" y="98"/>
                    <a:pt x="69" y="99"/>
                  </a:cubicBezTo>
                  <a:close/>
                  <a:moveTo>
                    <a:pt x="66" y="101"/>
                  </a:moveTo>
                  <a:cubicBezTo>
                    <a:pt x="66" y="101"/>
                    <a:pt x="66" y="101"/>
                    <a:pt x="65" y="101"/>
                  </a:cubicBezTo>
                  <a:cubicBezTo>
                    <a:pt x="66" y="101"/>
                    <a:pt x="66" y="101"/>
                    <a:pt x="66" y="101"/>
                  </a:cubicBezTo>
                  <a:close/>
                  <a:moveTo>
                    <a:pt x="67" y="100"/>
                  </a:moveTo>
                  <a:cubicBezTo>
                    <a:pt x="67" y="100"/>
                    <a:pt x="67" y="101"/>
                    <a:pt x="67" y="101"/>
                  </a:cubicBezTo>
                  <a:cubicBezTo>
                    <a:pt x="67" y="101"/>
                    <a:pt x="67" y="100"/>
                    <a:pt x="66" y="101"/>
                  </a:cubicBezTo>
                  <a:cubicBezTo>
                    <a:pt x="66" y="100"/>
                    <a:pt x="67" y="100"/>
                    <a:pt x="66" y="100"/>
                  </a:cubicBezTo>
                  <a:cubicBezTo>
                    <a:pt x="67" y="100"/>
                    <a:pt x="67" y="100"/>
                    <a:pt x="67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100"/>
                    <a:pt x="70" y="100"/>
                  </a:cubicBezTo>
                  <a:cubicBezTo>
                    <a:pt x="69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65" y="103"/>
                  </a:moveTo>
                  <a:cubicBezTo>
                    <a:pt x="65" y="103"/>
                    <a:pt x="65" y="103"/>
                    <a:pt x="64" y="103"/>
                  </a:cubicBezTo>
                  <a:cubicBezTo>
                    <a:pt x="65" y="103"/>
                    <a:pt x="65" y="103"/>
                    <a:pt x="65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2"/>
                  </a:cubicBezTo>
                  <a:cubicBezTo>
                    <a:pt x="65" y="102"/>
                    <a:pt x="66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4"/>
                    <a:pt x="65" y="103"/>
                    <a:pt x="65" y="103"/>
                  </a:cubicBezTo>
                  <a:cubicBezTo>
                    <a:pt x="65" y="103"/>
                    <a:pt x="66" y="103"/>
                    <a:pt x="65" y="103"/>
                  </a:cubicBezTo>
                  <a:cubicBezTo>
                    <a:pt x="66" y="103"/>
                    <a:pt x="65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lose/>
                  <a:moveTo>
                    <a:pt x="64" y="104"/>
                  </a:moveTo>
                  <a:cubicBezTo>
                    <a:pt x="63" y="105"/>
                    <a:pt x="63" y="104"/>
                    <a:pt x="63" y="105"/>
                  </a:cubicBezTo>
                  <a:cubicBezTo>
                    <a:pt x="63" y="104"/>
                    <a:pt x="63" y="104"/>
                    <a:pt x="64" y="104"/>
                  </a:cubicBezTo>
                  <a:close/>
                  <a:moveTo>
                    <a:pt x="69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  <a:moveTo>
                    <a:pt x="71" y="100"/>
                  </a:moveTo>
                  <a:cubicBezTo>
                    <a:pt x="71" y="100"/>
                    <a:pt x="71" y="100"/>
                    <a:pt x="71" y="101"/>
                  </a:cubicBezTo>
                  <a:cubicBezTo>
                    <a:pt x="71" y="101"/>
                    <a:pt x="71" y="100"/>
                    <a:pt x="70" y="100"/>
                  </a:cubicBezTo>
                  <a:lnTo>
                    <a:pt x="71" y="100"/>
                  </a:lnTo>
                  <a:close/>
                  <a:moveTo>
                    <a:pt x="70" y="100"/>
                  </a:moveTo>
                  <a:cubicBezTo>
                    <a:pt x="71" y="100"/>
                    <a:pt x="71" y="101"/>
                    <a:pt x="71" y="101"/>
                  </a:cubicBezTo>
                  <a:cubicBezTo>
                    <a:pt x="71" y="101"/>
                    <a:pt x="70" y="101"/>
                    <a:pt x="70" y="100"/>
                  </a:cubicBezTo>
                  <a:close/>
                  <a:moveTo>
                    <a:pt x="69" y="101"/>
                  </a:moveTo>
                  <a:cubicBezTo>
                    <a:pt x="69" y="101"/>
                    <a:pt x="70" y="102"/>
                    <a:pt x="70" y="102"/>
                  </a:cubicBezTo>
                  <a:cubicBezTo>
                    <a:pt x="70" y="102"/>
                    <a:pt x="69" y="101"/>
                    <a:pt x="69" y="101"/>
                  </a:cubicBezTo>
                  <a:close/>
                  <a:moveTo>
                    <a:pt x="70" y="101"/>
                  </a:move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6" y="104"/>
                  </a:cubicBezTo>
                  <a:cubicBezTo>
                    <a:pt x="67" y="104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6"/>
                    <a:pt x="67" y="105"/>
                    <a:pt x="67" y="106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70" y="105"/>
                  </a:moveTo>
                  <a:cubicBezTo>
                    <a:pt x="69" y="105"/>
                    <a:pt x="69" y="105"/>
                    <a:pt x="69" y="104"/>
                  </a:cubicBezTo>
                  <a:cubicBezTo>
                    <a:pt x="70" y="104"/>
                    <a:pt x="70" y="105"/>
                    <a:pt x="70" y="105"/>
                  </a:cubicBezTo>
                  <a:close/>
                  <a:moveTo>
                    <a:pt x="65" y="108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65" y="107"/>
                    <a:pt x="65" y="108"/>
                    <a:pt x="65" y="108"/>
                  </a:cubicBezTo>
                  <a:close/>
                  <a:moveTo>
                    <a:pt x="68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8" y="106"/>
                    <a:pt x="68" y="107"/>
                  </a:cubicBezTo>
                  <a:lnTo>
                    <a:pt x="68" y="106"/>
                  </a:lnTo>
                  <a:close/>
                  <a:moveTo>
                    <a:pt x="68" y="107"/>
                  </a:moveTo>
                  <a:cubicBezTo>
                    <a:pt x="68" y="107"/>
                    <a:pt x="68" y="107"/>
                    <a:pt x="68" y="107"/>
                  </a:cubicBezTo>
                  <a:cubicBezTo>
                    <a:pt x="68" y="107"/>
                    <a:pt x="68" y="107"/>
                    <a:pt x="68" y="107"/>
                  </a:cubicBezTo>
                  <a:cubicBezTo>
                    <a:pt x="69" y="107"/>
                    <a:pt x="68" y="107"/>
                    <a:pt x="68" y="107"/>
                  </a:cubicBezTo>
                  <a:close/>
                  <a:moveTo>
                    <a:pt x="66" y="110"/>
                  </a:moveTo>
                  <a:cubicBezTo>
                    <a:pt x="66" y="110"/>
                    <a:pt x="66" y="110"/>
                    <a:pt x="66" y="110"/>
                  </a:cubicBezTo>
                  <a:cubicBezTo>
                    <a:pt x="66" y="110"/>
                    <a:pt x="66" y="110"/>
                    <a:pt x="66" y="109"/>
                  </a:cubicBezTo>
                  <a:cubicBezTo>
                    <a:pt x="66" y="109"/>
                    <a:pt x="66" y="110"/>
                    <a:pt x="66" y="110"/>
                  </a:cubicBezTo>
                  <a:close/>
                  <a:moveTo>
                    <a:pt x="69" y="107"/>
                  </a:moveTo>
                  <a:cubicBezTo>
                    <a:pt x="69" y="107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lose/>
                  <a:moveTo>
                    <a:pt x="68" y="108"/>
                  </a:moveTo>
                  <a:cubicBezTo>
                    <a:pt x="68" y="108"/>
                    <a:pt x="68" y="108"/>
                    <a:pt x="69" y="108"/>
                  </a:cubicBezTo>
                  <a:cubicBezTo>
                    <a:pt x="68" y="108"/>
                    <a:pt x="68" y="108"/>
                    <a:pt x="68" y="108"/>
                  </a:cubicBezTo>
                  <a:close/>
                  <a:moveTo>
                    <a:pt x="69" y="108"/>
                  </a:moveTo>
                  <a:cubicBezTo>
                    <a:pt x="69" y="108"/>
                    <a:pt x="69" y="109"/>
                    <a:pt x="69" y="108"/>
                  </a:cubicBezTo>
                  <a:close/>
                  <a:moveTo>
                    <a:pt x="66" y="111"/>
                  </a:moveTo>
                  <a:cubicBezTo>
                    <a:pt x="65" y="111"/>
                    <a:pt x="65" y="111"/>
                    <a:pt x="65" y="110"/>
                  </a:cubicBezTo>
                  <a:cubicBezTo>
                    <a:pt x="66" y="110"/>
                    <a:pt x="66" y="111"/>
                    <a:pt x="66" y="111"/>
                  </a:cubicBezTo>
                  <a:close/>
                  <a:moveTo>
                    <a:pt x="71" y="108"/>
                  </a:moveTo>
                  <a:cubicBezTo>
                    <a:pt x="71" y="108"/>
                    <a:pt x="71" y="108"/>
                    <a:pt x="71" y="107"/>
                  </a:cubicBezTo>
                  <a:cubicBezTo>
                    <a:pt x="71" y="107"/>
                    <a:pt x="71" y="108"/>
                    <a:pt x="71" y="108"/>
                  </a:cubicBezTo>
                  <a:close/>
                  <a:moveTo>
                    <a:pt x="73" y="109"/>
                  </a:moveTo>
                  <a:cubicBezTo>
                    <a:pt x="73" y="109"/>
                    <a:pt x="73" y="108"/>
                    <a:pt x="73" y="109"/>
                  </a:cubicBezTo>
                  <a:cubicBezTo>
                    <a:pt x="73" y="108"/>
                    <a:pt x="73" y="109"/>
                    <a:pt x="73" y="109"/>
                  </a:cubicBezTo>
                  <a:close/>
                  <a:moveTo>
                    <a:pt x="69" y="112"/>
                  </a:moveTo>
                  <a:cubicBezTo>
                    <a:pt x="69" y="111"/>
                    <a:pt x="69" y="111"/>
                    <a:pt x="69" y="111"/>
                  </a:cubicBezTo>
                  <a:cubicBezTo>
                    <a:pt x="69" y="111"/>
                    <a:pt x="69" y="112"/>
                    <a:pt x="69" y="112"/>
                  </a:cubicBezTo>
                  <a:close/>
                  <a:moveTo>
                    <a:pt x="71" y="111"/>
                  </a:moveTo>
                  <a:cubicBezTo>
                    <a:pt x="71" y="111"/>
                    <a:pt x="70" y="111"/>
                    <a:pt x="70" y="111"/>
                  </a:cubicBezTo>
                  <a:cubicBezTo>
                    <a:pt x="71" y="111"/>
                    <a:pt x="71" y="111"/>
                    <a:pt x="71" y="111"/>
                  </a:cubicBezTo>
                  <a:close/>
                  <a:moveTo>
                    <a:pt x="74" y="109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lose/>
                  <a:moveTo>
                    <a:pt x="74" y="110"/>
                  </a:moveTo>
                  <a:cubicBezTo>
                    <a:pt x="74" y="110"/>
                    <a:pt x="74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lose/>
                  <a:moveTo>
                    <a:pt x="75" y="109"/>
                  </a:move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lose/>
                  <a:moveTo>
                    <a:pt x="70" y="113"/>
                  </a:moveTo>
                  <a:cubicBezTo>
                    <a:pt x="70" y="113"/>
                    <a:pt x="70" y="113"/>
                    <a:pt x="70" y="113"/>
                  </a:cubicBezTo>
                  <a:cubicBezTo>
                    <a:pt x="70" y="113"/>
                    <a:pt x="70" y="113"/>
                    <a:pt x="70" y="113"/>
                  </a:cubicBezTo>
                  <a:close/>
                  <a:moveTo>
                    <a:pt x="77" y="110"/>
                  </a:moveTo>
                  <a:cubicBezTo>
                    <a:pt x="77" y="110"/>
                    <a:pt x="77" y="109"/>
                    <a:pt x="77" y="109"/>
                  </a:cubicBezTo>
                  <a:cubicBezTo>
                    <a:pt x="77" y="109"/>
                    <a:pt x="77" y="110"/>
                    <a:pt x="77" y="110"/>
                  </a:cubicBezTo>
                  <a:close/>
                  <a:moveTo>
                    <a:pt x="75" y="111"/>
                  </a:move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lose/>
                  <a:moveTo>
                    <a:pt x="73" y="117"/>
                  </a:moveTo>
                  <a:cubicBezTo>
                    <a:pt x="74" y="117"/>
                    <a:pt x="74" y="117"/>
                    <a:pt x="74" y="117"/>
                  </a:cubicBezTo>
                  <a:cubicBezTo>
                    <a:pt x="74" y="117"/>
                    <a:pt x="74" y="117"/>
                    <a:pt x="73" y="117"/>
                  </a:cubicBezTo>
                  <a:close/>
                  <a:moveTo>
                    <a:pt x="80" y="119"/>
                  </a:moveTo>
                  <a:cubicBezTo>
                    <a:pt x="81" y="119"/>
                    <a:pt x="81" y="120"/>
                    <a:pt x="81" y="120"/>
                  </a:cubicBezTo>
                  <a:cubicBezTo>
                    <a:pt x="80" y="120"/>
                    <a:pt x="80" y="120"/>
                    <a:pt x="80" y="119"/>
                  </a:cubicBezTo>
                  <a:close/>
                  <a:moveTo>
                    <a:pt x="78" y="122"/>
                  </a:moveTo>
                  <a:cubicBezTo>
                    <a:pt x="78" y="122"/>
                    <a:pt x="78" y="123"/>
                    <a:pt x="78" y="123"/>
                  </a:cubicBezTo>
                  <a:cubicBezTo>
                    <a:pt x="78" y="123"/>
                    <a:pt x="78" y="122"/>
                    <a:pt x="78" y="122"/>
                  </a:cubicBezTo>
                  <a:close/>
                  <a:moveTo>
                    <a:pt x="82" y="121"/>
                  </a:move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6" y="126"/>
                  </a:moveTo>
                  <a:cubicBezTo>
                    <a:pt x="86" y="126"/>
                    <a:pt x="86" y="126"/>
                    <a:pt x="86" y="126"/>
                  </a:cubicBezTo>
                  <a:cubicBezTo>
                    <a:pt x="86" y="126"/>
                    <a:pt x="86" y="126"/>
                    <a:pt x="86" y="126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9"/>
                  </a:move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6" y="128"/>
                    <a:pt x="87" y="129"/>
                    <a:pt x="87" y="129"/>
                  </a:cubicBezTo>
                  <a:close/>
                  <a:moveTo>
                    <a:pt x="86" y="131"/>
                  </a:moveTo>
                  <a:cubicBezTo>
                    <a:pt x="86" y="131"/>
                    <a:pt x="86" y="131"/>
                    <a:pt x="86" y="131"/>
                  </a:cubicBezTo>
                  <a:cubicBezTo>
                    <a:pt x="86" y="131"/>
                    <a:pt x="86" y="131"/>
                    <a:pt x="86" y="131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2"/>
                    <a:pt x="90" y="132"/>
                  </a:cubicBezTo>
                  <a:cubicBezTo>
                    <a:pt x="89" y="131"/>
                    <a:pt x="89" y="131"/>
                    <a:pt x="89" y="130"/>
                  </a:cubicBezTo>
                  <a:cubicBezTo>
                    <a:pt x="89" y="130"/>
                    <a:pt x="89" y="131"/>
                    <a:pt x="90" y="132"/>
                  </a:cubicBezTo>
                  <a:close/>
                  <a:moveTo>
                    <a:pt x="87" y="133"/>
                  </a:moveTo>
                  <a:cubicBezTo>
                    <a:pt x="86" y="133"/>
                    <a:pt x="86" y="132"/>
                    <a:pt x="86" y="132"/>
                  </a:cubicBezTo>
                  <a:cubicBezTo>
                    <a:pt x="86" y="132"/>
                    <a:pt x="87" y="133"/>
                    <a:pt x="87" y="133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3"/>
                    <a:pt x="91" y="134"/>
                  </a:cubicBezTo>
                  <a:cubicBezTo>
                    <a:pt x="91" y="134"/>
                    <a:pt x="90" y="133"/>
                    <a:pt x="90" y="132"/>
                  </a:cubicBezTo>
                  <a:close/>
                  <a:moveTo>
                    <a:pt x="93" y="135"/>
                  </a:move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3" y="135"/>
                    <a:pt x="93" y="135"/>
                  </a:cubicBezTo>
                  <a:close/>
                  <a:moveTo>
                    <a:pt x="92" y="135"/>
                  </a:moveTo>
                  <a:cubicBezTo>
                    <a:pt x="93" y="135"/>
                    <a:pt x="93" y="136"/>
                    <a:pt x="93" y="136"/>
                  </a:cubicBezTo>
                  <a:cubicBezTo>
                    <a:pt x="93" y="136"/>
                    <a:pt x="93" y="135"/>
                    <a:pt x="92" y="135"/>
                  </a:cubicBezTo>
                  <a:close/>
                  <a:moveTo>
                    <a:pt x="92" y="136"/>
                  </a:moveTo>
                  <a:cubicBezTo>
                    <a:pt x="92" y="136"/>
                    <a:pt x="92" y="137"/>
                    <a:pt x="92" y="137"/>
                  </a:cubicBezTo>
                  <a:cubicBezTo>
                    <a:pt x="92" y="136"/>
                    <a:pt x="92" y="137"/>
                    <a:pt x="91" y="136"/>
                  </a:cubicBezTo>
                  <a:cubicBezTo>
                    <a:pt x="91" y="136"/>
                    <a:pt x="91" y="136"/>
                    <a:pt x="92" y="136"/>
                  </a:cubicBezTo>
                  <a:cubicBezTo>
                    <a:pt x="92" y="136"/>
                    <a:pt x="92" y="136"/>
                    <a:pt x="91" y="136"/>
                  </a:cubicBezTo>
                  <a:cubicBezTo>
                    <a:pt x="92" y="136"/>
                    <a:pt x="92" y="136"/>
                    <a:pt x="92" y="136"/>
                  </a:cubicBezTo>
                  <a:close/>
                  <a:moveTo>
                    <a:pt x="88" y="139"/>
                  </a:moveTo>
                  <a:cubicBezTo>
                    <a:pt x="88" y="139"/>
                    <a:pt x="88" y="139"/>
                    <a:pt x="88" y="139"/>
                  </a:cubicBezTo>
                  <a:cubicBezTo>
                    <a:pt x="88" y="139"/>
                    <a:pt x="88" y="139"/>
                    <a:pt x="88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1" y="137"/>
                    <a:pt x="91" y="137"/>
                  </a:cubicBezTo>
                  <a:cubicBezTo>
                    <a:pt x="91" y="137"/>
                    <a:pt x="92" y="137"/>
                    <a:pt x="92" y="138"/>
                  </a:cubicBezTo>
                  <a:close/>
                  <a:moveTo>
                    <a:pt x="92" y="136"/>
                  </a:moveTo>
                  <a:cubicBezTo>
                    <a:pt x="92" y="136"/>
                    <a:pt x="93" y="137"/>
                    <a:pt x="92" y="137"/>
                  </a:cubicBezTo>
                  <a:cubicBezTo>
                    <a:pt x="92" y="137"/>
                    <a:pt x="92" y="136"/>
                    <a:pt x="92" y="136"/>
                  </a:cubicBezTo>
                  <a:close/>
                  <a:moveTo>
                    <a:pt x="92" y="137"/>
                  </a:moveTo>
                  <a:cubicBezTo>
                    <a:pt x="92" y="137"/>
                    <a:pt x="92" y="137"/>
                    <a:pt x="92" y="137"/>
                  </a:cubicBezTo>
                  <a:cubicBezTo>
                    <a:pt x="92" y="137"/>
                    <a:pt x="93" y="137"/>
                    <a:pt x="93" y="138"/>
                  </a:cubicBezTo>
                  <a:cubicBezTo>
                    <a:pt x="93" y="138"/>
                    <a:pt x="92" y="137"/>
                    <a:pt x="92" y="137"/>
                  </a:cubicBezTo>
                  <a:close/>
                  <a:moveTo>
                    <a:pt x="92" y="139"/>
                  </a:moveTo>
                  <a:cubicBezTo>
                    <a:pt x="92" y="139"/>
                    <a:pt x="92" y="138"/>
                    <a:pt x="92" y="138"/>
                  </a:cubicBezTo>
                  <a:cubicBezTo>
                    <a:pt x="92" y="138"/>
                    <a:pt x="92" y="139"/>
                    <a:pt x="92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2" y="138"/>
                    <a:pt x="93" y="138"/>
                  </a:cubicBezTo>
                  <a:cubicBezTo>
                    <a:pt x="92" y="139"/>
                    <a:pt x="92" y="138"/>
                    <a:pt x="92" y="138"/>
                  </a:cubicBezTo>
                  <a:close/>
                  <a:moveTo>
                    <a:pt x="93" y="138"/>
                  </a:move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lose/>
                  <a:moveTo>
                    <a:pt x="94" y="139"/>
                  </a:moveTo>
                  <a:cubicBezTo>
                    <a:pt x="94" y="139"/>
                    <a:pt x="94" y="139"/>
                    <a:pt x="94" y="138"/>
                  </a:cubicBezTo>
                  <a:cubicBezTo>
                    <a:pt x="94" y="138"/>
                    <a:pt x="94" y="138"/>
                    <a:pt x="94" y="139"/>
                  </a:cubicBezTo>
                  <a:close/>
                  <a:moveTo>
                    <a:pt x="90" y="142"/>
                  </a:moveTo>
                  <a:cubicBezTo>
                    <a:pt x="90" y="142"/>
                    <a:pt x="89" y="142"/>
                    <a:pt x="89" y="142"/>
                  </a:cubicBezTo>
                  <a:cubicBezTo>
                    <a:pt x="89" y="142"/>
                    <a:pt x="90" y="142"/>
                    <a:pt x="90" y="142"/>
                  </a:cubicBezTo>
                  <a:close/>
                  <a:moveTo>
                    <a:pt x="91" y="144"/>
                  </a:moveTo>
                  <a:cubicBezTo>
                    <a:pt x="90" y="144"/>
                    <a:pt x="90" y="143"/>
                    <a:pt x="90" y="143"/>
                  </a:cubicBezTo>
                  <a:cubicBezTo>
                    <a:pt x="90" y="143"/>
                    <a:pt x="90" y="143"/>
                    <a:pt x="91" y="144"/>
                  </a:cubicBezTo>
                  <a:close/>
                  <a:moveTo>
                    <a:pt x="95" y="141"/>
                  </a:moveTo>
                  <a:cubicBezTo>
                    <a:pt x="96" y="142"/>
                    <a:pt x="96" y="143"/>
                    <a:pt x="97" y="144"/>
                  </a:cubicBezTo>
                  <a:cubicBezTo>
                    <a:pt x="97" y="144"/>
                    <a:pt x="98" y="145"/>
                    <a:pt x="98" y="146"/>
                  </a:cubicBezTo>
                  <a:cubicBezTo>
                    <a:pt x="97" y="145"/>
                    <a:pt x="96" y="143"/>
                    <a:pt x="95" y="141"/>
                  </a:cubicBezTo>
                  <a:close/>
                  <a:moveTo>
                    <a:pt x="97" y="141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6" y="141"/>
                    <a:pt x="97" y="141"/>
                  </a:cubicBezTo>
                  <a:close/>
                  <a:moveTo>
                    <a:pt x="95" y="143"/>
                  </a:move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lose/>
                  <a:moveTo>
                    <a:pt x="97" y="142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7" y="142"/>
                    <a:pt x="97" y="142"/>
                  </a:cubicBezTo>
                  <a:close/>
                  <a:moveTo>
                    <a:pt x="97" y="143"/>
                  </a:moveTo>
                  <a:cubicBezTo>
                    <a:pt x="97" y="143"/>
                    <a:pt x="97" y="142"/>
                    <a:pt x="97" y="142"/>
                  </a:cubicBezTo>
                  <a:cubicBezTo>
                    <a:pt x="97" y="142"/>
                    <a:pt x="97" y="143"/>
                    <a:pt x="97" y="143"/>
                  </a:cubicBezTo>
                  <a:close/>
                  <a:moveTo>
                    <a:pt x="97" y="142"/>
                  </a:moveTo>
                  <a:cubicBezTo>
                    <a:pt x="97" y="143"/>
                    <a:pt x="98" y="143"/>
                    <a:pt x="98" y="143"/>
                  </a:cubicBezTo>
                  <a:cubicBezTo>
                    <a:pt x="98" y="143"/>
                    <a:pt x="98" y="143"/>
                    <a:pt x="98" y="143"/>
                  </a:cubicBezTo>
                  <a:cubicBezTo>
                    <a:pt x="98" y="143"/>
                    <a:pt x="97" y="143"/>
                    <a:pt x="97" y="142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5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2" y="148"/>
                  </a:moveTo>
                  <a:cubicBezTo>
                    <a:pt x="92" y="148"/>
                    <a:pt x="92" y="148"/>
                    <a:pt x="93" y="148"/>
                  </a:cubicBezTo>
                  <a:cubicBezTo>
                    <a:pt x="92" y="148"/>
                    <a:pt x="92" y="148"/>
                    <a:pt x="92" y="148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7"/>
                    <a:pt x="97" y="147"/>
                  </a:cubicBezTo>
                  <a:cubicBezTo>
                    <a:pt x="96" y="147"/>
                    <a:pt x="96" y="146"/>
                    <a:pt x="96" y="146"/>
                  </a:cubicBezTo>
                  <a:cubicBezTo>
                    <a:pt x="96" y="146"/>
                    <a:pt x="96" y="146"/>
                    <a:pt x="97" y="146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6"/>
                    <a:pt x="97" y="146"/>
                  </a:cubicBezTo>
                  <a:cubicBezTo>
                    <a:pt x="97" y="146"/>
                    <a:pt x="97" y="146"/>
                    <a:pt x="97" y="146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7"/>
                    <a:pt x="97" y="146"/>
                  </a:cubicBezTo>
                  <a:close/>
                  <a:moveTo>
                    <a:pt x="97" y="147"/>
                  </a:moveTo>
                  <a:cubicBezTo>
                    <a:pt x="98" y="147"/>
                    <a:pt x="98" y="147"/>
                    <a:pt x="98" y="147"/>
                  </a:cubicBezTo>
                  <a:cubicBezTo>
                    <a:pt x="98" y="147"/>
                    <a:pt x="97" y="147"/>
                    <a:pt x="98" y="148"/>
                  </a:cubicBezTo>
                  <a:cubicBezTo>
                    <a:pt x="97" y="147"/>
                    <a:pt x="98" y="147"/>
                    <a:pt x="97" y="147"/>
                  </a:cubicBezTo>
                  <a:close/>
                  <a:moveTo>
                    <a:pt x="100" y="146"/>
                  </a:moveTo>
                  <a:cubicBezTo>
                    <a:pt x="100" y="146"/>
                    <a:pt x="99" y="146"/>
                    <a:pt x="99" y="146"/>
                  </a:cubicBezTo>
                  <a:cubicBezTo>
                    <a:pt x="100" y="146"/>
                    <a:pt x="100" y="146"/>
                    <a:pt x="100" y="146"/>
                  </a:cubicBezTo>
                  <a:close/>
                  <a:moveTo>
                    <a:pt x="94" y="151"/>
                  </a:moveTo>
                  <a:cubicBezTo>
                    <a:pt x="94" y="151"/>
                    <a:pt x="94" y="150"/>
                    <a:pt x="93" y="150"/>
                  </a:cubicBezTo>
                  <a:cubicBezTo>
                    <a:pt x="94" y="150"/>
                    <a:pt x="94" y="150"/>
                    <a:pt x="94" y="151"/>
                  </a:cubicBezTo>
                  <a:close/>
                  <a:moveTo>
                    <a:pt x="98" y="147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7"/>
                  </a:cubicBezTo>
                  <a:cubicBezTo>
                    <a:pt x="98" y="147"/>
                    <a:pt x="98" y="147"/>
                    <a:pt x="98" y="147"/>
                  </a:cubicBezTo>
                  <a:close/>
                  <a:moveTo>
                    <a:pt x="100" y="146"/>
                  </a:moveTo>
                  <a:cubicBezTo>
                    <a:pt x="100" y="147"/>
                    <a:pt x="100" y="147"/>
                    <a:pt x="101" y="148"/>
                  </a:cubicBezTo>
                  <a:cubicBezTo>
                    <a:pt x="100" y="147"/>
                    <a:pt x="100" y="147"/>
                    <a:pt x="100" y="146"/>
                  </a:cubicBezTo>
                  <a:close/>
                  <a:moveTo>
                    <a:pt x="99" y="147"/>
                  </a:moveTo>
                  <a:cubicBezTo>
                    <a:pt x="99" y="147"/>
                    <a:pt x="99" y="147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lose/>
                  <a:moveTo>
                    <a:pt x="94" y="151"/>
                  </a:moveTo>
                  <a:cubicBezTo>
                    <a:pt x="94" y="151"/>
                    <a:pt x="95" y="151"/>
                    <a:pt x="95" y="151"/>
                  </a:cubicBezTo>
                  <a:cubicBezTo>
                    <a:pt x="95" y="151"/>
                    <a:pt x="94" y="151"/>
                    <a:pt x="94" y="151"/>
                  </a:cubicBezTo>
                  <a:close/>
                  <a:moveTo>
                    <a:pt x="97" y="150"/>
                  </a:moveTo>
                  <a:cubicBezTo>
                    <a:pt x="97" y="150"/>
                    <a:pt x="97" y="149"/>
                    <a:pt x="97" y="149"/>
                  </a:cubicBezTo>
                  <a:cubicBezTo>
                    <a:pt x="97" y="149"/>
                    <a:pt x="97" y="149"/>
                    <a:pt x="97" y="150"/>
                  </a:cubicBezTo>
                  <a:close/>
                  <a:moveTo>
                    <a:pt x="98" y="149"/>
                  </a:moveTo>
                  <a:cubicBezTo>
                    <a:pt x="98" y="149"/>
                    <a:pt x="98" y="149"/>
                    <a:pt x="99" y="149"/>
                  </a:cubicBezTo>
                  <a:cubicBezTo>
                    <a:pt x="98" y="149"/>
                    <a:pt x="98" y="149"/>
                    <a:pt x="98" y="149"/>
                  </a:cubicBezTo>
                  <a:close/>
                  <a:moveTo>
                    <a:pt x="101" y="148"/>
                  </a:moveTo>
                  <a:cubicBezTo>
                    <a:pt x="101" y="148"/>
                    <a:pt x="101" y="148"/>
                    <a:pt x="101" y="148"/>
                  </a:cubicBezTo>
                  <a:cubicBezTo>
                    <a:pt x="101" y="148"/>
                    <a:pt x="101" y="148"/>
                    <a:pt x="101" y="148"/>
                  </a:cubicBezTo>
                  <a:close/>
                  <a:moveTo>
                    <a:pt x="98" y="151"/>
                  </a:moveTo>
                  <a:cubicBezTo>
                    <a:pt x="97" y="151"/>
                    <a:pt x="97" y="150"/>
                    <a:pt x="97" y="150"/>
                  </a:cubicBezTo>
                  <a:cubicBezTo>
                    <a:pt x="97" y="150"/>
                    <a:pt x="97" y="151"/>
                    <a:pt x="98" y="151"/>
                  </a:cubicBezTo>
                  <a:close/>
                  <a:moveTo>
                    <a:pt x="95" y="152"/>
                  </a:moveTo>
                  <a:cubicBezTo>
                    <a:pt x="95" y="152"/>
                    <a:pt x="95" y="152"/>
                    <a:pt x="95" y="152"/>
                  </a:cubicBezTo>
                  <a:cubicBezTo>
                    <a:pt x="95" y="152"/>
                    <a:pt x="95" y="152"/>
                    <a:pt x="95" y="152"/>
                  </a:cubicBezTo>
                  <a:close/>
                  <a:moveTo>
                    <a:pt x="102" y="150"/>
                  </a:move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50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1" y="149"/>
                    <a:pt x="101" y="148"/>
                  </a:cubicBezTo>
                  <a:cubicBezTo>
                    <a:pt x="101" y="149"/>
                    <a:pt x="102" y="149"/>
                    <a:pt x="102" y="150"/>
                  </a:cubicBezTo>
                  <a:close/>
                  <a:moveTo>
                    <a:pt x="95" y="154"/>
                  </a:moveTo>
                  <a:cubicBezTo>
                    <a:pt x="95" y="154"/>
                    <a:pt x="95" y="153"/>
                    <a:pt x="95" y="153"/>
                  </a:cubicBezTo>
                  <a:cubicBezTo>
                    <a:pt x="95" y="153"/>
                    <a:pt x="95" y="153"/>
                    <a:pt x="94" y="153"/>
                  </a:cubicBezTo>
                  <a:cubicBezTo>
                    <a:pt x="95" y="153"/>
                    <a:pt x="95" y="154"/>
                    <a:pt x="95" y="154"/>
                  </a:cubicBezTo>
                  <a:cubicBezTo>
                    <a:pt x="95" y="154"/>
                    <a:pt x="95" y="154"/>
                    <a:pt x="95" y="154"/>
                  </a:cubicBezTo>
                  <a:close/>
                  <a:moveTo>
                    <a:pt x="100" y="150"/>
                  </a:moveTo>
                  <a:cubicBezTo>
                    <a:pt x="99" y="151"/>
                    <a:pt x="99" y="150"/>
                    <a:pt x="99" y="150"/>
                  </a:cubicBezTo>
                  <a:cubicBezTo>
                    <a:pt x="99" y="150"/>
                    <a:pt x="100" y="150"/>
                    <a:pt x="100" y="150"/>
                  </a:cubicBezTo>
                  <a:close/>
                  <a:moveTo>
                    <a:pt x="99" y="151"/>
                  </a:moveTo>
                  <a:cubicBezTo>
                    <a:pt x="99" y="151"/>
                    <a:pt x="99" y="151"/>
                    <a:pt x="99" y="150"/>
                  </a:cubicBezTo>
                  <a:cubicBezTo>
                    <a:pt x="99" y="150"/>
                    <a:pt x="99" y="151"/>
                    <a:pt x="99" y="151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5" y="154"/>
                  </a:cubicBezTo>
                  <a:cubicBezTo>
                    <a:pt x="96" y="154"/>
                    <a:pt x="96" y="154"/>
                    <a:pt x="96" y="154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6" y="154"/>
                  </a:cubicBezTo>
                  <a:cubicBezTo>
                    <a:pt x="95" y="154"/>
                    <a:pt x="95" y="154"/>
                    <a:pt x="95" y="154"/>
                  </a:cubicBezTo>
                  <a:cubicBezTo>
                    <a:pt x="96" y="154"/>
                    <a:pt x="95" y="154"/>
                    <a:pt x="96" y="154"/>
                  </a:cubicBezTo>
                  <a:close/>
                  <a:moveTo>
                    <a:pt x="99" y="153"/>
                  </a:move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lose/>
                  <a:moveTo>
                    <a:pt x="96" y="155"/>
                  </a:moveTo>
                  <a:cubicBezTo>
                    <a:pt x="96" y="155"/>
                    <a:pt x="96" y="155"/>
                    <a:pt x="97" y="155"/>
                  </a:cubicBezTo>
                  <a:cubicBezTo>
                    <a:pt x="96" y="156"/>
                    <a:pt x="96" y="155"/>
                    <a:pt x="96" y="155"/>
                  </a:cubicBezTo>
                  <a:close/>
                  <a:moveTo>
                    <a:pt x="102" y="152"/>
                  </a:moveTo>
                  <a:cubicBezTo>
                    <a:pt x="102" y="151"/>
                    <a:pt x="102" y="151"/>
                    <a:pt x="102" y="151"/>
                  </a:cubicBezTo>
                  <a:cubicBezTo>
                    <a:pt x="102" y="151"/>
                    <a:pt x="102" y="152"/>
                    <a:pt x="102" y="151"/>
                  </a:cubicBezTo>
                  <a:cubicBezTo>
                    <a:pt x="103" y="151"/>
                    <a:pt x="103" y="152"/>
                    <a:pt x="102" y="152"/>
                  </a:cubicBezTo>
                  <a:close/>
                  <a:moveTo>
                    <a:pt x="103" y="154"/>
                  </a:moveTo>
                  <a:cubicBezTo>
                    <a:pt x="102" y="153"/>
                    <a:pt x="102" y="153"/>
                    <a:pt x="102" y="153"/>
                  </a:cubicBezTo>
                  <a:cubicBezTo>
                    <a:pt x="102" y="153"/>
                    <a:pt x="103" y="153"/>
                    <a:pt x="103" y="154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19" y="13"/>
                  </a:moveTo>
                  <a:cubicBezTo>
                    <a:pt x="20" y="14"/>
                    <a:pt x="20" y="14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1" y="16"/>
                    <a:pt x="21" y="17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3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4" y="2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3" y="21"/>
                    <a:pt x="24" y="22"/>
                    <a:pt x="24" y="22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4" y="23"/>
                    <a:pt x="24" y="22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4"/>
                    <a:pt x="25" y="23"/>
                  </a:cubicBez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7"/>
                    <a:pt x="26" y="27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29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31"/>
                    <a:pt x="29" y="32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2"/>
                    <a:pt x="28" y="32"/>
                  </a:cubicBezTo>
                  <a:cubicBezTo>
                    <a:pt x="28" y="33"/>
                    <a:pt x="28" y="33"/>
                    <a:pt x="29" y="33"/>
                  </a:cubicBezTo>
                  <a:cubicBezTo>
                    <a:pt x="29" y="33"/>
                    <a:pt x="29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4"/>
                    <a:pt x="29" y="34"/>
                    <a:pt x="29" y="35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7"/>
                    <a:pt x="30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0" y="37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30" y="38"/>
                    <a:pt x="31" y="38"/>
                    <a:pt x="31" y="39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9"/>
                    <a:pt x="31" y="38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2" y="39"/>
                    <a:pt x="31" y="38"/>
                    <a:pt x="31" y="38"/>
                  </a:cubicBezTo>
                  <a:cubicBezTo>
                    <a:pt x="32" y="39"/>
                    <a:pt x="32" y="39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40"/>
                    <a:pt x="33" y="40"/>
                  </a:cubicBezTo>
                  <a:cubicBezTo>
                    <a:pt x="33" y="40"/>
                    <a:pt x="32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1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2"/>
                    <a:pt x="34" y="42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3"/>
                    <a:pt x="33" y="43"/>
                  </a:cubicBezTo>
                  <a:cubicBezTo>
                    <a:pt x="34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4" y="43"/>
                    <a:pt x="33" y="43"/>
                    <a:pt x="34" y="43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5"/>
                    <a:pt x="35" y="45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6" y="46"/>
                    <a:pt x="35" y="46"/>
                  </a:cubicBezTo>
                  <a:cubicBezTo>
                    <a:pt x="36" y="47"/>
                    <a:pt x="36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9"/>
                    <a:pt x="37" y="48"/>
                    <a:pt x="37" y="49"/>
                  </a:cubicBezTo>
                  <a:cubicBezTo>
                    <a:pt x="37" y="49"/>
                    <a:pt x="38" y="50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38" y="52"/>
                    <a:pt x="38" y="51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6" y="49"/>
                    <a:pt x="36" y="48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4" y="45"/>
                    <a:pt x="35" y="45"/>
                    <a:pt x="35" y="45"/>
                  </a:cubicBezTo>
                  <a:cubicBezTo>
                    <a:pt x="35" y="45"/>
                    <a:pt x="34" y="45"/>
                    <a:pt x="35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3" y="44"/>
                    <a:pt x="33" y="43"/>
                  </a:cubicBezTo>
                  <a:cubicBezTo>
                    <a:pt x="33" y="43"/>
                    <a:pt x="33" y="43"/>
                    <a:pt x="33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4" y="44"/>
                    <a:pt x="33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5" y="46"/>
                    <a:pt x="34" y="46"/>
                  </a:cubicBezTo>
                  <a:cubicBezTo>
                    <a:pt x="34" y="46"/>
                    <a:pt x="34" y="46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3" y="46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1" y="42"/>
                  </a:cubicBezTo>
                  <a:cubicBezTo>
                    <a:pt x="32" y="42"/>
                    <a:pt x="32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3"/>
                    <a:pt x="32" y="43"/>
                  </a:cubicBezTo>
                  <a:cubicBezTo>
                    <a:pt x="32" y="43"/>
                    <a:pt x="33" y="43"/>
                    <a:pt x="33" y="43"/>
                  </a:cubicBezTo>
                  <a:cubicBezTo>
                    <a:pt x="33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2"/>
                  </a:cubicBezTo>
                  <a:cubicBezTo>
                    <a:pt x="33" y="42"/>
                    <a:pt x="33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1"/>
                    <a:pt x="32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2"/>
                  </a:cubicBezTo>
                  <a:cubicBezTo>
                    <a:pt x="32" y="42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39"/>
                    <a:pt x="30" y="39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30" y="37"/>
                  </a:cubicBezTo>
                  <a:cubicBezTo>
                    <a:pt x="30" y="37"/>
                    <a:pt x="29" y="36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7" y="34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5" y="30"/>
                    <a:pt x="26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7" y="33"/>
                    <a:pt x="27" y="34"/>
                    <a:pt x="28" y="34"/>
                  </a:cubicBezTo>
                  <a:cubicBezTo>
                    <a:pt x="27" y="34"/>
                    <a:pt x="27" y="34"/>
                    <a:pt x="28" y="34"/>
                  </a:cubicBezTo>
                  <a:cubicBezTo>
                    <a:pt x="27" y="35"/>
                    <a:pt x="27" y="34"/>
                    <a:pt x="27" y="34"/>
                  </a:cubicBezTo>
                  <a:cubicBezTo>
                    <a:pt x="27" y="34"/>
                    <a:pt x="28" y="35"/>
                    <a:pt x="27" y="35"/>
                  </a:cubicBezTo>
                  <a:cubicBezTo>
                    <a:pt x="27" y="35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9"/>
                  </a:cubicBezTo>
                  <a:cubicBezTo>
                    <a:pt x="29" y="38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8" y="38"/>
                    <a:pt x="29" y="39"/>
                  </a:cubicBezTo>
                  <a:cubicBezTo>
                    <a:pt x="29" y="38"/>
                    <a:pt x="28" y="39"/>
                    <a:pt x="28" y="38"/>
                  </a:cubicBezTo>
                  <a:cubicBezTo>
                    <a:pt x="28" y="38"/>
                    <a:pt x="28" y="38"/>
                    <a:pt x="28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7"/>
                    <a:pt x="28" y="39"/>
                    <a:pt x="29" y="39"/>
                  </a:cubicBezTo>
                  <a:cubicBezTo>
                    <a:pt x="29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40"/>
                    <a:pt x="29" y="40"/>
                  </a:cubicBezTo>
                  <a:cubicBezTo>
                    <a:pt x="29" y="40"/>
                    <a:pt x="29" y="40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1"/>
                  </a:cubicBezTo>
                  <a:cubicBezTo>
                    <a:pt x="29" y="41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1"/>
                    <a:pt x="29" y="41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9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0" y="44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4"/>
                    <a:pt x="31" y="44"/>
                  </a:cubicBezTo>
                  <a:cubicBezTo>
                    <a:pt x="31" y="44"/>
                    <a:pt x="30" y="44"/>
                    <a:pt x="30" y="44"/>
                  </a:cubicBezTo>
                  <a:cubicBezTo>
                    <a:pt x="30" y="44"/>
                    <a:pt x="31" y="44"/>
                    <a:pt x="31" y="44"/>
                  </a:cubicBezTo>
                  <a:cubicBezTo>
                    <a:pt x="30" y="44"/>
                    <a:pt x="31" y="44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3"/>
                    <a:pt x="31" y="44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2"/>
                    <a:pt x="31" y="43"/>
                    <a:pt x="31" y="43"/>
                  </a:cubicBezTo>
                  <a:cubicBezTo>
                    <a:pt x="31" y="43"/>
                    <a:pt x="31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4"/>
                    <a:pt x="31" y="44"/>
                  </a:cubicBezTo>
                  <a:cubicBezTo>
                    <a:pt x="31" y="44"/>
                    <a:pt x="31" y="44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1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5"/>
                    <a:pt x="32" y="45"/>
                  </a:cubicBezTo>
                  <a:cubicBezTo>
                    <a:pt x="32" y="45"/>
                    <a:pt x="32" y="45"/>
                    <a:pt x="33" y="46"/>
                  </a:cubicBezTo>
                  <a:cubicBezTo>
                    <a:pt x="32" y="46"/>
                    <a:pt x="33" y="46"/>
                    <a:pt x="32" y="46"/>
                  </a:cubicBezTo>
                  <a:cubicBezTo>
                    <a:pt x="33" y="46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5" y="49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3" y="49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2" y="47"/>
                    <a:pt x="33" y="47"/>
                    <a:pt x="32" y="47"/>
                  </a:cubicBezTo>
                  <a:cubicBezTo>
                    <a:pt x="32" y="47"/>
                    <a:pt x="33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2" y="45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0" y="44"/>
                    <a:pt x="30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5"/>
                    <a:pt x="31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ubicBezTo>
                    <a:pt x="29" y="44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3"/>
                    <a:pt x="29" y="42"/>
                    <a:pt x="28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2"/>
                    <a:pt x="29" y="42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1"/>
                    <a:pt x="28" y="41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7"/>
                    <a:pt x="25" y="36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7"/>
                    <a:pt x="25" y="37"/>
                    <a:pt x="25" y="37"/>
                  </a:cubicBezTo>
                  <a:cubicBezTo>
                    <a:pt x="25" y="37"/>
                    <a:pt x="25" y="37"/>
                    <a:pt x="25" y="36"/>
                  </a:cubicBezTo>
                  <a:cubicBezTo>
                    <a:pt x="25" y="37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6"/>
                    <a:pt x="25" y="37"/>
                    <a:pt x="25" y="37"/>
                  </a:cubicBezTo>
                  <a:cubicBezTo>
                    <a:pt x="25" y="37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6"/>
                    <a:pt x="23" y="36"/>
                    <a:pt x="24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5"/>
                    <a:pt x="22" y="35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4" y="35"/>
                    <a:pt x="24" y="36"/>
                  </a:cubicBezTo>
                  <a:cubicBezTo>
                    <a:pt x="24" y="35"/>
                    <a:pt x="23" y="35"/>
                    <a:pt x="23" y="35"/>
                  </a:cubicBezTo>
                  <a:cubicBezTo>
                    <a:pt x="23" y="35"/>
                    <a:pt x="24" y="35"/>
                    <a:pt x="24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3" y="34"/>
                    <a:pt x="23" y="35"/>
                    <a:pt x="23" y="35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2" y="34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7"/>
                  </a:cubicBezTo>
                  <a:cubicBezTo>
                    <a:pt x="23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6"/>
                  </a:cubicBezTo>
                  <a:cubicBezTo>
                    <a:pt x="23" y="36"/>
                    <a:pt x="23" y="36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4" y="37"/>
                    <a:pt x="23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9"/>
                    <a:pt x="25" y="39"/>
                    <a:pt x="25" y="40"/>
                  </a:cubicBezTo>
                  <a:cubicBezTo>
                    <a:pt x="25" y="40"/>
                    <a:pt x="25" y="39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6" y="41"/>
                    <a:pt x="25" y="41"/>
                    <a:pt x="25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2"/>
                  </a:cubicBezTo>
                  <a:cubicBezTo>
                    <a:pt x="26" y="42"/>
                    <a:pt x="26" y="41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3"/>
                    <a:pt x="27" y="44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5" y="42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3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8"/>
                    <a:pt x="22" y="38"/>
                  </a:cubicBezTo>
                  <a:cubicBezTo>
                    <a:pt x="22" y="38"/>
                    <a:pt x="23" y="38"/>
                    <a:pt x="23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8"/>
                    <a:pt x="22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8"/>
                  </a:cubicBezTo>
                  <a:cubicBezTo>
                    <a:pt x="20" y="37"/>
                    <a:pt x="21" y="37"/>
                    <a:pt x="21" y="3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5"/>
                    <a:pt x="19" y="35"/>
                  </a:cubicBezTo>
                  <a:cubicBezTo>
                    <a:pt x="19" y="35"/>
                    <a:pt x="19" y="35"/>
                    <a:pt x="19" y="36"/>
                  </a:cubicBezTo>
                  <a:cubicBezTo>
                    <a:pt x="19" y="36"/>
                    <a:pt x="19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8"/>
                    <a:pt x="2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7"/>
                    <a:pt x="20" y="38"/>
                    <a:pt x="20" y="38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9" y="37"/>
                  </a:cubicBezTo>
                  <a:cubicBezTo>
                    <a:pt x="19" y="37"/>
                    <a:pt x="19" y="36"/>
                    <a:pt x="19" y="37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8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8" y="34"/>
                  </a:cubicBezTo>
                  <a:cubicBezTo>
                    <a:pt x="18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7" y="33"/>
                    <a:pt x="17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6" y="32"/>
                    <a:pt x="16" y="33"/>
                  </a:cubicBezTo>
                  <a:cubicBezTo>
                    <a:pt x="16" y="32"/>
                    <a:pt x="16" y="32"/>
                    <a:pt x="15" y="32"/>
                  </a:cubicBezTo>
                  <a:cubicBezTo>
                    <a:pt x="15" y="32"/>
                    <a:pt x="16" y="32"/>
                    <a:pt x="15" y="32"/>
                  </a:cubicBezTo>
                  <a:cubicBezTo>
                    <a:pt x="15" y="32"/>
                    <a:pt x="15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2"/>
                    <a:pt x="14" y="31"/>
                    <a:pt x="14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5" y="32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2"/>
                    <a:pt x="14" y="33"/>
                    <a:pt x="14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3" y="32"/>
                    <a:pt x="14" y="32"/>
                    <a:pt x="14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2" y="30"/>
                    <a:pt x="13" y="30"/>
                    <a:pt x="13" y="30"/>
                  </a:cubicBezTo>
                  <a:cubicBezTo>
                    <a:pt x="13" y="30"/>
                    <a:pt x="12" y="30"/>
                    <a:pt x="12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8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0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9" y="27"/>
                    <a:pt x="9" y="27"/>
                  </a:cubicBezTo>
                  <a:cubicBezTo>
                    <a:pt x="9" y="27"/>
                    <a:pt x="9" y="28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8" y="26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8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7" y="22"/>
                    <a:pt x="8" y="22"/>
                    <a:pt x="8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0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7" y="22"/>
                    <a:pt x="6" y="21"/>
                    <a:pt x="7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6" y="19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4" y="17"/>
                    <a:pt x="5" y="17"/>
                    <a:pt x="5" y="18"/>
                  </a:cubicBezTo>
                  <a:cubicBezTo>
                    <a:pt x="4" y="18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7"/>
                    <a:pt x="4" y="16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5"/>
                    <a:pt x="3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5"/>
                    <a:pt x="2" y="14"/>
                    <a:pt x="2" y="14"/>
                  </a:cubicBezTo>
                  <a:cubicBezTo>
                    <a:pt x="3" y="14"/>
                    <a:pt x="2" y="14"/>
                    <a:pt x="3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1" y="12"/>
                  </a:cubicBezTo>
                  <a:cubicBezTo>
                    <a:pt x="1" y="12"/>
                    <a:pt x="1" y="12"/>
                    <a:pt x="1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3"/>
                    <a:pt x="10" y="3"/>
                  </a:cubicBezTo>
                  <a:cubicBezTo>
                    <a:pt x="11" y="4"/>
                    <a:pt x="12" y="4"/>
                    <a:pt x="13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5" y="6"/>
                    <a:pt x="15" y="7"/>
                  </a:cubicBezTo>
                  <a:cubicBezTo>
                    <a:pt x="15" y="7"/>
                    <a:pt x="16" y="8"/>
                    <a:pt x="16" y="8"/>
                  </a:cubicBezTo>
                  <a:cubicBezTo>
                    <a:pt x="16" y="9"/>
                    <a:pt x="16" y="9"/>
                    <a:pt x="17" y="9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1" y="29"/>
                    <a:pt x="11" y="29"/>
                  </a:cubicBezTo>
                  <a:close/>
                  <a:moveTo>
                    <a:pt x="11" y="28"/>
                  </a:moveTo>
                  <a:cubicBezTo>
                    <a:pt x="12" y="28"/>
                    <a:pt x="12" y="29"/>
                    <a:pt x="12" y="29"/>
                  </a:cubicBezTo>
                  <a:cubicBezTo>
                    <a:pt x="12" y="28"/>
                    <a:pt x="12" y="28"/>
                    <a:pt x="11" y="28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3" y="30"/>
                  </a:move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lose/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3" y="30"/>
                    <a:pt x="14" y="30"/>
                    <a:pt x="14" y="30"/>
                  </a:cubicBezTo>
                  <a:close/>
                  <a:moveTo>
                    <a:pt x="14" y="30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0"/>
                    <a:pt x="14" y="30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5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4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  <a:moveTo>
                    <a:pt x="14" y="29"/>
                  </a:moveTo>
                  <a:cubicBezTo>
                    <a:pt x="14" y="29"/>
                    <a:pt x="13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lose/>
                  <a:moveTo>
                    <a:pt x="16" y="32"/>
                  </a:moveTo>
                  <a:cubicBezTo>
                    <a:pt x="16" y="32"/>
                    <a:pt x="15" y="32"/>
                    <a:pt x="16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2"/>
                    <a:pt x="15" y="32"/>
                  </a:cubicBezTo>
                  <a:cubicBezTo>
                    <a:pt x="15" y="32"/>
                    <a:pt x="16" y="32"/>
                    <a:pt x="16" y="32"/>
                  </a:cubicBezTo>
                  <a:close/>
                  <a:moveTo>
                    <a:pt x="16" y="32"/>
                  </a:moveTo>
                  <a:cubicBezTo>
                    <a:pt x="16" y="32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lose/>
                  <a:moveTo>
                    <a:pt x="17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lose/>
                  <a:moveTo>
                    <a:pt x="18" y="34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4"/>
                    <a:pt x="18" y="34"/>
                  </a:cubicBezTo>
                  <a:close/>
                  <a:moveTo>
                    <a:pt x="18" y="33"/>
                  </a:move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lose/>
                  <a:moveTo>
                    <a:pt x="18" y="33"/>
                  </a:moveTo>
                  <a:cubicBezTo>
                    <a:pt x="17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8" y="33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4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5"/>
                  </a:cubicBezTo>
                  <a:cubicBezTo>
                    <a:pt x="19" y="34"/>
                    <a:pt x="19" y="35"/>
                    <a:pt x="19" y="35"/>
                  </a:cubicBezTo>
                  <a:close/>
                  <a:moveTo>
                    <a:pt x="22" y="36"/>
                  </a:moveTo>
                  <a:cubicBezTo>
                    <a:pt x="22" y="36"/>
                    <a:pt x="21" y="36"/>
                    <a:pt x="21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6"/>
                  </a:cubicBezTo>
                  <a:close/>
                  <a:moveTo>
                    <a:pt x="22" y="36"/>
                  </a:move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7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2" y="36"/>
                    <a:pt x="22" y="36"/>
                  </a:cubicBezTo>
                  <a:close/>
                  <a:moveTo>
                    <a:pt x="24" y="38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4" y="38"/>
                    <a:pt x="23" y="38"/>
                    <a:pt x="24" y="38"/>
                  </a:cubicBezTo>
                  <a:close/>
                  <a:moveTo>
                    <a:pt x="24" y="39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39"/>
                    <a:pt x="24" y="39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3" y="38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0" y="33"/>
                  </a:moveTo>
                  <a:cubicBezTo>
                    <a:pt x="20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3"/>
                  </a:cubicBezTo>
                  <a:close/>
                  <a:moveTo>
                    <a:pt x="15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lose/>
                  <a:moveTo>
                    <a:pt x="21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1" y="31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1" y="31"/>
                    <a:pt x="21" y="32"/>
                    <a:pt x="20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0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19" y="31"/>
                  </a:moveTo>
                  <a:cubicBezTo>
                    <a:pt x="19" y="30"/>
                    <a:pt x="20" y="31"/>
                    <a:pt x="19" y="31"/>
                  </a:cubicBezTo>
                  <a:cubicBezTo>
                    <a:pt x="19" y="31"/>
                    <a:pt x="19" y="30"/>
                    <a:pt x="19" y="30"/>
                  </a:cubicBezTo>
                  <a:cubicBezTo>
                    <a:pt x="19" y="30"/>
                    <a:pt x="19" y="31"/>
                    <a:pt x="19" y="31"/>
                  </a:cubicBezTo>
                  <a:close/>
                  <a:moveTo>
                    <a:pt x="22" y="33"/>
                  </a:moveTo>
                  <a:cubicBezTo>
                    <a:pt x="22" y="34"/>
                    <a:pt x="22" y="33"/>
                    <a:pt x="21" y="33"/>
                  </a:cubicBezTo>
                  <a:cubicBezTo>
                    <a:pt x="22" y="34"/>
                    <a:pt x="21" y="34"/>
                    <a:pt x="22" y="34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1" y="34"/>
                    <a:pt x="21" y="34"/>
                    <a:pt x="22" y="34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2" y="34"/>
                    <a:pt x="22" y="33"/>
                  </a:cubicBezTo>
                  <a:cubicBezTo>
                    <a:pt x="22" y="33"/>
                    <a:pt x="22" y="33"/>
                    <a:pt x="21" y="33"/>
                  </a:cubicBezTo>
                  <a:close/>
                  <a:moveTo>
                    <a:pt x="22" y="33"/>
                  </a:moveTo>
                  <a:cubicBezTo>
                    <a:pt x="21" y="33"/>
                    <a:pt x="21" y="33"/>
                    <a:pt x="21" y="32"/>
                  </a:cubicBezTo>
                  <a:cubicBezTo>
                    <a:pt x="21" y="33"/>
                    <a:pt x="21" y="32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lose/>
                  <a:moveTo>
                    <a:pt x="22" y="33"/>
                  </a:move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lose/>
                  <a:moveTo>
                    <a:pt x="22" y="32"/>
                  </a:move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21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lose/>
                  <a:moveTo>
                    <a:pt x="23" y="34"/>
                  </a:move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3" y="33"/>
                    <a:pt x="23" y="33"/>
                  </a:cubicBezTo>
                  <a:cubicBezTo>
                    <a:pt x="23" y="33"/>
                    <a:pt x="23" y="33"/>
                    <a:pt x="22" y="33"/>
                  </a:cubicBezTo>
                  <a:cubicBezTo>
                    <a:pt x="23" y="34"/>
                    <a:pt x="23" y="33"/>
                    <a:pt x="23" y="3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5" y="36"/>
                  </a:moveTo>
                  <a:cubicBezTo>
                    <a:pt x="25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5" y="36"/>
                    <a:pt x="25" y="36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3" y="48"/>
                    <a:pt x="33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lose/>
                  <a:moveTo>
                    <a:pt x="32" y="45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3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6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6" y="38"/>
                    <a:pt x="26" y="38"/>
                  </a:cubicBezTo>
                  <a:close/>
                  <a:moveTo>
                    <a:pt x="28" y="40"/>
                  </a:moveTo>
                  <a:cubicBezTo>
                    <a:pt x="28" y="40"/>
                    <a:pt x="28" y="40"/>
                    <a:pt x="28" y="41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9" y="40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8" y="41"/>
                    <a:pt x="28" y="41"/>
                  </a:cubicBezTo>
                  <a:cubicBezTo>
                    <a:pt x="28" y="41"/>
                    <a:pt x="28" y="41"/>
                    <a:pt x="29" y="41"/>
                  </a:cubicBezTo>
                  <a:cubicBezTo>
                    <a:pt x="28" y="41"/>
                    <a:pt x="28" y="40"/>
                    <a:pt x="29" y="40"/>
                  </a:cubicBezTo>
                  <a:close/>
                  <a:moveTo>
                    <a:pt x="28" y="40"/>
                  </a:moveTo>
                  <a:cubicBezTo>
                    <a:pt x="28" y="39"/>
                    <a:pt x="28" y="40"/>
                    <a:pt x="28" y="40"/>
                  </a:cubicBezTo>
                  <a:cubicBezTo>
                    <a:pt x="28" y="39"/>
                    <a:pt x="27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8"/>
                    <a:pt x="27" y="38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7" y="36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lose/>
                  <a:moveTo>
                    <a:pt x="27" y="36"/>
                  </a:moveTo>
                  <a:cubicBezTo>
                    <a:pt x="26" y="36"/>
                    <a:pt x="27" y="35"/>
                    <a:pt x="26" y="35"/>
                  </a:cubicBezTo>
                  <a:cubicBezTo>
                    <a:pt x="26" y="35"/>
                    <a:pt x="26" y="36"/>
                    <a:pt x="27" y="36"/>
                  </a:cubicBezTo>
                  <a:close/>
                  <a:moveTo>
                    <a:pt x="27" y="37"/>
                  </a:moveTo>
                  <a:cubicBezTo>
                    <a:pt x="27" y="37"/>
                    <a:pt x="27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lose/>
                  <a:moveTo>
                    <a:pt x="23" y="28"/>
                  </a:moveTo>
                  <a:cubicBezTo>
                    <a:pt x="23" y="29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5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2"/>
                    <a:pt x="26" y="32"/>
                    <a:pt x="25" y="32"/>
                  </a:cubicBezTo>
                  <a:close/>
                  <a:moveTo>
                    <a:pt x="24" y="30"/>
                  </a:moveTo>
                  <a:cubicBezTo>
                    <a:pt x="24" y="30"/>
                    <a:pt x="24" y="30"/>
                    <a:pt x="24" y="29"/>
                  </a:cubicBezTo>
                  <a:cubicBezTo>
                    <a:pt x="24" y="29"/>
                    <a:pt x="24" y="30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lnTo>
                    <a:pt x="24" y="30"/>
                  </a:lnTo>
                  <a:close/>
                  <a:moveTo>
                    <a:pt x="24" y="30"/>
                  </a:moveTo>
                  <a:cubicBezTo>
                    <a:pt x="24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5" y="31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7" y="35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5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5"/>
                    <a:pt x="27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7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2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2"/>
                  </a:cubicBezTo>
                  <a:cubicBezTo>
                    <a:pt x="25" y="32"/>
                    <a:pt x="25" y="31"/>
                    <a:pt x="25" y="31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27" y="34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lose/>
                  <a:moveTo>
                    <a:pt x="27" y="33"/>
                  </a:moveTo>
                  <a:cubicBezTo>
                    <a:pt x="27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7" y="33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3" y="27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23" y="27"/>
                  </a:lnTo>
                  <a:close/>
                  <a:moveTo>
                    <a:pt x="24" y="29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lnTo>
                    <a:pt x="24" y="29"/>
                  </a:lnTo>
                  <a:close/>
                  <a:moveTo>
                    <a:pt x="25" y="29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29"/>
                  </a:cubicBezTo>
                  <a:close/>
                  <a:moveTo>
                    <a:pt x="34" y="45"/>
                  </a:moveTo>
                  <a:cubicBezTo>
                    <a:pt x="33" y="45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lose/>
                  <a:moveTo>
                    <a:pt x="31" y="40"/>
                  </a:moveTo>
                  <a:cubicBezTo>
                    <a:pt x="32" y="40"/>
                    <a:pt x="32" y="40"/>
                    <a:pt x="32" y="41"/>
                  </a:cubicBezTo>
                  <a:cubicBezTo>
                    <a:pt x="32" y="40"/>
                    <a:pt x="32" y="40"/>
                    <a:pt x="31" y="40"/>
                  </a:cubicBezTo>
                  <a:close/>
                  <a:moveTo>
                    <a:pt x="32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lose/>
                  <a:moveTo>
                    <a:pt x="32" y="40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0"/>
                    <a:pt x="32" y="40"/>
                  </a:cubicBezTo>
                  <a:cubicBezTo>
                    <a:pt x="32" y="40"/>
                    <a:pt x="32" y="40"/>
                    <a:pt x="32" y="39"/>
                  </a:cubicBezTo>
                  <a:cubicBezTo>
                    <a:pt x="32" y="40"/>
                    <a:pt x="32" y="39"/>
                    <a:pt x="32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lose/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39"/>
                  </a:cubicBezTo>
                  <a:cubicBezTo>
                    <a:pt x="31" y="39"/>
                    <a:pt x="31" y="40"/>
                    <a:pt x="31" y="40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1"/>
                    <a:pt x="27" y="31"/>
                  </a:cubicBezTo>
                  <a:cubicBezTo>
                    <a:pt x="26" y="32"/>
                    <a:pt x="27" y="32"/>
                    <a:pt x="27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3"/>
                    <a:pt x="27" y="33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4"/>
                  </a:cubicBezTo>
                  <a:cubicBezTo>
                    <a:pt x="28" y="33"/>
                    <a:pt x="27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3"/>
                    <a:pt x="27" y="33"/>
                    <a:pt x="28" y="33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5"/>
                    <a:pt x="29" y="35"/>
                  </a:cubicBezTo>
                  <a:cubicBezTo>
                    <a:pt x="28" y="35"/>
                    <a:pt x="28" y="34"/>
                    <a:pt x="28" y="34"/>
                  </a:cubicBezTo>
                  <a:close/>
                  <a:moveTo>
                    <a:pt x="27" y="32"/>
                  </a:moveTo>
                  <a:cubicBezTo>
                    <a:pt x="27" y="32"/>
                    <a:pt x="28" y="32"/>
                    <a:pt x="27" y="32"/>
                  </a:cubicBezTo>
                  <a:cubicBezTo>
                    <a:pt x="27" y="33"/>
                    <a:pt x="28" y="32"/>
                    <a:pt x="28" y="33"/>
                  </a:cubicBezTo>
                  <a:cubicBezTo>
                    <a:pt x="27" y="33"/>
                    <a:pt x="28" y="33"/>
                    <a:pt x="28" y="34"/>
                  </a:cubicBezTo>
                  <a:cubicBezTo>
                    <a:pt x="28" y="33"/>
                    <a:pt x="28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9" y="34"/>
                  </a:cubicBezTo>
                  <a:cubicBezTo>
                    <a:pt x="28" y="34"/>
                    <a:pt x="28" y="33"/>
                    <a:pt x="28" y="33"/>
                  </a:cubicBezTo>
                  <a:close/>
                  <a:moveTo>
                    <a:pt x="27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1"/>
                  </a:cubicBezTo>
                  <a:cubicBezTo>
                    <a:pt x="26" y="31"/>
                    <a:pt x="26" y="30"/>
                    <a:pt x="26" y="3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0"/>
                  </a:cubicBezTo>
                  <a:cubicBezTo>
                    <a:pt x="26" y="31"/>
                    <a:pt x="26" y="31"/>
                    <a:pt x="27" y="32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7" y="31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3"/>
                    <a:pt x="28" y="33"/>
                    <a:pt x="28" y="33"/>
                  </a:cubicBezTo>
                  <a:close/>
                  <a:moveTo>
                    <a:pt x="28" y="32"/>
                  </a:move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6" y="28"/>
                  </a:move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2"/>
                    <a:pt x="23" y="22"/>
                  </a:cubicBezTo>
                  <a:cubicBezTo>
                    <a:pt x="24" y="22"/>
                    <a:pt x="23" y="22"/>
                    <a:pt x="23" y="22"/>
                  </a:cubicBezTo>
                  <a:cubicBezTo>
                    <a:pt x="24" y="22"/>
                    <a:pt x="24" y="23"/>
                    <a:pt x="24" y="22"/>
                  </a:cubicBezTo>
                  <a:close/>
                  <a:moveTo>
                    <a:pt x="23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3" y="20"/>
                    <a:pt x="23" y="21"/>
                  </a:cubicBezTo>
                  <a:cubicBezTo>
                    <a:pt x="22" y="21"/>
                    <a:pt x="22" y="20"/>
                    <a:pt x="22" y="20"/>
                  </a:cubicBezTo>
                  <a:cubicBezTo>
                    <a:pt x="22" y="20"/>
                    <a:pt x="22" y="21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6"/>
                    <a:pt x="29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7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0"/>
                    <a:pt x="7" y="1"/>
                    <a:pt x="7" y="1"/>
                  </a:cubicBezTo>
                  <a:close/>
                  <a:moveTo>
                    <a:pt x="17" y="37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lose/>
                  <a:moveTo>
                    <a:pt x="22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1"/>
                    <a:pt x="24" y="42"/>
                  </a:cubicBezTo>
                  <a:cubicBezTo>
                    <a:pt x="23" y="42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3" y="39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39"/>
                    <a:pt x="23" y="39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2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23" y="42"/>
                    <a:pt x="24" y="42"/>
                    <a:pt x="24" y="43"/>
                  </a:cubicBezTo>
                  <a:cubicBezTo>
                    <a:pt x="24" y="43"/>
                    <a:pt x="23" y="41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2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2"/>
                  </a:moveTo>
                  <a:cubicBezTo>
                    <a:pt x="27" y="41"/>
                    <a:pt x="26" y="41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1"/>
                    <a:pt x="26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5" y="41"/>
                  </a:moveTo>
                  <a:cubicBezTo>
                    <a:pt x="25" y="41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1"/>
                    <a:pt x="25" y="41"/>
                  </a:cubicBezTo>
                  <a:close/>
                  <a:moveTo>
                    <a:pt x="27" y="41"/>
                  </a:moveTo>
                  <a:cubicBezTo>
                    <a:pt x="26" y="40"/>
                    <a:pt x="27" y="40"/>
                    <a:pt x="26" y="40"/>
                  </a:cubicBezTo>
                  <a:cubicBezTo>
                    <a:pt x="26" y="40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1" y="40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41"/>
                    <a:pt x="30" y="41"/>
                    <a:pt x="31" y="41"/>
                  </a:cubicBezTo>
                  <a:cubicBezTo>
                    <a:pt x="31" y="41"/>
                    <a:pt x="30" y="41"/>
                    <a:pt x="30" y="41"/>
                  </a:cubicBezTo>
                  <a:cubicBezTo>
                    <a:pt x="30" y="41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29" y="40"/>
                  </a:cubicBezTo>
                  <a:cubicBezTo>
                    <a:pt x="30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8"/>
                  </a:cubicBezTo>
                  <a:cubicBezTo>
                    <a:pt x="30" y="38"/>
                    <a:pt x="30" y="39"/>
                    <a:pt x="30" y="39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5" y="43"/>
                  </a:moveTo>
                  <a:cubicBezTo>
                    <a:pt x="26" y="44"/>
                    <a:pt x="26" y="45"/>
                    <a:pt x="27" y="46"/>
                  </a:cubicBezTo>
                  <a:cubicBezTo>
                    <a:pt x="27" y="46"/>
                    <a:pt x="26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4"/>
                    <a:pt x="25" y="43"/>
                    <a:pt x="25" y="42"/>
                  </a:cubicBezTo>
                  <a:cubicBezTo>
                    <a:pt x="24" y="42"/>
                    <a:pt x="25" y="42"/>
                    <a:pt x="25" y="42"/>
                  </a:cubicBezTo>
                  <a:cubicBezTo>
                    <a:pt x="25" y="42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4" y="43"/>
                  </a:cubicBezTo>
                  <a:cubicBezTo>
                    <a:pt x="24" y="43"/>
                    <a:pt x="25" y="43"/>
                    <a:pt x="25" y="43"/>
                  </a:cubicBezTo>
                  <a:close/>
                  <a:moveTo>
                    <a:pt x="3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1"/>
                  </a:cubicBezTo>
                  <a:cubicBezTo>
                    <a:pt x="30" y="41"/>
                    <a:pt x="30" y="41"/>
                    <a:pt x="29" y="40"/>
                  </a:cubicBezTo>
                  <a:cubicBezTo>
                    <a:pt x="29" y="40"/>
                    <a:pt x="30" y="40"/>
                    <a:pt x="30" y="40"/>
                  </a:cubicBezTo>
                  <a:cubicBezTo>
                    <a:pt x="29" y="40"/>
                    <a:pt x="30" y="40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0" y="42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23" y="45"/>
                  </a:moveTo>
                  <a:cubicBezTo>
                    <a:pt x="23" y="46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lose/>
                  <a:moveTo>
                    <a:pt x="24" y="44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7" y="45"/>
                  </a:moveTo>
                  <a:cubicBezTo>
                    <a:pt x="27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9" y="46"/>
                    <a:pt x="29" y="47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8" y="46"/>
                    <a:pt x="28" y="46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30" y="47"/>
                  </a:moveTo>
                  <a:cubicBezTo>
                    <a:pt x="30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0" y="49"/>
                    <a:pt x="30" y="48"/>
                    <a:pt x="30" y="47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ubicBezTo>
                    <a:pt x="29" y="50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30" y="49"/>
                    <a:pt x="30" y="50"/>
                  </a:cubicBezTo>
                  <a:close/>
                  <a:moveTo>
                    <a:pt x="29" y="51"/>
                  </a:moveTo>
                  <a:cubicBezTo>
                    <a:pt x="30" y="52"/>
                    <a:pt x="30" y="52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2"/>
                    <a:pt x="30" y="53"/>
                  </a:cubicBezTo>
                  <a:cubicBezTo>
                    <a:pt x="29" y="52"/>
                    <a:pt x="29" y="51"/>
                    <a:pt x="28" y="50"/>
                  </a:cubicBezTo>
                  <a:cubicBezTo>
                    <a:pt x="29" y="50"/>
                    <a:pt x="29" y="51"/>
                    <a:pt x="29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1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38" y="49"/>
                  </a:moveTo>
                  <a:cubicBezTo>
                    <a:pt x="39" y="49"/>
                    <a:pt x="38" y="48"/>
                    <a:pt x="38" y="48"/>
                  </a:cubicBezTo>
                  <a:cubicBezTo>
                    <a:pt x="38" y="48"/>
                    <a:pt x="38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0"/>
                    <a:pt x="38" y="51"/>
                  </a:cubicBezTo>
                  <a:cubicBezTo>
                    <a:pt x="38" y="51"/>
                    <a:pt x="37" y="51"/>
                    <a:pt x="37" y="51"/>
                  </a:cubicBezTo>
                  <a:cubicBezTo>
                    <a:pt x="38" y="51"/>
                    <a:pt x="38" y="52"/>
                    <a:pt x="38" y="52"/>
                  </a:cubicBezTo>
                  <a:cubicBezTo>
                    <a:pt x="38" y="52"/>
                    <a:pt x="37" y="51"/>
                    <a:pt x="37" y="51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3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41" y="55"/>
                  </a:moveTo>
                  <a:cubicBezTo>
                    <a:pt x="40" y="55"/>
                    <a:pt x="40" y="55"/>
                    <a:pt x="40" y="55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6"/>
                    <a:pt x="39" y="55"/>
                    <a:pt x="39" y="54"/>
                  </a:cubicBezTo>
                  <a:cubicBezTo>
                    <a:pt x="39" y="53"/>
                    <a:pt x="38" y="53"/>
                    <a:pt x="38" y="52"/>
                  </a:cubicBezTo>
                  <a:cubicBezTo>
                    <a:pt x="38" y="52"/>
                    <a:pt x="38" y="52"/>
                    <a:pt x="38" y="53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2"/>
                    <a:pt x="38" y="53"/>
                  </a:cubicBezTo>
                  <a:cubicBezTo>
                    <a:pt x="39" y="53"/>
                    <a:pt x="40" y="54"/>
                    <a:pt x="40" y="55"/>
                  </a:cubicBezTo>
                  <a:cubicBezTo>
                    <a:pt x="40" y="55"/>
                    <a:pt x="40" y="55"/>
                    <a:pt x="41" y="55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1" y="54"/>
                    <a:pt x="41" y="53"/>
                    <a:pt x="41" y="53"/>
                  </a:cubicBezTo>
                  <a:cubicBezTo>
                    <a:pt x="41" y="53"/>
                    <a:pt x="41" y="54"/>
                    <a:pt x="41" y="54"/>
                  </a:cubicBezTo>
                  <a:cubicBezTo>
                    <a:pt x="41" y="54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1" y="53"/>
                    <a:pt x="40" y="52"/>
                    <a:pt x="40" y="52"/>
                  </a:cubicBezTo>
                  <a:cubicBezTo>
                    <a:pt x="41" y="52"/>
                    <a:pt x="40" y="53"/>
                    <a:pt x="41" y="53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2" y="54"/>
                  </a:move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2" y="54"/>
                    <a:pt x="42" y="54"/>
                  </a:cubicBezTo>
                  <a:close/>
                  <a:moveTo>
                    <a:pt x="38" y="56"/>
                  </a:moveTo>
                  <a:cubicBezTo>
                    <a:pt x="39" y="57"/>
                    <a:pt x="39" y="56"/>
                    <a:pt x="39" y="57"/>
                  </a:cubicBezTo>
                  <a:cubicBezTo>
                    <a:pt x="39" y="57"/>
                    <a:pt x="39" y="56"/>
                    <a:pt x="39" y="56"/>
                  </a:cubicBezTo>
                  <a:cubicBezTo>
                    <a:pt x="39" y="56"/>
                    <a:pt x="39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8"/>
                    <a:pt x="39" y="58"/>
                  </a:cubicBezTo>
                  <a:cubicBezTo>
                    <a:pt x="38" y="58"/>
                    <a:pt x="39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9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5"/>
                  </a:moveTo>
                  <a:cubicBezTo>
                    <a:pt x="39" y="55"/>
                    <a:pt x="39" y="56"/>
                    <a:pt x="39" y="56"/>
                  </a:cubicBezTo>
                  <a:cubicBezTo>
                    <a:pt x="39" y="56"/>
                    <a:pt x="39" y="56"/>
                    <a:pt x="38" y="55"/>
                  </a:cubicBezTo>
                  <a:close/>
                  <a:moveTo>
                    <a:pt x="39" y="58"/>
                  </a:moveTo>
                  <a:cubicBezTo>
                    <a:pt x="39" y="57"/>
                    <a:pt x="40" y="57"/>
                    <a:pt x="40" y="58"/>
                  </a:cubicBezTo>
                  <a:cubicBezTo>
                    <a:pt x="40" y="57"/>
                    <a:pt x="40" y="58"/>
                    <a:pt x="39" y="58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1" y="58"/>
                  </a:cubicBezTo>
                  <a:cubicBezTo>
                    <a:pt x="41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42" y="60"/>
                  </a:moveTo>
                  <a:cubicBezTo>
                    <a:pt x="43" y="60"/>
                    <a:pt x="42" y="60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1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1" y="57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8"/>
                    <a:pt x="42" y="58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4" y="59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59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8"/>
                  </a:cubicBezTo>
                  <a:cubicBezTo>
                    <a:pt x="44" y="58"/>
                    <a:pt x="44" y="59"/>
                    <a:pt x="44" y="59"/>
                  </a:cubicBezTo>
                  <a:cubicBezTo>
                    <a:pt x="44" y="59"/>
                    <a:pt x="45" y="59"/>
                    <a:pt x="45" y="60"/>
                  </a:cubicBezTo>
                  <a:cubicBezTo>
                    <a:pt x="45" y="60"/>
                    <a:pt x="45" y="60"/>
                    <a:pt x="45" y="59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5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0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0"/>
                    <a:pt x="45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6" y="61"/>
                    <a:pt x="46" y="61"/>
                    <a:pt x="47" y="62"/>
                  </a:cubicBezTo>
                  <a:cubicBezTo>
                    <a:pt x="47" y="62"/>
                    <a:pt x="46" y="62"/>
                    <a:pt x="46" y="62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4"/>
                    <a:pt x="47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4"/>
                  </a:cubicBezTo>
                  <a:cubicBezTo>
                    <a:pt x="47" y="64"/>
                    <a:pt x="46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7" y="63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6" y="64"/>
                    <a:pt x="46" y="64"/>
                  </a:cubicBezTo>
                  <a:cubicBezTo>
                    <a:pt x="46" y="64"/>
                    <a:pt x="46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5"/>
                    <a:pt x="46" y="64"/>
                    <a:pt x="46" y="65"/>
                  </a:cubicBezTo>
                  <a:cubicBezTo>
                    <a:pt x="46" y="65"/>
                    <a:pt x="46" y="64"/>
                    <a:pt x="47" y="64"/>
                  </a:cubicBezTo>
                  <a:cubicBezTo>
                    <a:pt x="47" y="64"/>
                    <a:pt x="46" y="64"/>
                    <a:pt x="47" y="64"/>
                  </a:cubicBezTo>
                  <a:cubicBezTo>
                    <a:pt x="47" y="64"/>
                    <a:pt x="47" y="64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6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5"/>
                    <a:pt x="46" y="65"/>
                    <a:pt x="46" y="65"/>
                  </a:cubicBezTo>
                  <a:cubicBezTo>
                    <a:pt x="46" y="65"/>
                    <a:pt x="46" y="65"/>
                    <a:pt x="47" y="65"/>
                  </a:cubicBezTo>
                  <a:cubicBezTo>
                    <a:pt x="46" y="65"/>
                    <a:pt x="46" y="65"/>
                    <a:pt x="46" y="66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3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2"/>
                  </a:cubicBezTo>
                  <a:cubicBezTo>
                    <a:pt x="45" y="63"/>
                    <a:pt x="45" y="62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4" y="62"/>
                  </a:cubicBezTo>
                  <a:cubicBezTo>
                    <a:pt x="45" y="62"/>
                    <a:pt x="45" y="62"/>
                    <a:pt x="45" y="63"/>
                  </a:cubicBezTo>
                  <a:cubicBezTo>
                    <a:pt x="44" y="63"/>
                    <a:pt x="44" y="63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5" y="62"/>
                    <a:pt x="44" y="62"/>
                    <a:pt x="45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4"/>
                    <a:pt x="45" y="64"/>
                    <a:pt x="45" y="65"/>
                  </a:cubicBezTo>
                  <a:cubicBezTo>
                    <a:pt x="45" y="65"/>
                    <a:pt x="45" y="65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7"/>
                  </a:cubicBezTo>
                  <a:cubicBezTo>
                    <a:pt x="46" y="67"/>
                    <a:pt x="46" y="66"/>
                    <a:pt x="45" y="66"/>
                  </a:cubicBezTo>
                  <a:cubicBezTo>
                    <a:pt x="46" y="66"/>
                    <a:pt x="45" y="65"/>
                    <a:pt x="46" y="66"/>
                  </a:cubicBezTo>
                  <a:cubicBezTo>
                    <a:pt x="46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4"/>
                    <a:pt x="44" y="62"/>
                    <a:pt x="43" y="61"/>
                  </a:cubicBezTo>
                  <a:cubicBezTo>
                    <a:pt x="42" y="61"/>
                    <a:pt x="43" y="62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2"/>
                    <a:pt x="42" y="62"/>
                  </a:cubicBezTo>
                  <a:cubicBezTo>
                    <a:pt x="43" y="62"/>
                    <a:pt x="43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1"/>
                    <a:pt x="42" y="61"/>
                    <a:pt x="42" y="62"/>
                  </a:cubicBezTo>
                  <a:cubicBezTo>
                    <a:pt x="43" y="62"/>
                    <a:pt x="42" y="62"/>
                    <a:pt x="43" y="63"/>
                  </a:cubicBezTo>
                  <a:cubicBezTo>
                    <a:pt x="42" y="63"/>
                    <a:pt x="43" y="64"/>
                    <a:pt x="43" y="63"/>
                  </a:cubicBezTo>
                  <a:cubicBezTo>
                    <a:pt x="43" y="63"/>
                    <a:pt x="43" y="64"/>
                    <a:pt x="43" y="64"/>
                  </a:cubicBezTo>
                  <a:cubicBezTo>
                    <a:pt x="43" y="64"/>
                    <a:pt x="42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2"/>
                    <a:pt x="42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2" y="62"/>
                    <a:pt x="42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63"/>
                    <a:pt x="40" y="63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40" y="62"/>
                    <a:pt x="39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39" y="61"/>
                  </a:cubicBezTo>
                  <a:cubicBezTo>
                    <a:pt x="40" y="61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40" y="60"/>
                  </a:cubicBezTo>
                  <a:cubicBezTo>
                    <a:pt x="40" y="60"/>
                    <a:pt x="40" y="59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59"/>
                    <a:pt x="41" y="59"/>
                  </a:cubicBezTo>
                  <a:cubicBezTo>
                    <a:pt x="41" y="59"/>
                    <a:pt x="41" y="59"/>
                    <a:pt x="40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9"/>
                    <a:pt x="40" y="59"/>
                    <a:pt x="40" y="59"/>
                  </a:cubicBezTo>
                  <a:cubicBezTo>
                    <a:pt x="40" y="59"/>
                    <a:pt x="41" y="59"/>
                    <a:pt x="40" y="59"/>
                  </a:cubicBezTo>
                  <a:cubicBezTo>
                    <a:pt x="40" y="58"/>
                    <a:pt x="41" y="59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1" y="59"/>
                    <a:pt x="41" y="59"/>
                    <a:pt x="4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1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lose/>
                  <a:moveTo>
                    <a:pt x="39" y="62"/>
                  </a:moveTo>
                  <a:cubicBezTo>
                    <a:pt x="39" y="62"/>
                    <a:pt x="39" y="62"/>
                    <a:pt x="39" y="6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lose/>
                  <a:moveTo>
                    <a:pt x="40" y="61"/>
                  </a:moveTo>
                  <a:cubicBezTo>
                    <a:pt x="40" y="62"/>
                    <a:pt x="40" y="61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1"/>
                    <a:pt x="40" y="61"/>
                    <a:pt x="40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42" y="61"/>
                  </a:move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2" y="61"/>
                  </a:cubicBezTo>
                  <a:close/>
                  <a:moveTo>
                    <a:pt x="46" y="65"/>
                  </a:move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lose/>
                  <a:moveTo>
                    <a:pt x="45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6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4"/>
                  </a:cubicBezTo>
                  <a:cubicBezTo>
                    <a:pt x="45" y="64"/>
                    <a:pt x="46" y="64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4"/>
                    <a:pt x="46" y="64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6" y="63"/>
                  </a:moveTo>
                  <a:cubicBezTo>
                    <a:pt x="46" y="62"/>
                    <a:pt x="46" y="62"/>
                    <a:pt x="45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2"/>
                    <a:pt x="46" y="63"/>
                    <a:pt x="46" y="63"/>
                  </a:cubicBezTo>
                  <a:close/>
                  <a:moveTo>
                    <a:pt x="4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6" y="62"/>
                    <a:pt x="46" y="62"/>
                    <a:pt x="46" y="63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6" y="61"/>
                    <a:pt x="46" y="61"/>
                  </a:cubicBezTo>
                  <a:cubicBezTo>
                    <a:pt x="46" y="62"/>
                    <a:pt x="45" y="61"/>
                    <a:pt x="45" y="61"/>
                  </a:cubicBezTo>
                  <a:cubicBezTo>
                    <a:pt x="45" y="61"/>
                    <a:pt x="45" y="61"/>
                    <a:pt x="45" y="62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lose/>
                  <a:moveTo>
                    <a:pt x="44" y="60"/>
                  </a:moveTo>
                  <a:cubicBezTo>
                    <a:pt x="44" y="60"/>
                    <a:pt x="43" y="59"/>
                    <a:pt x="43" y="59"/>
                  </a:cubicBezTo>
                  <a:cubicBezTo>
                    <a:pt x="43" y="60"/>
                    <a:pt x="44" y="60"/>
                    <a:pt x="44" y="60"/>
                  </a:cubicBezTo>
                  <a:close/>
                  <a:moveTo>
                    <a:pt x="44" y="62"/>
                  </a:moveTo>
                  <a:cubicBezTo>
                    <a:pt x="43" y="62"/>
                    <a:pt x="44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2"/>
                    <a:pt x="44" y="62"/>
                    <a:pt x="44" y="62"/>
                  </a:cubicBezTo>
                  <a:close/>
                  <a:moveTo>
                    <a:pt x="43" y="62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2"/>
                    <a:pt x="43" y="62"/>
                  </a:cubicBezTo>
                  <a:cubicBezTo>
                    <a:pt x="43" y="62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43" y="60"/>
                  </a:moveTo>
                  <a:cubicBezTo>
                    <a:pt x="42" y="60"/>
                    <a:pt x="42" y="60"/>
                    <a:pt x="42" y="59"/>
                  </a:cubicBezTo>
                  <a:cubicBezTo>
                    <a:pt x="42" y="59"/>
                    <a:pt x="43" y="60"/>
                    <a:pt x="43" y="60"/>
                  </a:cubicBezTo>
                  <a:cubicBezTo>
                    <a:pt x="43" y="60"/>
                    <a:pt x="43" y="60"/>
                    <a:pt x="42" y="60"/>
                  </a:cubicBezTo>
                  <a:cubicBezTo>
                    <a:pt x="42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3" y="60"/>
                  </a:cubicBezTo>
                  <a:close/>
                  <a:moveTo>
                    <a:pt x="42" y="59"/>
                  </a:moveTo>
                  <a:cubicBezTo>
                    <a:pt x="42" y="60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43" y="61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1"/>
                    <a:pt x="43" y="61"/>
                  </a:cubicBezTo>
                  <a:close/>
                  <a:moveTo>
                    <a:pt x="45" y="65"/>
                  </a:moveTo>
                  <a:cubicBezTo>
                    <a:pt x="45" y="65"/>
                    <a:pt x="46" y="65"/>
                    <a:pt x="46" y="65"/>
                  </a:cubicBezTo>
                  <a:cubicBezTo>
                    <a:pt x="46" y="65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5"/>
                    <a:pt x="46" y="65"/>
                    <a:pt x="45" y="65"/>
                  </a:cubicBezTo>
                  <a:cubicBezTo>
                    <a:pt x="45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0"/>
                    <a:pt x="45" y="60"/>
                  </a:cubicBezTo>
                  <a:cubicBezTo>
                    <a:pt x="45" y="60"/>
                    <a:pt x="45" y="61"/>
                    <a:pt x="45" y="61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40" y="59"/>
                    <a:pt x="39" y="58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9" y="59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9"/>
                  </a:move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lose/>
                  <a:moveTo>
                    <a:pt x="35" y="63"/>
                  </a:moveTo>
                  <a:cubicBezTo>
                    <a:pt x="35" y="62"/>
                    <a:pt x="35" y="63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2"/>
                    <a:pt x="38" y="62"/>
                  </a:cubicBezTo>
                  <a:cubicBezTo>
                    <a:pt x="38" y="62"/>
                    <a:pt x="37" y="61"/>
                    <a:pt x="37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39" y="64"/>
                    <a:pt x="39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5"/>
                    <a:pt x="39" y="65"/>
                    <a:pt x="39" y="65"/>
                  </a:cubicBezTo>
                  <a:cubicBezTo>
                    <a:pt x="39" y="64"/>
                    <a:pt x="39" y="65"/>
                    <a:pt x="38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39" y="65"/>
                    <a:pt x="39" y="65"/>
                    <a:pt x="38" y="65"/>
                  </a:cubicBezTo>
                  <a:cubicBezTo>
                    <a:pt x="38" y="66"/>
                    <a:pt x="38" y="65"/>
                    <a:pt x="38" y="66"/>
                  </a:cubicBezTo>
                  <a:cubicBezTo>
                    <a:pt x="38" y="65"/>
                    <a:pt x="39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7"/>
                  </a:cubicBezTo>
                  <a:cubicBezTo>
                    <a:pt x="38" y="67"/>
                    <a:pt x="38" y="66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8"/>
                    <a:pt x="38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7" y="67"/>
                    <a:pt x="38" y="67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7" y="66"/>
                    <a:pt x="37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7" y="65"/>
                    <a:pt x="38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4"/>
                  </a:cubicBezTo>
                  <a:cubicBezTo>
                    <a:pt x="37" y="64"/>
                    <a:pt x="37" y="65"/>
                    <a:pt x="37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4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4"/>
                    <a:pt x="37" y="63"/>
                    <a:pt x="37" y="63"/>
                  </a:cubicBez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7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7" y="63"/>
                    <a:pt x="38" y="63"/>
                    <a:pt x="38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8" y="63"/>
                    <a:pt x="38" y="63"/>
                  </a:cubicBezTo>
                  <a:cubicBezTo>
                    <a:pt x="38" y="63"/>
                    <a:pt x="38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6"/>
                    <a:pt x="38" y="66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2"/>
                    <a:pt x="38" y="62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40" y="59"/>
                  </a:moveTo>
                  <a:cubicBezTo>
                    <a:pt x="41" y="59"/>
                    <a:pt x="41" y="59"/>
                    <a:pt x="41" y="60"/>
                  </a:cubicBezTo>
                  <a:cubicBezTo>
                    <a:pt x="41" y="60"/>
                    <a:pt x="41" y="59"/>
                    <a:pt x="40" y="59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lose/>
                  <a:moveTo>
                    <a:pt x="42" y="64"/>
                  </a:moveTo>
                  <a:cubicBezTo>
                    <a:pt x="42" y="64"/>
                    <a:pt x="42" y="64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3" y="65"/>
                    <a:pt x="42" y="65"/>
                  </a:cubicBezTo>
                  <a:cubicBezTo>
                    <a:pt x="42" y="65"/>
                    <a:pt x="42" y="64"/>
                    <a:pt x="42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4" y="64"/>
                  </a:cubicBezTo>
                  <a:close/>
                  <a:moveTo>
                    <a:pt x="62" y="94"/>
                  </a:moveTo>
                  <a:cubicBezTo>
                    <a:pt x="61" y="94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7"/>
                    <a:pt x="63" y="96"/>
                    <a:pt x="63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7"/>
                    <a:pt x="64" y="98"/>
                    <a:pt x="64" y="99"/>
                  </a:cubicBezTo>
                  <a:cubicBezTo>
                    <a:pt x="63" y="98"/>
                    <a:pt x="63" y="97"/>
                    <a:pt x="63" y="97"/>
                  </a:cubicBezTo>
                  <a:cubicBezTo>
                    <a:pt x="63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7"/>
                    <a:pt x="63" y="99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7"/>
                    <a:pt x="62" y="97"/>
                  </a:cubicBezTo>
                  <a:cubicBezTo>
                    <a:pt x="62" y="97"/>
                    <a:pt x="63" y="97"/>
                    <a:pt x="62" y="97"/>
                  </a:cubicBezTo>
                  <a:cubicBezTo>
                    <a:pt x="63" y="97"/>
                    <a:pt x="63" y="98"/>
                    <a:pt x="63" y="97"/>
                  </a:cubicBezTo>
                  <a:cubicBezTo>
                    <a:pt x="63" y="98"/>
                    <a:pt x="63" y="98"/>
                    <a:pt x="64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8"/>
                    <a:pt x="62" y="97"/>
                    <a:pt x="61" y="97"/>
                  </a:cubicBezTo>
                  <a:cubicBezTo>
                    <a:pt x="61" y="97"/>
                    <a:pt x="61" y="97"/>
                    <a:pt x="62" y="97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2" y="97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61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7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6"/>
                    <a:pt x="61" y="96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6"/>
                    <a:pt x="61" y="95"/>
                  </a:cubicBezTo>
                  <a:cubicBezTo>
                    <a:pt x="61" y="96"/>
                    <a:pt x="61" y="97"/>
                    <a:pt x="61" y="97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7"/>
                    <a:pt x="61" y="96"/>
                    <a:pt x="61" y="96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0" y="94"/>
                    <a:pt x="60" y="94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2" y="96"/>
                    <a:pt x="62" y="95"/>
                  </a:cubicBezTo>
                  <a:cubicBezTo>
                    <a:pt x="62" y="95"/>
                    <a:pt x="61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5"/>
                    <a:pt x="61" y="94"/>
                    <a:pt x="61" y="94"/>
                  </a:cubicBezTo>
                  <a:cubicBezTo>
                    <a:pt x="61" y="94"/>
                    <a:pt x="61" y="95"/>
                    <a:pt x="61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0" y="93"/>
                  </a:cubicBezTo>
                  <a:cubicBezTo>
                    <a:pt x="61" y="93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59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59" y="91"/>
                    <a:pt x="59" y="91"/>
                  </a:cubicBezTo>
                  <a:cubicBezTo>
                    <a:pt x="59" y="91"/>
                    <a:pt x="60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0"/>
                    <a:pt x="59" y="90"/>
                  </a:cubicBezTo>
                  <a:cubicBezTo>
                    <a:pt x="59" y="90"/>
                    <a:pt x="59" y="91"/>
                    <a:pt x="59" y="91"/>
                  </a:cubicBezTo>
                  <a:cubicBezTo>
                    <a:pt x="59" y="90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8" y="89"/>
                    <a:pt x="58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6"/>
                    <a:pt x="57" y="87"/>
                    <a:pt x="57" y="87"/>
                  </a:cubicBezTo>
                  <a:cubicBezTo>
                    <a:pt x="57" y="87"/>
                    <a:pt x="57" y="86"/>
                    <a:pt x="56" y="86"/>
                  </a:cubicBezTo>
                  <a:cubicBezTo>
                    <a:pt x="56" y="85"/>
                    <a:pt x="56" y="85"/>
                    <a:pt x="55" y="84"/>
                  </a:cubicBezTo>
                  <a:cubicBezTo>
                    <a:pt x="55" y="84"/>
                    <a:pt x="56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7" y="86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7" y="87"/>
                    <a:pt x="58" y="87"/>
                  </a:cubicBezTo>
                  <a:cubicBezTo>
                    <a:pt x="58" y="87"/>
                    <a:pt x="57" y="87"/>
                    <a:pt x="58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7" y="85"/>
                  </a:cubicBezTo>
                  <a:cubicBezTo>
                    <a:pt x="57" y="85"/>
                    <a:pt x="56" y="84"/>
                    <a:pt x="56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4"/>
                    <a:pt x="55" y="84"/>
                  </a:cubicBezTo>
                  <a:cubicBezTo>
                    <a:pt x="55" y="83"/>
                    <a:pt x="55" y="83"/>
                    <a:pt x="54" y="83"/>
                  </a:cubicBezTo>
                  <a:cubicBezTo>
                    <a:pt x="54" y="83"/>
                    <a:pt x="55" y="83"/>
                    <a:pt x="54" y="83"/>
                  </a:cubicBezTo>
                  <a:cubicBezTo>
                    <a:pt x="55" y="83"/>
                    <a:pt x="55" y="83"/>
                    <a:pt x="55" y="84"/>
                  </a:cubicBezTo>
                  <a:cubicBezTo>
                    <a:pt x="54" y="84"/>
                    <a:pt x="55" y="84"/>
                    <a:pt x="55" y="84"/>
                  </a:cubicBezTo>
                  <a:cubicBezTo>
                    <a:pt x="55" y="84"/>
                    <a:pt x="55" y="84"/>
                    <a:pt x="54" y="84"/>
                  </a:cubicBezTo>
                  <a:cubicBezTo>
                    <a:pt x="54" y="84"/>
                    <a:pt x="55" y="84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5"/>
                    <a:pt x="56" y="85"/>
                  </a:cubicBezTo>
                  <a:cubicBezTo>
                    <a:pt x="56" y="85"/>
                    <a:pt x="56" y="85"/>
                    <a:pt x="55" y="85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6" y="88"/>
                    <a:pt x="56" y="87"/>
                    <a:pt x="55" y="87"/>
                  </a:cubicBezTo>
                  <a:cubicBezTo>
                    <a:pt x="55" y="87"/>
                    <a:pt x="56" y="87"/>
                    <a:pt x="56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7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6" y="88"/>
                    <a:pt x="56" y="89"/>
                    <a:pt x="57" y="89"/>
                  </a:cubicBezTo>
                  <a:cubicBezTo>
                    <a:pt x="57" y="89"/>
                    <a:pt x="57" y="90"/>
                    <a:pt x="57" y="90"/>
                  </a:cubicBezTo>
                  <a:cubicBezTo>
                    <a:pt x="58" y="90"/>
                    <a:pt x="58" y="91"/>
                    <a:pt x="58" y="91"/>
                  </a:cubicBezTo>
                  <a:cubicBezTo>
                    <a:pt x="58" y="91"/>
                    <a:pt x="58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6" y="90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9"/>
                    <a:pt x="57" y="89"/>
                  </a:cubicBezTo>
                  <a:cubicBezTo>
                    <a:pt x="57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89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1"/>
                    <a:pt x="56" y="90"/>
                  </a:cubicBezTo>
                  <a:cubicBezTo>
                    <a:pt x="56" y="90"/>
                    <a:pt x="56" y="91"/>
                    <a:pt x="56" y="90"/>
                  </a:cubicBezTo>
                  <a:cubicBezTo>
                    <a:pt x="56" y="90"/>
                    <a:pt x="56" y="91"/>
                    <a:pt x="56" y="91"/>
                  </a:cubicBezTo>
                  <a:cubicBezTo>
                    <a:pt x="56" y="91"/>
                    <a:pt x="56" y="91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3" y="85"/>
                    <a:pt x="54" y="86"/>
                    <a:pt x="54" y="86"/>
                  </a:cubicBezTo>
                  <a:cubicBezTo>
                    <a:pt x="54" y="86"/>
                    <a:pt x="55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2" y="83"/>
                    <a:pt x="52" y="83"/>
                  </a:cubicBezTo>
                  <a:cubicBezTo>
                    <a:pt x="53" y="83"/>
                    <a:pt x="52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4"/>
                    <a:pt x="53" y="84"/>
                  </a:cubicBezTo>
                  <a:cubicBezTo>
                    <a:pt x="53" y="84"/>
                    <a:pt x="53" y="83"/>
                    <a:pt x="53" y="83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3" y="84"/>
                  </a:cubicBezTo>
                  <a:cubicBezTo>
                    <a:pt x="53" y="83"/>
                    <a:pt x="54" y="84"/>
                    <a:pt x="53" y="8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2"/>
                    <a:pt x="53" y="83"/>
                    <a:pt x="53" y="83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3"/>
                    <a:pt x="54" y="8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3"/>
                    <a:pt x="53" y="83"/>
                  </a:cubicBezTo>
                  <a:cubicBezTo>
                    <a:pt x="53" y="82"/>
                    <a:pt x="54" y="82"/>
                    <a:pt x="53" y="82"/>
                  </a:cubicBezTo>
                  <a:cubicBezTo>
                    <a:pt x="53" y="82"/>
                    <a:pt x="53" y="82"/>
                    <a:pt x="54" y="82"/>
                  </a:cubicBezTo>
                  <a:cubicBezTo>
                    <a:pt x="54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ubicBezTo>
                    <a:pt x="53" y="81"/>
                    <a:pt x="53" y="80"/>
                    <a:pt x="53" y="80"/>
                  </a:cubicBezTo>
                  <a:cubicBezTo>
                    <a:pt x="53" y="80"/>
                    <a:pt x="53" y="80"/>
                    <a:pt x="52" y="80"/>
                  </a:cubicBezTo>
                  <a:cubicBezTo>
                    <a:pt x="52" y="80"/>
                    <a:pt x="53" y="80"/>
                    <a:pt x="52" y="80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79"/>
                    <a:pt x="52" y="79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1"/>
                    <a:pt x="53" y="80"/>
                    <a:pt x="54" y="80"/>
                  </a:cubicBezTo>
                  <a:cubicBezTo>
                    <a:pt x="54" y="81"/>
                    <a:pt x="54" y="81"/>
                    <a:pt x="53" y="80"/>
                  </a:cubicBezTo>
                  <a:cubicBezTo>
                    <a:pt x="53" y="81"/>
                    <a:pt x="54" y="81"/>
                    <a:pt x="54" y="81"/>
                  </a:cubicBezTo>
                  <a:cubicBezTo>
                    <a:pt x="54" y="81"/>
                    <a:pt x="54" y="80"/>
                    <a:pt x="54" y="8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1"/>
                  </a:cubicBezTo>
                  <a:cubicBezTo>
                    <a:pt x="54" y="81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4" y="80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4" y="79"/>
                  </a:cubicBezTo>
                  <a:cubicBezTo>
                    <a:pt x="54" y="79"/>
                    <a:pt x="54" y="79"/>
                    <a:pt x="53" y="78"/>
                  </a:cubicBezTo>
                  <a:cubicBezTo>
                    <a:pt x="53" y="79"/>
                    <a:pt x="53" y="78"/>
                    <a:pt x="53" y="79"/>
                  </a:cubicBezTo>
                  <a:cubicBezTo>
                    <a:pt x="53" y="79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7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2" y="77"/>
                    <a:pt x="53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7"/>
                    <a:pt x="52" y="76"/>
                    <a:pt x="52" y="77"/>
                  </a:cubicBezTo>
                  <a:cubicBezTo>
                    <a:pt x="52" y="76"/>
                    <a:pt x="52" y="77"/>
                    <a:pt x="52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2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5"/>
                    <a:pt x="51" y="75"/>
                  </a:cubicBezTo>
                  <a:cubicBezTo>
                    <a:pt x="50" y="75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5"/>
                    <a:pt x="52" y="75"/>
                  </a:cubicBezTo>
                  <a:cubicBezTo>
                    <a:pt x="52" y="75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1" y="75"/>
                    <a:pt x="51" y="74"/>
                    <a:pt x="51" y="74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1" y="74"/>
                    <a:pt x="51" y="74"/>
                    <a:pt x="51" y="73"/>
                  </a:cubicBezTo>
                  <a:cubicBezTo>
                    <a:pt x="51" y="73"/>
                    <a:pt x="51" y="74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49" y="71"/>
                  </a:cubicBezTo>
                  <a:cubicBezTo>
                    <a:pt x="49" y="72"/>
                    <a:pt x="49" y="72"/>
                    <a:pt x="50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9" y="73"/>
                    <a:pt x="49" y="72"/>
                    <a:pt x="49" y="72"/>
                  </a:cubicBezTo>
                  <a:cubicBezTo>
                    <a:pt x="49" y="72"/>
                    <a:pt x="48" y="72"/>
                    <a:pt x="48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49" y="71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50" y="70"/>
                  </a:cubicBezTo>
                  <a:cubicBezTo>
                    <a:pt x="50" y="71"/>
                    <a:pt x="50" y="71"/>
                    <a:pt x="51" y="72"/>
                  </a:cubicBezTo>
                  <a:cubicBezTo>
                    <a:pt x="51" y="72"/>
                    <a:pt x="50" y="72"/>
                    <a:pt x="51" y="72"/>
                  </a:cubicBezTo>
                  <a:cubicBezTo>
                    <a:pt x="51" y="72"/>
                    <a:pt x="50" y="72"/>
                    <a:pt x="50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2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2" y="73"/>
                  </a:cubicBezTo>
                  <a:cubicBezTo>
                    <a:pt x="52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1" y="71"/>
                    <a:pt x="51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49" y="70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49" y="70"/>
                    <a:pt x="49" y="70"/>
                  </a:cubicBezTo>
                  <a:cubicBezTo>
                    <a:pt x="49" y="69"/>
                    <a:pt x="50" y="70"/>
                    <a:pt x="50" y="69"/>
                  </a:cubicBezTo>
                  <a:cubicBezTo>
                    <a:pt x="50" y="69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69"/>
                    <a:pt x="49" y="69"/>
                  </a:cubicBezTo>
                  <a:cubicBezTo>
                    <a:pt x="49" y="69"/>
                    <a:pt x="50" y="69"/>
                    <a:pt x="50" y="69"/>
                  </a:cubicBezTo>
                  <a:cubicBezTo>
                    <a:pt x="49" y="69"/>
                    <a:pt x="49" y="69"/>
                    <a:pt x="50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9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7"/>
                  </a:cubicBezTo>
                  <a:cubicBezTo>
                    <a:pt x="48" y="67"/>
                    <a:pt x="48" y="68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9" y="67"/>
                    <a:pt x="48" y="67"/>
                    <a:pt x="48" y="67"/>
                  </a:cubicBezTo>
                  <a:cubicBezTo>
                    <a:pt x="49" y="67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7"/>
                    <a:pt x="48" y="66"/>
                  </a:cubicBezTo>
                  <a:cubicBezTo>
                    <a:pt x="48" y="67"/>
                    <a:pt x="48" y="67"/>
                    <a:pt x="48" y="66"/>
                  </a:cubicBezTo>
                  <a:cubicBezTo>
                    <a:pt x="48" y="66"/>
                    <a:pt x="48" y="67"/>
                    <a:pt x="48" y="67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5"/>
                  </a:cubicBezTo>
                  <a:cubicBezTo>
                    <a:pt x="48" y="65"/>
                    <a:pt x="48" y="65"/>
                    <a:pt x="48" y="66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7" y="65"/>
                    <a:pt x="47" y="64"/>
                  </a:cubicBezTo>
                  <a:cubicBezTo>
                    <a:pt x="47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3"/>
                  </a:cubicBezTo>
                  <a:cubicBezTo>
                    <a:pt x="47" y="63"/>
                    <a:pt x="48" y="64"/>
                    <a:pt x="48" y="64"/>
                  </a:cubicBezTo>
                  <a:cubicBezTo>
                    <a:pt x="47" y="64"/>
                    <a:pt x="47" y="63"/>
                    <a:pt x="48" y="63"/>
                  </a:cubicBezTo>
                  <a:cubicBezTo>
                    <a:pt x="47" y="63"/>
                    <a:pt x="47" y="63"/>
                    <a:pt x="47" y="62"/>
                  </a:cubicBezTo>
                  <a:cubicBezTo>
                    <a:pt x="47" y="62"/>
                    <a:pt x="47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4"/>
                  </a:cubicBezTo>
                  <a:cubicBezTo>
                    <a:pt x="48" y="64"/>
                    <a:pt x="48" y="63"/>
                    <a:pt x="48" y="63"/>
                  </a:cubicBezTo>
                  <a:cubicBezTo>
                    <a:pt x="48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9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3" y="70"/>
                    <a:pt x="52" y="71"/>
                  </a:cubicBezTo>
                  <a:cubicBezTo>
                    <a:pt x="52" y="71"/>
                    <a:pt x="52" y="70"/>
                    <a:pt x="52" y="71"/>
                  </a:cubicBezTo>
                  <a:cubicBezTo>
                    <a:pt x="53" y="71"/>
                    <a:pt x="53" y="71"/>
                    <a:pt x="53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2"/>
                    <a:pt x="55" y="74"/>
                    <a:pt x="55" y="75"/>
                  </a:cubicBezTo>
                  <a:cubicBezTo>
                    <a:pt x="55" y="75"/>
                    <a:pt x="55" y="75"/>
                    <a:pt x="56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6" y="76"/>
                    <a:pt x="55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57" y="78"/>
                    <a:pt x="57" y="77"/>
                    <a:pt x="57" y="78"/>
                  </a:cubicBezTo>
                  <a:cubicBezTo>
                    <a:pt x="57" y="78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78"/>
                    <a:pt x="58" y="79"/>
                    <a:pt x="58" y="79"/>
                  </a:cubicBezTo>
                  <a:cubicBezTo>
                    <a:pt x="58" y="79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8" y="81"/>
                    <a:pt x="59" y="81"/>
                    <a:pt x="59" y="81"/>
                  </a:cubicBezTo>
                  <a:cubicBezTo>
                    <a:pt x="59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1"/>
                    <a:pt x="58" y="80"/>
                  </a:cubicBezTo>
                  <a:cubicBezTo>
                    <a:pt x="58" y="80"/>
                    <a:pt x="57" y="79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6" y="77"/>
                    <a:pt x="55" y="76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4"/>
                    <a:pt x="54" y="75"/>
                    <a:pt x="54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4" y="73"/>
                    <a:pt x="53" y="73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3"/>
                    <a:pt x="54" y="74"/>
                  </a:cubicBezTo>
                  <a:cubicBezTo>
                    <a:pt x="54" y="74"/>
                    <a:pt x="54" y="73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4"/>
                    <a:pt x="54" y="75"/>
                  </a:cubicBezTo>
                  <a:cubicBezTo>
                    <a:pt x="54" y="74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5"/>
                    <a:pt x="54" y="74"/>
                    <a:pt x="54" y="74"/>
                  </a:cubicBezTo>
                  <a:cubicBezTo>
                    <a:pt x="53" y="74"/>
                    <a:pt x="53" y="74"/>
                    <a:pt x="53" y="73"/>
                  </a:cubicBezTo>
                  <a:cubicBezTo>
                    <a:pt x="53" y="73"/>
                    <a:pt x="53" y="73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5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3" y="75"/>
                    <a:pt x="53" y="75"/>
                    <a:pt x="54" y="76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3" y="75"/>
                    <a:pt x="53" y="75"/>
                  </a:cubicBezTo>
                  <a:cubicBezTo>
                    <a:pt x="53" y="75"/>
                    <a:pt x="54" y="76"/>
                    <a:pt x="54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4" y="76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4" y="77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5" y="78"/>
                    <a:pt x="54" y="78"/>
                  </a:cubicBezTo>
                  <a:cubicBezTo>
                    <a:pt x="54" y="78"/>
                    <a:pt x="55" y="78"/>
                    <a:pt x="55" y="78"/>
                  </a:cubicBezTo>
                  <a:cubicBezTo>
                    <a:pt x="55" y="79"/>
                    <a:pt x="56" y="79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5" y="79"/>
                    <a:pt x="55" y="79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5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7" y="80"/>
                    <a:pt x="56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7" y="81"/>
                    <a:pt x="58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60" y="83"/>
                  </a:cubicBezTo>
                  <a:cubicBezTo>
                    <a:pt x="60" y="84"/>
                    <a:pt x="60" y="85"/>
                    <a:pt x="61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0" y="86"/>
                    <a:pt x="60" y="85"/>
                  </a:cubicBezTo>
                  <a:cubicBezTo>
                    <a:pt x="60" y="85"/>
                    <a:pt x="60" y="85"/>
                    <a:pt x="61" y="86"/>
                  </a:cubicBezTo>
                  <a:cubicBezTo>
                    <a:pt x="60" y="85"/>
                    <a:pt x="60" y="84"/>
                    <a:pt x="59" y="85"/>
                  </a:cubicBezTo>
                  <a:cubicBezTo>
                    <a:pt x="59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2" y="88"/>
                    <a:pt x="61" y="88"/>
                    <a:pt x="61" y="87"/>
                  </a:cubicBezTo>
                  <a:cubicBezTo>
                    <a:pt x="61" y="87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9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3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89"/>
                    <a:pt x="62" y="89"/>
                    <a:pt x="62" y="88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3" y="89"/>
                    <a:pt x="63" y="90"/>
                    <a:pt x="64" y="90"/>
                  </a:cubicBezTo>
                  <a:cubicBezTo>
                    <a:pt x="64" y="90"/>
                    <a:pt x="64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91"/>
                    <a:pt x="65" y="92"/>
                    <a:pt x="64" y="91"/>
                  </a:cubicBezTo>
                  <a:cubicBezTo>
                    <a:pt x="65" y="91"/>
                    <a:pt x="64" y="92"/>
                    <a:pt x="65" y="92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3" y="90"/>
                    <a:pt x="63" y="89"/>
                    <a:pt x="63" y="89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2" y="86"/>
                    <a:pt x="60" y="84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1"/>
                    <a:pt x="59" y="81"/>
                    <a:pt x="59" y="82"/>
                  </a:cubicBezTo>
                  <a:cubicBezTo>
                    <a:pt x="59" y="82"/>
                    <a:pt x="59" y="82"/>
                    <a:pt x="60" y="82"/>
                  </a:cubicBezTo>
                  <a:cubicBezTo>
                    <a:pt x="60" y="82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5"/>
                  </a:cubicBezTo>
                  <a:cubicBezTo>
                    <a:pt x="61" y="85"/>
                    <a:pt x="61" y="84"/>
                    <a:pt x="61" y="84"/>
                  </a:cubicBezTo>
                  <a:cubicBezTo>
                    <a:pt x="61" y="85"/>
                    <a:pt x="61" y="85"/>
                    <a:pt x="62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7"/>
                    <a:pt x="62" y="87"/>
                  </a:cubicBezTo>
                  <a:cubicBezTo>
                    <a:pt x="63" y="88"/>
                    <a:pt x="65" y="91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6" y="93"/>
                    <a:pt x="66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3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3"/>
                    <a:pt x="66" y="93"/>
                    <a:pt x="65" y="92"/>
                  </a:cubicBezTo>
                  <a:cubicBezTo>
                    <a:pt x="65" y="92"/>
                    <a:pt x="65" y="93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6" y="93"/>
                    <a:pt x="65" y="93"/>
                  </a:cubicBezTo>
                  <a:cubicBezTo>
                    <a:pt x="66" y="93"/>
                    <a:pt x="66" y="93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5"/>
                    <a:pt x="66" y="95"/>
                  </a:cubicBezTo>
                  <a:cubicBezTo>
                    <a:pt x="66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7" y="96"/>
                    <a:pt x="66" y="96"/>
                    <a:pt x="66" y="96"/>
                  </a:cubicBezTo>
                  <a:cubicBezTo>
                    <a:pt x="67" y="96"/>
                    <a:pt x="66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4"/>
                    <a:pt x="65" y="94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4" y="93"/>
                    <a:pt x="64" y="92"/>
                    <a:pt x="64" y="92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3" y="92"/>
                    <a:pt x="63" y="91"/>
                  </a:cubicBezTo>
                  <a:cubicBezTo>
                    <a:pt x="63" y="91"/>
                    <a:pt x="63" y="91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3" y="92"/>
                    <a:pt x="64" y="92"/>
                  </a:cubicBezTo>
                  <a:cubicBezTo>
                    <a:pt x="64" y="92"/>
                    <a:pt x="63" y="92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4" y="92"/>
                    <a:pt x="63" y="92"/>
                    <a:pt x="64" y="92"/>
                  </a:cubicBezTo>
                  <a:cubicBezTo>
                    <a:pt x="64" y="93"/>
                    <a:pt x="64" y="92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3" y="92"/>
                    <a:pt x="63" y="92"/>
                  </a:cubicBezTo>
                  <a:cubicBezTo>
                    <a:pt x="63" y="92"/>
                    <a:pt x="63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4"/>
                    <a:pt x="64" y="93"/>
                  </a:cubicBezTo>
                  <a:cubicBezTo>
                    <a:pt x="64" y="94"/>
                    <a:pt x="64" y="94"/>
                    <a:pt x="65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4"/>
                    <a:pt x="64" y="93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4"/>
                    <a:pt x="64" y="94"/>
                  </a:cubicBezTo>
                  <a:cubicBezTo>
                    <a:pt x="64" y="94"/>
                    <a:pt x="63" y="94"/>
                    <a:pt x="63" y="94"/>
                  </a:cubicBezTo>
                  <a:cubicBezTo>
                    <a:pt x="63" y="94"/>
                    <a:pt x="64" y="94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5"/>
                    <a:pt x="64" y="95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1" y="92"/>
                    <a:pt x="62" y="92"/>
                  </a:cubicBezTo>
                  <a:cubicBezTo>
                    <a:pt x="61" y="91"/>
                    <a:pt x="62" y="91"/>
                    <a:pt x="62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0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90"/>
                  </a:cubicBezTo>
                  <a:cubicBezTo>
                    <a:pt x="60" y="89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1" y="91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1" y="94"/>
                    <a:pt x="61" y="94"/>
                    <a:pt x="62" y="95"/>
                  </a:cubicBezTo>
                  <a:cubicBezTo>
                    <a:pt x="61" y="94"/>
                    <a:pt x="61" y="93"/>
                    <a:pt x="60" y="92"/>
                  </a:cubicBezTo>
                  <a:cubicBezTo>
                    <a:pt x="61" y="92"/>
                    <a:pt x="61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5"/>
                  </a:cubicBezTo>
                  <a:cubicBezTo>
                    <a:pt x="62" y="94"/>
                    <a:pt x="62" y="94"/>
                    <a:pt x="62" y="94"/>
                  </a:cubicBezTo>
                  <a:close/>
                  <a:moveTo>
                    <a:pt x="51" y="68"/>
                  </a:move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lose/>
                  <a:moveTo>
                    <a:pt x="56" y="77"/>
                  </a:moveTo>
                  <a:cubicBezTo>
                    <a:pt x="56" y="77"/>
                    <a:pt x="56" y="77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7"/>
                    <a:pt x="56" y="77"/>
                    <a:pt x="56" y="77"/>
                  </a:cubicBezTo>
                  <a:close/>
                  <a:moveTo>
                    <a:pt x="53" y="75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2" y="73"/>
                    <a:pt x="52" y="72"/>
                    <a:pt x="53" y="73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3" y="72"/>
                  </a:cubicBezTo>
                  <a:cubicBezTo>
                    <a:pt x="53" y="72"/>
                    <a:pt x="52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2" y="71"/>
                  </a:cubicBezTo>
                  <a:cubicBezTo>
                    <a:pt x="52" y="72"/>
                    <a:pt x="53" y="72"/>
                    <a:pt x="53" y="72"/>
                  </a:cubicBezTo>
                  <a:close/>
                  <a:moveTo>
                    <a:pt x="50" y="67"/>
                  </a:move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7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lose/>
                  <a:moveTo>
                    <a:pt x="52" y="71"/>
                  </a:moveTo>
                  <a:cubicBezTo>
                    <a:pt x="52" y="71"/>
                    <a:pt x="52" y="71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0"/>
                    <a:pt x="51" y="69"/>
                    <a:pt x="51" y="68"/>
                  </a:cubicBezTo>
                  <a:cubicBezTo>
                    <a:pt x="51" y="69"/>
                    <a:pt x="52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49" y="66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6"/>
                    <a:pt x="49" y="66"/>
                  </a:cubicBezTo>
                  <a:close/>
                  <a:moveTo>
                    <a:pt x="50" y="70"/>
                  </a:moveTo>
                  <a:cubicBezTo>
                    <a:pt x="51" y="70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7"/>
                    <a:pt x="49" y="68"/>
                  </a:cubicBezTo>
                  <a:close/>
                  <a:moveTo>
                    <a:pt x="48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8" y="68"/>
                    <a:pt x="49" y="68"/>
                  </a:cubicBezTo>
                  <a:cubicBezTo>
                    <a:pt x="48" y="68"/>
                    <a:pt x="48" y="67"/>
                    <a:pt x="48" y="67"/>
                  </a:cubicBezTo>
                  <a:cubicBezTo>
                    <a:pt x="48" y="68"/>
                    <a:pt x="48" y="68"/>
                    <a:pt x="49" y="68"/>
                  </a:cubicBezTo>
                  <a:cubicBezTo>
                    <a:pt x="49" y="68"/>
                    <a:pt x="48" y="68"/>
                    <a:pt x="48" y="68"/>
                  </a:cubicBezTo>
                  <a:close/>
                  <a:moveTo>
                    <a:pt x="49" y="69"/>
                  </a:moveTo>
                  <a:cubicBezTo>
                    <a:pt x="49" y="69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49" y="68"/>
                    <a:pt x="49" y="68"/>
                  </a:cubicBezTo>
                  <a:close/>
                  <a:moveTo>
                    <a:pt x="52" y="73"/>
                  </a:moveTo>
                  <a:cubicBezTo>
                    <a:pt x="52" y="74"/>
                    <a:pt x="53" y="74"/>
                    <a:pt x="53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4"/>
                    <a:pt x="53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2" y="72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lose/>
                  <a:moveTo>
                    <a:pt x="56" y="89"/>
                  </a:move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89"/>
                  </a:cubicBezTo>
                  <a:close/>
                  <a:moveTo>
                    <a:pt x="55" y="88"/>
                  </a:move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7"/>
                    <a:pt x="55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lose/>
                  <a:moveTo>
                    <a:pt x="55" y="86"/>
                  </a:moveTo>
                  <a:cubicBezTo>
                    <a:pt x="55" y="85"/>
                    <a:pt x="55" y="85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4" y="85"/>
                  </a:cubicBezTo>
                  <a:cubicBezTo>
                    <a:pt x="55" y="85"/>
                    <a:pt x="54" y="85"/>
                    <a:pt x="54" y="85"/>
                  </a:cubicBezTo>
                  <a:cubicBezTo>
                    <a:pt x="54" y="85"/>
                    <a:pt x="55" y="86"/>
                    <a:pt x="55" y="86"/>
                  </a:cubicBezTo>
                  <a:cubicBezTo>
                    <a:pt x="55" y="86"/>
                    <a:pt x="55" y="85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6"/>
                    <a:pt x="55" y="85"/>
                  </a:cubicBezTo>
                  <a:cubicBezTo>
                    <a:pt x="55" y="85"/>
                    <a:pt x="55" y="85"/>
                    <a:pt x="55" y="86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4" y="83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3"/>
                    <a:pt x="54" y="83"/>
                  </a:cubicBezTo>
                  <a:close/>
                  <a:moveTo>
                    <a:pt x="54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82"/>
                    <a:pt x="53" y="81"/>
                    <a:pt x="53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5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5" y="83"/>
                    <a:pt x="55" y="82"/>
                    <a:pt x="54" y="82"/>
                  </a:cubicBezTo>
                  <a:cubicBezTo>
                    <a:pt x="54" y="82"/>
                    <a:pt x="55" y="83"/>
                    <a:pt x="55" y="82"/>
                  </a:cubicBezTo>
                  <a:close/>
                  <a:moveTo>
                    <a:pt x="54" y="82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2"/>
                    <a:pt x="54" y="8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lose/>
                  <a:moveTo>
                    <a:pt x="60" y="90"/>
                  </a:moveTo>
                  <a:cubicBezTo>
                    <a:pt x="60" y="90"/>
                    <a:pt x="60" y="90"/>
                    <a:pt x="59" y="90"/>
                  </a:cubicBezTo>
                  <a:cubicBezTo>
                    <a:pt x="60" y="90"/>
                    <a:pt x="60" y="90"/>
                    <a:pt x="60" y="90"/>
                  </a:cubicBezTo>
                  <a:close/>
                  <a:moveTo>
                    <a:pt x="59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9"/>
                    <a:pt x="60" y="90"/>
                  </a:cubicBezTo>
                  <a:cubicBezTo>
                    <a:pt x="60" y="90"/>
                    <a:pt x="59" y="89"/>
                    <a:pt x="59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59" y="89"/>
                    <a:pt x="59" y="89"/>
                  </a:cubicBezTo>
                  <a:close/>
                  <a:moveTo>
                    <a:pt x="58" y="87"/>
                  </a:moveTo>
                  <a:cubicBezTo>
                    <a:pt x="58" y="88"/>
                    <a:pt x="59" y="88"/>
                    <a:pt x="58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8" y="88"/>
                    <a:pt x="58" y="87"/>
                    <a:pt x="58" y="87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4"/>
                  </a:cubicBezTo>
                  <a:cubicBezTo>
                    <a:pt x="57" y="84"/>
                    <a:pt x="56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6" y="84"/>
                  </a:cubicBezTo>
                  <a:cubicBezTo>
                    <a:pt x="56" y="84"/>
                    <a:pt x="57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4"/>
                    <a:pt x="57" y="85"/>
                    <a:pt x="57" y="85"/>
                  </a:cubicBezTo>
                  <a:close/>
                  <a:moveTo>
                    <a:pt x="57" y="86"/>
                  </a:moveTo>
                  <a:cubicBezTo>
                    <a:pt x="58" y="86"/>
                    <a:pt x="57" y="85"/>
                    <a:pt x="57" y="85"/>
                  </a:cubicBezTo>
                  <a:cubicBezTo>
                    <a:pt x="57" y="85"/>
                    <a:pt x="57" y="85"/>
                    <a:pt x="57" y="86"/>
                  </a:cubicBezTo>
                  <a:close/>
                  <a:moveTo>
                    <a:pt x="57" y="86"/>
                  </a:move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59" y="88"/>
                  </a:cubicBezTo>
                  <a:cubicBezTo>
                    <a:pt x="59" y="88"/>
                    <a:pt x="60" y="89"/>
                    <a:pt x="59" y="89"/>
                  </a:cubicBezTo>
                  <a:cubicBezTo>
                    <a:pt x="59" y="88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lose/>
                  <a:moveTo>
                    <a:pt x="58" y="87"/>
                  </a:move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59" y="88"/>
                  </a:move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8"/>
                  </a:cubicBezTo>
                  <a:close/>
                  <a:moveTo>
                    <a:pt x="58" y="86"/>
                  </a:moveTo>
                  <a:cubicBezTo>
                    <a:pt x="58" y="86"/>
                    <a:pt x="58" y="86"/>
                    <a:pt x="59" y="86"/>
                  </a:cubicBezTo>
                  <a:cubicBezTo>
                    <a:pt x="58" y="86"/>
                    <a:pt x="58" y="86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4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7" y="85"/>
                    <a:pt x="58" y="84"/>
                    <a:pt x="57" y="84"/>
                  </a:cubicBezTo>
                  <a:cubicBezTo>
                    <a:pt x="57" y="84"/>
                    <a:pt x="57" y="84"/>
                    <a:pt x="57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8" y="84"/>
                    <a:pt x="57" y="84"/>
                  </a:cubicBezTo>
                  <a:close/>
                  <a:moveTo>
                    <a:pt x="56" y="82"/>
                  </a:moveTo>
                  <a:cubicBezTo>
                    <a:pt x="56" y="83"/>
                    <a:pt x="56" y="83"/>
                    <a:pt x="57" y="83"/>
                  </a:cubicBezTo>
                  <a:cubicBezTo>
                    <a:pt x="56" y="83"/>
                    <a:pt x="56" y="82"/>
                    <a:pt x="56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2"/>
                    <a:pt x="56" y="81"/>
                  </a:cubicBezTo>
                  <a:cubicBezTo>
                    <a:pt x="56" y="81"/>
                    <a:pt x="55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lose/>
                  <a:moveTo>
                    <a:pt x="55" y="80"/>
                  </a:move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1"/>
                    <a:pt x="55" y="80"/>
                  </a:cubicBezTo>
                  <a:close/>
                  <a:moveTo>
                    <a:pt x="59" y="87"/>
                  </a:moveTo>
                  <a:cubicBezTo>
                    <a:pt x="59" y="87"/>
                    <a:pt x="59" y="86"/>
                    <a:pt x="59" y="86"/>
                  </a:cubicBezTo>
                  <a:cubicBezTo>
                    <a:pt x="59" y="86"/>
                    <a:pt x="59" y="87"/>
                    <a:pt x="59" y="86"/>
                  </a:cubicBezTo>
                  <a:cubicBezTo>
                    <a:pt x="59" y="87"/>
                    <a:pt x="59" y="87"/>
                    <a:pt x="59" y="88"/>
                  </a:cubicBezTo>
                  <a:cubicBezTo>
                    <a:pt x="59" y="87"/>
                    <a:pt x="59" y="86"/>
                    <a:pt x="59" y="87"/>
                  </a:cubicBezTo>
                  <a:close/>
                  <a:moveTo>
                    <a:pt x="58" y="85"/>
                  </a:move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9" y="85"/>
                    <a:pt x="58" y="85"/>
                    <a:pt x="59" y="86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5"/>
                    <a:pt x="58" y="84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lose/>
                  <a:moveTo>
                    <a:pt x="61" y="89"/>
                  </a:moveTo>
                  <a:cubicBezTo>
                    <a:pt x="61" y="89"/>
                    <a:pt x="61" y="90"/>
                    <a:pt x="61" y="90"/>
                  </a:cubicBezTo>
                  <a:cubicBezTo>
                    <a:pt x="62" y="90"/>
                    <a:pt x="62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1" y="89"/>
                  </a:move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9"/>
                    <a:pt x="61" y="89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2" y="91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2"/>
                    <a:pt x="62" y="91"/>
                  </a:cubicBezTo>
                  <a:close/>
                  <a:moveTo>
                    <a:pt x="61" y="90"/>
                  </a:moveTo>
                  <a:cubicBezTo>
                    <a:pt x="61" y="90"/>
                    <a:pt x="61" y="89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lose/>
                  <a:moveTo>
                    <a:pt x="62" y="91"/>
                  </a:moveTo>
                  <a:cubicBezTo>
                    <a:pt x="62" y="90"/>
                    <a:pt x="61" y="90"/>
                    <a:pt x="61" y="90"/>
                  </a:cubicBezTo>
                  <a:cubicBezTo>
                    <a:pt x="61" y="90"/>
                    <a:pt x="62" y="91"/>
                    <a:pt x="62" y="91"/>
                  </a:cubicBezTo>
                  <a:close/>
                  <a:moveTo>
                    <a:pt x="60" y="89"/>
                  </a:moveTo>
                  <a:cubicBezTo>
                    <a:pt x="60" y="89"/>
                    <a:pt x="60" y="89"/>
                    <a:pt x="60" y="89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9"/>
                  </a:cubicBezTo>
                  <a:close/>
                  <a:moveTo>
                    <a:pt x="62" y="92"/>
                  </a:moveTo>
                  <a:cubicBezTo>
                    <a:pt x="62" y="92"/>
                    <a:pt x="62" y="91"/>
                    <a:pt x="62" y="91"/>
                  </a:cubicBezTo>
                  <a:cubicBezTo>
                    <a:pt x="62" y="92"/>
                    <a:pt x="62" y="91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lose/>
                  <a:moveTo>
                    <a:pt x="63" y="93"/>
                  </a:moveTo>
                  <a:cubicBezTo>
                    <a:pt x="63" y="93"/>
                    <a:pt x="63" y="92"/>
                    <a:pt x="62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2" y="92"/>
                    <a:pt x="62" y="92"/>
                  </a:cubicBezTo>
                  <a:cubicBezTo>
                    <a:pt x="63" y="93"/>
                    <a:pt x="63" y="92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lose/>
                  <a:moveTo>
                    <a:pt x="64" y="93"/>
                  </a:moveTo>
                  <a:cubicBezTo>
                    <a:pt x="64" y="93"/>
                    <a:pt x="64" y="94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lose/>
                  <a:moveTo>
                    <a:pt x="62" y="90"/>
                  </a:move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0"/>
                    <a:pt x="62" y="90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4" y="91"/>
                  </a:moveTo>
                  <a:cubicBezTo>
                    <a:pt x="64" y="91"/>
                    <a:pt x="64" y="92"/>
                    <a:pt x="64" y="92"/>
                  </a:cubicBezTo>
                  <a:cubicBezTo>
                    <a:pt x="64" y="92"/>
                    <a:pt x="64" y="91"/>
                    <a:pt x="64" y="91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4" y="92"/>
                  </a:cubicBezTo>
                  <a:cubicBezTo>
                    <a:pt x="65" y="93"/>
                    <a:pt x="65" y="93"/>
                    <a:pt x="65" y="93"/>
                  </a:cubicBezTo>
                  <a:close/>
                  <a:moveTo>
                    <a:pt x="64" y="92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4" y="92"/>
                    <a:pt x="64" y="92"/>
                    <a:pt x="64" y="92"/>
                  </a:cubicBezTo>
                  <a:close/>
                  <a:moveTo>
                    <a:pt x="63" y="90"/>
                  </a:move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lose/>
                  <a:moveTo>
                    <a:pt x="62" y="89"/>
                  </a:move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89"/>
                    <a:pt x="62" y="89"/>
                    <a:pt x="62" y="88"/>
                  </a:cubicBezTo>
                  <a:cubicBezTo>
                    <a:pt x="62" y="88"/>
                    <a:pt x="62" y="88"/>
                    <a:pt x="61" y="88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1" y="88"/>
                  </a:move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9"/>
                    <a:pt x="61" y="89"/>
                  </a:cubicBezTo>
                  <a:cubicBezTo>
                    <a:pt x="61" y="89"/>
                    <a:pt x="61" y="88"/>
                    <a:pt x="61" y="88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lose/>
                  <a:moveTo>
                    <a:pt x="61" y="88"/>
                  </a:moveTo>
                  <a:cubicBezTo>
                    <a:pt x="60" y="88"/>
                    <a:pt x="60" y="87"/>
                    <a:pt x="60" y="87"/>
                  </a:cubicBezTo>
                  <a:cubicBezTo>
                    <a:pt x="60" y="87"/>
                    <a:pt x="60" y="88"/>
                    <a:pt x="61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7"/>
                    <a:pt x="61" y="87"/>
                    <a:pt x="61" y="87"/>
                  </a:cubicBezTo>
                  <a:close/>
                  <a:moveTo>
                    <a:pt x="59" y="84"/>
                  </a:move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4"/>
                    <a:pt x="59" y="84"/>
                  </a:cubicBezTo>
                  <a:close/>
                  <a:moveTo>
                    <a:pt x="59" y="84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8" y="83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5"/>
                  </a:cubicBezTo>
                  <a:cubicBezTo>
                    <a:pt x="60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4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8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3"/>
                    <a:pt x="57" y="82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4"/>
                    <a:pt x="57" y="84"/>
                    <a:pt x="58" y="84"/>
                  </a:cubicBezTo>
                  <a:cubicBezTo>
                    <a:pt x="58" y="84"/>
                    <a:pt x="57" y="83"/>
                    <a:pt x="57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5"/>
                    <a:pt x="59" y="85"/>
                    <a:pt x="59" y="84"/>
                  </a:cubicBezTo>
                  <a:cubicBezTo>
                    <a:pt x="58" y="84"/>
                    <a:pt x="58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8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2"/>
                    <a:pt x="57" y="83"/>
                    <a:pt x="58" y="83"/>
                  </a:cubicBezTo>
                  <a:close/>
                  <a:moveTo>
                    <a:pt x="55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4" y="79"/>
                    <a:pt x="55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5" y="81"/>
                  </a:moveTo>
                  <a:cubicBezTo>
                    <a:pt x="56" y="81"/>
                    <a:pt x="56" y="81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0"/>
                  </a:moveTo>
                  <a:cubicBezTo>
                    <a:pt x="55" y="79"/>
                    <a:pt x="55" y="79"/>
                    <a:pt x="55" y="78"/>
                  </a:cubicBezTo>
                  <a:cubicBezTo>
                    <a:pt x="55" y="78"/>
                    <a:pt x="54" y="78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lose/>
                  <a:moveTo>
                    <a:pt x="54" y="78"/>
                  </a:move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lose/>
                  <a:moveTo>
                    <a:pt x="52" y="74"/>
                  </a:move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lose/>
                  <a:moveTo>
                    <a:pt x="52" y="74"/>
                  </a:moveTo>
                  <a:cubicBezTo>
                    <a:pt x="52" y="74"/>
                    <a:pt x="51" y="73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2" y="73"/>
                    <a:pt x="51" y="74"/>
                  </a:cubicBezTo>
                  <a:cubicBezTo>
                    <a:pt x="52" y="74"/>
                    <a:pt x="51" y="74"/>
                    <a:pt x="52" y="74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lose/>
                  <a:moveTo>
                    <a:pt x="51" y="74"/>
                  </a:moveTo>
                  <a:cubicBezTo>
                    <a:pt x="51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4"/>
                  </a:cubicBezTo>
                  <a:close/>
                  <a:moveTo>
                    <a:pt x="50" y="71"/>
                  </a:moveTo>
                  <a:cubicBezTo>
                    <a:pt x="50" y="71"/>
                    <a:pt x="50" y="71"/>
                    <a:pt x="50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lose/>
                  <a:moveTo>
                    <a:pt x="50" y="71"/>
                  </a:moveTo>
                  <a:cubicBezTo>
                    <a:pt x="49" y="71"/>
                    <a:pt x="50" y="71"/>
                    <a:pt x="50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1"/>
                  </a:cubicBezTo>
                  <a:cubicBezTo>
                    <a:pt x="49" y="70"/>
                    <a:pt x="49" y="71"/>
                    <a:pt x="50" y="71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2"/>
                    <a:pt x="50" y="72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54" y="78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8"/>
                    <a:pt x="54" y="79"/>
                    <a:pt x="54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7"/>
                    <a:pt x="53" y="77"/>
                  </a:cubicBezTo>
                  <a:cubicBezTo>
                    <a:pt x="54" y="77"/>
                    <a:pt x="54" y="78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3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3" y="76"/>
                    <a:pt x="52" y="77"/>
                    <a:pt x="53" y="77"/>
                  </a:cubicBezTo>
                  <a:cubicBezTo>
                    <a:pt x="53" y="77"/>
                    <a:pt x="53" y="78"/>
                    <a:pt x="54" y="78"/>
                  </a:cubicBezTo>
                  <a:close/>
                  <a:moveTo>
                    <a:pt x="54" y="80"/>
                  </a:moveTo>
                  <a:cubicBezTo>
                    <a:pt x="54" y="80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ubicBezTo>
                    <a:pt x="54" y="80"/>
                    <a:pt x="54" y="79"/>
                    <a:pt x="54" y="80"/>
                  </a:cubicBezTo>
                  <a:close/>
                  <a:moveTo>
                    <a:pt x="55" y="81"/>
                  </a:moveTo>
                  <a:cubicBezTo>
                    <a:pt x="55" y="81"/>
                    <a:pt x="55" y="81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4"/>
                    <a:pt x="57" y="83"/>
                  </a:cubicBezTo>
                  <a:cubicBezTo>
                    <a:pt x="57" y="83"/>
                    <a:pt x="56" y="83"/>
                    <a:pt x="56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2"/>
                    <a:pt x="55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4"/>
                    <a:pt x="57" y="84"/>
                    <a:pt x="56" y="83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lose/>
                  <a:moveTo>
                    <a:pt x="54" y="80"/>
                  </a:moveTo>
                  <a:cubicBezTo>
                    <a:pt x="54" y="79"/>
                    <a:pt x="54" y="80"/>
                    <a:pt x="54" y="80"/>
                  </a:cubicBezTo>
                  <a:cubicBezTo>
                    <a:pt x="54" y="80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6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5" y="81"/>
                  </a:moveTo>
                  <a:cubicBezTo>
                    <a:pt x="54" y="81"/>
                    <a:pt x="55" y="81"/>
                    <a:pt x="54" y="81"/>
                  </a:cubicBezTo>
                  <a:cubicBezTo>
                    <a:pt x="54" y="81"/>
                    <a:pt x="54" y="81"/>
                    <a:pt x="55" y="81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7" y="86"/>
                  </a:moveTo>
                  <a:cubicBezTo>
                    <a:pt x="57" y="86"/>
                    <a:pt x="57" y="86"/>
                    <a:pt x="57" y="86"/>
                  </a:cubicBezTo>
                  <a:cubicBezTo>
                    <a:pt x="58" y="86"/>
                    <a:pt x="57" y="85"/>
                    <a:pt x="57" y="86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8"/>
                    <a:pt x="58" y="87"/>
                    <a:pt x="58" y="88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lose/>
                  <a:moveTo>
                    <a:pt x="5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8" y="88"/>
                  </a:cubicBezTo>
                  <a:cubicBezTo>
                    <a:pt x="59" y="89"/>
                    <a:pt x="59" y="89"/>
                    <a:pt x="58" y="89"/>
                  </a:cubicBezTo>
                  <a:close/>
                  <a:moveTo>
                    <a:pt x="58" y="88"/>
                  </a:moveTo>
                  <a:cubicBezTo>
                    <a:pt x="58" y="87"/>
                    <a:pt x="57" y="87"/>
                    <a:pt x="57" y="87"/>
                  </a:cubicBezTo>
                  <a:cubicBezTo>
                    <a:pt x="57" y="87"/>
                    <a:pt x="58" y="88"/>
                    <a:pt x="58" y="88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1"/>
                    <a:pt x="60" y="91"/>
                  </a:cubicBezTo>
                  <a:cubicBezTo>
                    <a:pt x="60" y="91"/>
                    <a:pt x="60" y="92"/>
                    <a:pt x="61" y="91"/>
                  </a:cubicBezTo>
                  <a:cubicBezTo>
                    <a:pt x="60" y="91"/>
                    <a:pt x="60" y="91"/>
                    <a:pt x="60" y="90"/>
                  </a:cubicBezTo>
                  <a:cubicBezTo>
                    <a:pt x="60" y="90"/>
                    <a:pt x="60" y="91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62" y="95"/>
                  </a:move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lose/>
                  <a:moveTo>
                    <a:pt x="53" y="81"/>
                  </a:moveTo>
                  <a:cubicBezTo>
                    <a:pt x="52" y="81"/>
                    <a:pt x="53" y="81"/>
                    <a:pt x="52" y="80"/>
                  </a:cubicBezTo>
                  <a:cubicBezTo>
                    <a:pt x="53" y="80"/>
                    <a:pt x="53" y="81"/>
                    <a:pt x="53" y="81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7"/>
                    <a:pt x="42" y="67"/>
                  </a:cubicBezTo>
                  <a:cubicBezTo>
                    <a:pt x="42" y="67"/>
                    <a:pt x="42" y="67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38" y="69"/>
                  </a:moveTo>
                  <a:cubicBezTo>
                    <a:pt x="39" y="69"/>
                    <a:pt x="38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4" y="66"/>
                  </a:move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lose/>
                  <a:moveTo>
                    <a:pt x="43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4" y="68"/>
                  </a:cubicBezTo>
                  <a:cubicBezTo>
                    <a:pt x="44" y="68"/>
                    <a:pt x="44" y="68"/>
                    <a:pt x="43" y="68"/>
                  </a:cubicBezTo>
                  <a:cubicBezTo>
                    <a:pt x="43" y="68"/>
                    <a:pt x="43" y="68"/>
                    <a:pt x="43" y="67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lose/>
                  <a:moveTo>
                    <a:pt x="38" y="69"/>
                  </a:move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7" y="69"/>
                  </a:move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70"/>
                    <a:pt x="47" y="70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0"/>
                    <a:pt x="47" y="70"/>
                  </a:cubicBezTo>
                  <a:cubicBezTo>
                    <a:pt x="47" y="70"/>
                    <a:pt x="47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8"/>
                    <a:pt x="46" y="68"/>
                  </a:cubicBezTo>
                  <a:cubicBezTo>
                    <a:pt x="46" y="68"/>
                    <a:pt x="45" y="68"/>
                    <a:pt x="46" y="68"/>
                  </a:cubicBezTo>
                  <a:cubicBezTo>
                    <a:pt x="45" y="67"/>
                    <a:pt x="45" y="67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8"/>
                    <a:pt x="46" y="68"/>
                  </a:cubicBezTo>
                  <a:cubicBezTo>
                    <a:pt x="46" y="68"/>
                    <a:pt x="46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70"/>
                    <a:pt x="48" y="70"/>
                  </a:cubicBezTo>
                  <a:cubicBezTo>
                    <a:pt x="47" y="70"/>
                    <a:pt x="47" y="69"/>
                    <a:pt x="47" y="70"/>
                  </a:cubicBezTo>
                  <a:cubicBezTo>
                    <a:pt x="47" y="70"/>
                    <a:pt x="47" y="69"/>
                    <a:pt x="47" y="69"/>
                  </a:cubicBezTo>
                  <a:close/>
                  <a:moveTo>
                    <a:pt x="46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7"/>
                    <a:pt x="46" y="68"/>
                  </a:cubicBezTo>
                  <a:close/>
                  <a:moveTo>
                    <a:pt x="41" y="69"/>
                  </a:moveTo>
                  <a:cubicBezTo>
                    <a:pt x="41" y="68"/>
                    <a:pt x="42" y="69"/>
                    <a:pt x="41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1" y="69"/>
                  </a:cubicBezTo>
                  <a:close/>
                  <a:moveTo>
                    <a:pt x="39" y="70"/>
                  </a:moveTo>
                  <a:cubicBezTo>
                    <a:pt x="40" y="70"/>
                    <a:pt x="40" y="70"/>
                    <a:pt x="39" y="70"/>
                  </a:cubicBezTo>
                  <a:cubicBezTo>
                    <a:pt x="39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1"/>
                    <a:pt x="40" y="71"/>
                    <a:pt x="41" y="71"/>
                  </a:cubicBezTo>
                  <a:cubicBezTo>
                    <a:pt x="41" y="71"/>
                    <a:pt x="40" y="71"/>
                    <a:pt x="40" y="71"/>
                  </a:cubicBezTo>
                  <a:cubicBezTo>
                    <a:pt x="41" y="71"/>
                    <a:pt x="41" y="71"/>
                    <a:pt x="40" y="71"/>
                  </a:cubicBezTo>
                  <a:cubicBezTo>
                    <a:pt x="40" y="71"/>
                    <a:pt x="40" y="70"/>
                    <a:pt x="39" y="70"/>
                  </a:cubicBezTo>
                  <a:close/>
                  <a:moveTo>
                    <a:pt x="40" y="69"/>
                  </a:move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70"/>
                    <a:pt x="41" y="70"/>
                  </a:cubicBezTo>
                  <a:cubicBezTo>
                    <a:pt x="41" y="70"/>
                    <a:pt x="41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1" y="71"/>
                  </a:cubicBezTo>
                  <a:cubicBezTo>
                    <a:pt x="42" y="71"/>
                    <a:pt x="41" y="70"/>
                    <a:pt x="41" y="70"/>
                  </a:cubicBezTo>
                  <a:cubicBezTo>
                    <a:pt x="41" y="70"/>
                    <a:pt x="41" y="70"/>
                    <a:pt x="41" y="71"/>
                  </a:cubicBezTo>
                  <a:cubicBezTo>
                    <a:pt x="41" y="71"/>
                    <a:pt x="41" y="71"/>
                    <a:pt x="41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2"/>
                    <a:pt x="42" y="72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1" y="71"/>
                    <a:pt x="41" y="71"/>
                  </a:cubicBezTo>
                  <a:cubicBezTo>
                    <a:pt x="41" y="71"/>
                    <a:pt x="41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70"/>
                    <a:pt x="42" y="69"/>
                  </a:cubicBezTo>
                  <a:close/>
                  <a:moveTo>
                    <a:pt x="43" y="70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9"/>
                    <a:pt x="44" y="69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3" y="70"/>
                    <a:pt x="43" y="70"/>
                    <a:pt x="43" y="70"/>
                  </a:cubicBezTo>
                  <a:close/>
                  <a:moveTo>
                    <a:pt x="43" y="71"/>
                  </a:move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8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5" y="72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4" y="71"/>
                  </a:cubicBezTo>
                  <a:cubicBezTo>
                    <a:pt x="44" y="71"/>
                    <a:pt x="44" y="72"/>
                    <a:pt x="44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0"/>
                    <a:pt x="44" y="71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5" y="71"/>
                    <a:pt x="45" y="71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1"/>
                    <a:pt x="43" y="71"/>
                  </a:cubicBezTo>
                  <a:cubicBezTo>
                    <a:pt x="43" y="71"/>
                    <a:pt x="44" y="71"/>
                    <a:pt x="44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3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2" y="75"/>
                    <a:pt x="42" y="75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4"/>
                    <a:pt x="42" y="75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3" y="74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4" y="76"/>
                  </a:cubicBezTo>
                  <a:cubicBezTo>
                    <a:pt x="43" y="76"/>
                    <a:pt x="44" y="76"/>
                    <a:pt x="44" y="76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3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2"/>
                    <a:pt x="45" y="72"/>
                  </a:cubicBezTo>
                  <a:close/>
                  <a:moveTo>
                    <a:pt x="45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3"/>
                    <a:pt x="45" y="73"/>
                    <a:pt x="45" y="73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5"/>
                    <a:pt x="46" y="75"/>
                  </a:cubicBezTo>
                  <a:cubicBezTo>
                    <a:pt x="46" y="75"/>
                    <a:pt x="47" y="75"/>
                    <a:pt x="47" y="75"/>
                  </a:cubicBezTo>
                  <a:cubicBezTo>
                    <a:pt x="47" y="76"/>
                    <a:pt x="47" y="75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4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3" y="73"/>
                    <a:pt x="43" y="74"/>
                    <a:pt x="43" y="74"/>
                  </a:cubicBezTo>
                  <a:cubicBezTo>
                    <a:pt x="43" y="74"/>
                    <a:pt x="43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6"/>
                  </a:cubicBezTo>
                  <a:close/>
                  <a:moveTo>
                    <a:pt x="44" y="75"/>
                  </a:move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lose/>
                  <a:moveTo>
                    <a:pt x="48" y="72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8" y="71"/>
                    <a:pt x="48" y="7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2"/>
                    <a:pt x="46" y="72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7" y="73"/>
                    <a:pt x="47" y="74"/>
                    <a:pt x="48" y="75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7" y="72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49" y="71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lose/>
                  <a:moveTo>
                    <a:pt x="45" y="75"/>
                  </a:moveTo>
                  <a:cubicBezTo>
                    <a:pt x="44" y="75"/>
                    <a:pt x="45" y="75"/>
                    <a:pt x="44" y="75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5"/>
                    <a:pt x="45" y="75"/>
                  </a:cubicBezTo>
                  <a:close/>
                  <a:moveTo>
                    <a:pt x="49" y="75"/>
                  </a:moveTo>
                  <a:cubicBezTo>
                    <a:pt x="49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8" y="73"/>
                  </a:cubicBezTo>
                  <a:cubicBezTo>
                    <a:pt x="48" y="73"/>
                    <a:pt x="48" y="73"/>
                    <a:pt x="48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9" y="73"/>
                    <a:pt x="49" y="74"/>
                    <a:pt x="49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50" y="75"/>
                    <a:pt x="49" y="75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5"/>
                    <a:pt x="44" y="75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5" y="76"/>
                    <a:pt x="44" y="76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5" y="77"/>
                    <a:pt x="45" y="77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9"/>
                    <a:pt x="46" y="79"/>
                  </a:cubicBezTo>
                  <a:cubicBezTo>
                    <a:pt x="46" y="79"/>
                    <a:pt x="46" y="78"/>
                    <a:pt x="46" y="78"/>
                  </a:cubicBezTo>
                  <a:cubicBezTo>
                    <a:pt x="46" y="77"/>
                    <a:pt x="45" y="77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5"/>
                  </a:cubicBezTo>
                  <a:cubicBezTo>
                    <a:pt x="44" y="75"/>
                    <a:pt x="44" y="76"/>
                    <a:pt x="44" y="76"/>
                  </a:cubicBezTo>
                  <a:cubicBezTo>
                    <a:pt x="44" y="75"/>
                    <a:pt x="44" y="76"/>
                    <a:pt x="44" y="75"/>
                  </a:cubicBezTo>
                  <a:cubicBezTo>
                    <a:pt x="45" y="76"/>
                    <a:pt x="45" y="75"/>
                    <a:pt x="45" y="76"/>
                  </a:cubicBezTo>
                  <a:close/>
                  <a:moveTo>
                    <a:pt x="49" y="75"/>
                  </a:move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6"/>
                  </a:cubicBezTo>
                  <a:cubicBezTo>
                    <a:pt x="49" y="75"/>
                    <a:pt x="48" y="74"/>
                    <a:pt x="48" y="74"/>
                  </a:cubicBezTo>
                  <a:cubicBezTo>
                    <a:pt x="48" y="74"/>
                    <a:pt x="49" y="74"/>
                    <a:pt x="49" y="75"/>
                  </a:cubicBezTo>
                  <a:close/>
                  <a:moveTo>
                    <a:pt x="45" y="77"/>
                  </a:moveTo>
                  <a:cubicBezTo>
                    <a:pt x="45" y="77"/>
                    <a:pt x="44" y="77"/>
                    <a:pt x="44" y="77"/>
                  </a:cubicBezTo>
                  <a:cubicBezTo>
                    <a:pt x="44" y="77"/>
                    <a:pt x="45" y="77"/>
                    <a:pt x="45" y="77"/>
                  </a:cubicBezTo>
                  <a:close/>
                  <a:moveTo>
                    <a:pt x="51" y="74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51" y="75"/>
                    <a:pt x="51" y="74"/>
                    <a:pt x="51" y="74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8"/>
                  </a:cubicBezTo>
                  <a:cubicBezTo>
                    <a:pt x="48" y="77"/>
                    <a:pt x="49" y="78"/>
                    <a:pt x="48" y="79"/>
                  </a:cubicBezTo>
                  <a:cubicBezTo>
                    <a:pt x="48" y="78"/>
                    <a:pt x="48" y="78"/>
                    <a:pt x="48" y="77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6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3" y="74"/>
                  </a:move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79"/>
                  </a:cubicBezTo>
                  <a:cubicBezTo>
                    <a:pt x="45" y="79"/>
                    <a:pt x="45" y="80"/>
                    <a:pt x="45" y="80"/>
                  </a:cubicBezTo>
                  <a:cubicBezTo>
                    <a:pt x="46" y="80"/>
                    <a:pt x="45" y="80"/>
                    <a:pt x="45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55" y="75"/>
                  </a:moveTo>
                  <a:cubicBezTo>
                    <a:pt x="55" y="76"/>
                    <a:pt x="55" y="76"/>
                    <a:pt x="55" y="77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5"/>
                    <a:pt x="55" y="75"/>
                  </a:cubicBezTo>
                  <a:close/>
                  <a:moveTo>
                    <a:pt x="54" y="76"/>
                  </a:moveTo>
                  <a:cubicBezTo>
                    <a:pt x="54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7"/>
                  </a:cubicBezTo>
                  <a:cubicBezTo>
                    <a:pt x="55" y="77"/>
                    <a:pt x="55" y="78"/>
                    <a:pt x="55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5" y="76"/>
                    <a:pt x="55" y="76"/>
                    <a:pt x="54" y="76"/>
                  </a:cubicBezTo>
                  <a:close/>
                  <a:moveTo>
                    <a:pt x="49" y="82"/>
                  </a:move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2"/>
                    <a:pt x="49" y="82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9" y="84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8" y="84"/>
                    <a:pt x="48" y="84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8" y="83"/>
                    <a:pt x="48" y="83"/>
                    <a:pt x="47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4"/>
                    <a:pt x="48" y="84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9" y="84"/>
                  </a:cubicBezTo>
                  <a:close/>
                  <a:moveTo>
                    <a:pt x="48" y="82"/>
                  </a:moveTo>
                  <a:cubicBezTo>
                    <a:pt x="48" y="82"/>
                    <a:pt x="49" y="82"/>
                    <a:pt x="49" y="83"/>
                  </a:cubicBezTo>
                  <a:cubicBezTo>
                    <a:pt x="49" y="82"/>
                    <a:pt x="49" y="82"/>
                    <a:pt x="48" y="82"/>
                  </a:cubicBezTo>
                  <a:cubicBezTo>
                    <a:pt x="48" y="82"/>
                    <a:pt x="49" y="82"/>
                    <a:pt x="48" y="82"/>
                  </a:cubicBezTo>
                  <a:close/>
                  <a:moveTo>
                    <a:pt x="51" y="85"/>
                  </a:moveTo>
                  <a:cubicBezTo>
                    <a:pt x="50" y="84"/>
                    <a:pt x="50" y="83"/>
                    <a:pt x="49" y="8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2"/>
                    <a:pt x="50" y="82"/>
                    <a:pt x="49" y="82"/>
                  </a:cubicBezTo>
                  <a:cubicBezTo>
                    <a:pt x="49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3"/>
                  </a:cubicBezTo>
                  <a:cubicBezTo>
                    <a:pt x="50" y="83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1" y="84"/>
                  </a:cubicBezTo>
                  <a:cubicBezTo>
                    <a:pt x="52" y="84"/>
                    <a:pt x="51" y="84"/>
                    <a:pt x="51" y="84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2" y="85"/>
                    <a:pt x="53" y="86"/>
                  </a:cubicBezTo>
                  <a:cubicBezTo>
                    <a:pt x="52" y="86"/>
                    <a:pt x="52" y="85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4"/>
                    <a:pt x="51" y="84"/>
                  </a:cubicBezTo>
                  <a:cubicBezTo>
                    <a:pt x="51" y="84"/>
                    <a:pt x="51" y="84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4"/>
                  </a:cubicBezTo>
                  <a:cubicBezTo>
                    <a:pt x="51" y="84"/>
                    <a:pt x="51" y="84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8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51" y="84"/>
                  </a:moveTo>
                  <a:cubicBezTo>
                    <a:pt x="52" y="84"/>
                    <a:pt x="52" y="83"/>
                    <a:pt x="52" y="83"/>
                  </a:cubicBezTo>
                  <a:cubicBezTo>
                    <a:pt x="52" y="83"/>
                    <a:pt x="52" y="84"/>
                    <a:pt x="52" y="83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1" y="84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1"/>
                    <a:pt x="54" y="91"/>
                  </a:cubicBezTo>
                  <a:cubicBezTo>
                    <a:pt x="54" y="91"/>
                    <a:pt x="53" y="91"/>
                    <a:pt x="53" y="91"/>
                  </a:cubicBezTo>
                  <a:cubicBezTo>
                    <a:pt x="53" y="91"/>
                    <a:pt x="53" y="90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3" y="90"/>
                    <a:pt x="53" y="90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3" y="89"/>
                    <a:pt x="53" y="89"/>
                    <a:pt x="53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lose/>
                  <a:moveTo>
                    <a:pt x="61" y="86"/>
                  </a:moveTo>
                  <a:cubicBezTo>
                    <a:pt x="61" y="86"/>
                    <a:pt x="61" y="85"/>
                    <a:pt x="61" y="85"/>
                  </a:cubicBezTo>
                  <a:cubicBezTo>
                    <a:pt x="61" y="85"/>
                    <a:pt x="61" y="86"/>
                    <a:pt x="61" y="86"/>
                  </a:cubicBezTo>
                  <a:close/>
                  <a:moveTo>
                    <a:pt x="58" y="90"/>
                  </a:move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89"/>
                    <a:pt x="57" y="89"/>
                  </a:cubicBezTo>
                  <a:cubicBezTo>
                    <a:pt x="57" y="89"/>
                    <a:pt x="57" y="89"/>
                    <a:pt x="58" y="89"/>
                  </a:cubicBezTo>
                  <a:cubicBezTo>
                    <a:pt x="57" y="89"/>
                    <a:pt x="58" y="90"/>
                    <a:pt x="58" y="90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1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9" y="92"/>
                    <a:pt x="59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58" y="91"/>
                    <a:pt x="58" y="91"/>
                    <a:pt x="58" y="90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8"/>
                    <a:pt x="57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2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2" y="87"/>
                    <a:pt x="62" y="87"/>
                    <a:pt x="61" y="87"/>
                  </a:cubicBezTo>
                  <a:cubicBezTo>
                    <a:pt x="61" y="86"/>
                    <a:pt x="62" y="87"/>
                    <a:pt x="61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7"/>
                    <a:pt x="62" y="88"/>
                    <a:pt x="62" y="88"/>
                  </a:cubicBezTo>
                  <a:cubicBezTo>
                    <a:pt x="62" y="88"/>
                    <a:pt x="62" y="87"/>
                    <a:pt x="61" y="87"/>
                  </a:cubicBezTo>
                  <a:close/>
                  <a:moveTo>
                    <a:pt x="54" y="92"/>
                  </a:moveTo>
                  <a:cubicBezTo>
                    <a:pt x="54" y="92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4" y="93"/>
                  </a:cubicBezTo>
                  <a:cubicBezTo>
                    <a:pt x="54" y="93"/>
                    <a:pt x="55" y="93"/>
                    <a:pt x="55" y="93"/>
                  </a:cubicBezTo>
                  <a:cubicBezTo>
                    <a:pt x="55" y="93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lose/>
                  <a:moveTo>
                    <a:pt x="63" y="87"/>
                  </a:move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65" y="94"/>
                  </a:move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5" y="94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7" y="98"/>
                    <a:pt x="67" y="98"/>
                  </a:cubicBezTo>
                  <a:cubicBezTo>
                    <a:pt x="66" y="98"/>
                    <a:pt x="66" y="98"/>
                    <a:pt x="66" y="98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lose/>
                  <a:moveTo>
                    <a:pt x="65" y="98"/>
                  </a:moveTo>
                  <a:cubicBezTo>
                    <a:pt x="65" y="98"/>
                    <a:pt x="65" y="98"/>
                    <a:pt x="64" y="97"/>
                  </a:cubicBezTo>
                  <a:cubicBezTo>
                    <a:pt x="65" y="97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8"/>
                  </a:cubicBezTo>
                  <a:close/>
                  <a:moveTo>
                    <a:pt x="66" y="99"/>
                  </a:move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100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6" y="100"/>
                    <a:pt x="66" y="99"/>
                    <a:pt x="66" y="100"/>
                  </a:cubicBezTo>
                  <a:cubicBezTo>
                    <a:pt x="66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100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5" y="98"/>
                    <a:pt x="66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9"/>
                    <a:pt x="66" y="99"/>
                  </a:cubicBezTo>
                  <a:cubicBezTo>
                    <a:pt x="66" y="99"/>
                    <a:pt x="65" y="99"/>
                    <a:pt x="66" y="99"/>
                  </a:cubicBezTo>
                  <a:cubicBezTo>
                    <a:pt x="65" y="99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4" y="97"/>
                    <a:pt x="65" y="97"/>
                    <a:pt x="65" y="97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5"/>
                    <a:pt x="64" y="95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4" y="95"/>
                    <a:pt x="64" y="96"/>
                  </a:cubicBezTo>
                  <a:cubicBezTo>
                    <a:pt x="64" y="96"/>
                    <a:pt x="64" y="96"/>
                    <a:pt x="64" y="95"/>
                  </a:cubicBezTo>
                  <a:cubicBezTo>
                    <a:pt x="64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7"/>
                    <a:pt x="65" y="96"/>
                    <a:pt x="65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5" y="97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lose/>
                  <a:moveTo>
                    <a:pt x="65" y="97"/>
                  </a:move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4"/>
                    <a:pt x="65" y="94"/>
                  </a:cubicBezTo>
                  <a:close/>
                  <a:moveTo>
                    <a:pt x="64" y="96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8"/>
                    <a:pt x="64" y="97"/>
                    <a:pt x="64" y="97"/>
                  </a:cubicBezTo>
                  <a:cubicBezTo>
                    <a:pt x="64" y="97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lose/>
                  <a:moveTo>
                    <a:pt x="62" y="99"/>
                  </a:moveTo>
                  <a:cubicBezTo>
                    <a:pt x="62" y="99"/>
                    <a:pt x="62" y="99"/>
                    <a:pt x="62" y="99"/>
                  </a:cubicBezTo>
                  <a:cubicBezTo>
                    <a:pt x="62" y="99"/>
                    <a:pt x="62" y="99"/>
                    <a:pt x="62" y="98"/>
                  </a:cubicBezTo>
                  <a:cubicBezTo>
                    <a:pt x="62" y="98"/>
                    <a:pt x="62" y="99"/>
                    <a:pt x="62" y="99"/>
                  </a:cubicBezTo>
                  <a:close/>
                  <a:moveTo>
                    <a:pt x="67" y="95"/>
                  </a:move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lose/>
                  <a:moveTo>
                    <a:pt x="67" y="96"/>
                  </a:move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6"/>
                  </a:cubicBez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9" y="99"/>
                  </a:cubicBezTo>
                  <a:cubicBezTo>
                    <a:pt x="68" y="99"/>
                    <a:pt x="68" y="98"/>
                    <a:pt x="68" y="98"/>
                  </a:cubicBezTo>
                  <a:cubicBezTo>
                    <a:pt x="68" y="98"/>
                    <a:pt x="67" y="97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8"/>
                    <a:pt x="68" y="98"/>
                    <a:pt x="69" y="98"/>
                  </a:cubicBezTo>
                  <a:cubicBezTo>
                    <a:pt x="68" y="98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100"/>
                    <a:pt x="69" y="99"/>
                  </a:cubicBezTo>
                  <a:cubicBezTo>
                    <a:pt x="69" y="100"/>
                    <a:pt x="70" y="100"/>
                    <a:pt x="70" y="100"/>
                  </a:cubicBezTo>
                  <a:cubicBezTo>
                    <a:pt x="70" y="100"/>
                    <a:pt x="70" y="101"/>
                    <a:pt x="70" y="101"/>
                  </a:cubicBezTo>
                  <a:cubicBezTo>
                    <a:pt x="69" y="100"/>
                    <a:pt x="69" y="99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8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8" y="100"/>
                    <a:pt x="68" y="101"/>
                  </a:cubicBezTo>
                  <a:cubicBezTo>
                    <a:pt x="68" y="101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99"/>
                    <a:pt x="67" y="99"/>
                    <a:pt x="68" y="99"/>
                  </a:cubicBezTo>
                  <a:cubicBezTo>
                    <a:pt x="68" y="100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lose/>
                  <a:moveTo>
                    <a:pt x="68" y="101"/>
                  </a:moveTo>
                  <a:cubicBezTo>
                    <a:pt x="68" y="101"/>
                    <a:pt x="68" y="102"/>
                    <a:pt x="68" y="102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67" y="100"/>
                    <a:pt x="68" y="101"/>
                    <a:pt x="68" y="101"/>
                  </a:cubicBezTo>
                  <a:close/>
                  <a:moveTo>
                    <a:pt x="71" y="102"/>
                  </a:moveTo>
                  <a:cubicBezTo>
                    <a:pt x="70" y="102"/>
                    <a:pt x="70" y="102"/>
                    <a:pt x="70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1" y="102"/>
                  </a:moveTo>
                  <a:cubicBezTo>
                    <a:pt x="71" y="102"/>
                    <a:pt x="71" y="101"/>
                    <a:pt x="71" y="101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0" y="106"/>
                  </a:move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lose/>
                  <a:moveTo>
                    <a:pt x="71" y="106"/>
                  </a:moveTo>
                  <a:cubicBezTo>
                    <a:pt x="71" y="106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1" y="107"/>
                  </a:cubicBezTo>
                  <a:cubicBezTo>
                    <a:pt x="71" y="107"/>
                    <a:pt x="70" y="106"/>
                    <a:pt x="71" y="106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6"/>
                    <a:pt x="71" y="106"/>
                  </a:cubicBezTo>
                  <a:close/>
                  <a:moveTo>
                    <a:pt x="75" y="109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1"/>
                    <a:pt x="76" y="111"/>
                    <a:pt x="75" y="110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0"/>
                    <a:pt x="75" y="110"/>
                  </a:cubicBezTo>
                  <a:cubicBezTo>
                    <a:pt x="75" y="109"/>
                    <a:pt x="74" y="110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5" y="109"/>
                    <a:pt x="75" y="109"/>
                  </a:cubicBezTo>
                  <a:close/>
                  <a:moveTo>
                    <a:pt x="75" y="110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0"/>
                    <a:pt x="75" y="110"/>
                    <a:pt x="75" y="110"/>
                  </a:cubicBezTo>
                  <a:close/>
                  <a:moveTo>
                    <a:pt x="76" y="110"/>
                  </a:moveTo>
                  <a:cubicBezTo>
                    <a:pt x="75" y="110"/>
                    <a:pt x="75" y="109"/>
                    <a:pt x="75" y="109"/>
                  </a:cubicBezTo>
                  <a:cubicBezTo>
                    <a:pt x="76" y="109"/>
                    <a:pt x="75" y="109"/>
                    <a:pt x="75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6" y="110"/>
                  </a:cubicBezTo>
                  <a:cubicBezTo>
                    <a:pt x="76" y="110"/>
                    <a:pt x="76" y="110"/>
                    <a:pt x="76" y="110"/>
                  </a:cubicBezTo>
                  <a:close/>
                  <a:moveTo>
                    <a:pt x="76" y="111"/>
                  </a:moveTo>
                  <a:cubicBezTo>
                    <a:pt x="76" y="111"/>
                    <a:pt x="76" y="110"/>
                    <a:pt x="76" y="110"/>
                  </a:cubicBezTo>
                  <a:cubicBezTo>
                    <a:pt x="76" y="110"/>
                    <a:pt x="76" y="111"/>
                    <a:pt x="77" y="111"/>
                  </a:cubicBezTo>
                  <a:cubicBezTo>
                    <a:pt x="77" y="111"/>
                    <a:pt x="76" y="111"/>
                    <a:pt x="77" y="111"/>
                  </a:cubicBezTo>
                  <a:cubicBezTo>
                    <a:pt x="76" y="111"/>
                    <a:pt x="77" y="111"/>
                    <a:pt x="76" y="111"/>
                  </a:cubicBezTo>
                  <a:close/>
                  <a:moveTo>
                    <a:pt x="78" y="115"/>
                  </a:moveTo>
                  <a:cubicBezTo>
                    <a:pt x="78" y="115"/>
                    <a:pt x="79" y="115"/>
                    <a:pt x="79" y="116"/>
                  </a:cubicBezTo>
                  <a:cubicBezTo>
                    <a:pt x="79" y="116"/>
                    <a:pt x="79" y="115"/>
                    <a:pt x="78" y="115"/>
                  </a:cubicBezTo>
                  <a:cubicBezTo>
                    <a:pt x="79" y="116"/>
                    <a:pt x="79" y="117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20"/>
                  </a:cubicBezTo>
                  <a:cubicBezTo>
                    <a:pt x="81" y="119"/>
                    <a:pt x="81" y="119"/>
                    <a:pt x="80" y="119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8"/>
                    <a:pt x="80" y="118"/>
                    <a:pt x="79" y="117"/>
                  </a:cubicBezTo>
                  <a:cubicBezTo>
                    <a:pt x="79" y="117"/>
                    <a:pt x="80" y="117"/>
                    <a:pt x="80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6"/>
                    <a:pt x="78" y="115"/>
                    <a:pt x="77" y="114"/>
                  </a:cubicBezTo>
                  <a:cubicBezTo>
                    <a:pt x="78" y="114"/>
                    <a:pt x="77" y="114"/>
                    <a:pt x="77" y="113"/>
                  </a:cubicBezTo>
                  <a:cubicBezTo>
                    <a:pt x="77" y="113"/>
                    <a:pt x="77" y="113"/>
                    <a:pt x="77" y="113"/>
                  </a:cubicBezTo>
                  <a:cubicBezTo>
                    <a:pt x="77" y="112"/>
                    <a:pt x="76" y="112"/>
                    <a:pt x="76" y="111"/>
                  </a:cubicBezTo>
                  <a:cubicBezTo>
                    <a:pt x="77" y="111"/>
                    <a:pt x="78" y="113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lose/>
                  <a:moveTo>
                    <a:pt x="75" y="111"/>
                  </a:moveTo>
                  <a:cubicBezTo>
                    <a:pt x="76" y="111"/>
                    <a:pt x="76" y="111"/>
                    <a:pt x="76" y="111"/>
                  </a:cubicBezTo>
                  <a:cubicBezTo>
                    <a:pt x="76" y="112"/>
                    <a:pt x="76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6" y="111"/>
                    <a:pt x="75" y="111"/>
                  </a:cubicBezTo>
                  <a:close/>
                  <a:moveTo>
                    <a:pt x="82" y="121"/>
                  </a:moveTo>
                  <a:cubicBezTo>
                    <a:pt x="82" y="119"/>
                    <a:pt x="81" y="118"/>
                    <a:pt x="80" y="117"/>
                  </a:cubicBezTo>
                  <a:cubicBezTo>
                    <a:pt x="81" y="118"/>
                    <a:pt x="82" y="119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84" y="124"/>
                    <a:pt x="84" y="125"/>
                    <a:pt x="84" y="125"/>
                  </a:cubicBezTo>
                  <a:cubicBezTo>
                    <a:pt x="84" y="125"/>
                    <a:pt x="84" y="124"/>
                    <a:pt x="84" y="124"/>
                  </a:cubicBezTo>
                  <a:cubicBezTo>
                    <a:pt x="84" y="124"/>
                    <a:pt x="84" y="124"/>
                    <a:pt x="84" y="124"/>
                  </a:cubicBezTo>
                  <a:cubicBezTo>
                    <a:pt x="83" y="124"/>
                    <a:pt x="84" y="124"/>
                    <a:pt x="84" y="124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8" y="129"/>
                  </a:moveTo>
                  <a:cubicBezTo>
                    <a:pt x="88" y="129"/>
                    <a:pt x="88" y="130"/>
                    <a:pt x="89" y="130"/>
                  </a:cubicBezTo>
                  <a:cubicBezTo>
                    <a:pt x="89" y="130"/>
                    <a:pt x="88" y="130"/>
                    <a:pt x="88" y="130"/>
                  </a:cubicBezTo>
                  <a:cubicBezTo>
                    <a:pt x="88" y="130"/>
                    <a:pt x="88" y="130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8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lose/>
                  <a:moveTo>
                    <a:pt x="94" y="138"/>
                  </a:moveTo>
                  <a:cubicBezTo>
                    <a:pt x="94" y="138"/>
                    <a:pt x="93" y="137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5"/>
                    <a:pt x="91" y="135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1" y="135"/>
                    <a:pt x="91" y="134"/>
                    <a:pt x="91" y="135"/>
                  </a:cubicBezTo>
                  <a:cubicBezTo>
                    <a:pt x="91" y="134"/>
                    <a:pt x="91" y="134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4"/>
                    <a:pt x="91" y="133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2" y="135"/>
                    <a:pt x="92" y="134"/>
                    <a:pt x="92" y="134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6"/>
                    <a:pt x="92" y="135"/>
                    <a:pt x="92" y="135"/>
                  </a:cubicBezTo>
                  <a:cubicBezTo>
                    <a:pt x="93" y="135"/>
                    <a:pt x="92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3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5" y="138"/>
                    <a:pt x="95" y="139"/>
                  </a:cubicBezTo>
                  <a:cubicBezTo>
                    <a:pt x="95" y="139"/>
                    <a:pt x="95" y="138"/>
                    <a:pt x="95" y="138"/>
                  </a:cubicBezTo>
                  <a:cubicBezTo>
                    <a:pt x="95" y="138"/>
                    <a:pt x="95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lose/>
                  <a:moveTo>
                    <a:pt x="90" y="134"/>
                  </a:moveTo>
                  <a:cubicBezTo>
                    <a:pt x="90" y="134"/>
                    <a:pt x="90" y="134"/>
                    <a:pt x="91" y="134"/>
                  </a:cubicBezTo>
                  <a:cubicBezTo>
                    <a:pt x="90" y="134"/>
                    <a:pt x="90" y="134"/>
                    <a:pt x="90" y="134"/>
                  </a:cubicBezTo>
                  <a:close/>
                  <a:moveTo>
                    <a:pt x="91" y="135"/>
                  </a:moveTo>
                  <a:cubicBezTo>
                    <a:pt x="91" y="135"/>
                    <a:pt x="91" y="135"/>
                    <a:pt x="91" y="135"/>
                  </a:cubicBezTo>
                  <a:cubicBezTo>
                    <a:pt x="91" y="135"/>
                    <a:pt x="91" y="134"/>
                    <a:pt x="91" y="135"/>
                  </a:cubicBezTo>
                  <a:close/>
                  <a:moveTo>
                    <a:pt x="91" y="135"/>
                  </a:moveTo>
                  <a:cubicBezTo>
                    <a:pt x="91" y="136"/>
                    <a:pt x="91" y="136"/>
                    <a:pt x="91" y="136"/>
                  </a:cubicBezTo>
                  <a:cubicBezTo>
                    <a:pt x="91" y="136"/>
                    <a:pt x="91" y="135"/>
                    <a:pt x="91" y="135"/>
                  </a:cubicBezTo>
                  <a:close/>
                  <a:moveTo>
                    <a:pt x="96" y="141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96" y="141"/>
                    <a:pt x="96" y="141"/>
                  </a:cubicBezTo>
                  <a:close/>
                  <a:moveTo>
                    <a:pt x="96" y="143"/>
                  </a:moveTo>
                  <a:cubicBezTo>
                    <a:pt x="96" y="143"/>
                    <a:pt x="96" y="144"/>
                    <a:pt x="96" y="144"/>
                  </a:cubicBezTo>
                  <a:cubicBezTo>
                    <a:pt x="96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6" y="143"/>
                    <a:pt x="96" y="143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8" y="152"/>
                  </a:moveTo>
                  <a:cubicBezTo>
                    <a:pt x="98" y="151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lose/>
                  <a:moveTo>
                    <a:pt x="102" y="152"/>
                  </a:moveTo>
                  <a:cubicBezTo>
                    <a:pt x="102" y="152"/>
                    <a:pt x="102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lose/>
                  <a:moveTo>
                    <a:pt x="5" y="20"/>
                  </a:moveTo>
                  <a:cubicBezTo>
                    <a:pt x="5" y="20"/>
                    <a:pt x="5" y="19"/>
                    <a:pt x="5" y="19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9"/>
                  </a:cubicBezTo>
                  <a:cubicBezTo>
                    <a:pt x="20" y="39"/>
                    <a:pt x="20" y="38"/>
                    <a:pt x="20" y="38"/>
                  </a:cubicBezTo>
                  <a:close/>
                  <a:moveTo>
                    <a:pt x="21" y="37"/>
                  </a:moveTo>
                  <a:cubicBezTo>
                    <a:pt x="21" y="37"/>
                    <a:pt x="21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8"/>
                    <a:pt x="21" y="37"/>
                  </a:cubicBezTo>
                  <a:close/>
                  <a:moveTo>
                    <a:pt x="22" y="39"/>
                  </a:moveTo>
                  <a:cubicBezTo>
                    <a:pt x="22" y="39"/>
                    <a:pt x="22" y="39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39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lose/>
                  <a:moveTo>
                    <a:pt x="25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6" y="39"/>
                  </a:cubicBezTo>
                  <a:cubicBezTo>
                    <a:pt x="25" y="39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7"/>
                  </a:cubicBezTo>
                  <a:close/>
                  <a:moveTo>
                    <a:pt x="32" y="42"/>
                  </a:moveTo>
                  <a:cubicBezTo>
                    <a:pt x="32" y="42"/>
                    <a:pt x="32" y="43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lose/>
                  <a:moveTo>
                    <a:pt x="28" y="48"/>
                  </a:moveTo>
                  <a:cubicBezTo>
                    <a:pt x="28" y="48"/>
                    <a:pt x="29" y="48"/>
                    <a:pt x="29" y="49"/>
                  </a:cubicBezTo>
                  <a:cubicBezTo>
                    <a:pt x="28" y="49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3" y="58"/>
                    <a:pt x="43" y="57"/>
                    <a:pt x="43" y="57"/>
                  </a:cubicBezTo>
                  <a:close/>
                  <a:moveTo>
                    <a:pt x="38" y="61"/>
                  </a:move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lnTo>
                    <a:pt x="38" y="61"/>
                  </a:lnTo>
                  <a:close/>
                  <a:moveTo>
                    <a:pt x="43" y="65"/>
                  </a:moveTo>
                  <a:cubicBezTo>
                    <a:pt x="43" y="65"/>
                    <a:pt x="43" y="65"/>
                    <a:pt x="42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4"/>
                    <a:pt x="43" y="65"/>
                    <a:pt x="43" y="65"/>
                  </a:cubicBezTo>
                  <a:close/>
                  <a:moveTo>
                    <a:pt x="41" y="71"/>
                  </a:moveTo>
                  <a:cubicBezTo>
                    <a:pt x="41" y="71"/>
                    <a:pt x="41" y="71"/>
                    <a:pt x="40" y="71"/>
                  </a:cubicBezTo>
                  <a:cubicBezTo>
                    <a:pt x="40" y="70"/>
                    <a:pt x="41" y="70"/>
                    <a:pt x="41" y="70"/>
                  </a:cubicBezTo>
                  <a:cubicBezTo>
                    <a:pt x="41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lose/>
                  <a:moveTo>
                    <a:pt x="47" y="71"/>
                  </a:moveTo>
                  <a:cubicBezTo>
                    <a:pt x="46" y="71"/>
                    <a:pt x="46" y="71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69"/>
                    <a:pt x="45" y="70"/>
                    <a:pt x="45" y="69"/>
                  </a:cubicBezTo>
                  <a:cubicBezTo>
                    <a:pt x="45" y="69"/>
                    <a:pt x="45" y="70"/>
                    <a:pt x="45" y="70"/>
                  </a:cubicBezTo>
                  <a:cubicBezTo>
                    <a:pt x="45" y="70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70"/>
                  </a:cubicBezTo>
                  <a:cubicBezTo>
                    <a:pt x="45" y="70"/>
                    <a:pt x="45" y="69"/>
                    <a:pt x="45" y="70"/>
                  </a:cubicBezTo>
                  <a:cubicBezTo>
                    <a:pt x="46" y="70"/>
                    <a:pt x="45" y="69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7" y="70"/>
                    <a:pt x="46" y="71"/>
                    <a:pt x="47" y="71"/>
                  </a:cubicBezTo>
                  <a:cubicBezTo>
                    <a:pt x="47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6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5"/>
                  </a:cubicBezTo>
                  <a:cubicBezTo>
                    <a:pt x="47" y="75"/>
                    <a:pt x="48" y="75"/>
                    <a:pt x="48" y="76"/>
                  </a:cubicBezTo>
                  <a:cubicBezTo>
                    <a:pt x="48" y="76"/>
                    <a:pt x="48" y="76"/>
                    <a:pt x="47" y="76"/>
                  </a:cubicBezTo>
                  <a:close/>
                  <a:moveTo>
                    <a:pt x="46" y="79"/>
                  </a:moveTo>
                  <a:cubicBezTo>
                    <a:pt x="45" y="79"/>
                    <a:pt x="45" y="78"/>
                    <a:pt x="45" y="77"/>
                  </a:cubicBezTo>
                  <a:cubicBezTo>
                    <a:pt x="45" y="77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9"/>
                    <a:pt x="46" y="79"/>
                  </a:cubicBezTo>
                  <a:cubicBezTo>
                    <a:pt x="46" y="79"/>
                    <a:pt x="45" y="79"/>
                    <a:pt x="46" y="79"/>
                  </a:cubicBezTo>
                  <a:close/>
                  <a:moveTo>
                    <a:pt x="50" y="77"/>
                  </a:moveTo>
                  <a:cubicBezTo>
                    <a:pt x="50" y="77"/>
                    <a:pt x="50" y="77"/>
                    <a:pt x="51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7"/>
                  </a:cubicBezTo>
                  <a:close/>
                  <a:moveTo>
                    <a:pt x="63" y="96"/>
                  </a:move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6"/>
                    <a:pt x="63" y="95"/>
                    <a:pt x="63" y="95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3" y="96"/>
                    <a:pt x="64" y="96"/>
                  </a:cubicBez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9" y="101"/>
                  </a:moveTo>
                  <a:cubicBezTo>
                    <a:pt x="69" y="101"/>
                    <a:pt x="68" y="101"/>
                    <a:pt x="68" y="101"/>
                  </a:cubicBezTo>
                  <a:cubicBezTo>
                    <a:pt x="68" y="101"/>
                    <a:pt x="68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0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2"/>
                  </a:cubicBezTo>
                  <a:cubicBezTo>
                    <a:pt x="69" y="102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DCD16601-1F38-4473-9E99-C4F3D1843BDE}"/>
                </a:ext>
              </a:extLst>
            </p:cNvPr>
            <p:cNvSpPr/>
            <p:nvPr/>
          </p:nvSpPr>
          <p:spPr bwMode="auto">
            <a:xfrm>
              <a:off x="6356351" y="1425575"/>
              <a:ext cx="57150" cy="533400"/>
            </a:xfrm>
            <a:custGeom>
              <a:avLst/>
              <a:gdLst>
                <a:gd name="T0" fmla="*/ 5 w 23"/>
                <a:gd name="T1" fmla="*/ 51 h 216"/>
                <a:gd name="T2" fmla="*/ 9 w 23"/>
                <a:gd name="T3" fmla="*/ 56 h 216"/>
                <a:gd name="T4" fmla="*/ 8 w 23"/>
                <a:gd name="T5" fmla="*/ 63 h 216"/>
                <a:gd name="T6" fmla="*/ 7 w 23"/>
                <a:gd name="T7" fmla="*/ 67 h 216"/>
                <a:gd name="T8" fmla="*/ 7 w 23"/>
                <a:gd name="T9" fmla="*/ 76 h 216"/>
                <a:gd name="T10" fmla="*/ 16 w 23"/>
                <a:gd name="T11" fmla="*/ 81 h 216"/>
                <a:gd name="T12" fmla="*/ 16 w 23"/>
                <a:gd name="T13" fmla="*/ 92 h 216"/>
                <a:gd name="T14" fmla="*/ 8 w 23"/>
                <a:gd name="T15" fmla="*/ 96 h 216"/>
                <a:gd name="T16" fmla="*/ 13 w 23"/>
                <a:gd name="T17" fmla="*/ 100 h 216"/>
                <a:gd name="T18" fmla="*/ 9 w 23"/>
                <a:gd name="T19" fmla="*/ 109 h 216"/>
                <a:gd name="T20" fmla="*/ 10 w 23"/>
                <a:gd name="T21" fmla="*/ 120 h 216"/>
                <a:gd name="T22" fmla="*/ 11 w 23"/>
                <a:gd name="T23" fmla="*/ 127 h 216"/>
                <a:gd name="T24" fmla="*/ 18 w 23"/>
                <a:gd name="T25" fmla="*/ 136 h 216"/>
                <a:gd name="T26" fmla="*/ 13 w 23"/>
                <a:gd name="T27" fmla="*/ 141 h 216"/>
                <a:gd name="T28" fmla="*/ 17 w 23"/>
                <a:gd name="T29" fmla="*/ 153 h 216"/>
                <a:gd name="T30" fmla="*/ 21 w 23"/>
                <a:gd name="T31" fmla="*/ 194 h 216"/>
                <a:gd name="T32" fmla="*/ 23 w 23"/>
                <a:gd name="T33" fmla="*/ 210 h 216"/>
                <a:gd name="T34" fmla="*/ 15 w 23"/>
                <a:gd name="T35" fmla="*/ 52 h 216"/>
                <a:gd name="T36" fmla="*/ 14 w 23"/>
                <a:gd name="T37" fmla="*/ 62 h 216"/>
                <a:gd name="T38" fmla="*/ 12 w 23"/>
                <a:gd name="T39" fmla="*/ 55 h 216"/>
                <a:gd name="T40" fmla="*/ 12 w 23"/>
                <a:gd name="T41" fmla="*/ 61 h 216"/>
                <a:gd name="T42" fmla="*/ 9 w 23"/>
                <a:gd name="T43" fmla="*/ 45 h 216"/>
                <a:gd name="T44" fmla="*/ 5 w 23"/>
                <a:gd name="T45" fmla="*/ 45 h 216"/>
                <a:gd name="T46" fmla="*/ 1 w 23"/>
                <a:gd name="T47" fmla="*/ 30 h 216"/>
                <a:gd name="T48" fmla="*/ 3 w 23"/>
                <a:gd name="T49" fmla="*/ 36 h 216"/>
                <a:gd name="T50" fmla="*/ 8 w 23"/>
                <a:gd name="T51" fmla="*/ 50 h 216"/>
                <a:gd name="T52" fmla="*/ 12 w 23"/>
                <a:gd name="T53" fmla="*/ 63 h 216"/>
                <a:gd name="T54" fmla="*/ 13 w 23"/>
                <a:gd name="T55" fmla="*/ 44 h 216"/>
                <a:gd name="T56" fmla="*/ 14 w 23"/>
                <a:gd name="T57" fmla="*/ 44 h 216"/>
                <a:gd name="T58" fmla="*/ 5 w 23"/>
                <a:gd name="T59" fmla="*/ 52 h 216"/>
                <a:gd name="T60" fmla="*/ 6 w 23"/>
                <a:gd name="T61" fmla="*/ 57 h 216"/>
                <a:gd name="T62" fmla="*/ 16 w 23"/>
                <a:gd name="T63" fmla="*/ 75 h 216"/>
                <a:gd name="T64" fmla="*/ 16 w 23"/>
                <a:gd name="T65" fmla="*/ 84 h 216"/>
                <a:gd name="T66" fmla="*/ 15 w 23"/>
                <a:gd name="T67" fmla="*/ 88 h 216"/>
                <a:gd name="T68" fmla="*/ 13 w 23"/>
                <a:gd name="T69" fmla="*/ 81 h 216"/>
                <a:gd name="T70" fmla="*/ 14 w 23"/>
                <a:gd name="T71" fmla="*/ 84 h 216"/>
                <a:gd name="T72" fmla="*/ 8 w 23"/>
                <a:gd name="T73" fmla="*/ 88 h 216"/>
                <a:gd name="T74" fmla="*/ 14 w 23"/>
                <a:gd name="T75" fmla="*/ 133 h 216"/>
                <a:gd name="T76" fmla="*/ 14 w 23"/>
                <a:gd name="T77" fmla="*/ 125 h 216"/>
                <a:gd name="T78" fmla="*/ 12 w 23"/>
                <a:gd name="T79" fmla="*/ 122 h 216"/>
                <a:gd name="T80" fmla="*/ 13 w 23"/>
                <a:gd name="T81" fmla="*/ 113 h 216"/>
                <a:gd name="T82" fmla="*/ 14 w 23"/>
                <a:gd name="T83" fmla="*/ 98 h 216"/>
                <a:gd name="T84" fmla="*/ 17 w 23"/>
                <a:gd name="T85" fmla="*/ 91 h 216"/>
                <a:gd name="T86" fmla="*/ 17 w 23"/>
                <a:gd name="T87" fmla="*/ 113 h 216"/>
                <a:gd name="T88" fmla="*/ 18 w 23"/>
                <a:gd name="T89" fmla="*/ 131 h 216"/>
                <a:gd name="T90" fmla="*/ 15 w 23"/>
                <a:gd name="T91" fmla="*/ 130 h 216"/>
                <a:gd name="T92" fmla="*/ 15 w 23"/>
                <a:gd name="T93" fmla="*/ 96 h 216"/>
                <a:gd name="T94" fmla="*/ 13 w 23"/>
                <a:gd name="T95" fmla="*/ 113 h 216"/>
                <a:gd name="T96" fmla="*/ 15 w 23"/>
                <a:gd name="T97" fmla="*/ 117 h 216"/>
                <a:gd name="T98" fmla="*/ 18 w 23"/>
                <a:gd name="T99" fmla="*/ 131 h 216"/>
                <a:gd name="T100" fmla="*/ 15 w 23"/>
                <a:gd name="T101" fmla="*/ 116 h 216"/>
                <a:gd name="T102" fmla="*/ 15 w 23"/>
                <a:gd name="T103" fmla="*/ 101 h 216"/>
                <a:gd name="T104" fmla="*/ 14 w 23"/>
                <a:gd name="T105" fmla="*/ 127 h 216"/>
                <a:gd name="T106" fmla="*/ 13 w 23"/>
                <a:gd name="T107" fmla="*/ 93 h 216"/>
                <a:gd name="T108" fmla="*/ 15 w 23"/>
                <a:gd name="T109" fmla="*/ 96 h 216"/>
                <a:gd name="T110" fmla="*/ 8 w 23"/>
                <a:gd name="T111" fmla="*/ 97 h 216"/>
                <a:gd name="T112" fmla="*/ 16 w 23"/>
                <a:gd name="T113" fmla="*/ 105 h 216"/>
                <a:gd name="T114" fmla="*/ 8 w 23"/>
                <a:gd name="T115" fmla="*/ 111 h 216"/>
                <a:gd name="T116" fmla="*/ 18 w 23"/>
                <a:gd name="T117" fmla="*/ 132 h 216"/>
                <a:gd name="T118" fmla="*/ 18 w 23"/>
                <a:gd name="T119" fmla="*/ 136 h 216"/>
                <a:gd name="T120" fmla="*/ 19 w 23"/>
                <a:gd name="T121" fmla="*/ 154 h 216"/>
                <a:gd name="T122" fmla="*/ 22 w 23"/>
                <a:gd name="T123" fmla="*/ 195 h 216"/>
                <a:gd name="T124" fmla="*/ 7 w 23"/>
                <a:gd name="T125" fmla="*/ 9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" h="216">
                  <a:moveTo>
                    <a:pt x="11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3"/>
                    <a:pt x="11" y="2"/>
                    <a:pt x="11" y="1"/>
                  </a:cubicBezTo>
                  <a:close/>
                  <a:moveTo>
                    <a:pt x="0" y="19"/>
                  </a:moveTo>
                  <a:cubicBezTo>
                    <a:pt x="0" y="18"/>
                    <a:pt x="1" y="19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1" y="19"/>
                    <a:pt x="0" y="19"/>
                  </a:cubicBezTo>
                  <a:close/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lose/>
                  <a:moveTo>
                    <a:pt x="1" y="24"/>
                  </a:moveTo>
                  <a:cubicBezTo>
                    <a:pt x="0" y="23"/>
                    <a:pt x="1" y="24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1" y="28"/>
                    <a:pt x="1" y="27"/>
                  </a:cubicBezTo>
                  <a:close/>
                  <a:moveTo>
                    <a:pt x="1" y="33"/>
                  </a:moveTo>
                  <a:cubicBezTo>
                    <a:pt x="1" y="33"/>
                    <a:pt x="1" y="33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0" y="33"/>
                    <a:pt x="1" y="33"/>
                  </a:cubicBezTo>
                  <a:close/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0" y="34"/>
                  </a:cubicBezTo>
                  <a:close/>
                  <a:moveTo>
                    <a:pt x="2" y="36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lose/>
                  <a:moveTo>
                    <a:pt x="4" y="40"/>
                  </a:move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3" y="38"/>
                    <a:pt x="4" y="39"/>
                    <a:pt x="4" y="39"/>
                  </a:cubicBezTo>
                  <a:cubicBezTo>
                    <a:pt x="4" y="39"/>
                    <a:pt x="4" y="39"/>
                    <a:pt x="4" y="40"/>
                  </a:cubicBezTo>
                  <a:close/>
                  <a:moveTo>
                    <a:pt x="3" y="40"/>
                  </a:moveTo>
                  <a:cubicBezTo>
                    <a:pt x="3" y="40"/>
                    <a:pt x="3" y="40"/>
                    <a:pt x="2" y="41"/>
                  </a:cubicBezTo>
                  <a:cubicBezTo>
                    <a:pt x="2" y="40"/>
                    <a:pt x="3" y="40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lose/>
                  <a:moveTo>
                    <a:pt x="3" y="42"/>
                  </a:moveTo>
                  <a:cubicBezTo>
                    <a:pt x="3" y="42"/>
                    <a:pt x="3" y="43"/>
                    <a:pt x="3" y="43"/>
                  </a:cubicBezTo>
                  <a:cubicBezTo>
                    <a:pt x="3" y="43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lose/>
                  <a:moveTo>
                    <a:pt x="3" y="44"/>
                  </a:moveTo>
                  <a:cubicBezTo>
                    <a:pt x="3" y="45"/>
                    <a:pt x="3" y="44"/>
                    <a:pt x="3" y="44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lose/>
                  <a:moveTo>
                    <a:pt x="2" y="45"/>
                  </a:moveTo>
                  <a:cubicBezTo>
                    <a:pt x="2" y="45"/>
                    <a:pt x="2" y="44"/>
                    <a:pt x="2" y="44"/>
                  </a:cubicBezTo>
                  <a:cubicBezTo>
                    <a:pt x="2" y="44"/>
                    <a:pt x="2" y="45"/>
                    <a:pt x="2" y="45"/>
                  </a:cubicBezTo>
                  <a:close/>
                  <a:moveTo>
                    <a:pt x="2" y="46"/>
                  </a:move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6"/>
                    <a:pt x="2" y="46"/>
                  </a:cubicBezTo>
                  <a:close/>
                  <a:moveTo>
                    <a:pt x="9" y="46"/>
                  </a:moveTo>
                  <a:cubicBezTo>
                    <a:pt x="9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lose/>
                  <a:moveTo>
                    <a:pt x="5" y="47"/>
                  </a:moveTo>
                  <a:cubicBezTo>
                    <a:pt x="5" y="47"/>
                    <a:pt x="5" y="47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lose/>
                  <a:moveTo>
                    <a:pt x="8" y="47"/>
                  </a:moveTo>
                  <a:cubicBezTo>
                    <a:pt x="8" y="46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4" y="47"/>
                    <a:pt x="13" y="47"/>
                  </a:cubicBezTo>
                  <a:close/>
                  <a:moveTo>
                    <a:pt x="9" y="4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6" y="50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50"/>
                    <a:pt x="6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6" y="50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9" y="49"/>
                  </a:moveTo>
                  <a:cubicBezTo>
                    <a:pt x="10" y="49"/>
                    <a:pt x="9" y="49"/>
                    <a:pt x="9" y="50"/>
                  </a:cubicBezTo>
                  <a:cubicBezTo>
                    <a:pt x="9" y="50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lose/>
                  <a:moveTo>
                    <a:pt x="9" y="50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lose/>
                  <a:moveTo>
                    <a:pt x="5" y="51"/>
                  </a:moveTo>
                  <a:cubicBezTo>
                    <a:pt x="5" y="51"/>
                    <a:pt x="5" y="50"/>
                    <a:pt x="5" y="50"/>
                  </a:cubicBezTo>
                  <a:cubicBezTo>
                    <a:pt x="6" y="50"/>
                    <a:pt x="6" y="51"/>
                    <a:pt x="5" y="51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0"/>
                    <a:pt x="15" y="50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2"/>
                    <a:pt x="9" y="51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lnTo>
                    <a:pt x="5" y="52"/>
                  </a:lnTo>
                  <a:close/>
                  <a:moveTo>
                    <a:pt x="3" y="51"/>
                  </a:move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1"/>
                    <a:pt x="3" y="51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2"/>
                    <a:pt x="15" y="52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9" y="53"/>
                  </a:moveTo>
                  <a:cubicBezTo>
                    <a:pt x="9" y="53"/>
                    <a:pt x="9" y="53"/>
                    <a:pt x="9" y="52"/>
                  </a:cubicBezTo>
                  <a:cubicBezTo>
                    <a:pt x="9" y="52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lose/>
                  <a:moveTo>
                    <a:pt x="5" y="53"/>
                  </a:moveTo>
                  <a:cubicBezTo>
                    <a:pt x="5" y="53"/>
                    <a:pt x="5" y="53"/>
                    <a:pt x="5" y="54"/>
                  </a:cubicBezTo>
                  <a:cubicBezTo>
                    <a:pt x="5" y="54"/>
                    <a:pt x="5" y="53"/>
                    <a:pt x="5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3"/>
                  </a:cubicBezTo>
                  <a:close/>
                  <a:moveTo>
                    <a:pt x="10" y="55"/>
                  </a:moveTo>
                  <a:cubicBezTo>
                    <a:pt x="10" y="54"/>
                    <a:pt x="10" y="55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5"/>
                  </a:cubicBezTo>
                  <a:close/>
                  <a:moveTo>
                    <a:pt x="3" y="55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2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3" y="55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lose/>
                  <a:moveTo>
                    <a:pt x="10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lose/>
                  <a:moveTo>
                    <a:pt x="13" y="55"/>
                  </a:move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5"/>
                  </a:cubicBezTo>
                  <a:close/>
                  <a:moveTo>
                    <a:pt x="10" y="56"/>
                  </a:moveTo>
                  <a:cubicBezTo>
                    <a:pt x="10" y="56"/>
                    <a:pt x="10" y="57"/>
                    <a:pt x="10" y="57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lose/>
                  <a:moveTo>
                    <a:pt x="7" y="57"/>
                  </a:moveTo>
                  <a:cubicBezTo>
                    <a:pt x="7" y="57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lose/>
                  <a:moveTo>
                    <a:pt x="5" y="56"/>
                  </a:moveTo>
                  <a:cubicBezTo>
                    <a:pt x="5" y="56"/>
                    <a:pt x="5" y="57"/>
                    <a:pt x="5" y="57"/>
                  </a:cubicBezTo>
                  <a:cubicBezTo>
                    <a:pt x="5" y="57"/>
                    <a:pt x="5" y="57"/>
                    <a:pt x="5" y="56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6"/>
                  </a:cubicBezTo>
                  <a:cubicBezTo>
                    <a:pt x="9" y="56"/>
                    <a:pt x="9" y="57"/>
                    <a:pt x="9" y="57"/>
                  </a:cubicBezTo>
                  <a:close/>
                  <a:moveTo>
                    <a:pt x="10" y="57"/>
                  </a:move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1" y="57"/>
                  </a:cubicBezTo>
                  <a:cubicBezTo>
                    <a:pt x="10" y="57"/>
                    <a:pt x="10" y="57"/>
                    <a:pt x="10" y="57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6"/>
                    <a:pt x="9" y="5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lose/>
                  <a:moveTo>
                    <a:pt x="12" y="57"/>
                  </a:moveTo>
                  <a:cubicBezTo>
                    <a:pt x="12" y="57"/>
                    <a:pt x="12" y="57"/>
                    <a:pt x="12" y="57"/>
                  </a:cubicBezTo>
                  <a:cubicBezTo>
                    <a:pt x="12" y="57"/>
                    <a:pt x="12" y="57"/>
                    <a:pt x="12" y="57"/>
                  </a:cubicBezTo>
                  <a:close/>
                  <a:moveTo>
                    <a:pt x="7" y="57"/>
                  </a:moveTo>
                  <a:cubicBezTo>
                    <a:pt x="7" y="57"/>
                    <a:pt x="8" y="58"/>
                    <a:pt x="8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7"/>
                    <a:pt x="7" y="57"/>
                  </a:cubicBezTo>
                  <a:close/>
                  <a:moveTo>
                    <a:pt x="10" y="59"/>
                  </a:moveTo>
                  <a:cubicBezTo>
                    <a:pt x="10" y="59"/>
                    <a:pt x="10" y="58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9"/>
                    <a:pt x="10" y="59"/>
                  </a:cubicBezTo>
                  <a:close/>
                  <a:moveTo>
                    <a:pt x="5" y="58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58"/>
                    <a:pt x="5" y="59"/>
                  </a:cubicBezTo>
                  <a:cubicBezTo>
                    <a:pt x="5" y="59"/>
                    <a:pt x="5" y="58"/>
                    <a:pt x="5" y="58"/>
                  </a:cubicBezTo>
                  <a:close/>
                  <a:moveTo>
                    <a:pt x="9" y="58"/>
                  </a:move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8"/>
                    <a:pt x="9" y="58"/>
                    <a:pt x="9" y="58"/>
                  </a:cubicBezTo>
                  <a:close/>
                  <a:moveTo>
                    <a:pt x="9" y="59"/>
                  </a:moveTo>
                  <a:cubicBezTo>
                    <a:pt x="9" y="59"/>
                    <a:pt x="9" y="59"/>
                    <a:pt x="9" y="60"/>
                  </a:cubicBezTo>
                  <a:cubicBezTo>
                    <a:pt x="9" y="60"/>
                    <a:pt x="9" y="59"/>
                    <a:pt x="9" y="59"/>
                  </a:cubicBezTo>
                  <a:close/>
                  <a:moveTo>
                    <a:pt x="4" y="59"/>
                  </a:moveTo>
                  <a:cubicBezTo>
                    <a:pt x="4" y="59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3" y="60"/>
                    <a:pt x="4" y="59"/>
                    <a:pt x="4" y="59"/>
                  </a:cubicBezTo>
                  <a:close/>
                  <a:moveTo>
                    <a:pt x="7" y="60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7" y="59"/>
                    <a:pt x="7" y="59"/>
                    <a:pt x="8" y="59"/>
                  </a:cubicBezTo>
                  <a:cubicBezTo>
                    <a:pt x="8" y="59"/>
                    <a:pt x="8" y="60"/>
                    <a:pt x="7" y="60"/>
                  </a:cubicBezTo>
                  <a:close/>
                  <a:moveTo>
                    <a:pt x="10" y="60"/>
                  </a:moveTo>
                  <a:cubicBezTo>
                    <a:pt x="10" y="60"/>
                    <a:pt x="10" y="60"/>
                    <a:pt x="10" y="59"/>
                  </a:cubicBezTo>
                  <a:cubicBezTo>
                    <a:pt x="10" y="59"/>
                    <a:pt x="10" y="60"/>
                    <a:pt x="10" y="60"/>
                  </a:cubicBezTo>
                  <a:close/>
                  <a:moveTo>
                    <a:pt x="5" y="60"/>
                  </a:moveTo>
                  <a:cubicBezTo>
                    <a:pt x="5" y="59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7" y="61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1"/>
                    <a:pt x="7" y="61"/>
                  </a:cubicBezTo>
                  <a:close/>
                  <a:moveTo>
                    <a:pt x="9" y="60"/>
                  </a:moveTo>
                  <a:cubicBezTo>
                    <a:pt x="9" y="60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0"/>
                    <a:pt x="9" y="60"/>
                  </a:cubicBezTo>
                  <a:close/>
                  <a:moveTo>
                    <a:pt x="12" y="61"/>
                  </a:moveTo>
                  <a:cubicBezTo>
                    <a:pt x="12" y="60"/>
                    <a:pt x="12" y="61"/>
                    <a:pt x="12" y="60"/>
                  </a:cubicBezTo>
                  <a:cubicBezTo>
                    <a:pt x="12" y="60"/>
                    <a:pt x="12" y="60"/>
                    <a:pt x="13" y="61"/>
                  </a:cubicBezTo>
                  <a:cubicBezTo>
                    <a:pt x="13" y="61"/>
                    <a:pt x="12" y="61"/>
                    <a:pt x="12" y="61"/>
                  </a:cubicBezTo>
                  <a:close/>
                  <a:moveTo>
                    <a:pt x="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lose/>
                  <a:moveTo>
                    <a:pt x="15" y="60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2"/>
                    <a:pt x="15" y="62"/>
                  </a:cubicBezTo>
                  <a:cubicBezTo>
                    <a:pt x="15" y="62"/>
                    <a:pt x="15" y="61"/>
                    <a:pt x="15" y="62"/>
                  </a:cubicBezTo>
                  <a:cubicBezTo>
                    <a:pt x="15" y="61"/>
                    <a:pt x="15" y="61"/>
                    <a:pt x="15" y="60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1"/>
                  </a:cubicBezTo>
                  <a:cubicBezTo>
                    <a:pt x="8" y="61"/>
                    <a:pt x="7" y="62"/>
                    <a:pt x="8" y="62"/>
                  </a:cubicBezTo>
                  <a:close/>
                  <a:moveTo>
                    <a:pt x="7" y="61"/>
                  </a:moveTo>
                  <a:cubicBezTo>
                    <a:pt x="7" y="61"/>
                    <a:pt x="7" y="61"/>
                    <a:pt x="7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1"/>
                  </a:cubicBezTo>
                  <a:close/>
                  <a:moveTo>
                    <a:pt x="7" y="62"/>
                  </a:move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3"/>
                  </a:cubicBezTo>
                  <a:cubicBezTo>
                    <a:pt x="7" y="63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lose/>
                  <a:moveTo>
                    <a:pt x="9" y="62"/>
                  </a:moveTo>
                  <a:cubicBezTo>
                    <a:pt x="9" y="62"/>
                    <a:pt x="9" y="63"/>
                    <a:pt x="9" y="63"/>
                  </a:cubicBezTo>
                  <a:cubicBezTo>
                    <a:pt x="9" y="63"/>
                    <a:pt x="9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3"/>
                    <a:pt x="9" y="63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2"/>
                    <a:pt x="15" y="62"/>
                  </a:cubicBezTo>
                  <a:cubicBezTo>
                    <a:pt x="15" y="62"/>
                    <a:pt x="15" y="63"/>
                    <a:pt x="15" y="63"/>
                  </a:cubicBezTo>
                  <a:close/>
                  <a:moveTo>
                    <a:pt x="8" y="63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4"/>
                    <a:pt x="7" y="63"/>
                    <a:pt x="8" y="63"/>
                  </a:cubicBezTo>
                  <a:cubicBezTo>
                    <a:pt x="8" y="63"/>
                    <a:pt x="8" y="63"/>
                    <a:pt x="8" y="63"/>
                  </a:cubicBezTo>
                  <a:close/>
                  <a:moveTo>
                    <a:pt x="8" y="64"/>
                  </a:move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4"/>
                    <a:pt x="8" y="64"/>
                  </a:cubicBezTo>
                  <a:close/>
                  <a:moveTo>
                    <a:pt x="11" y="64"/>
                  </a:moveTo>
                  <a:cubicBezTo>
                    <a:pt x="11" y="63"/>
                    <a:pt x="11" y="64"/>
                    <a:pt x="11" y="63"/>
                  </a:cubicBezTo>
                  <a:cubicBezTo>
                    <a:pt x="11" y="63"/>
                    <a:pt x="11" y="64"/>
                    <a:pt x="11" y="64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11" y="65"/>
                    <a:pt x="11" y="64"/>
                    <a:pt x="11" y="64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3"/>
                  </a:cubicBezTo>
                  <a:close/>
                  <a:moveTo>
                    <a:pt x="7" y="64"/>
                  </a:moveTo>
                  <a:cubicBezTo>
                    <a:pt x="7" y="64"/>
                    <a:pt x="7" y="65"/>
                    <a:pt x="7" y="66"/>
                  </a:cubicBezTo>
                  <a:cubicBezTo>
                    <a:pt x="7" y="65"/>
                    <a:pt x="7" y="65"/>
                    <a:pt x="7" y="64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4"/>
                  </a:cubicBezTo>
                  <a:cubicBezTo>
                    <a:pt x="3" y="64"/>
                    <a:pt x="3" y="65"/>
                    <a:pt x="3" y="65"/>
                  </a:cubicBezTo>
                  <a:close/>
                  <a:moveTo>
                    <a:pt x="10" y="65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1" y="64"/>
                    <a:pt x="11" y="65"/>
                    <a:pt x="10" y="65"/>
                  </a:cubicBezTo>
                  <a:close/>
                  <a:moveTo>
                    <a:pt x="15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4"/>
                    <a:pt x="15" y="64"/>
                    <a:pt x="15" y="64"/>
                  </a:cubicBez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5"/>
                    <a:pt x="15" y="65"/>
                  </a:cubicBezTo>
                  <a:close/>
                  <a:moveTo>
                    <a:pt x="7" y="66"/>
                  </a:moveTo>
                  <a:cubicBezTo>
                    <a:pt x="7" y="66"/>
                    <a:pt x="7" y="66"/>
                    <a:pt x="7" y="65"/>
                  </a:cubicBezTo>
                  <a:cubicBezTo>
                    <a:pt x="8" y="65"/>
                    <a:pt x="7" y="66"/>
                    <a:pt x="8" y="66"/>
                  </a:cubicBezTo>
                  <a:lnTo>
                    <a:pt x="7" y="66"/>
                  </a:ln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lose/>
                  <a:moveTo>
                    <a:pt x="8" y="67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lose/>
                  <a:moveTo>
                    <a:pt x="9" y="67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10" y="67"/>
                    <a:pt x="10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6" y="66"/>
                  </a:cubicBezTo>
                  <a:cubicBezTo>
                    <a:pt x="16" y="67"/>
                    <a:pt x="15" y="66"/>
                    <a:pt x="15" y="66"/>
                  </a:cubicBezTo>
                  <a:close/>
                  <a:moveTo>
                    <a:pt x="13" y="67"/>
                  </a:moveTo>
                  <a:cubicBezTo>
                    <a:pt x="13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7"/>
                    <a:pt x="13" y="67"/>
                    <a:pt x="13" y="66"/>
                  </a:cubicBezTo>
                  <a:cubicBezTo>
                    <a:pt x="14" y="66"/>
                    <a:pt x="13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3" y="67"/>
                    <a:pt x="14" y="67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lose/>
                  <a:moveTo>
                    <a:pt x="15" y="67"/>
                  </a:move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6"/>
                  </a:cubicBezTo>
                  <a:cubicBezTo>
                    <a:pt x="15" y="67"/>
                    <a:pt x="15" y="66"/>
                    <a:pt x="15" y="66"/>
                  </a:cubicBezTo>
                  <a:cubicBezTo>
                    <a:pt x="15" y="66"/>
                    <a:pt x="15" y="66"/>
                    <a:pt x="15" y="67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lose/>
                  <a:moveTo>
                    <a:pt x="16" y="67"/>
                  </a:moveTo>
                  <a:cubicBezTo>
                    <a:pt x="16" y="67"/>
                    <a:pt x="16" y="67"/>
                    <a:pt x="16" y="68"/>
                  </a:cubicBezTo>
                  <a:cubicBezTo>
                    <a:pt x="15" y="67"/>
                    <a:pt x="16" y="67"/>
                    <a:pt x="15" y="67"/>
                  </a:cubicBezTo>
                  <a:cubicBezTo>
                    <a:pt x="15" y="67"/>
                    <a:pt x="16" y="67"/>
                    <a:pt x="16" y="67"/>
                  </a:cubicBezTo>
                  <a:close/>
                  <a:moveTo>
                    <a:pt x="7" y="68"/>
                  </a:move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lose/>
                  <a:moveTo>
                    <a:pt x="3" y="68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8" y="69"/>
                  </a:moveTo>
                  <a:cubicBezTo>
                    <a:pt x="8" y="69"/>
                    <a:pt x="8" y="69"/>
                    <a:pt x="7" y="69"/>
                  </a:cubicBezTo>
                  <a:cubicBezTo>
                    <a:pt x="7" y="69"/>
                    <a:pt x="8" y="68"/>
                    <a:pt x="8" y="68"/>
                  </a:cubicBezTo>
                  <a:cubicBezTo>
                    <a:pt x="8" y="68"/>
                    <a:pt x="8" y="69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lose/>
                  <a:moveTo>
                    <a:pt x="13" y="68"/>
                  </a:moveTo>
                  <a:cubicBezTo>
                    <a:pt x="13" y="68"/>
                    <a:pt x="14" y="68"/>
                    <a:pt x="14" y="68"/>
                  </a:cubicBezTo>
                  <a:cubicBezTo>
                    <a:pt x="14" y="68"/>
                    <a:pt x="14" y="70"/>
                    <a:pt x="14" y="70"/>
                  </a:cubicBezTo>
                  <a:cubicBezTo>
                    <a:pt x="14" y="70"/>
                    <a:pt x="14" y="69"/>
                    <a:pt x="14" y="68"/>
                  </a:cubicBezTo>
                  <a:cubicBezTo>
                    <a:pt x="14" y="68"/>
                    <a:pt x="14" y="69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9"/>
                    <a:pt x="14" y="69"/>
                  </a:cubicBezTo>
                  <a:close/>
                  <a:moveTo>
                    <a:pt x="9" y="68"/>
                  </a:moveTo>
                  <a:cubicBezTo>
                    <a:pt x="9" y="68"/>
                    <a:pt x="9" y="69"/>
                    <a:pt x="9" y="69"/>
                  </a:cubicBezTo>
                  <a:cubicBezTo>
                    <a:pt x="9" y="69"/>
                    <a:pt x="9" y="69"/>
                    <a:pt x="9" y="68"/>
                  </a:cubicBezTo>
                  <a:close/>
                  <a:moveTo>
                    <a:pt x="7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9"/>
                    <a:pt x="14" y="70"/>
                  </a:cubicBezTo>
                  <a:cubicBezTo>
                    <a:pt x="14" y="69"/>
                    <a:pt x="14" y="69"/>
                    <a:pt x="14" y="69"/>
                  </a:cubicBezTo>
                  <a:close/>
                  <a:moveTo>
                    <a:pt x="8" y="71"/>
                  </a:moveTo>
                  <a:cubicBezTo>
                    <a:pt x="8" y="70"/>
                    <a:pt x="8" y="69"/>
                    <a:pt x="8" y="70"/>
                  </a:cubicBezTo>
                  <a:cubicBezTo>
                    <a:pt x="8" y="69"/>
                    <a:pt x="8" y="70"/>
                    <a:pt x="8" y="70"/>
                  </a:cubicBezTo>
                  <a:cubicBezTo>
                    <a:pt x="8" y="70"/>
                    <a:pt x="8" y="71"/>
                    <a:pt x="8" y="71"/>
                  </a:cubicBezTo>
                  <a:close/>
                  <a:moveTo>
                    <a:pt x="7" y="71"/>
                  </a:moveTo>
                  <a:cubicBezTo>
                    <a:pt x="7" y="71"/>
                    <a:pt x="7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0"/>
                    <a:pt x="7" y="70"/>
                    <a:pt x="7" y="71"/>
                  </a:cubicBezTo>
                  <a:close/>
                  <a:moveTo>
                    <a:pt x="12" y="70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lose/>
                  <a:moveTo>
                    <a:pt x="8" y="70"/>
                  </a:move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7" y="72"/>
                  </a:moveTo>
                  <a:cubicBezTo>
                    <a:pt x="7" y="71"/>
                    <a:pt x="7" y="72"/>
                    <a:pt x="7" y="72"/>
                  </a:cubicBezTo>
                  <a:cubicBezTo>
                    <a:pt x="7" y="72"/>
                    <a:pt x="7" y="73"/>
                    <a:pt x="7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73"/>
                    <a:pt x="7" y="74"/>
                    <a:pt x="7" y="75"/>
                  </a:cubicBezTo>
                  <a:cubicBezTo>
                    <a:pt x="7" y="75"/>
                    <a:pt x="7" y="74"/>
                    <a:pt x="7" y="74"/>
                  </a:cubicBezTo>
                  <a:cubicBezTo>
                    <a:pt x="7" y="74"/>
                    <a:pt x="7" y="73"/>
                    <a:pt x="7" y="73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7" y="71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1"/>
                    <a:pt x="7" y="71"/>
                    <a:pt x="7" y="72"/>
                  </a:cubicBezTo>
                  <a:close/>
                  <a:moveTo>
                    <a:pt x="15" y="71"/>
                  </a:move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lose/>
                  <a:moveTo>
                    <a:pt x="10" y="71"/>
                  </a:moveTo>
                  <a:cubicBezTo>
                    <a:pt x="10" y="71"/>
                    <a:pt x="10" y="72"/>
                    <a:pt x="10" y="72"/>
                  </a:cubicBezTo>
                  <a:cubicBezTo>
                    <a:pt x="10" y="72"/>
                    <a:pt x="10" y="72"/>
                    <a:pt x="10" y="71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1"/>
                    <a:pt x="16" y="72"/>
                  </a:cubicBezTo>
                  <a:cubicBezTo>
                    <a:pt x="16" y="72"/>
                    <a:pt x="16" y="71"/>
                    <a:pt x="16" y="71"/>
                  </a:cubicBezTo>
                  <a:cubicBezTo>
                    <a:pt x="16" y="72"/>
                    <a:pt x="16" y="71"/>
                    <a:pt x="16" y="72"/>
                  </a:cubicBezTo>
                  <a:close/>
                  <a:moveTo>
                    <a:pt x="12" y="72"/>
                  </a:move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3"/>
                    <a:pt x="12" y="73"/>
                  </a:cubicBezTo>
                  <a:cubicBezTo>
                    <a:pt x="12" y="73"/>
                    <a:pt x="12" y="72"/>
                    <a:pt x="12" y="72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lose/>
                  <a:moveTo>
                    <a:pt x="11" y="73"/>
                  </a:move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lose/>
                  <a:moveTo>
                    <a:pt x="16" y="74"/>
                  </a:moveTo>
                  <a:cubicBezTo>
                    <a:pt x="16" y="74"/>
                    <a:pt x="16" y="74"/>
                    <a:pt x="16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4"/>
                  </a:cubicBezTo>
                  <a:close/>
                  <a:moveTo>
                    <a:pt x="4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lose/>
                  <a:moveTo>
                    <a:pt x="8" y="75"/>
                  </a:move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lose/>
                  <a:moveTo>
                    <a:pt x="7" y="75"/>
                  </a:move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6"/>
                    <a:pt x="7" y="76"/>
                  </a:cubicBezTo>
                  <a:cubicBezTo>
                    <a:pt x="7" y="76"/>
                    <a:pt x="7" y="77"/>
                    <a:pt x="7" y="76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7"/>
                    <a:pt x="7" y="76"/>
                    <a:pt x="7" y="75"/>
                  </a:cubicBezTo>
                  <a:close/>
                  <a:moveTo>
                    <a:pt x="13" y="75"/>
                  </a:moveTo>
                  <a:cubicBezTo>
                    <a:pt x="13" y="75"/>
                    <a:pt x="13" y="75"/>
                    <a:pt x="13" y="75"/>
                  </a:cubicBezTo>
                  <a:cubicBezTo>
                    <a:pt x="13" y="75"/>
                    <a:pt x="13" y="76"/>
                    <a:pt x="13" y="76"/>
                  </a:cubicBezTo>
                  <a:cubicBezTo>
                    <a:pt x="12" y="76"/>
                    <a:pt x="12" y="75"/>
                    <a:pt x="13" y="75"/>
                  </a:cubicBezTo>
                  <a:close/>
                  <a:moveTo>
                    <a:pt x="11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lose/>
                  <a:moveTo>
                    <a:pt x="8" y="77"/>
                  </a:moveTo>
                  <a:cubicBezTo>
                    <a:pt x="7" y="77"/>
                    <a:pt x="7" y="76"/>
                    <a:pt x="7" y="76"/>
                  </a:cubicBezTo>
                  <a:cubicBezTo>
                    <a:pt x="8" y="76"/>
                    <a:pt x="8" y="77"/>
                    <a:pt x="8" y="77"/>
                  </a:cubicBezTo>
                  <a:close/>
                  <a:moveTo>
                    <a:pt x="13" y="77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7"/>
                    <a:pt x="13" y="77"/>
                  </a:cubicBezTo>
                  <a:close/>
                  <a:moveTo>
                    <a:pt x="7" y="77"/>
                  </a:moveTo>
                  <a:cubicBezTo>
                    <a:pt x="7" y="77"/>
                    <a:pt x="7" y="77"/>
                    <a:pt x="7" y="78"/>
                  </a:cubicBezTo>
                  <a:cubicBezTo>
                    <a:pt x="7" y="77"/>
                    <a:pt x="7" y="77"/>
                    <a:pt x="7" y="77"/>
                  </a:cubicBezTo>
                  <a:close/>
                  <a:moveTo>
                    <a:pt x="11" y="77"/>
                  </a:moveTo>
                  <a:cubicBezTo>
                    <a:pt x="12" y="77"/>
                    <a:pt x="11" y="77"/>
                    <a:pt x="12" y="77"/>
                  </a:cubicBezTo>
                  <a:cubicBezTo>
                    <a:pt x="12" y="77"/>
                    <a:pt x="11" y="77"/>
                    <a:pt x="11" y="77"/>
                  </a:cubicBezTo>
                  <a:cubicBezTo>
                    <a:pt x="11" y="77"/>
                    <a:pt x="11" y="77"/>
                    <a:pt x="11" y="77"/>
                  </a:cubicBezTo>
                  <a:close/>
                  <a:moveTo>
                    <a:pt x="9" y="77"/>
                  </a:moveTo>
                  <a:cubicBezTo>
                    <a:pt x="9" y="77"/>
                    <a:pt x="9" y="78"/>
                    <a:pt x="9" y="78"/>
                  </a:cubicBezTo>
                  <a:cubicBezTo>
                    <a:pt x="9" y="78"/>
                    <a:pt x="9" y="78"/>
                    <a:pt x="9" y="77"/>
                  </a:cubicBezTo>
                  <a:close/>
                  <a:moveTo>
                    <a:pt x="8" y="78"/>
                  </a:move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lose/>
                  <a:moveTo>
                    <a:pt x="5" y="79"/>
                  </a:moveTo>
                  <a:cubicBezTo>
                    <a:pt x="5" y="79"/>
                    <a:pt x="5" y="78"/>
                    <a:pt x="5" y="78"/>
                  </a:cubicBezTo>
                  <a:cubicBezTo>
                    <a:pt x="5" y="78"/>
                    <a:pt x="5" y="78"/>
                    <a:pt x="5" y="79"/>
                  </a:cubicBezTo>
                  <a:close/>
                  <a:moveTo>
                    <a:pt x="13" y="78"/>
                  </a:move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lose/>
                  <a:moveTo>
                    <a:pt x="16" y="78"/>
                  </a:move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lose/>
                  <a:moveTo>
                    <a:pt x="11" y="79"/>
                  </a:moveTo>
                  <a:cubicBezTo>
                    <a:pt x="11" y="79"/>
                    <a:pt x="11" y="79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0"/>
                    <a:pt x="11" y="80"/>
                    <a:pt x="11" y="81"/>
                  </a:cubicBezTo>
                  <a:cubicBezTo>
                    <a:pt x="11" y="81"/>
                    <a:pt x="11" y="80"/>
                    <a:pt x="11" y="80"/>
                  </a:cubicBezTo>
                  <a:cubicBezTo>
                    <a:pt x="11" y="80"/>
                    <a:pt x="11" y="79"/>
                    <a:pt x="11" y="80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lose/>
                  <a:moveTo>
                    <a:pt x="13" y="79"/>
                  </a:move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lose/>
                  <a:moveTo>
                    <a:pt x="12" y="80"/>
                  </a:moveTo>
                  <a:cubicBezTo>
                    <a:pt x="12" y="80"/>
                    <a:pt x="12" y="79"/>
                    <a:pt x="12" y="79"/>
                  </a:cubicBezTo>
                  <a:cubicBezTo>
                    <a:pt x="12" y="79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lose/>
                  <a:moveTo>
                    <a:pt x="14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5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1"/>
                    <a:pt x="14" y="81"/>
                  </a:cubicBezTo>
                  <a:cubicBezTo>
                    <a:pt x="14" y="81"/>
                    <a:pt x="14" y="80"/>
                    <a:pt x="14" y="80"/>
                  </a:cubicBezTo>
                  <a:close/>
                  <a:moveTo>
                    <a:pt x="8" y="80"/>
                  </a:moveTo>
                  <a:cubicBezTo>
                    <a:pt x="8" y="80"/>
                    <a:pt x="8" y="80"/>
                    <a:pt x="8" y="81"/>
                  </a:cubicBezTo>
                  <a:cubicBezTo>
                    <a:pt x="8" y="81"/>
                    <a:pt x="8" y="80"/>
                    <a:pt x="8" y="80"/>
                  </a:cubicBezTo>
                  <a:close/>
                  <a:moveTo>
                    <a:pt x="10" y="80"/>
                  </a:moveTo>
                  <a:cubicBezTo>
                    <a:pt x="10" y="80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1"/>
                    <a:pt x="12" y="81"/>
                  </a:cubicBezTo>
                  <a:cubicBezTo>
                    <a:pt x="12" y="81"/>
                    <a:pt x="12" y="81"/>
                    <a:pt x="12" y="80"/>
                  </a:cubicBezTo>
                  <a:close/>
                  <a:moveTo>
                    <a:pt x="10" y="81"/>
                  </a:moveTo>
                  <a:cubicBezTo>
                    <a:pt x="10" y="81"/>
                    <a:pt x="10" y="81"/>
                    <a:pt x="11" y="81"/>
                  </a:cubicBezTo>
                  <a:cubicBezTo>
                    <a:pt x="10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3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10" y="82"/>
                    <a:pt x="10" y="82"/>
                    <a:pt x="10" y="81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5" y="81"/>
                  </a:cubicBezTo>
                  <a:cubicBezTo>
                    <a:pt x="15" y="81"/>
                    <a:pt x="15" y="81"/>
                    <a:pt x="14" y="81"/>
                  </a:cubicBezTo>
                  <a:close/>
                  <a:moveTo>
                    <a:pt x="17" y="83"/>
                  </a:moveTo>
                  <a:cubicBezTo>
                    <a:pt x="17" y="83"/>
                    <a:pt x="17" y="84"/>
                    <a:pt x="17" y="85"/>
                  </a:cubicBezTo>
                  <a:cubicBezTo>
                    <a:pt x="17" y="84"/>
                    <a:pt x="16" y="82"/>
                    <a:pt x="17" y="81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8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8" y="83"/>
                    <a:pt x="8" y="83"/>
                    <a:pt x="8" y="83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4" y="83"/>
                    <a:pt x="13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9" y="84"/>
                  </a:moveTo>
                  <a:cubicBezTo>
                    <a:pt x="9" y="83"/>
                    <a:pt x="9" y="83"/>
                    <a:pt x="9" y="83"/>
                  </a:cubicBezTo>
                  <a:cubicBezTo>
                    <a:pt x="10" y="83"/>
                    <a:pt x="10" y="84"/>
                    <a:pt x="10" y="85"/>
                  </a:cubicBezTo>
                  <a:cubicBezTo>
                    <a:pt x="10" y="85"/>
                    <a:pt x="10" y="84"/>
                    <a:pt x="9" y="84"/>
                  </a:cubicBezTo>
                  <a:close/>
                  <a:moveTo>
                    <a:pt x="9" y="84"/>
                  </a:moveTo>
                  <a:cubicBezTo>
                    <a:pt x="10" y="84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4"/>
                  </a:cubicBezTo>
                  <a:close/>
                  <a:moveTo>
                    <a:pt x="17" y="87"/>
                  </a:moveTo>
                  <a:cubicBezTo>
                    <a:pt x="17" y="87"/>
                    <a:pt x="17" y="86"/>
                    <a:pt x="17" y="87"/>
                  </a:cubicBezTo>
                  <a:close/>
                  <a:moveTo>
                    <a:pt x="13" y="87"/>
                  </a:moveTo>
                  <a:cubicBezTo>
                    <a:pt x="13" y="87"/>
                    <a:pt x="13" y="87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lose/>
                  <a:moveTo>
                    <a:pt x="10" y="88"/>
                  </a:moveTo>
                  <a:cubicBezTo>
                    <a:pt x="10" y="88"/>
                    <a:pt x="10" y="88"/>
                    <a:pt x="10" y="87"/>
                  </a:cubicBezTo>
                  <a:cubicBezTo>
                    <a:pt x="11" y="87"/>
                    <a:pt x="10" y="88"/>
                    <a:pt x="10" y="88"/>
                  </a:cubicBezTo>
                  <a:close/>
                  <a:moveTo>
                    <a:pt x="14" y="87"/>
                  </a:moveTo>
                  <a:cubicBezTo>
                    <a:pt x="14" y="87"/>
                    <a:pt x="14" y="88"/>
                    <a:pt x="14" y="88"/>
                  </a:cubicBezTo>
                  <a:cubicBezTo>
                    <a:pt x="14" y="88"/>
                    <a:pt x="14" y="87"/>
                    <a:pt x="14" y="87"/>
                  </a:cubicBezTo>
                  <a:close/>
                  <a:moveTo>
                    <a:pt x="9" y="88"/>
                  </a:move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lose/>
                  <a:moveTo>
                    <a:pt x="11" y="89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89"/>
                    <a:pt x="11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lose/>
                  <a:moveTo>
                    <a:pt x="10" y="89"/>
                  </a:move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9"/>
                    <a:pt x="13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lose/>
                  <a:moveTo>
                    <a:pt x="11" y="89"/>
                  </a:move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1" y="89"/>
                  </a:cubicBezTo>
                  <a:close/>
                  <a:moveTo>
                    <a:pt x="17" y="90"/>
                  </a:move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1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ubicBezTo>
                    <a:pt x="12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lose/>
                  <a:moveTo>
                    <a:pt x="8" y="90"/>
                  </a:moveTo>
                  <a:cubicBezTo>
                    <a:pt x="8" y="90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10" y="90"/>
                  </a:move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lose/>
                  <a:moveTo>
                    <a:pt x="16" y="90"/>
                  </a:move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0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1" y="91"/>
                    <a:pt x="11" y="91"/>
                    <a:pt x="12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2"/>
                    <a:pt x="12" y="91"/>
                  </a:cubicBezTo>
                  <a:close/>
                  <a:moveTo>
                    <a:pt x="8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lose/>
                  <a:moveTo>
                    <a:pt x="16" y="92"/>
                  </a:move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8" y="92"/>
                  </a:cubicBezTo>
                  <a:cubicBezTo>
                    <a:pt x="8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lose/>
                  <a:moveTo>
                    <a:pt x="5" y="92"/>
                  </a:moveTo>
                  <a:cubicBezTo>
                    <a:pt x="5" y="92"/>
                    <a:pt x="5" y="92"/>
                    <a:pt x="5" y="93"/>
                  </a:cubicBezTo>
                  <a:cubicBezTo>
                    <a:pt x="5" y="93"/>
                    <a:pt x="5" y="93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lose/>
                  <a:moveTo>
                    <a:pt x="6" y="94"/>
                  </a:moveTo>
                  <a:cubicBezTo>
                    <a:pt x="6" y="95"/>
                    <a:pt x="6" y="96"/>
                    <a:pt x="6" y="97"/>
                  </a:cubicBezTo>
                  <a:cubicBezTo>
                    <a:pt x="6" y="95"/>
                    <a:pt x="6" y="94"/>
                    <a:pt x="6" y="93"/>
                  </a:cubicBezTo>
                  <a:cubicBezTo>
                    <a:pt x="6" y="93"/>
                    <a:pt x="6" y="93"/>
                    <a:pt x="6" y="92"/>
                  </a:cubicBezTo>
                  <a:cubicBezTo>
                    <a:pt x="6" y="93"/>
                    <a:pt x="6" y="93"/>
                    <a:pt x="6" y="94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9" y="93"/>
                    <a:pt x="10" y="92"/>
                    <a:pt x="10" y="92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2"/>
                  </a:cubicBezTo>
                  <a:close/>
                  <a:moveTo>
                    <a:pt x="6" y="93"/>
                  </a:moveTo>
                  <a:cubicBezTo>
                    <a:pt x="6" y="93"/>
                    <a:pt x="6" y="93"/>
                    <a:pt x="6" y="93"/>
                  </a:cubicBezTo>
                  <a:cubicBezTo>
                    <a:pt x="5" y="93"/>
                    <a:pt x="5" y="92"/>
                    <a:pt x="6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9" y="93"/>
                    <a:pt x="8" y="93"/>
                  </a:cubicBezTo>
                  <a:cubicBezTo>
                    <a:pt x="9" y="93"/>
                    <a:pt x="8" y="93"/>
                    <a:pt x="8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6" y="94"/>
                  </a:moveTo>
                  <a:cubicBezTo>
                    <a:pt x="6" y="94"/>
                    <a:pt x="6" y="94"/>
                    <a:pt x="6" y="93"/>
                  </a:cubicBezTo>
                  <a:cubicBezTo>
                    <a:pt x="6" y="93"/>
                    <a:pt x="6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6" y="94"/>
                  </a:cubicBezTo>
                  <a:cubicBezTo>
                    <a:pt x="7" y="93"/>
                    <a:pt x="6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3"/>
                    <a:pt x="11" y="94"/>
                  </a:cubicBezTo>
                  <a:cubicBezTo>
                    <a:pt x="11" y="94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4"/>
                    <a:pt x="11" y="94"/>
                  </a:cubicBezTo>
                  <a:close/>
                  <a:moveTo>
                    <a:pt x="13" y="93"/>
                  </a:moveTo>
                  <a:cubicBezTo>
                    <a:pt x="13" y="93"/>
                    <a:pt x="13" y="93"/>
                    <a:pt x="13" y="94"/>
                  </a:cubicBezTo>
                  <a:cubicBezTo>
                    <a:pt x="13" y="94"/>
                    <a:pt x="13" y="93"/>
                    <a:pt x="13" y="93"/>
                  </a:cubicBezTo>
                  <a:close/>
                  <a:moveTo>
                    <a:pt x="12" y="94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4"/>
                    <a:pt x="12" y="94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lose/>
                  <a:moveTo>
                    <a:pt x="12" y="94"/>
                  </a:moveTo>
                  <a:cubicBezTo>
                    <a:pt x="12" y="94"/>
                    <a:pt x="12" y="95"/>
                    <a:pt x="12" y="95"/>
                  </a:cubicBezTo>
                  <a:cubicBezTo>
                    <a:pt x="12" y="94"/>
                    <a:pt x="12" y="94"/>
                    <a:pt x="12" y="94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lose/>
                  <a:moveTo>
                    <a:pt x="7" y="95"/>
                  </a:moveTo>
                  <a:cubicBezTo>
                    <a:pt x="7" y="95"/>
                    <a:pt x="6" y="95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lose/>
                  <a:moveTo>
                    <a:pt x="7" y="95"/>
                  </a:moveTo>
                  <a:cubicBezTo>
                    <a:pt x="7" y="95"/>
                    <a:pt x="7" y="95"/>
                    <a:pt x="7" y="96"/>
                  </a:cubicBezTo>
                  <a:cubicBezTo>
                    <a:pt x="7" y="95"/>
                    <a:pt x="7" y="95"/>
                    <a:pt x="7" y="95"/>
                  </a:cubicBezTo>
                  <a:close/>
                  <a:moveTo>
                    <a:pt x="11" y="95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5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8" y="96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5"/>
                    <a:pt x="8" y="95"/>
                  </a:cubicBezTo>
                  <a:cubicBezTo>
                    <a:pt x="8" y="96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lose/>
                  <a:moveTo>
                    <a:pt x="8" y="96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6"/>
                    <a:pt x="8" y="96"/>
                  </a:cubicBezTo>
                  <a:close/>
                  <a:moveTo>
                    <a:pt x="11" y="96"/>
                  </a:moveTo>
                  <a:cubicBezTo>
                    <a:pt x="11" y="96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lose/>
                  <a:moveTo>
                    <a:pt x="7" y="96"/>
                  </a:moveTo>
                  <a:cubicBezTo>
                    <a:pt x="7" y="96"/>
                    <a:pt x="7" y="97"/>
                    <a:pt x="7" y="96"/>
                  </a:cubicBezTo>
                  <a:cubicBezTo>
                    <a:pt x="7" y="96"/>
                    <a:pt x="7" y="96"/>
                    <a:pt x="7" y="96"/>
                  </a:cubicBezTo>
                  <a:close/>
                  <a:moveTo>
                    <a:pt x="13" y="97"/>
                  </a:move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5" y="98"/>
                    <a:pt x="14" y="98"/>
                  </a:cubicBezTo>
                  <a:cubicBezTo>
                    <a:pt x="14" y="98"/>
                    <a:pt x="14" y="97"/>
                    <a:pt x="14" y="97"/>
                  </a:cubicBezTo>
                  <a:cubicBezTo>
                    <a:pt x="14" y="97"/>
                    <a:pt x="14" y="97"/>
                    <a:pt x="14" y="98"/>
                  </a:cubicBezTo>
                  <a:cubicBezTo>
                    <a:pt x="14" y="97"/>
                    <a:pt x="14" y="97"/>
                    <a:pt x="14" y="96"/>
                  </a:cubicBezTo>
                  <a:cubicBezTo>
                    <a:pt x="14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4"/>
                  </a:cubicBezTo>
                  <a:cubicBezTo>
                    <a:pt x="15" y="95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5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7" y="98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6"/>
                    <a:pt x="12" y="96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6" y="98"/>
                  </a:move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6" y="98"/>
                    <a:pt x="6" y="98"/>
                  </a:cubicBezTo>
                  <a:close/>
                  <a:moveTo>
                    <a:pt x="7" y="97"/>
                  </a:moveTo>
                  <a:cubicBezTo>
                    <a:pt x="6" y="97"/>
                    <a:pt x="7" y="98"/>
                    <a:pt x="6" y="98"/>
                  </a:cubicBezTo>
                  <a:cubicBezTo>
                    <a:pt x="6" y="98"/>
                    <a:pt x="6" y="98"/>
                    <a:pt x="6" y="97"/>
                  </a:cubicBezTo>
                  <a:cubicBezTo>
                    <a:pt x="6" y="97"/>
                    <a:pt x="7" y="97"/>
                    <a:pt x="7" y="97"/>
                  </a:cubicBezTo>
                  <a:close/>
                  <a:moveTo>
                    <a:pt x="11" y="97"/>
                  </a:moveTo>
                  <a:cubicBezTo>
                    <a:pt x="11" y="97"/>
                    <a:pt x="12" y="97"/>
                    <a:pt x="12" y="97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8"/>
                    <a:pt x="10" y="98"/>
                    <a:pt x="10" y="97"/>
                  </a:cubicBezTo>
                  <a:cubicBezTo>
                    <a:pt x="10" y="97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14" y="98"/>
                  </a:moveTo>
                  <a:cubicBezTo>
                    <a:pt x="14" y="99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9"/>
                    <a:pt x="14" y="99"/>
                  </a:cubicBezTo>
                  <a:cubicBezTo>
                    <a:pt x="14" y="99"/>
                    <a:pt x="14" y="99"/>
                    <a:pt x="14" y="98"/>
                  </a:cubicBezTo>
                  <a:close/>
                  <a:moveTo>
                    <a:pt x="11" y="98"/>
                  </a:moveTo>
                  <a:cubicBezTo>
                    <a:pt x="11" y="98"/>
                    <a:pt x="12" y="98"/>
                    <a:pt x="11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1" y="98"/>
                  </a:cubicBezTo>
                  <a:close/>
                  <a:moveTo>
                    <a:pt x="8" y="99"/>
                  </a:moveTo>
                  <a:cubicBezTo>
                    <a:pt x="8" y="99"/>
                    <a:pt x="8" y="99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lose/>
                  <a:moveTo>
                    <a:pt x="6" y="99"/>
                  </a:moveTo>
                  <a:cubicBezTo>
                    <a:pt x="6" y="99"/>
                    <a:pt x="6" y="99"/>
                    <a:pt x="6" y="99"/>
                  </a:cubicBezTo>
                  <a:cubicBezTo>
                    <a:pt x="7" y="99"/>
                    <a:pt x="7" y="99"/>
                    <a:pt x="6" y="99"/>
                  </a:cubicBezTo>
                  <a:close/>
                  <a:moveTo>
                    <a:pt x="8" y="99"/>
                  </a:move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8" y="100"/>
                    <a:pt x="8" y="99"/>
                  </a:cubicBezTo>
                  <a:close/>
                  <a:moveTo>
                    <a:pt x="12" y="101"/>
                  </a:moveTo>
                  <a:cubicBezTo>
                    <a:pt x="12" y="100"/>
                    <a:pt x="11" y="100"/>
                    <a:pt x="12" y="99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1"/>
                    <a:pt x="12" y="101"/>
                  </a:cubicBezTo>
                  <a:close/>
                  <a:moveTo>
                    <a:pt x="12" y="100"/>
                  </a:moveTo>
                  <a:cubicBezTo>
                    <a:pt x="12" y="100"/>
                    <a:pt x="12" y="100"/>
                    <a:pt x="12" y="99"/>
                  </a:cubicBezTo>
                  <a:cubicBezTo>
                    <a:pt x="13" y="100"/>
                    <a:pt x="12" y="100"/>
                    <a:pt x="12" y="100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1"/>
                    <a:pt x="13" y="101"/>
                  </a:cubicBezTo>
                  <a:cubicBezTo>
                    <a:pt x="13" y="102"/>
                    <a:pt x="13" y="100"/>
                    <a:pt x="13" y="100"/>
                  </a:cubicBezTo>
                  <a:close/>
                  <a:moveTo>
                    <a:pt x="12" y="101"/>
                  </a:moveTo>
                  <a:cubicBezTo>
                    <a:pt x="12" y="101"/>
                    <a:pt x="12" y="101"/>
                    <a:pt x="12" y="101"/>
                  </a:cubicBezTo>
                  <a:cubicBezTo>
                    <a:pt x="12" y="101"/>
                    <a:pt x="12" y="102"/>
                    <a:pt x="12" y="102"/>
                  </a:cubicBezTo>
                  <a:cubicBezTo>
                    <a:pt x="12" y="102"/>
                    <a:pt x="12" y="101"/>
                    <a:pt x="12" y="101"/>
                  </a:cubicBezTo>
                  <a:close/>
                  <a:moveTo>
                    <a:pt x="9" y="102"/>
                  </a:moveTo>
                  <a:cubicBezTo>
                    <a:pt x="9" y="102"/>
                    <a:pt x="9" y="101"/>
                    <a:pt x="9" y="101"/>
                  </a:cubicBezTo>
                  <a:cubicBezTo>
                    <a:pt x="9" y="101"/>
                    <a:pt x="9" y="101"/>
                    <a:pt x="9" y="102"/>
                  </a:cubicBezTo>
                  <a:close/>
                  <a:moveTo>
                    <a:pt x="14" y="102"/>
                  </a:moveTo>
                  <a:cubicBezTo>
                    <a:pt x="13" y="102"/>
                    <a:pt x="13" y="101"/>
                    <a:pt x="13" y="101"/>
                  </a:cubicBezTo>
                  <a:cubicBezTo>
                    <a:pt x="14" y="101"/>
                    <a:pt x="14" y="102"/>
                    <a:pt x="14" y="102"/>
                  </a:cubicBezTo>
                  <a:close/>
                  <a:moveTo>
                    <a:pt x="14" y="102"/>
                  </a:moveTo>
                  <a:cubicBezTo>
                    <a:pt x="14" y="102"/>
                    <a:pt x="14" y="102"/>
                    <a:pt x="14" y="102"/>
                  </a:cubicBezTo>
                  <a:cubicBezTo>
                    <a:pt x="14" y="102"/>
                    <a:pt x="14" y="101"/>
                    <a:pt x="14" y="101"/>
                  </a:cubicBezTo>
                  <a:cubicBezTo>
                    <a:pt x="14" y="101"/>
                    <a:pt x="14" y="102"/>
                    <a:pt x="14" y="102"/>
                  </a:cubicBezTo>
                  <a:cubicBezTo>
                    <a:pt x="14" y="102"/>
                    <a:pt x="14" y="102"/>
                    <a:pt x="14" y="102"/>
                  </a:cubicBezTo>
                  <a:close/>
                  <a:moveTo>
                    <a:pt x="7" y="102"/>
                  </a:move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lose/>
                  <a:moveTo>
                    <a:pt x="7" y="103"/>
                  </a:moveTo>
                  <a:cubicBezTo>
                    <a:pt x="7" y="103"/>
                    <a:pt x="7" y="104"/>
                    <a:pt x="7" y="104"/>
                  </a:cubicBezTo>
                  <a:cubicBezTo>
                    <a:pt x="7" y="104"/>
                    <a:pt x="7" y="104"/>
                    <a:pt x="7" y="103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2" y="105"/>
                    <a:pt x="12" y="105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5"/>
                  </a:cubicBezTo>
                  <a:cubicBezTo>
                    <a:pt x="9" y="105"/>
                    <a:pt x="9" y="104"/>
                    <a:pt x="9" y="104"/>
                  </a:cubicBezTo>
                  <a:close/>
                  <a:moveTo>
                    <a:pt x="11" y="104"/>
                  </a:moveTo>
                  <a:cubicBezTo>
                    <a:pt x="11" y="104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4"/>
                  </a:cubicBezTo>
                  <a:close/>
                  <a:moveTo>
                    <a:pt x="9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lose/>
                  <a:moveTo>
                    <a:pt x="8" y="107"/>
                  </a:moveTo>
                  <a:cubicBezTo>
                    <a:pt x="8" y="107"/>
                    <a:pt x="7" y="106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lose/>
                  <a:moveTo>
                    <a:pt x="9" y="107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lose/>
                  <a:moveTo>
                    <a:pt x="10" y="107"/>
                  </a:move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8"/>
                    <a:pt x="10" y="107"/>
                  </a:cubicBezTo>
                  <a:close/>
                  <a:moveTo>
                    <a:pt x="7" y="107"/>
                  </a:moveTo>
                  <a:cubicBezTo>
                    <a:pt x="7" y="107"/>
                    <a:pt x="7" y="108"/>
                    <a:pt x="7" y="108"/>
                  </a:cubicBezTo>
                  <a:cubicBezTo>
                    <a:pt x="7" y="108"/>
                    <a:pt x="7" y="107"/>
                    <a:pt x="7" y="107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7"/>
                  </a:cubicBezTo>
                  <a:cubicBezTo>
                    <a:pt x="8" y="107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3" y="108"/>
                  </a:moveTo>
                  <a:cubicBezTo>
                    <a:pt x="12" y="108"/>
                    <a:pt x="12" y="107"/>
                    <a:pt x="12" y="107"/>
                  </a:cubicBezTo>
                  <a:cubicBezTo>
                    <a:pt x="13" y="107"/>
                    <a:pt x="13" y="108"/>
                    <a:pt x="13" y="108"/>
                  </a:cubicBezTo>
                  <a:close/>
                  <a:moveTo>
                    <a:pt x="9" y="108"/>
                  </a:moveTo>
                  <a:cubicBezTo>
                    <a:pt x="9" y="108"/>
                    <a:pt x="9" y="109"/>
                    <a:pt x="9" y="109"/>
                  </a:cubicBezTo>
                  <a:cubicBezTo>
                    <a:pt x="9" y="109"/>
                    <a:pt x="9" y="108"/>
                    <a:pt x="9" y="108"/>
                  </a:cubicBezTo>
                  <a:cubicBezTo>
                    <a:pt x="9" y="108"/>
                    <a:pt x="9" y="108"/>
                    <a:pt x="9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0" y="109"/>
                    <a:pt x="10" y="108"/>
                  </a:cubicBezTo>
                  <a:cubicBezTo>
                    <a:pt x="10" y="108"/>
                    <a:pt x="10" y="110"/>
                    <a:pt x="10" y="110"/>
                  </a:cubicBezTo>
                  <a:close/>
                  <a:moveTo>
                    <a:pt x="13" y="108"/>
                  </a:moveTo>
                  <a:cubicBezTo>
                    <a:pt x="14" y="108"/>
                    <a:pt x="14" y="109"/>
                    <a:pt x="13" y="109"/>
                  </a:cubicBezTo>
                  <a:cubicBezTo>
                    <a:pt x="13" y="109"/>
                    <a:pt x="13" y="108"/>
                    <a:pt x="13" y="108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8"/>
                    <a:pt x="7" y="109"/>
                  </a:cubicBezTo>
                  <a:close/>
                  <a:moveTo>
                    <a:pt x="9" y="109"/>
                  </a:moveTo>
                  <a:cubicBezTo>
                    <a:pt x="9" y="109"/>
                    <a:pt x="9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lose/>
                  <a:moveTo>
                    <a:pt x="12" y="109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2" y="109"/>
                  </a:cubicBezTo>
                  <a:close/>
                  <a:moveTo>
                    <a:pt x="8" y="111"/>
                  </a:moveTo>
                  <a:cubicBezTo>
                    <a:pt x="8" y="111"/>
                    <a:pt x="8" y="110"/>
                    <a:pt x="8" y="110"/>
                  </a:cubicBezTo>
                  <a:cubicBezTo>
                    <a:pt x="8" y="110"/>
                    <a:pt x="8" y="110"/>
                    <a:pt x="8" y="111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09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4" y="110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1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2" y="111"/>
                  </a:cubicBezTo>
                  <a:cubicBezTo>
                    <a:pt x="12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1"/>
                    <a:pt x="17" y="111"/>
                  </a:cubicBezTo>
                  <a:cubicBezTo>
                    <a:pt x="17" y="111"/>
                    <a:pt x="17" y="111"/>
                    <a:pt x="17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1"/>
                    <a:pt x="11" y="111"/>
                  </a:cubicBezTo>
                  <a:cubicBezTo>
                    <a:pt x="11" y="111"/>
                    <a:pt x="11" y="112"/>
                    <a:pt x="11" y="112"/>
                  </a:cubicBezTo>
                  <a:close/>
                  <a:moveTo>
                    <a:pt x="8" y="112"/>
                  </a:moveTo>
                  <a:cubicBezTo>
                    <a:pt x="8" y="112"/>
                    <a:pt x="8" y="112"/>
                    <a:pt x="8" y="111"/>
                  </a:cubicBezTo>
                  <a:cubicBezTo>
                    <a:pt x="8" y="112"/>
                    <a:pt x="8" y="112"/>
                    <a:pt x="9" y="112"/>
                  </a:cubicBezTo>
                  <a:cubicBezTo>
                    <a:pt x="9" y="112"/>
                    <a:pt x="8" y="112"/>
                    <a:pt x="8" y="112"/>
                  </a:cubicBezTo>
                  <a:close/>
                  <a:moveTo>
                    <a:pt x="17" y="112"/>
                  </a:move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3"/>
                    <a:pt x="8" y="113"/>
                  </a:cubicBezTo>
                  <a:cubicBezTo>
                    <a:pt x="8" y="113"/>
                    <a:pt x="8" y="114"/>
                    <a:pt x="8" y="114"/>
                  </a:cubicBezTo>
                  <a:close/>
                  <a:moveTo>
                    <a:pt x="9" y="115"/>
                  </a:moveTo>
                  <a:cubicBezTo>
                    <a:pt x="8" y="114"/>
                    <a:pt x="9" y="115"/>
                    <a:pt x="9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8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9" y="115"/>
                    <a:pt x="9" y="114"/>
                    <a:pt x="9" y="114"/>
                  </a:cubicBezTo>
                  <a:close/>
                  <a:moveTo>
                    <a:pt x="8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6"/>
                    <a:pt x="9" y="116"/>
                  </a:cubicBezTo>
                  <a:cubicBezTo>
                    <a:pt x="8" y="116"/>
                    <a:pt x="9" y="116"/>
                    <a:pt x="8" y="115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lose/>
                  <a:moveTo>
                    <a:pt x="9" y="116"/>
                  </a:move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lose/>
                  <a:moveTo>
                    <a:pt x="13" y="116"/>
                  </a:move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lose/>
                  <a:moveTo>
                    <a:pt x="19" y="121"/>
                  </a:moveTo>
                  <a:cubicBezTo>
                    <a:pt x="19" y="121"/>
                    <a:pt x="19" y="121"/>
                    <a:pt x="19" y="122"/>
                  </a:cubicBezTo>
                  <a:cubicBezTo>
                    <a:pt x="19" y="120"/>
                    <a:pt x="18" y="118"/>
                    <a:pt x="18" y="117"/>
                  </a:cubicBezTo>
                  <a:cubicBezTo>
                    <a:pt x="18" y="117"/>
                    <a:pt x="18" y="117"/>
                    <a:pt x="19" y="117"/>
                  </a:cubicBezTo>
                  <a:cubicBezTo>
                    <a:pt x="18" y="118"/>
                    <a:pt x="19" y="120"/>
                    <a:pt x="19" y="121"/>
                  </a:cubicBezTo>
                  <a:cubicBezTo>
                    <a:pt x="19" y="121"/>
                    <a:pt x="19" y="120"/>
                    <a:pt x="19" y="121"/>
                  </a:cubicBezTo>
                  <a:close/>
                  <a:moveTo>
                    <a:pt x="10" y="119"/>
                  </a:moveTo>
                  <a:cubicBezTo>
                    <a:pt x="10" y="119"/>
                    <a:pt x="10" y="118"/>
                    <a:pt x="10" y="118"/>
                  </a:cubicBezTo>
                  <a:cubicBezTo>
                    <a:pt x="10" y="118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7"/>
                  </a:cubicBezTo>
                  <a:cubicBezTo>
                    <a:pt x="10" y="118"/>
                    <a:pt x="10" y="119"/>
                    <a:pt x="10" y="119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2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3" y="120"/>
                  </a:move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3" y="121"/>
                  </a:cubicBezTo>
                  <a:cubicBezTo>
                    <a:pt x="13" y="121"/>
                    <a:pt x="13" y="120"/>
                    <a:pt x="13" y="120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0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10" y="121"/>
                    <a:pt x="10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3" y="122"/>
                  </a:move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2"/>
                    <a:pt x="9" y="122"/>
                  </a:cubicBezTo>
                  <a:cubicBezTo>
                    <a:pt x="9" y="122"/>
                    <a:pt x="9" y="123"/>
                    <a:pt x="9" y="123"/>
                  </a:cubicBezTo>
                  <a:close/>
                  <a:moveTo>
                    <a:pt x="11" y="122"/>
                  </a:move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13" y="123"/>
                  </a:moveTo>
                  <a:cubicBezTo>
                    <a:pt x="13" y="124"/>
                    <a:pt x="13" y="125"/>
                    <a:pt x="13" y="125"/>
                  </a:cubicBezTo>
                  <a:cubicBezTo>
                    <a:pt x="13" y="125"/>
                    <a:pt x="13" y="124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lose/>
                  <a:moveTo>
                    <a:pt x="12" y="124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lose/>
                  <a:moveTo>
                    <a:pt x="11" y="125"/>
                  </a:move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4"/>
                    <a:pt x="11" y="125"/>
                  </a:cubicBezTo>
                  <a:close/>
                  <a:moveTo>
                    <a:pt x="11" y="124"/>
                  </a:moveTo>
                  <a:cubicBezTo>
                    <a:pt x="11" y="124"/>
                    <a:pt x="11" y="125"/>
                    <a:pt x="11" y="125"/>
                  </a:cubicBezTo>
                  <a:cubicBezTo>
                    <a:pt x="11" y="125"/>
                    <a:pt x="11" y="124"/>
                    <a:pt x="11" y="124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5"/>
                  </a:cubicBezTo>
                  <a:cubicBezTo>
                    <a:pt x="11" y="125"/>
                    <a:pt x="11" y="126"/>
                    <a:pt x="11" y="126"/>
                  </a:cubicBezTo>
                  <a:close/>
                  <a:moveTo>
                    <a:pt x="12" y="126"/>
                  </a:moveTo>
                  <a:cubicBezTo>
                    <a:pt x="12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2" y="126"/>
                    <a:pt x="12" y="126"/>
                  </a:cubicBezTo>
                  <a:cubicBezTo>
                    <a:pt x="12" y="127"/>
                    <a:pt x="12" y="128"/>
                    <a:pt x="13" y="128"/>
                  </a:cubicBezTo>
                  <a:cubicBezTo>
                    <a:pt x="12" y="128"/>
                    <a:pt x="13" y="129"/>
                    <a:pt x="13" y="130"/>
                  </a:cubicBezTo>
                  <a:cubicBezTo>
                    <a:pt x="12" y="128"/>
                    <a:pt x="12" y="127"/>
                    <a:pt x="12" y="125"/>
                  </a:cubicBezTo>
                  <a:cubicBezTo>
                    <a:pt x="13" y="125"/>
                    <a:pt x="12" y="125"/>
                    <a:pt x="12" y="126"/>
                  </a:cubicBezTo>
                  <a:close/>
                  <a:moveTo>
                    <a:pt x="9" y="125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5"/>
                  </a:cubicBezTo>
                  <a:close/>
                  <a:moveTo>
                    <a:pt x="12" y="126"/>
                  </a:moveTo>
                  <a:cubicBezTo>
                    <a:pt x="12" y="126"/>
                    <a:pt x="11" y="126"/>
                    <a:pt x="12" y="125"/>
                  </a:cubicBezTo>
                  <a:cubicBezTo>
                    <a:pt x="12" y="125"/>
                    <a:pt x="12" y="126"/>
                    <a:pt x="12" y="126"/>
                  </a:cubicBezTo>
                  <a:close/>
                  <a:moveTo>
                    <a:pt x="10" y="126"/>
                  </a:move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lose/>
                  <a:moveTo>
                    <a:pt x="9" y="127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5" y="126"/>
                  </a:moveTo>
                  <a:cubicBezTo>
                    <a:pt x="15" y="126"/>
                    <a:pt x="15" y="126"/>
                    <a:pt x="15" y="127"/>
                  </a:cubicBezTo>
                  <a:cubicBezTo>
                    <a:pt x="15" y="127"/>
                    <a:pt x="15" y="126"/>
                    <a:pt x="15" y="126"/>
                  </a:cubicBezTo>
                  <a:cubicBezTo>
                    <a:pt x="15" y="126"/>
                    <a:pt x="15" y="126"/>
                    <a:pt x="15" y="126"/>
                  </a:cubicBezTo>
                  <a:close/>
                  <a:moveTo>
                    <a:pt x="14" y="126"/>
                  </a:moveTo>
                  <a:cubicBezTo>
                    <a:pt x="14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4" y="126"/>
                  </a:cubicBezTo>
                  <a:close/>
                  <a:moveTo>
                    <a:pt x="9" y="127"/>
                  </a:moveTo>
                  <a:cubicBezTo>
                    <a:pt x="9" y="127"/>
                    <a:pt x="9" y="127"/>
                    <a:pt x="9" y="127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1" y="127"/>
                  </a:moveTo>
                  <a:cubicBezTo>
                    <a:pt x="12" y="127"/>
                    <a:pt x="11" y="127"/>
                    <a:pt x="12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0" y="128"/>
                  </a:moveTo>
                  <a:cubicBezTo>
                    <a:pt x="10" y="128"/>
                    <a:pt x="10" y="128"/>
                    <a:pt x="10" y="127"/>
                  </a:cubicBezTo>
                  <a:cubicBezTo>
                    <a:pt x="10" y="128"/>
                    <a:pt x="10" y="128"/>
                    <a:pt x="10" y="128"/>
                  </a:cubicBezTo>
                  <a:close/>
                  <a:moveTo>
                    <a:pt x="13" y="127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3" y="128"/>
                    <a:pt x="13" y="127"/>
                    <a:pt x="13" y="127"/>
                  </a:cubicBezTo>
                  <a:close/>
                  <a:moveTo>
                    <a:pt x="15" y="128"/>
                  </a:move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1" y="130"/>
                  </a:moveTo>
                  <a:cubicBezTo>
                    <a:pt x="11" y="130"/>
                    <a:pt x="11" y="130"/>
                    <a:pt x="11" y="130"/>
                  </a:cubicBezTo>
                  <a:cubicBezTo>
                    <a:pt x="11" y="130"/>
                    <a:pt x="11" y="130"/>
                    <a:pt x="11" y="130"/>
                  </a:cubicBezTo>
                  <a:close/>
                  <a:moveTo>
                    <a:pt x="16" y="130"/>
                  </a:move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lose/>
                  <a:moveTo>
                    <a:pt x="15" y="131"/>
                  </a:move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lose/>
                  <a:moveTo>
                    <a:pt x="15" y="133"/>
                  </a:moveTo>
                  <a:cubicBezTo>
                    <a:pt x="14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lose/>
                  <a:moveTo>
                    <a:pt x="12" y="133"/>
                  </a:moveTo>
                  <a:cubicBezTo>
                    <a:pt x="12" y="133"/>
                    <a:pt x="12" y="133"/>
                    <a:pt x="12" y="133"/>
                  </a:cubicBezTo>
                  <a:cubicBezTo>
                    <a:pt x="11" y="133"/>
                    <a:pt x="12" y="133"/>
                    <a:pt x="12" y="133"/>
                  </a:cubicBezTo>
                  <a:close/>
                  <a:moveTo>
                    <a:pt x="17" y="135"/>
                  </a:moveTo>
                  <a:cubicBezTo>
                    <a:pt x="17" y="135"/>
                    <a:pt x="17" y="134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ubicBezTo>
                    <a:pt x="17" y="132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4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lose/>
                  <a:moveTo>
                    <a:pt x="15" y="133"/>
                  </a:move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6" y="134"/>
                  </a:moveTo>
                  <a:cubicBezTo>
                    <a:pt x="15" y="134"/>
                    <a:pt x="15" y="134"/>
                    <a:pt x="15" y="134"/>
                  </a:cubicBezTo>
                  <a:cubicBezTo>
                    <a:pt x="16" y="134"/>
                    <a:pt x="15" y="133"/>
                    <a:pt x="15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4"/>
                    <a:pt x="15" y="134"/>
                    <a:pt x="16" y="134"/>
                  </a:cubicBezTo>
                  <a:close/>
                  <a:moveTo>
                    <a:pt x="16" y="133"/>
                  </a:move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6" y="133"/>
                  </a:moveTo>
                  <a:cubicBezTo>
                    <a:pt x="17" y="133"/>
                    <a:pt x="16" y="133"/>
                    <a:pt x="17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8" y="134"/>
                  </a:move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lose/>
                  <a:moveTo>
                    <a:pt x="19" y="133"/>
                  </a:move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19" y="134"/>
                    <a:pt x="19" y="134"/>
                  </a:cubicBezTo>
                  <a:cubicBezTo>
                    <a:pt x="19" y="134"/>
                    <a:pt x="18" y="133"/>
                    <a:pt x="19" y="133"/>
                  </a:cubicBezTo>
                  <a:cubicBezTo>
                    <a:pt x="19" y="133"/>
                    <a:pt x="19" y="133"/>
                    <a:pt x="19" y="133"/>
                  </a:cubicBezTo>
                  <a:close/>
                  <a:moveTo>
                    <a:pt x="12" y="135"/>
                  </a:moveTo>
                  <a:cubicBezTo>
                    <a:pt x="12" y="135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5"/>
                  </a:cubicBezTo>
                  <a:close/>
                  <a:moveTo>
                    <a:pt x="17" y="134"/>
                  </a:moveTo>
                  <a:cubicBezTo>
                    <a:pt x="17" y="134"/>
                    <a:pt x="17" y="134"/>
                    <a:pt x="17" y="134"/>
                  </a:cubicBezTo>
                  <a:cubicBezTo>
                    <a:pt x="16" y="134"/>
                    <a:pt x="16" y="134"/>
                    <a:pt x="16" y="134"/>
                  </a:cubicBezTo>
                  <a:lnTo>
                    <a:pt x="17" y="134"/>
                  </a:ln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4"/>
                    <a:pt x="15" y="134"/>
                  </a:cubicBezTo>
                  <a:close/>
                  <a:moveTo>
                    <a:pt x="9" y="135"/>
                  </a:moveTo>
                  <a:cubicBezTo>
                    <a:pt x="9" y="136"/>
                    <a:pt x="9" y="136"/>
                    <a:pt x="9" y="135"/>
                  </a:cubicBezTo>
                  <a:cubicBezTo>
                    <a:pt x="9" y="135"/>
                    <a:pt x="9" y="135"/>
                    <a:pt x="9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9" y="137"/>
                  </a:moveTo>
                  <a:cubicBezTo>
                    <a:pt x="9" y="136"/>
                    <a:pt x="9" y="136"/>
                    <a:pt x="9" y="136"/>
                  </a:cubicBezTo>
                  <a:cubicBezTo>
                    <a:pt x="9" y="136"/>
                    <a:pt x="9" y="136"/>
                    <a:pt x="9" y="137"/>
                  </a:cubicBezTo>
                  <a:close/>
                  <a:moveTo>
                    <a:pt x="15" y="137"/>
                  </a:move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7"/>
                  </a:cubicBezTo>
                  <a:cubicBezTo>
                    <a:pt x="18" y="137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4" y="137"/>
                  </a:move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6"/>
                  </a:cubicBezTo>
                  <a:cubicBezTo>
                    <a:pt x="14" y="136"/>
                    <a:pt x="14" y="137"/>
                    <a:pt x="14" y="137"/>
                  </a:cubicBezTo>
                  <a:close/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6"/>
                  </a:cubicBezTo>
                  <a:cubicBezTo>
                    <a:pt x="18" y="136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lose/>
                  <a:moveTo>
                    <a:pt x="19" y="137"/>
                  </a:moveTo>
                  <a:cubicBezTo>
                    <a:pt x="19" y="137"/>
                    <a:pt x="19" y="137"/>
                    <a:pt x="19" y="136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7"/>
                    <a:pt x="19" y="137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7"/>
                    <a:pt x="17" y="137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3" y="138"/>
                  </a:moveTo>
                  <a:cubicBezTo>
                    <a:pt x="13" y="138"/>
                    <a:pt x="13" y="138"/>
                    <a:pt x="13" y="138"/>
                  </a:cubicBezTo>
                  <a:cubicBezTo>
                    <a:pt x="13" y="138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8"/>
                    <a:pt x="13" y="138"/>
                  </a:cubicBezTo>
                  <a:close/>
                  <a:moveTo>
                    <a:pt x="16" y="137"/>
                  </a:moveTo>
                  <a:cubicBezTo>
                    <a:pt x="17" y="137"/>
                    <a:pt x="16" y="137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lose/>
                  <a:moveTo>
                    <a:pt x="17" y="137"/>
                  </a:moveTo>
                  <a:cubicBezTo>
                    <a:pt x="17" y="138"/>
                    <a:pt x="17" y="138"/>
                    <a:pt x="17" y="138"/>
                  </a:cubicBezTo>
                  <a:cubicBezTo>
                    <a:pt x="17" y="138"/>
                    <a:pt x="17" y="138"/>
                    <a:pt x="17" y="137"/>
                  </a:cubicBezTo>
                  <a:close/>
                  <a:moveTo>
                    <a:pt x="15" y="138"/>
                  </a:moveTo>
                  <a:cubicBezTo>
                    <a:pt x="15" y="139"/>
                    <a:pt x="14" y="139"/>
                    <a:pt x="14" y="139"/>
                  </a:cubicBezTo>
                  <a:cubicBezTo>
                    <a:pt x="14" y="139"/>
                    <a:pt x="15" y="139"/>
                    <a:pt x="15" y="139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8"/>
                    <a:pt x="14" y="139"/>
                    <a:pt x="14" y="139"/>
                  </a:cubicBezTo>
                  <a:cubicBezTo>
                    <a:pt x="14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5" y="138"/>
                  </a:cubicBezTo>
                  <a:close/>
                  <a:moveTo>
                    <a:pt x="17" y="140"/>
                  </a:moveTo>
                  <a:cubicBezTo>
                    <a:pt x="17" y="139"/>
                    <a:pt x="17" y="139"/>
                    <a:pt x="17" y="138"/>
                  </a:cubicBezTo>
                  <a:cubicBezTo>
                    <a:pt x="17" y="139"/>
                    <a:pt x="17" y="139"/>
                    <a:pt x="17" y="140"/>
                  </a:cubicBezTo>
                  <a:close/>
                  <a:moveTo>
                    <a:pt x="15" y="139"/>
                  </a:moveTo>
                  <a:cubicBezTo>
                    <a:pt x="15" y="139"/>
                    <a:pt x="15" y="138"/>
                    <a:pt x="15" y="138"/>
                  </a:cubicBezTo>
                  <a:cubicBezTo>
                    <a:pt x="15" y="138"/>
                    <a:pt x="15" y="138"/>
                    <a:pt x="15" y="139"/>
                  </a:cubicBezTo>
                  <a:close/>
                  <a:moveTo>
                    <a:pt x="19" y="139"/>
                  </a:moveTo>
                  <a:cubicBezTo>
                    <a:pt x="19" y="139"/>
                    <a:pt x="19" y="139"/>
                    <a:pt x="19" y="138"/>
                  </a:cubicBezTo>
                  <a:cubicBezTo>
                    <a:pt x="19" y="139"/>
                    <a:pt x="19" y="139"/>
                    <a:pt x="19" y="139"/>
                  </a:cubicBezTo>
                  <a:close/>
                  <a:moveTo>
                    <a:pt x="14" y="140"/>
                  </a:moveTo>
                  <a:cubicBezTo>
                    <a:pt x="14" y="140"/>
                    <a:pt x="14" y="140"/>
                    <a:pt x="14" y="139"/>
                  </a:cubicBezTo>
                  <a:cubicBezTo>
                    <a:pt x="15" y="140"/>
                    <a:pt x="14" y="140"/>
                    <a:pt x="14" y="140"/>
                  </a:cubicBezTo>
                  <a:close/>
                  <a:moveTo>
                    <a:pt x="16" y="140"/>
                  </a:moveTo>
                  <a:cubicBezTo>
                    <a:pt x="16" y="140"/>
                    <a:pt x="16" y="140"/>
                    <a:pt x="16" y="140"/>
                  </a:cubicBezTo>
                  <a:cubicBezTo>
                    <a:pt x="16" y="140"/>
                    <a:pt x="16" y="140"/>
                    <a:pt x="15" y="140"/>
                  </a:cubicBezTo>
                  <a:cubicBezTo>
                    <a:pt x="15" y="140"/>
                    <a:pt x="16" y="140"/>
                    <a:pt x="16" y="139"/>
                  </a:cubicBezTo>
                  <a:cubicBezTo>
                    <a:pt x="16" y="139"/>
                    <a:pt x="16" y="140"/>
                    <a:pt x="16" y="140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7" y="140"/>
                    <a:pt x="17" y="140"/>
                    <a:pt x="17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1"/>
                    <a:pt x="19" y="141"/>
                  </a:cubicBezTo>
                  <a:cubicBezTo>
                    <a:pt x="19" y="140"/>
                    <a:pt x="19" y="141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1"/>
                    <a:pt x="19" y="141"/>
                    <a:pt x="19" y="141"/>
                  </a:cubicBezTo>
                  <a:cubicBezTo>
                    <a:pt x="19" y="141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3" y="142"/>
                  </a:move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2"/>
                  </a:cubicBezTo>
                  <a:close/>
                  <a:moveTo>
                    <a:pt x="14" y="142"/>
                  </a:moveTo>
                  <a:cubicBezTo>
                    <a:pt x="13" y="142"/>
                    <a:pt x="13" y="142"/>
                    <a:pt x="13" y="14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2"/>
                  </a:cubicBezTo>
                  <a:close/>
                  <a:moveTo>
                    <a:pt x="13" y="142"/>
                  </a:moveTo>
                  <a:cubicBezTo>
                    <a:pt x="13" y="142"/>
                    <a:pt x="13" y="141"/>
                    <a:pt x="13" y="142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14" y="142"/>
                    <a:pt x="13" y="142"/>
                    <a:pt x="13" y="142"/>
                  </a:cubicBezTo>
                  <a:close/>
                  <a:moveTo>
                    <a:pt x="14" y="142"/>
                  </a:move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1"/>
                    <a:pt x="14" y="142"/>
                    <a:pt x="14" y="141"/>
                  </a:cubicBezTo>
                  <a:cubicBezTo>
                    <a:pt x="14" y="141"/>
                    <a:pt x="14" y="142"/>
                    <a:pt x="14" y="142"/>
                  </a:cubicBezTo>
                  <a:close/>
                  <a:moveTo>
                    <a:pt x="11" y="142"/>
                  </a:move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2"/>
                    <a:pt x="11" y="142"/>
                  </a:cubicBezTo>
                  <a:close/>
                  <a:moveTo>
                    <a:pt x="17" y="141"/>
                  </a:moveTo>
                  <a:cubicBezTo>
                    <a:pt x="18" y="141"/>
                    <a:pt x="18" y="142"/>
                    <a:pt x="18" y="141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7" y="142"/>
                    <a:pt x="17" y="141"/>
                  </a:cubicBezTo>
                  <a:close/>
                  <a:moveTo>
                    <a:pt x="19" y="141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1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2"/>
                  </a:cubicBezTo>
                  <a:close/>
                  <a:moveTo>
                    <a:pt x="18" y="142"/>
                  </a:moveTo>
                  <a:cubicBezTo>
                    <a:pt x="18" y="142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8" y="142"/>
                  </a:cubicBezTo>
                  <a:cubicBezTo>
                    <a:pt x="19" y="143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ubicBezTo>
                    <a:pt x="18" y="142"/>
                    <a:pt x="19" y="142"/>
                    <a:pt x="19" y="142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4"/>
                    <a:pt x="13" y="144"/>
                    <a:pt x="14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4" y="144"/>
                    <a:pt x="14" y="144"/>
                    <a:pt x="14" y="145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lose/>
                  <a:moveTo>
                    <a:pt x="16" y="146"/>
                  </a:moveTo>
                  <a:cubicBezTo>
                    <a:pt x="16" y="146"/>
                    <a:pt x="16" y="146"/>
                    <a:pt x="16" y="145"/>
                  </a:cubicBezTo>
                  <a:cubicBezTo>
                    <a:pt x="16" y="145"/>
                    <a:pt x="16" y="146"/>
                    <a:pt x="16" y="146"/>
                  </a:cubicBezTo>
                  <a:close/>
                  <a:moveTo>
                    <a:pt x="10" y="147"/>
                  </a:moveTo>
                  <a:cubicBezTo>
                    <a:pt x="10" y="146"/>
                    <a:pt x="10" y="146"/>
                    <a:pt x="10" y="146"/>
                  </a:cubicBezTo>
                  <a:cubicBezTo>
                    <a:pt x="10" y="146"/>
                    <a:pt x="11" y="147"/>
                    <a:pt x="10" y="147"/>
                  </a:cubicBezTo>
                  <a:close/>
                  <a:moveTo>
                    <a:pt x="14" y="146"/>
                  </a:moveTo>
                  <a:cubicBezTo>
                    <a:pt x="14" y="146"/>
                    <a:pt x="14" y="146"/>
                    <a:pt x="14" y="146"/>
                  </a:cubicBezTo>
                  <a:cubicBezTo>
                    <a:pt x="14" y="147"/>
                    <a:pt x="14" y="147"/>
                    <a:pt x="14" y="147"/>
                  </a:cubicBezTo>
                  <a:lnTo>
                    <a:pt x="14" y="146"/>
                  </a:lnTo>
                  <a:close/>
                  <a:moveTo>
                    <a:pt x="14" y="148"/>
                  </a:moveTo>
                  <a:cubicBezTo>
                    <a:pt x="14" y="148"/>
                    <a:pt x="14" y="147"/>
                    <a:pt x="14" y="147"/>
                  </a:cubicBezTo>
                  <a:cubicBezTo>
                    <a:pt x="14" y="147"/>
                    <a:pt x="14" y="148"/>
                    <a:pt x="14" y="147"/>
                  </a:cubicBezTo>
                  <a:cubicBezTo>
                    <a:pt x="14" y="148"/>
                    <a:pt x="14" y="148"/>
                    <a:pt x="14" y="148"/>
                  </a:cubicBezTo>
                  <a:close/>
                  <a:moveTo>
                    <a:pt x="11" y="149"/>
                  </a:move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11" y="149"/>
                    <a:pt x="11" y="148"/>
                  </a:cubicBezTo>
                  <a:cubicBezTo>
                    <a:pt x="11" y="148"/>
                    <a:pt x="11" y="149"/>
                    <a:pt x="11" y="149"/>
                  </a:cubicBezTo>
                  <a:close/>
                  <a:moveTo>
                    <a:pt x="14" y="148"/>
                  </a:moveTo>
                  <a:cubicBezTo>
                    <a:pt x="15" y="148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lose/>
                  <a:moveTo>
                    <a:pt x="13" y="148"/>
                  </a:moveTo>
                  <a:cubicBezTo>
                    <a:pt x="14" y="148"/>
                    <a:pt x="14" y="148"/>
                    <a:pt x="14" y="149"/>
                  </a:cubicBezTo>
                  <a:cubicBezTo>
                    <a:pt x="13" y="149"/>
                    <a:pt x="14" y="148"/>
                    <a:pt x="13" y="148"/>
                  </a:cubicBezTo>
                  <a:close/>
                  <a:moveTo>
                    <a:pt x="14" y="148"/>
                  </a:moveTo>
                  <a:cubicBezTo>
                    <a:pt x="14" y="149"/>
                    <a:pt x="14" y="149"/>
                    <a:pt x="14" y="148"/>
                  </a:cubicBezTo>
                  <a:close/>
                  <a:moveTo>
                    <a:pt x="10" y="150"/>
                  </a:moveTo>
                  <a:cubicBezTo>
                    <a:pt x="10" y="150"/>
                    <a:pt x="10" y="149"/>
                    <a:pt x="10" y="149"/>
                  </a:cubicBezTo>
                  <a:cubicBezTo>
                    <a:pt x="10" y="149"/>
                    <a:pt x="10" y="151"/>
                    <a:pt x="10" y="150"/>
                  </a:cubicBezTo>
                  <a:close/>
                  <a:moveTo>
                    <a:pt x="16" y="150"/>
                  </a:moveTo>
                  <a:cubicBezTo>
                    <a:pt x="16" y="150"/>
                    <a:pt x="16" y="150"/>
                    <a:pt x="16" y="149"/>
                  </a:cubicBezTo>
                  <a:cubicBezTo>
                    <a:pt x="16" y="149"/>
                    <a:pt x="16" y="150"/>
                    <a:pt x="16" y="150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1"/>
                    <a:pt x="17" y="152"/>
                    <a:pt x="17" y="152"/>
                  </a:cubicBezTo>
                  <a:close/>
                  <a:moveTo>
                    <a:pt x="12" y="153"/>
                  </a:moveTo>
                  <a:cubicBezTo>
                    <a:pt x="12" y="152"/>
                    <a:pt x="12" y="152"/>
                    <a:pt x="12" y="152"/>
                  </a:cubicBezTo>
                  <a:cubicBezTo>
                    <a:pt x="13" y="152"/>
                    <a:pt x="13" y="153"/>
                    <a:pt x="12" y="153"/>
                  </a:cubicBezTo>
                  <a:close/>
                  <a:moveTo>
                    <a:pt x="14" y="154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53"/>
                    <a:pt x="14" y="153"/>
                    <a:pt x="14" y="154"/>
                  </a:cubicBezTo>
                  <a:close/>
                  <a:moveTo>
                    <a:pt x="18" y="153"/>
                  </a:move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lose/>
                  <a:moveTo>
                    <a:pt x="17" y="153"/>
                  </a:moveTo>
                  <a:cubicBezTo>
                    <a:pt x="17" y="153"/>
                    <a:pt x="17" y="154"/>
                    <a:pt x="17" y="154"/>
                  </a:cubicBezTo>
                  <a:cubicBezTo>
                    <a:pt x="17" y="154"/>
                    <a:pt x="17" y="154"/>
                    <a:pt x="17" y="153"/>
                  </a:cubicBezTo>
                  <a:close/>
                  <a:moveTo>
                    <a:pt x="19" y="154"/>
                  </a:moveTo>
                  <a:cubicBezTo>
                    <a:pt x="19" y="153"/>
                    <a:pt x="19" y="153"/>
                    <a:pt x="19" y="153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lose/>
                  <a:moveTo>
                    <a:pt x="13" y="155"/>
                  </a:moveTo>
                  <a:cubicBezTo>
                    <a:pt x="13" y="155"/>
                    <a:pt x="13" y="155"/>
                    <a:pt x="13" y="155"/>
                  </a:cubicBezTo>
                  <a:cubicBezTo>
                    <a:pt x="13" y="154"/>
                    <a:pt x="13" y="155"/>
                    <a:pt x="13" y="155"/>
                  </a:cubicBezTo>
                  <a:close/>
                  <a:moveTo>
                    <a:pt x="20" y="155"/>
                  </a:move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lose/>
                  <a:moveTo>
                    <a:pt x="18" y="155"/>
                  </a:move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lose/>
                  <a:moveTo>
                    <a:pt x="14" y="161"/>
                  </a:moveTo>
                  <a:cubicBezTo>
                    <a:pt x="14" y="161"/>
                    <a:pt x="14" y="161"/>
                    <a:pt x="14" y="161"/>
                  </a:cubicBezTo>
                  <a:cubicBezTo>
                    <a:pt x="14" y="161"/>
                    <a:pt x="14" y="161"/>
                    <a:pt x="14" y="161"/>
                  </a:cubicBezTo>
                  <a:close/>
                  <a:moveTo>
                    <a:pt x="18" y="167"/>
                  </a:moveTo>
                  <a:cubicBezTo>
                    <a:pt x="19" y="167"/>
                    <a:pt x="18" y="168"/>
                    <a:pt x="19" y="168"/>
                  </a:cubicBezTo>
                  <a:cubicBezTo>
                    <a:pt x="18" y="168"/>
                    <a:pt x="19" y="168"/>
                    <a:pt x="18" y="167"/>
                  </a:cubicBezTo>
                  <a:close/>
                  <a:moveTo>
                    <a:pt x="15" y="169"/>
                  </a:moveTo>
                  <a:cubicBezTo>
                    <a:pt x="15" y="169"/>
                    <a:pt x="15" y="169"/>
                    <a:pt x="15" y="170"/>
                  </a:cubicBezTo>
                  <a:cubicBezTo>
                    <a:pt x="15" y="169"/>
                    <a:pt x="15" y="169"/>
                    <a:pt x="15" y="169"/>
                  </a:cubicBezTo>
                  <a:close/>
                  <a:moveTo>
                    <a:pt x="19" y="170"/>
                  </a:move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6"/>
                    <a:pt x="19" y="176"/>
                  </a:cubicBezTo>
                  <a:cubicBezTo>
                    <a:pt x="19" y="176"/>
                    <a:pt x="19" y="175"/>
                    <a:pt x="19" y="175"/>
                  </a:cubicBezTo>
                  <a:close/>
                  <a:moveTo>
                    <a:pt x="20" y="177"/>
                  </a:moveTo>
                  <a:cubicBezTo>
                    <a:pt x="21" y="177"/>
                    <a:pt x="21" y="178"/>
                    <a:pt x="20" y="178"/>
                  </a:cubicBezTo>
                  <a:cubicBezTo>
                    <a:pt x="20" y="178"/>
                    <a:pt x="20" y="177"/>
                    <a:pt x="20" y="177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0"/>
                    <a:pt x="20" y="180"/>
                    <a:pt x="20" y="180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0" y="181"/>
                    <a:pt x="20" y="180"/>
                    <a:pt x="20" y="180"/>
                  </a:cubicBezTo>
                  <a:close/>
                  <a:moveTo>
                    <a:pt x="20" y="181"/>
                  </a:moveTo>
                  <a:cubicBezTo>
                    <a:pt x="20" y="181"/>
                    <a:pt x="20" y="181"/>
                    <a:pt x="19" y="181"/>
                  </a:cubicBezTo>
                  <a:cubicBezTo>
                    <a:pt x="19" y="181"/>
                    <a:pt x="20" y="181"/>
                    <a:pt x="20" y="180"/>
                  </a:cubicBezTo>
                  <a:cubicBezTo>
                    <a:pt x="20" y="180"/>
                    <a:pt x="20" y="181"/>
                    <a:pt x="20" y="181"/>
                  </a:cubicBezTo>
                  <a:close/>
                  <a:moveTo>
                    <a:pt x="18" y="183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18" y="182"/>
                    <a:pt x="18" y="182"/>
                    <a:pt x="18" y="183"/>
                  </a:cubicBezTo>
                  <a:close/>
                  <a:moveTo>
                    <a:pt x="21" y="186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21" y="184"/>
                    <a:pt x="21" y="184"/>
                    <a:pt x="20" y="183"/>
                  </a:cubicBezTo>
                  <a:cubicBezTo>
                    <a:pt x="21" y="184"/>
                    <a:pt x="21" y="185"/>
                    <a:pt x="21" y="186"/>
                  </a:cubicBezTo>
                  <a:close/>
                  <a:moveTo>
                    <a:pt x="18" y="185"/>
                  </a:moveTo>
                  <a:cubicBezTo>
                    <a:pt x="17" y="185"/>
                    <a:pt x="17" y="184"/>
                    <a:pt x="17" y="184"/>
                  </a:cubicBezTo>
                  <a:cubicBezTo>
                    <a:pt x="18" y="184"/>
                    <a:pt x="18" y="185"/>
                    <a:pt x="18" y="185"/>
                  </a:cubicBezTo>
                  <a:close/>
                  <a:moveTo>
                    <a:pt x="21" y="186"/>
                  </a:move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7"/>
                    <a:pt x="21" y="186"/>
                  </a:cubicBezTo>
                  <a:close/>
                  <a:moveTo>
                    <a:pt x="22" y="191"/>
                  </a:moveTo>
                  <a:cubicBezTo>
                    <a:pt x="21" y="191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2" y="190"/>
                    <a:pt x="22" y="191"/>
                    <a:pt x="22" y="191"/>
                  </a:cubicBezTo>
                  <a:close/>
                  <a:moveTo>
                    <a:pt x="21" y="191"/>
                  </a:moveTo>
                  <a:cubicBezTo>
                    <a:pt x="22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lose/>
                  <a:moveTo>
                    <a:pt x="20" y="192"/>
                  </a:moveTo>
                  <a:cubicBezTo>
                    <a:pt x="20" y="192"/>
                    <a:pt x="20" y="192"/>
                    <a:pt x="20" y="192"/>
                  </a:cubicBezTo>
                  <a:cubicBezTo>
                    <a:pt x="20" y="191"/>
                    <a:pt x="20" y="192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lnTo>
                    <a:pt x="20" y="192"/>
                  </a:lnTo>
                  <a:close/>
                  <a:moveTo>
                    <a:pt x="16" y="192"/>
                  </a:moveTo>
                  <a:cubicBezTo>
                    <a:pt x="16" y="192"/>
                    <a:pt x="16" y="191"/>
                    <a:pt x="16" y="191"/>
                  </a:cubicBezTo>
                  <a:cubicBezTo>
                    <a:pt x="16" y="191"/>
                    <a:pt x="16" y="192"/>
                    <a:pt x="16" y="192"/>
                  </a:cubicBezTo>
                  <a:close/>
                  <a:moveTo>
                    <a:pt x="20" y="193"/>
                  </a:moveTo>
                  <a:cubicBezTo>
                    <a:pt x="19" y="193"/>
                    <a:pt x="20" y="192"/>
                    <a:pt x="19" y="192"/>
                  </a:cubicBezTo>
                  <a:cubicBezTo>
                    <a:pt x="20" y="192"/>
                    <a:pt x="20" y="193"/>
                    <a:pt x="20" y="193"/>
                  </a:cubicBezTo>
                  <a:close/>
                  <a:moveTo>
                    <a:pt x="21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lose/>
                  <a:moveTo>
                    <a:pt x="20" y="193"/>
                  </a:moveTo>
                  <a:cubicBezTo>
                    <a:pt x="20" y="192"/>
                    <a:pt x="20" y="192"/>
                    <a:pt x="21" y="192"/>
                  </a:cubicBezTo>
                  <a:cubicBezTo>
                    <a:pt x="21" y="192"/>
                    <a:pt x="21" y="193"/>
                    <a:pt x="21" y="193"/>
                  </a:cubicBezTo>
                  <a:cubicBezTo>
                    <a:pt x="20" y="193"/>
                    <a:pt x="21" y="192"/>
                    <a:pt x="20" y="193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3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4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lose/>
                  <a:moveTo>
                    <a:pt x="22" y="195"/>
                  </a:moveTo>
                  <a:cubicBezTo>
                    <a:pt x="22" y="195"/>
                    <a:pt x="21" y="195"/>
                    <a:pt x="21" y="195"/>
                  </a:cubicBezTo>
                  <a:cubicBezTo>
                    <a:pt x="22" y="195"/>
                    <a:pt x="22" y="195"/>
                    <a:pt x="22" y="195"/>
                  </a:cubicBezTo>
                  <a:close/>
                  <a:moveTo>
                    <a:pt x="16" y="196"/>
                  </a:move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lose/>
                  <a:moveTo>
                    <a:pt x="16" y="198"/>
                  </a:moveTo>
                  <a:cubicBezTo>
                    <a:pt x="16" y="198"/>
                    <a:pt x="16" y="198"/>
                    <a:pt x="16" y="198"/>
                  </a:cubicBezTo>
                  <a:cubicBezTo>
                    <a:pt x="16" y="198"/>
                    <a:pt x="16" y="198"/>
                    <a:pt x="16" y="198"/>
                  </a:cubicBezTo>
                  <a:close/>
                  <a:moveTo>
                    <a:pt x="21" y="199"/>
                  </a:moveTo>
                  <a:cubicBezTo>
                    <a:pt x="21" y="199"/>
                    <a:pt x="21" y="201"/>
                    <a:pt x="21" y="202"/>
                  </a:cubicBezTo>
                  <a:cubicBezTo>
                    <a:pt x="21" y="203"/>
                    <a:pt x="21" y="204"/>
                    <a:pt x="21" y="205"/>
                  </a:cubicBezTo>
                  <a:cubicBezTo>
                    <a:pt x="21" y="203"/>
                    <a:pt x="21" y="201"/>
                    <a:pt x="21" y="199"/>
                  </a:cubicBezTo>
                  <a:close/>
                  <a:moveTo>
                    <a:pt x="22" y="199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199"/>
                    <a:pt x="22" y="199"/>
                  </a:cubicBezTo>
                  <a:close/>
                  <a:moveTo>
                    <a:pt x="20" y="200"/>
                  </a:moveTo>
                  <a:cubicBezTo>
                    <a:pt x="20" y="200"/>
                    <a:pt x="20" y="201"/>
                    <a:pt x="20" y="200"/>
                  </a:cubicBezTo>
                  <a:cubicBezTo>
                    <a:pt x="20" y="201"/>
                    <a:pt x="20" y="200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lose/>
                  <a:moveTo>
                    <a:pt x="22" y="201"/>
                  </a:moveTo>
                  <a:cubicBezTo>
                    <a:pt x="22" y="201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1"/>
                  </a:cubicBezTo>
                  <a:close/>
                  <a:moveTo>
                    <a:pt x="22" y="202"/>
                  </a:moveTo>
                  <a:cubicBezTo>
                    <a:pt x="22" y="201"/>
                    <a:pt x="22" y="201"/>
                    <a:pt x="22" y="200"/>
                  </a:cubicBezTo>
                  <a:cubicBezTo>
                    <a:pt x="22" y="201"/>
                    <a:pt x="22" y="201"/>
                    <a:pt x="22" y="202"/>
                  </a:cubicBezTo>
                  <a:close/>
                  <a:moveTo>
                    <a:pt x="22" y="201"/>
                  </a:moveTo>
                  <a:cubicBezTo>
                    <a:pt x="22" y="201"/>
                    <a:pt x="23" y="202"/>
                    <a:pt x="22" y="202"/>
                  </a:cubicBezTo>
                  <a:cubicBezTo>
                    <a:pt x="22" y="202"/>
                    <a:pt x="22" y="202"/>
                    <a:pt x="22" y="202"/>
                  </a:cubicBezTo>
                  <a:cubicBezTo>
                    <a:pt x="22" y="202"/>
                    <a:pt x="22" y="201"/>
                    <a:pt x="22" y="201"/>
                  </a:cubicBezTo>
                  <a:close/>
                  <a:moveTo>
                    <a:pt x="20" y="202"/>
                  </a:moveTo>
                  <a:cubicBezTo>
                    <a:pt x="20" y="202"/>
                    <a:pt x="20" y="202"/>
                    <a:pt x="20" y="201"/>
                  </a:cubicBezTo>
                  <a:cubicBezTo>
                    <a:pt x="20" y="201"/>
                    <a:pt x="20" y="202"/>
                    <a:pt x="20" y="202"/>
                  </a:cubicBezTo>
                  <a:close/>
                  <a:moveTo>
                    <a:pt x="15" y="203"/>
                  </a:moveTo>
                  <a:cubicBezTo>
                    <a:pt x="15" y="203"/>
                    <a:pt x="15" y="204"/>
                    <a:pt x="15" y="204"/>
                  </a:cubicBezTo>
                  <a:cubicBezTo>
                    <a:pt x="15" y="204"/>
                    <a:pt x="15" y="204"/>
                    <a:pt x="15" y="203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4"/>
                    <a:pt x="20" y="204"/>
                  </a:cubicBezTo>
                  <a:cubicBezTo>
                    <a:pt x="20" y="204"/>
                    <a:pt x="20" y="204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6"/>
                  </a:cubicBezTo>
                  <a:cubicBezTo>
                    <a:pt x="20" y="205"/>
                    <a:pt x="20" y="205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20" y="206"/>
                    <a:pt x="20" y="205"/>
                  </a:cubicBezTo>
                  <a:close/>
                  <a:moveTo>
                    <a:pt x="23" y="206"/>
                  </a:moveTo>
                  <a:cubicBezTo>
                    <a:pt x="23" y="206"/>
                    <a:pt x="22" y="206"/>
                    <a:pt x="23" y="206"/>
                  </a:cubicBezTo>
                  <a:cubicBezTo>
                    <a:pt x="23" y="206"/>
                    <a:pt x="23" y="206"/>
                    <a:pt x="23" y="206"/>
                  </a:cubicBezTo>
                  <a:close/>
                  <a:moveTo>
                    <a:pt x="15" y="208"/>
                  </a:moveTo>
                  <a:cubicBezTo>
                    <a:pt x="15" y="207"/>
                    <a:pt x="15" y="207"/>
                    <a:pt x="15" y="207"/>
                  </a:cubicBezTo>
                  <a:cubicBezTo>
                    <a:pt x="15" y="207"/>
                    <a:pt x="15" y="207"/>
                    <a:pt x="15" y="208"/>
                  </a:cubicBezTo>
                  <a:close/>
                  <a:moveTo>
                    <a:pt x="20" y="206"/>
                  </a:move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6"/>
                  </a:cubicBezTo>
                  <a:cubicBezTo>
                    <a:pt x="20" y="207"/>
                    <a:pt x="20" y="207"/>
                    <a:pt x="20" y="206"/>
                  </a:cubicBezTo>
                  <a:close/>
                  <a:moveTo>
                    <a:pt x="23" y="207"/>
                  </a:moveTo>
                  <a:cubicBezTo>
                    <a:pt x="23" y="207"/>
                    <a:pt x="23" y="208"/>
                    <a:pt x="23" y="208"/>
                  </a:cubicBezTo>
                  <a:cubicBezTo>
                    <a:pt x="23" y="208"/>
                    <a:pt x="23" y="207"/>
                    <a:pt x="23" y="207"/>
                  </a:cubicBezTo>
                  <a:close/>
                  <a:moveTo>
                    <a:pt x="21" y="207"/>
                  </a:moveTo>
                  <a:cubicBezTo>
                    <a:pt x="21" y="207"/>
                    <a:pt x="21" y="207"/>
                    <a:pt x="21" y="207"/>
                  </a:cubicBezTo>
                  <a:cubicBezTo>
                    <a:pt x="21" y="207"/>
                    <a:pt x="21" y="207"/>
                    <a:pt x="21" y="207"/>
                  </a:cubicBezTo>
                  <a:close/>
                  <a:moveTo>
                    <a:pt x="16" y="207"/>
                  </a:moveTo>
                  <a:cubicBezTo>
                    <a:pt x="16" y="208"/>
                    <a:pt x="16" y="208"/>
                    <a:pt x="16" y="209"/>
                  </a:cubicBezTo>
                  <a:cubicBezTo>
                    <a:pt x="16" y="208"/>
                    <a:pt x="16" y="208"/>
                    <a:pt x="16" y="207"/>
                  </a:cubicBezTo>
                  <a:close/>
                  <a:moveTo>
                    <a:pt x="18" y="208"/>
                  </a:moveTo>
                  <a:cubicBezTo>
                    <a:pt x="18" y="208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lose/>
                  <a:moveTo>
                    <a:pt x="20" y="208"/>
                  </a:moveTo>
                  <a:cubicBezTo>
                    <a:pt x="20" y="208"/>
                    <a:pt x="20" y="208"/>
                    <a:pt x="20" y="209"/>
                  </a:cubicBezTo>
                  <a:cubicBezTo>
                    <a:pt x="20" y="209"/>
                    <a:pt x="20" y="208"/>
                    <a:pt x="20" y="208"/>
                  </a:cubicBezTo>
                  <a:close/>
                  <a:moveTo>
                    <a:pt x="23" y="209"/>
                  </a:moveTo>
                  <a:cubicBezTo>
                    <a:pt x="23" y="209"/>
                    <a:pt x="23" y="209"/>
                    <a:pt x="23" y="208"/>
                  </a:cubicBezTo>
                  <a:cubicBezTo>
                    <a:pt x="23" y="208"/>
                    <a:pt x="23" y="209"/>
                    <a:pt x="23" y="209"/>
                  </a:cubicBezTo>
                  <a:close/>
                  <a:moveTo>
                    <a:pt x="18" y="210"/>
                  </a:moveTo>
                  <a:cubicBezTo>
                    <a:pt x="18" y="210"/>
                    <a:pt x="18" y="209"/>
                    <a:pt x="18" y="209"/>
                  </a:cubicBezTo>
                  <a:cubicBezTo>
                    <a:pt x="18" y="209"/>
                    <a:pt x="18" y="210"/>
                    <a:pt x="18" y="210"/>
                  </a:cubicBezTo>
                  <a:close/>
                  <a:moveTo>
                    <a:pt x="15" y="210"/>
                  </a:moveTo>
                  <a:cubicBezTo>
                    <a:pt x="15" y="210"/>
                    <a:pt x="15" y="209"/>
                    <a:pt x="15" y="209"/>
                  </a:cubicBezTo>
                  <a:cubicBezTo>
                    <a:pt x="15" y="209"/>
                    <a:pt x="15" y="209"/>
                    <a:pt x="15" y="210"/>
                  </a:cubicBezTo>
                  <a:close/>
                  <a:moveTo>
                    <a:pt x="23" y="211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2" y="210"/>
                    <a:pt x="22" y="211"/>
                    <a:pt x="22" y="211"/>
                  </a:cubicBezTo>
                  <a:cubicBezTo>
                    <a:pt x="22" y="210"/>
                    <a:pt x="22" y="210"/>
                    <a:pt x="23" y="210"/>
                  </a:cubicBezTo>
                  <a:cubicBezTo>
                    <a:pt x="22" y="210"/>
                    <a:pt x="23" y="210"/>
                    <a:pt x="23" y="209"/>
                  </a:cubicBezTo>
                  <a:cubicBezTo>
                    <a:pt x="23" y="210"/>
                    <a:pt x="23" y="210"/>
                    <a:pt x="23" y="211"/>
                  </a:cubicBezTo>
                  <a:close/>
                  <a:moveTo>
                    <a:pt x="15" y="211"/>
                  </a:moveTo>
                  <a:cubicBezTo>
                    <a:pt x="15" y="211"/>
                    <a:pt x="15" y="211"/>
                    <a:pt x="15" y="211"/>
                  </a:cubicBezTo>
                  <a:cubicBezTo>
                    <a:pt x="15" y="211"/>
                    <a:pt x="15" y="210"/>
                    <a:pt x="15" y="210"/>
                  </a:cubicBezTo>
                  <a:cubicBezTo>
                    <a:pt x="15" y="210"/>
                    <a:pt x="15" y="211"/>
                    <a:pt x="15" y="211"/>
                  </a:cubicBezTo>
                  <a:cubicBezTo>
                    <a:pt x="15" y="211"/>
                    <a:pt x="15" y="211"/>
                    <a:pt x="15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0"/>
                    <a:pt x="20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1"/>
                    <a:pt x="20" y="211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1"/>
                    <a:pt x="15" y="211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8" y="213"/>
                  </a:moveTo>
                  <a:cubicBezTo>
                    <a:pt x="18" y="213"/>
                    <a:pt x="18" y="213"/>
                    <a:pt x="18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9" y="213"/>
                    <a:pt x="18" y="213"/>
                    <a:pt x="18" y="213"/>
                  </a:cubicBezTo>
                  <a:close/>
                  <a:moveTo>
                    <a:pt x="15" y="213"/>
                  </a:moveTo>
                  <a:cubicBezTo>
                    <a:pt x="15" y="213"/>
                    <a:pt x="15" y="214"/>
                    <a:pt x="15" y="214"/>
                  </a:cubicBezTo>
                  <a:cubicBezTo>
                    <a:pt x="15" y="214"/>
                    <a:pt x="15" y="214"/>
                    <a:pt x="15" y="213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3"/>
                    <a:pt x="22" y="213"/>
                  </a:cubicBezTo>
                  <a:cubicBezTo>
                    <a:pt x="23" y="213"/>
                    <a:pt x="22" y="214"/>
                    <a:pt x="22" y="213"/>
                  </a:cubicBezTo>
                  <a:cubicBezTo>
                    <a:pt x="23" y="213"/>
                    <a:pt x="23" y="214"/>
                    <a:pt x="22" y="213"/>
                  </a:cubicBezTo>
                  <a:close/>
                  <a:moveTo>
                    <a:pt x="22" y="216"/>
                  </a:moveTo>
                  <a:cubicBezTo>
                    <a:pt x="21" y="215"/>
                    <a:pt x="22" y="215"/>
                    <a:pt x="22" y="214"/>
                  </a:cubicBezTo>
                  <a:cubicBezTo>
                    <a:pt x="22" y="214"/>
                    <a:pt x="22" y="215"/>
                    <a:pt x="22" y="216"/>
                  </a:cubicBezTo>
                  <a:close/>
                  <a:moveTo>
                    <a:pt x="12" y="61"/>
                  </a:move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lose/>
                  <a:moveTo>
                    <a:pt x="16" y="22"/>
                  </a:moveTo>
                  <a:cubicBezTo>
                    <a:pt x="16" y="23"/>
                    <a:pt x="16" y="23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40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6"/>
                    <a:pt x="16" y="47"/>
                    <a:pt x="15" y="47"/>
                  </a:cubicBezTo>
                  <a:cubicBezTo>
                    <a:pt x="15" y="47"/>
                    <a:pt x="15" y="47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5" y="48"/>
                    <a:pt x="15" y="49"/>
                    <a:pt x="14" y="48"/>
                  </a:cubicBezTo>
                  <a:cubicBezTo>
                    <a:pt x="14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49"/>
                    <a:pt x="15" y="49"/>
                  </a:cubicBezTo>
                  <a:cubicBezTo>
                    <a:pt x="14" y="49"/>
                    <a:pt x="15" y="50"/>
                    <a:pt x="15" y="50"/>
                  </a:cubicBezTo>
                  <a:cubicBezTo>
                    <a:pt x="15" y="50"/>
                    <a:pt x="15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1"/>
                    <a:pt x="15" y="52"/>
                    <a:pt x="15" y="52"/>
                  </a:cubicBezTo>
                  <a:cubicBezTo>
                    <a:pt x="15" y="51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4"/>
                    <a:pt x="15" y="54"/>
                  </a:cubicBezTo>
                  <a:cubicBezTo>
                    <a:pt x="15" y="53"/>
                    <a:pt x="14" y="51"/>
                    <a:pt x="14" y="50"/>
                  </a:cubicBezTo>
                  <a:cubicBezTo>
                    <a:pt x="14" y="49"/>
                    <a:pt x="14" y="50"/>
                    <a:pt x="14" y="49"/>
                  </a:cubicBezTo>
                  <a:cubicBezTo>
                    <a:pt x="14" y="49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4" y="54"/>
                    <a:pt x="15" y="54"/>
                  </a:cubicBezTo>
                  <a:cubicBezTo>
                    <a:pt x="15" y="55"/>
                    <a:pt x="15" y="56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5" y="60"/>
                    <a:pt x="15" y="59"/>
                    <a:pt x="15" y="59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0"/>
                    <a:pt x="14" y="60"/>
                    <a:pt x="15" y="60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1"/>
                    <a:pt x="14" y="60"/>
                    <a:pt x="14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4" y="64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5" y="65"/>
                    <a:pt x="14" y="65"/>
                    <a:pt x="15" y="65"/>
                  </a:cubicBezTo>
                  <a:cubicBezTo>
                    <a:pt x="14" y="65"/>
                    <a:pt x="15" y="66"/>
                    <a:pt x="14" y="66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1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3"/>
                    <a:pt x="15" y="72"/>
                    <a:pt x="15" y="73"/>
                  </a:cubicBezTo>
                  <a:cubicBezTo>
                    <a:pt x="14" y="73"/>
                    <a:pt x="15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69"/>
                    <a:pt x="14" y="68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3"/>
                    <a:pt x="14" y="64"/>
                    <a:pt x="14" y="64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4"/>
                  </a:cubicBezTo>
                  <a:cubicBezTo>
                    <a:pt x="14" y="64"/>
                    <a:pt x="14" y="63"/>
                    <a:pt x="14" y="6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5"/>
                  </a:cubicBezTo>
                  <a:cubicBezTo>
                    <a:pt x="14" y="65"/>
                    <a:pt x="14" y="65"/>
                    <a:pt x="13" y="65"/>
                  </a:cubicBezTo>
                  <a:cubicBezTo>
                    <a:pt x="13" y="65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5"/>
                    <a:pt x="13" y="65"/>
                  </a:cubicBezTo>
                  <a:cubicBezTo>
                    <a:pt x="13" y="64"/>
                    <a:pt x="13" y="64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2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0"/>
                    <a:pt x="13" y="60"/>
                  </a:cubicBezTo>
                  <a:cubicBezTo>
                    <a:pt x="13" y="60"/>
                    <a:pt x="13" y="59"/>
                    <a:pt x="13" y="58"/>
                  </a:cubicBezTo>
                  <a:cubicBezTo>
                    <a:pt x="13" y="59"/>
                    <a:pt x="13" y="60"/>
                    <a:pt x="13" y="61"/>
                  </a:cubicBezTo>
                  <a:cubicBezTo>
                    <a:pt x="14" y="60"/>
                    <a:pt x="13" y="62"/>
                    <a:pt x="13" y="62"/>
                  </a:cubicBezTo>
                  <a:cubicBezTo>
                    <a:pt x="13" y="61"/>
                    <a:pt x="14" y="61"/>
                    <a:pt x="13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8"/>
                    <a:pt x="14" y="58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7"/>
                    <a:pt x="13" y="57"/>
                    <a:pt x="14" y="57"/>
                  </a:cubicBezTo>
                  <a:cubicBezTo>
                    <a:pt x="14" y="56"/>
                    <a:pt x="13" y="55"/>
                    <a:pt x="13" y="53"/>
                  </a:cubicBezTo>
                  <a:cubicBezTo>
                    <a:pt x="14" y="54"/>
                    <a:pt x="13" y="54"/>
                    <a:pt x="14" y="54"/>
                  </a:cubicBezTo>
                  <a:cubicBezTo>
                    <a:pt x="14" y="54"/>
                    <a:pt x="13" y="53"/>
                    <a:pt x="14" y="53"/>
                  </a:cubicBezTo>
                  <a:cubicBezTo>
                    <a:pt x="14" y="53"/>
                    <a:pt x="14" y="53"/>
                    <a:pt x="13" y="53"/>
                  </a:cubicBezTo>
                  <a:cubicBezTo>
                    <a:pt x="13" y="53"/>
                    <a:pt x="14" y="53"/>
                    <a:pt x="13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2"/>
                    <a:pt x="14" y="52"/>
                  </a:cubicBezTo>
                  <a:cubicBezTo>
                    <a:pt x="14" y="52"/>
                    <a:pt x="14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49"/>
                  </a:cubicBezTo>
                  <a:cubicBezTo>
                    <a:pt x="13" y="49"/>
                    <a:pt x="13" y="48"/>
                    <a:pt x="13" y="49"/>
                  </a:cubicBezTo>
                  <a:cubicBezTo>
                    <a:pt x="13" y="49"/>
                    <a:pt x="14" y="49"/>
                    <a:pt x="14" y="49"/>
                  </a:cubicBezTo>
                  <a:cubicBezTo>
                    <a:pt x="14" y="49"/>
                    <a:pt x="14" y="49"/>
                    <a:pt x="13" y="49"/>
                  </a:cubicBezTo>
                  <a:cubicBezTo>
                    <a:pt x="14" y="49"/>
                    <a:pt x="14" y="48"/>
                    <a:pt x="14" y="49"/>
                  </a:cubicBezTo>
                  <a:cubicBezTo>
                    <a:pt x="14" y="48"/>
                    <a:pt x="14" y="48"/>
                    <a:pt x="13" y="47"/>
                  </a:cubicBezTo>
                  <a:cubicBezTo>
                    <a:pt x="14" y="47"/>
                    <a:pt x="13" y="46"/>
                    <a:pt x="13" y="46"/>
                  </a:cubicBezTo>
                  <a:cubicBezTo>
                    <a:pt x="13" y="45"/>
                    <a:pt x="14" y="45"/>
                    <a:pt x="13" y="44"/>
                  </a:cubicBezTo>
                  <a:cubicBezTo>
                    <a:pt x="13" y="44"/>
                    <a:pt x="14" y="43"/>
                    <a:pt x="13" y="43"/>
                  </a:cubicBezTo>
                  <a:cubicBezTo>
                    <a:pt x="13" y="43"/>
                    <a:pt x="13" y="44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3"/>
                    <a:pt x="13" y="52"/>
                  </a:cubicBezTo>
                  <a:cubicBezTo>
                    <a:pt x="13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3" y="54"/>
                  </a:cubicBezTo>
                  <a:cubicBezTo>
                    <a:pt x="13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2" y="54"/>
                    <a:pt x="13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4"/>
                  </a:cubicBezTo>
                  <a:cubicBezTo>
                    <a:pt x="12" y="54"/>
                    <a:pt x="12" y="53"/>
                    <a:pt x="12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2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1" y="56"/>
                    <a:pt x="11" y="57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7"/>
                  </a:cubicBezTo>
                  <a:cubicBezTo>
                    <a:pt x="11" y="57"/>
                    <a:pt x="11" y="57"/>
                    <a:pt x="12" y="57"/>
                  </a:cubicBezTo>
                  <a:cubicBezTo>
                    <a:pt x="11" y="57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1" y="59"/>
                    <a:pt x="12" y="58"/>
                    <a:pt x="11" y="58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60"/>
                    <a:pt x="11" y="60"/>
                  </a:cubicBezTo>
                  <a:cubicBezTo>
                    <a:pt x="11" y="60"/>
                    <a:pt x="11" y="60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1"/>
                    <a:pt x="11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1"/>
                    <a:pt x="11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1"/>
                    <a:pt x="12" y="6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4"/>
                    <a:pt x="12" y="63"/>
                  </a:cubicBezTo>
                  <a:cubicBezTo>
                    <a:pt x="12" y="64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8"/>
                    <a:pt x="12" y="68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6"/>
                    <a:pt x="12" y="67"/>
                    <a:pt x="12" y="66"/>
                  </a:cubicBezTo>
                  <a:cubicBezTo>
                    <a:pt x="12" y="66"/>
                    <a:pt x="11" y="66"/>
                    <a:pt x="11" y="66"/>
                  </a:cubicBezTo>
                  <a:cubicBezTo>
                    <a:pt x="12" y="66"/>
                    <a:pt x="11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1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4"/>
                  </a:cubicBezTo>
                  <a:cubicBezTo>
                    <a:pt x="12" y="65"/>
                    <a:pt x="12" y="65"/>
                    <a:pt x="11" y="64"/>
                  </a:cubicBezTo>
                  <a:cubicBezTo>
                    <a:pt x="11" y="64"/>
                    <a:pt x="12" y="65"/>
                    <a:pt x="11" y="65"/>
                  </a:cubicBezTo>
                  <a:cubicBezTo>
                    <a:pt x="11" y="64"/>
                    <a:pt x="12" y="64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2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3"/>
                    <a:pt x="11" y="63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1"/>
                    <a:pt x="11" y="62"/>
                    <a:pt x="11" y="62"/>
                  </a:cubicBezTo>
                  <a:cubicBezTo>
                    <a:pt x="11" y="62"/>
                    <a:pt x="11" y="61"/>
                    <a:pt x="11" y="61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0" y="62"/>
                    <a:pt x="10" y="62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10" y="60"/>
                    <a:pt x="11" y="60"/>
                    <a:pt x="11" y="60"/>
                  </a:cubicBezTo>
                  <a:cubicBezTo>
                    <a:pt x="10" y="60"/>
                    <a:pt x="10" y="59"/>
                    <a:pt x="10" y="59"/>
                  </a:cubicBezTo>
                  <a:cubicBezTo>
                    <a:pt x="10" y="59"/>
                    <a:pt x="10" y="59"/>
                    <a:pt x="10" y="58"/>
                  </a:cubicBezTo>
                  <a:cubicBezTo>
                    <a:pt x="10" y="58"/>
                    <a:pt x="10" y="58"/>
                    <a:pt x="11" y="58"/>
                  </a:cubicBezTo>
                  <a:cubicBezTo>
                    <a:pt x="11" y="58"/>
                    <a:pt x="10" y="58"/>
                    <a:pt x="11" y="58"/>
                  </a:cubicBezTo>
                  <a:cubicBezTo>
                    <a:pt x="11" y="58"/>
                    <a:pt x="10" y="58"/>
                    <a:pt x="10" y="58"/>
                  </a:cubicBezTo>
                  <a:cubicBezTo>
                    <a:pt x="10" y="58"/>
                    <a:pt x="10" y="57"/>
                    <a:pt x="10" y="57"/>
                  </a:cubicBezTo>
                  <a:cubicBezTo>
                    <a:pt x="10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7"/>
                    <a:pt x="11" y="58"/>
                    <a:pt x="11" y="57"/>
                  </a:cubicBezTo>
                  <a:cubicBezTo>
                    <a:pt x="11" y="58"/>
                    <a:pt x="11" y="57"/>
                    <a:pt x="11" y="57"/>
                  </a:cubicBezTo>
                  <a:cubicBezTo>
                    <a:pt x="11" y="57"/>
                    <a:pt x="11" y="57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1" y="57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0" y="56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6"/>
                    <a:pt x="10" y="56"/>
                  </a:cubicBezTo>
                  <a:cubicBezTo>
                    <a:pt x="10" y="55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9"/>
                  </a:cubicBezTo>
                  <a:cubicBezTo>
                    <a:pt x="9" y="49"/>
                    <a:pt x="9" y="48"/>
                    <a:pt x="9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8"/>
                  </a:cubicBezTo>
                  <a:cubicBezTo>
                    <a:pt x="9" y="47"/>
                    <a:pt x="8" y="47"/>
                    <a:pt x="8" y="47"/>
                  </a:cubicBezTo>
                  <a:cubicBezTo>
                    <a:pt x="8" y="47"/>
                    <a:pt x="8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0" y="48"/>
                    <a:pt x="9" y="47"/>
                    <a:pt x="9" y="47"/>
                  </a:cubicBezTo>
                  <a:cubicBezTo>
                    <a:pt x="9" y="47"/>
                    <a:pt x="9" y="47"/>
                    <a:pt x="10" y="47"/>
                  </a:cubicBezTo>
                  <a:cubicBezTo>
                    <a:pt x="10" y="47"/>
                    <a:pt x="9" y="47"/>
                    <a:pt x="10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9" y="45"/>
                    <a:pt x="9" y="45"/>
                  </a:cubicBezTo>
                  <a:cubicBezTo>
                    <a:pt x="9" y="44"/>
                    <a:pt x="9" y="45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5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7" y="47"/>
                    <a:pt x="8" y="47"/>
                    <a:pt x="8" y="46"/>
                  </a:cubicBezTo>
                  <a:cubicBezTo>
                    <a:pt x="8" y="47"/>
                    <a:pt x="7" y="47"/>
                    <a:pt x="7" y="47"/>
                  </a:cubicBezTo>
                  <a:cubicBezTo>
                    <a:pt x="7" y="47"/>
                    <a:pt x="7" y="46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1"/>
                    <a:pt x="8" y="51"/>
                  </a:cubicBezTo>
                  <a:cubicBezTo>
                    <a:pt x="8" y="51"/>
                    <a:pt x="8" y="51"/>
                    <a:pt x="8" y="50"/>
                  </a:cubicBezTo>
                  <a:cubicBezTo>
                    <a:pt x="8" y="50"/>
                    <a:pt x="8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8" y="51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3"/>
                    <a:pt x="8" y="53"/>
                    <a:pt x="8" y="54"/>
                  </a:cubicBezTo>
                  <a:cubicBezTo>
                    <a:pt x="9" y="54"/>
                    <a:pt x="8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8" y="54"/>
                    <a:pt x="8" y="54"/>
                  </a:cubicBezTo>
                  <a:cubicBezTo>
                    <a:pt x="8" y="54"/>
                    <a:pt x="9" y="54"/>
                    <a:pt x="8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9" y="55"/>
                    <a:pt x="9" y="56"/>
                  </a:cubicBezTo>
                  <a:cubicBezTo>
                    <a:pt x="9" y="55"/>
                    <a:pt x="9" y="55"/>
                    <a:pt x="8" y="55"/>
                  </a:cubicBezTo>
                  <a:cubicBezTo>
                    <a:pt x="8" y="55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7"/>
                    <a:pt x="8" y="55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3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1"/>
                    <a:pt x="7" y="51"/>
                    <a:pt x="8" y="51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0"/>
                    <a:pt x="7" y="50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9"/>
                    <a:pt x="7" y="48"/>
                    <a:pt x="7" y="4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7"/>
                    <a:pt x="6" y="48"/>
                    <a:pt x="6" y="48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9"/>
                    <a:pt x="6" y="49"/>
                    <a:pt x="6" y="48"/>
                  </a:cubicBezTo>
                  <a:cubicBezTo>
                    <a:pt x="6" y="49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6" y="46"/>
                    <a:pt x="6" y="46"/>
                    <a:pt x="5" y="46"/>
                  </a:cubicBezTo>
                  <a:cubicBezTo>
                    <a:pt x="5" y="46"/>
                    <a:pt x="6" y="46"/>
                    <a:pt x="6" y="45"/>
                  </a:cubicBezTo>
                  <a:cubicBezTo>
                    <a:pt x="6" y="45"/>
                    <a:pt x="6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5" y="45"/>
                    <a:pt x="4" y="46"/>
                  </a:cubicBezTo>
                  <a:cubicBezTo>
                    <a:pt x="4" y="46"/>
                    <a:pt x="4" y="45"/>
                    <a:pt x="4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" y="45"/>
                    <a:pt x="4" y="45"/>
                    <a:pt x="4" y="45"/>
                  </a:cubicBezTo>
                  <a:cubicBezTo>
                    <a:pt x="4" y="44"/>
                    <a:pt x="4" y="44"/>
                    <a:pt x="5" y="44"/>
                  </a:cubicBezTo>
                  <a:cubicBezTo>
                    <a:pt x="5" y="44"/>
                    <a:pt x="4" y="44"/>
                    <a:pt x="5" y="44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4" y="4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3"/>
                    <a:pt x="4" y="42"/>
                    <a:pt x="4" y="43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0"/>
                    <a:pt x="4" y="40"/>
                  </a:cubicBezTo>
                  <a:cubicBezTo>
                    <a:pt x="4" y="40"/>
                    <a:pt x="4" y="40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8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6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4"/>
                  </a:cubicBezTo>
                  <a:cubicBezTo>
                    <a:pt x="2" y="34"/>
                    <a:pt x="2" y="34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2" y="33"/>
                    <a:pt x="1" y="33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2"/>
                    <a:pt x="1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1" y="31"/>
                    <a:pt x="1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0" y="29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2" y="25"/>
                    <a:pt x="2" y="25"/>
                  </a:cubicBezTo>
                  <a:cubicBezTo>
                    <a:pt x="2" y="24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1" y="23"/>
                    <a:pt x="2" y="24"/>
                  </a:cubicBezTo>
                  <a:cubicBezTo>
                    <a:pt x="1" y="23"/>
                    <a:pt x="2" y="24"/>
                    <a:pt x="1" y="24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1" y="22"/>
                    <a:pt x="1" y="22"/>
                    <a:pt x="1" y="21"/>
                  </a:cubicBezTo>
                  <a:cubicBezTo>
                    <a:pt x="2" y="22"/>
                    <a:pt x="2" y="22"/>
                    <a:pt x="2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2" y="18"/>
                  </a:cubicBezTo>
                  <a:cubicBezTo>
                    <a:pt x="2" y="17"/>
                    <a:pt x="1" y="18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1" y="17"/>
                    <a:pt x="1" y="16"/>
                    <a:pt x="2" y="16"/>
                  </a:cubicBezTo>
                  <a:cubicBezTo>
                    <a:pt x="1" y="16"/>
                    <a:pt x="2" y="16"/>
                    <a:pt x="2" y="15"/>
                  </a:cubicBezTo>
                  <a:cubicBezTo>
                    <a:pt x="2" y="15"/>
                    <a:pt x="1" y="15"/>
                    <a:pt x="1" y="16"/>
                  </a:cubicBezTo>
                  <a:cubicBezTo>
                    <a:pt x="1" y="16"/>
                    <a:pt x="1" y="16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0" y="15"/>
                    <a:pt x="1" y="15"/>
                    <a:pt x="1" y="15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3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2" y="8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2" y="2"/>
                    <a:pt x="12" y="4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4" y="7"/>
                    <a:pt x="15" y="8"/>
                    <a:pt x="15" y="10"/>
                  </a:cubicBezTo>
                  <a:cubicBezTo>
                    <a:pt x="15" y="10"/>
                    <a:pt x="15" y="11"/>
                    <a:pt x="15" y="11"/>
                  </a:cubicBezTo>
                  <a:cubicBezTo>
                    <a:pt x="15" y="12"/>
                    <a:pt x="15" y="12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6" y="20"/>
                    <a:pt x="16" y="21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3"/>
                    <a:pt x="2" y="33"/>
                  </a:cubicBezTo>
                  <a:close/>
                  <a:moveTo>
                    <a:pt x="2" y="33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3" y="38"/>
                  </a:move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lose/>
                  <a:moveTo>
                    <a:pt x="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lose/>
                  <a:moveTo>
                    <a:pt x="3" y="36"/>
                  </a:move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5"/>
                    <a:pt x="3" y="36"/>
                    <a:pt x="3" y="36"/>
                  </a:cubicBezTo>
                  <a:close/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6"/>
                  </a:cubicBezTo>
                  <a:close/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  <a:moveTo>
                    <a:pt x="3" y="35"/>
                  </a:moveTo>
                  <a:cubicBezTo>
                    <a:pt x="3" y="35"/>
                    <a:pt x="3" y="35"/>
                    <a:pt x="4" y="35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lose/>
                  <a:moveTo>
                    <a:pt x="4" y="38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lose/>
                  <a:moveTo>
                    <a:pt x="4" y="35"/>
                  </a:moveTo>
                  <a:cubicBezTo>
                    <a:pt x="4" y="35"/>
                    <a:pt x="3" y="35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lose/>
                  <a:moveTo>
                    <a:pt x="4" y="39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lose/>
                  <a:moveTo>
                    <a:pt x="4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1"/>
                  </a:moveTo>
                  <a:cubicBezTo>
                    <a:pt x="5" y="41"/>
                    <a:pt x="5" y="42"/>
                    <a:pt x="5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3"/>
                    <a:pt x="5" y="42"/>
                    <a:pt x="5" y="43"/>
                  </a:cubicBezTo>
                  <a:close/>
                  <a:moveTo>
                    <a:pt x="6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7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6"/>
                  </a:cubicBezTo>
                  <a:cubicBezTo>
                    <a:pt x="7" y="47"/>
                    <a:pt x="6" y="47"/>
                    <a:pt x="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lose/>
                  <a:moveTo>
                    <a:pt x="8" y="50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8" y="50"/>
                    <a:pt x="8" y="50"/>
                  </a:cubicBezTo>
                  <a:close/>
                  <a:moveTo>
                    <a:pt x="8" y="51"/>
                  </a:moveTo>
                  <a:cubicBezTo>
                    <a:pt x="8" y="51"/>
                    <a:pt x="8" y="50"/>
                    <a:pt x="8" y="50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8" y="53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lose/>
                  <a:moveTo>
                    <a:pt x="8" y="5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50"/>
                  </a:cubicBezTo>
                  <a:close/>
                  <a:moveTo>
                    <a:pt x="8" y="50"/>
                  </a:moveTo>
                  <a:cubicBezTo>
                    <a:pt x="8" y="50"/>
                    <a:pt x="8" y="49"/>
                    <a:pt x="8" y="49"/>
                  </a:cubicBezTo>
                  <a:cubicBezTo>
                    <a:pt x="8" y="49"/>
                    <a:pt x="8" y="50"/>
                    <a:pt x="8" y="50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7" y="50"/>
                  </a:cubicBezTo>
                  <a:close/>
                  <a:moveTo>
                    <a:pt x="7" y="43"/>
                  </a:moveTo>
                  <a:cubicBezTo>
                    <a:pt x="7" y="44"/>
                    <a:pt x="8" y="44"/>
                    <a:pt x="8" y="44"/>
                  </a:cubicBezTo>
                  <a:cubicBezTo>
                    <a:pt x="8" y="44"/>
                    <a:pt x="7" y="44"/>
                    <a:pt x="7" y="43"/>
                  </a:cubicBezTo>
                  <a:close/>
                  <a:moveTo>
                    <a:pt x="7" y="30"/>
                  </a:moveTo>
                  <a:cubicBezTo>
                    <a:pt x="7" y="30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lose/>
                  <a:moveTo>
                    <a:pt x="9" y="43"/>
                  </a:moveTo>
                  <a:cubicBezTo>
                    <a:pt x="9" y="43"/>
                    <a:pt x="9" y="42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lose/>
                  <a:moveTo>
                    <a:pt x="9" y="42"/>
                  </a:moveTo>
                  <a:cubicBezTo>
                    <a:pt x="9" y="41"/>
                    <a:pt x="9" y="42"/>
                    <a:pt x="9" y="42"/>
                  </a:cubicBezTo>
                  <a:cubicBezTo>
                    <a:pt x="9" y="42"/>
                    <a:pt x="9" y="42"/>
                    <a:pt x="9" y="41"/>
                  </a:cubicBezTo>
                  <a:cubicBezTo>
                    <a:pt x="9" y="42"/>
                    <a:pt x="9" y="41"/>
                    <a:pt x="9" y="41"/>
                  </a:cubicBezTo>
                  <a:cubicBezTo>
                    <a:pt x="9" y="42"/>
                    <a:pt x="9" y="42"/>
                    <a:pt x="8" y="42"/>
                  </a:cubicBezTo>
                  <a:cubicBezTo>
                    <a:pt x="9" y="42"/>
                    <a:pt x="8" y="41"/>
                    <a:pt x="8" y="41"/>
                  </a:cubicBezTo>
                  <a:cubicBezTo>
                    <a:pt x="8" y="41"/>
                    <a:pt x="8" y="42"/>
                    <a:pt x="9" y="42"/>
                  </a:cubicBezTo>
                  <a:close/>
                  <a:moveTo>
                    <a:pt x="8" y="42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2"/>
                    <a:pt x="8" y="42"/>
                  </a:cubicBezTo>
                  <a:cubicBezTo>
                    <a:pt x="8" y="42"/>
                    <a:pt x="8" y="43"/>
                    <a:pt x="8" y="42"/>
                  </a:cubicBezTo>
                  <a:close/>
                  <a:moveTo>
                    <a:pt x="8" y="4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lose/>
                  <a:moveTo>
                    <a:pt x="8" y="40"/>
                  </a:moveTo>
                  <a:cubicBezTo>
                    <a:pt x="8" y="39"/>
                    <a:pt x="8" y="40"/>
                    <a:pt x="8" y="40"/>
                  </a:cubicBezTo>
                  <a:cubicBezTo>
                    <a:pt x="8" y="40"/>
                    <a:pt x="8" y="39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lose/>
                  <a:moveTo>
                    <a:pt x="9" y="44"/>
                  </a:moveTo>
                  <a:cubicBezTo>
                    <a:pt x="8" y="45"/>
                    <a:pt x="9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4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4"/>
                  </a:cubicBezTo>
                  <a:close/>
                  <a:moveTo>
                    <a:pt x="9" y="44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10" y="43"/>
                  </a:cubicBezTo>
                  <a:cubicBezTo>
                    <a:pt x="10" y="43"/>
                    <a:pt x="9" y="43"/>
                    <a:pt x="9" y="43"/>
                  </a:cubicBezTo>
                  <a:close/>
                  <a:moveTo>
                    <a:pt x="9" y="40"/>
                  </a:moveTo>
                  <a:cubicBezTo>
                    <a:pt x="9" y="40"/>
                    <a:pt x="9" y="40"/>
                    <a:pt x="9" y="3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lose/>
                  <a:moveTo>
                    <a:pt x="10" y="45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10" y="45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7"/>
                  </a:cubicBezTo>
                  <a:close/>
                  <a:moveTo>
                    <a:pt x="10" y="49"/>
                  </a:move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10" y="47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7"/>
                  </a:cubicBezTo>
                  <a:close/>
                  <a:moveTo>
                    <a:pt x="12" y="66"/>
                  </a:move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lose/>
                  <a:moveTo>
                    <a:pt x="12" y="63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3"/>
                    <a:pt x="12" y="63"/>
                  </a:cubicBezTo>
                  <a:close/>
                  <a:moveTo>
                    <a:pt x="11" y="60"/>
                  </a:moveTo>
                  <a:cubicBezTo>
                    <a:pt x="11" y="60"/>
                    <a:pt x="11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8"/>
                    <a:pt x="10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3"/>
                    <a:pt x="10" y="53"/>
                  </a:cubicBezTo>
                  <a:cubicBezTo>
                    <a:pt x="11" y="53"/>
                    <a:pt x="10" y="52"/>
                    <a:pt x="10" y="52"/>
                  </a:cubicBezTo>
                  <a:close/>
                  <a:moveTo>
                    <a:pt x="11" y="54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5"/>
                    <a:pt x="11" y="54"/>
                  </a:cubicBezTo>
                  <a:close/>
                  <a:moveTo>
                    <a:pt x="11" y="56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5"/>
                    <a:pt x="11" y="56"/>
                  </a:cubicBezTo>
                  <a:close/>
                  <a:moveTo>
                    <a:pt x="11" y="54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3"/>
                    <a:pt x="11" y="53"/>
                  </a:cubicBezTo>
                  <a:cubicBezTo>
                    <a:pt x="11" y="53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4"/>
                  </a:cubicBezTo>
                  <a:cubicBezTo>
                    <a:pt x="11" y="54"/>
                    <a:pt x="11" y="54"/>
                    <a:pt x="11" y="55"/>
                  </a:cubicBezTo>
                  <a:cubicBezTo>
                    <a:pt x="11" y="55"/>
                    <a:pt x="11" y="54"/>
                    <a:pt x="11" y="54"/>
                  </a:cubicBezTo>
                  <a:close/>
                  <a:moveTo>
                    <a:pt x="11" y="50"/>
                  </a:move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1" y="50"/>
                  </a:cubicBezTo>
                  <a:close/>
                  <a:moveTo>
                    <a:pt x="12" y="49"/>
                  </a:move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lose/>
                  <a:moveTo>
                    <a:pt x="12" y="51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lose/>
                  <a:moveTo>
                    <a:pt x="13" y="4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3"/>
                    <a:pt x="13" y="43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2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1"/>
                    <a:pt x="13" y="42"/>
                    <a:pt x="13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2"/>
                    <a:pt x="12" y="41"/>
                  </a:cubicBezTo>
                  <a:lnTo>
                    <a:pt x="12" y="42"/>
                  </a:lnTo>
                  <a:close/>
                  <a:moveTo>
                    <a:pt x="13" y="43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3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2" y="43"/>
                    <a:pt x="13" y="43"/>
                  </a:cubicBezTo>
                  <a:close/>
                  <a:moveTo>
                    <a:pt x="12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3"/>
                  </a:cubicBezTo>
                  <a:cubicBezTo>
                    <a:pt x="13" y="44"/>
                    <a:pt x="12" y="43"/>
                    <a:pt x="12" y="44"/>
                  </a:cubicBezTo>
                  <a:close/>
                  <a:moveTo>
                    <a:pt x="13" y="49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9"/>
                    <a:pt x="13" y="49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51"/>
                  </a:cubicBezTo>
                  <a:close/>
                  <a:moveTo>
                    <a:pt x="13" y="51"/>
                  </a:moveTo>
                  <a:cubicBezTo>
                    <a:pt x="12" y="51"/>
                    <a:pt x="13" y="50"/>
                    <a:pt x="12" y="50"/>
                  </a:cubicBezTo>
                  <a:cubicBezTo>
                    <a:pt x="12" y="51"/>
                    <a:pt x="12" y="51"/>
                    <a:pt x="12" y="50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3" y="51"/>
                    <a:pt x="13" y="51"/>
                  </a:cubicBezTo>
                  <a:close/>
                  <a:moveTo>
                    <a:pt x="13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3" y="44"/>
                  </a:moveTo>
                  <a:cubicBezTo>
                    <a:pt x="13" y="44"/>
                    <a:pt x="13" y="45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4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3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8"/>
                    <a:pt x="13" y="48"/>
                    <a:pt x="13" y="48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lose/>
                  <a:moveTo>
                    <a:pt x="13" y="39"/>
                  </a:move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40"/>
                  </a:cubicBezTo>
                  <a:lnTo>
                    <a:pt x="13" y="39"/>
                  </a:lnTo>
                  <a:close/>
                  <a:moveTo>
                    <a:pt x="13" y="41"/>
                  </a:moveTo>
                  <a:cubicBezTo>
                    <a:pt x="13" y="41"/>
                    <a:pt x="13" y="41"/>
                    <a:pt x="13" y="41"/>
                  </a:cubicBezTo>
                  <a:cubicBezTo>
                    <a:pt x="13" y="40"/>
                    <a:pt x="13" y="40"/>
                    <a:pt x="13" y="40"/>
                  </a:cubicBezTo>
                  <a:lnTo>
                    <a:pt x="13" y="41"/>
                  </a:lnTo>
                  <a:close/>
                  <a:moveTo>
                    <a:pt x="13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14" y="63"/>
                  </a:moveTo>
                  <a:cubicBezTo>
                    <a:pt x="13" y="63"/>
                    <a:pt x="14" y="62"/>
                    <a:pt x="13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3" y="63"/>
                    <a:pt x="13" y="63"/>
                    <a:pt x="14" y="64"/>
                  </a:cubicBezTo>
                  <a:cubicBezTo>
                    <a:pt x="14" y="63"/>
                    <a:pt x="13" y="63"/>
                    <a:pt x="14" y="63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8"/>
                  </a:cubicBezTo>
                  <a:cubicBezTo>
                    <a:pt x="14" y="57"/>
                    <a:pt x="14" y="57"/>
                    <a:pt x="14" y="57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5" y="57"/>
                    <a:pt x="15" y="57"/>
                    <a:pt x="15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7"/>
                    <a:pt x="14" y="58"/>
                    <a:pt x="14" y="57"/>
                  </a:cubicBezTo>
                  <a:cubicBezTo>
                    <a:pt x="14" y="57"/>
                    <a:pt x="14" y="57"/>
                    <a:pt x="14" y="58"/>
                  </a:cubicBezTo>
                  <a:close/>
                  <a:moveTo>
                    <a:pt x="14" y="56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5"/>
                    <a:pt x="14" y="45"/>
                  </a:cubicBezTo>
                  <a:cubicBezTo>
                    <a:pt x="14" y="45"/>
                    <a:pt x="14" y="46"/>
                    <a:pt x="14" y="4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4" y="49"/>
                  </a:moveTo>
                  <a:cubicBezTo>
                    <a:pt x="14" y="49"/>
                    <a:pt x="14" y="49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8"/>
                    <a:pt x="14" y="48"/>
                  </a:cubicBezTo>
                  <a:cubicBezTo>
                    <a:pt x="14" y="48"/>
                    <a:pt x="14" y="46"/>
                    <a:pt x="14" y="46"/>
                  </a:cubicBezTo>
                  <a:close/>
                  <a:moveTo>
                    <a:pt x="14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8"/>
                    <a:pt x="14" y="48"/>
                  </a:cubicBezTo>
                  <a:close/>
                  <a:moveTo>
                    <a:pt x="14" y="44"/>
                  </a:moveTo>
                  <a:cubicBezTo>
                    <a:pt x="14" y="44"/>
                    <a:pt x="14" y="45"/>
                    <a:pt x="14" y="45"/>
                  </a:cubicBezTo>
                  <a:cubicBezTo>
                    <a:pt x="14" y="45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4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5" y="48"/>
                    <a:pt x="15" y="47"/>
                    <a:pt x="14" y="47"/>
                  </a:cubicBezTo>
                  <a:close/>
                  <a:moveTo>
                    <a:pt x="15" y="46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6" y="34"/>
                  </a:moveTo>
                  <a:cubicBezTo>
                    <a:pt x="16" y="34"/>
                    <a:pt x="16" y="33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5"/>
                    <a:pt x="16" y="34"/>
                  </a:cubicBezTo>
                  <a:close/>
                  <a:moveTo>
                    <a:pt x="16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lose/>
                  <a:moveTo>
                    <a:pt x="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5" y="49"/>
                    <a:pt x="6" y="48"/>
                    <a:pt x="6" y="48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0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11" y="2"/>
                  </a:moveTo>
                  <a:cubicBezTo>
                    <a:pt x="11" y="2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1"/>
                    <a:pt x="11" y="2"/>
                    <a:pt x="11" y="2"/>
                  </a:cubicBezTo>
                  <a:close/>
                  <a:moveTo>
                    <a:pt x="3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6"/>
                    <a:pt x="3" y="46"/>
                  </a:cubicBezTo>
                  <a:close/>
                  <a:moveTo>
                    <a:pt x="6" y="49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49"/>
                    <a:pt x="5" y="49"/>
                  </a:cubicBezTo>
                  <a:cubicBezTo>
                    <a:pt x="6" y="49"/>
                    <a:pt x="5" y="49"/>
                    <a:pt x="6" y="49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lose/>
                  <a:moveTo>
                    <a:pt x="7" y="51"/>
                  </a:moveTo>
                  <a:cubicBezTo>
                    <a:pt x="7" y="51"/>
                    <a:pt x="6" y="51"/>
                    <a:pt x="6" y="51"/>
                  </a:cubicBezTo>
                  <a:cubicBezTo>
                    <a:pt x="6" y="52"/>
                    <a:pt x="6" y="53"/>
                    <a:pt x="6" y="54"/>
                  </a:cubicBezTo>
                  <a:cubicBezTo>
                    <a:pt x="6" y="54"/>
                    <a:pt x="6" y="53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1"/>
                  </a:cubicBezTo>
                  <a:cubicBezTo>
                    <a:pt x="6" y="51"/>
                    <a:pt x="6" y="52"/>
                    <a:pt x="6" y="52"/>
                  </a:cubicBezTo>
                  <a:cubicBezTo>
                    <a:pt x="6" y="52"/>
                    <a:pt x="6" y="51"/>
                    <a:pt x="6" y="51"/>
                  </a:cubicBezTo>
                  <a:cubicBezTo>
                    <a:pt x="6" y="51"/>
                    <a:pt x="6" y="51"/>
                    <a:pt x="7" y="51"/>
                  </a:cubicBezTo>
                  <a:close/>
                  <a:moveTo>
                    <a:pt x="7" y="51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1"/>
                    <a:pt x="7" y="51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lose/>
                  <a:moveTo>
                    <a:pt x="6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3"/>
                    <a:pt x="6" y="53"/>
                  </a:cubicBezTo>
                  <a:cubicBezTo>
                    <a:pt x="6" y="53"/>
                    <a:pt x="6" y="54"/>
                    <a:pt x="6" y="54"/>
                  </a:cubicBezTo>
                  <a:close/>
                  <a:moveTo>
                    <a:pt x="7" y="53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3"/>
                    <a:pt x="7" y="53"/>
                  </a:cubicBezTo>
                  <a:close/>
                  <a:moveTo>
                    <a:pt x="9" y="56"/>
                  </a:moveTo>
                  <a:cubicBezTo>
                    <a:pt x="9" y="55"/>
                    <a:pt x="9" y="55"/>
                    <a:pt x="9" y="54"/>
                  </a:cubicBezTo>
                  <a:cubicBezTo>
                    <a:pt x="9" y="54"/>
                    <a:pt x="9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5"/>
                    <a:pt x="9" y="54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lose/>
                  <a:moveTo>
                    <a:pt x="10" y="53"/>
                  </a:moveTo>
                  <a:cubicBezTo>
                    <a:pt x="10" y="53"/>
                    <a:pt x="10" y="54"/>
                    <a:pt x="10" y="54"/>
                  </a:cubicBezTo>
                  <a:cubicBezTo>
                    <a:pt x="9" y="54"/>
                    <a:pt x="9" y="53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10" y="54"/>
                    <a:pt x="10" y="53"/>
                  </a:cubicBezTo>
                  <a:close/>
                  <a:moveTo>
                    <a:pt x="8" y="54"/>
                  </a:moveTo>
                  <a:cubicBezTo>
                    <a:pt x="8" y="55"/>
                    <a:pt x="8" y="55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8" y="55"/>
                    <a:pt x="7" y="54"/>
                    <a:pt x="8" y="54"/>
                  </a:cubicBezTo>
                  <a:close/>
                  <a:moveTo>
                    <a:pt x="9" y="55"/>
                  </a:moveTo>
                  <a:cubicBezTo>
                    <a:pt x="9" y="54"/>
                    <a:pt x="10" y="54"/>
                    <a:pt x="10" y="54"/>
                  </a:cubicBezTo>
                  <a:cubicBezTo>
                    <a:pt x="10" y="54"/>
                    <a:pt x="10" y="55"/>
                    <a:pt x="9" y="55"/>
                  </a:cubicBezTo>
                  <a:close/>
                  <a:moveTo>
                    <a:pt x="13" y="54"/>
                  </a:moveTo>
                  <a:cubicBezTo>
                    <a:pt x="13" y="54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6"/>
                    <a:pt x="13" y="57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8"/>
                    <a:pt x="13" y="58"/>
                  </a:cubicBezTo>
                  <a:cubicBezTo>
                    <a:pt x="13" y="58"/>
                    <a:pt x="13" y="58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5"/>
                    <a:pt x="13" y="55"/>
                  </a:cubicBezTo>
                  <a:cubicBezTo>
                    <a:pt x="13" y="55"/>
                    <a:pt x="13" y="55"/>
                    <a:pt x="12" y="55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2" y="56"/>
                    <a:pt x="12" y="55"/>
                    <a:pt x="12" y="55"/>
                  </a:cubicBezTo>
                  <a:cubicBezTo>
                    <a:pt x="13" y="55"/>
                    <a:pt x="13" y="55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lose/>
                  <a:moveTo>
                    <a:pt x="9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5"/>
                    <a:pt x="10" y="55"/>
                    <a:pt x="9" y="55"/>
                  </a:cubicBezTo>
                  <a:close/>
                  <a:moveTo>
                    <a:pt x="7" y="56"/>
                  </a:move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7" y="59"/>
                    <a:pt x="7" y="58"/>
                  </a:cubicBezTo>
                  <a:cubicBezTo>
                    <a:pt x="7" y="58"/>
                    <a:pt x="7" y="59"/>
                    <a:pt x="7" y="59"/>
                  </a:cubicBezTo>
                  <a:cubicBezTo>
                    <a:pt x="7" y="57"/>
                    <a:pt x="7" y="56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7"/>
                  </a:cubicBezTo>
                  <a:cubicBezTo>
                    <a:pt x="7" y="57"/>
                    <a:pt x="7" y="57"/>
                    <a:pt x="7" y="56"/>
                  </a:cubicBezTo>
                  <a:close/>
                  <a:moveTo>
                    <a:pt x="7" y="56"/>
                  </a:moveTo>
                  <a:cubicBezTo>
                    <a:pt x="7" y="56"/>
                    <a:pt x="7" y="56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6" y="55"/>
                  </a:cubicBezTo>
                  <a:cubicBezTo>
                    <a:pt x="7" y="55"/>
                    <a:pt x="7" y="56"/>
                    <a:pt x="7" y="56"/>
                  </a:cubicBezTo>
                  <a:close/>
                  <a:moveTo>
                    <a:pt x="12" y="58"/>
                  </a:move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7"/>
                    <a:pt x="12" y="58"/>
                  </a:cubicBezTo>
                  <a:cubicBezTo>
                    <a:pt x="12" y="57"/>
                    <a:pt x="12" y="56"/>
                    <a:pt x="12" y="55"/>
                  </a:cubicBezTo>
                  <a:cubicBezTo>
                    <a:pt x="12" y="55"/>
                    <a:pt x="12" y="56"/>
                    <a:pt x="12" y="56"/>
                  </a:cubicBezTo>
                  <a:cubicBezTo>
                    <a:pt x="12" y="56"/>
                    <a:pt x="13" y="56"/>
                    <a:pt x="12" y="56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3" y="58"/>
                    <a:pt x="12" y="58"/>
                    <a:pt x="12" y="59"/>
                  </a:cubicBezTo>
                  <a:cubicBezTo>
                    <a:pt x="12" y="59"/>
                    <a:pt x="12" y="58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lose/>
                  <a:moveTo>
                    <a:pt x="4" y="58"/>
                  </a:moveTo>
                  <a:cubicBezTo>
                    <a:pt x="4" y="58"/>
                    <a:pt x="4" y="57"/>
                    <a:pt x="4" y="57"/>
                  </a:cubicBezTo>
                  <a:cubicBezTo>
                    <a:pt x="4" y="57"/>
                    <a:pt x="4" y="57"/>
                    <a:pt x="4" y="58"/>
                  </a:cubicBezTo>
                  <a:close/>
                  <a:moveTo>
                    <a:pt x="6" y="57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5" y="57"/>
                    <a:pt x="5" y="57"/>
                  </a:cubicBezTo>
                  <a:cubicBezTo>
                    <a:pt x="5" y="57"/>
                    <a:pt x="6" y="57"/>
                    <a:pt x="6" y="57"/>
                  </a:cubicBezTo>
                  <a:close/>
                  <a:moveTo>
                    <a:pt x="8" y="59"/>
                  </a:moveTo>
                  <a:cubicBezTo>
                    <a:pt x="8" y="59"/>
                    <a:pt x="8" y="60"/>
                    <a:pt x="8" y="60"/>
                  </a:cubicBezTo>
                  <a:cubicBezTo>
                    <a:pt x="8" y="60"/>
                    <a:pt x="8" y="60"/>
                    <a:pt x="8" y="61"/>
                  </a:cubicBezTo>
                  <a:cubicBezTo>
                    <a:pt x="8" y="61"/>
                    <a:pt x="8" y="60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2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1"/>
                    <a:pt x="8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lose/>
                  <a:moveTo>
                    <a:pt x="9" y="64"/>
                  </a:moveTo>
                  <a:cubicBezTo>
                    <a:pt x="9" y="64"/>
                    <a:pt x="9" y="64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9" y="66"/>
                  </a:cubicBezTo>
                  <a:cubicBezTo>
                    <a:pt x="9" y="65"/>
                    <a:pt x="9" y="64"/>
                    <a:pt x="9" y="64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5"/>
                    <a:pt x="8" y="66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4"/>
                    <a:pt x="8" y="65"/>
                    <a:pt x="8" y="65"/>
                  </a:cubicBezTo>
                  <a:cubicBezTo>
                    <a:pt x="8" y="65"/>
                    <a:pt x="8" y="65"/>
                    <a:pt x="8" y="66"/>
                  </a:cubicBezTo>
                  <a:close/>
                  <a:moveTo>
                    <a:pt x="7" y="67"/>
                  </a:moveTo>
                  <a:cubicBezTo>
                    <a:pt x="7" y="68"/>
                    <a:pt x="7" y="69"/>
                    <a:pt x="7" y="69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7"/>
                    <a:pt x="6" y="66"/>
                    <a:pt x="7" y="65"/>
                  </a:cubicBezTo>
                  <a:cubicBezTo>
                    <a:pt x="7" y="66"/>
                    <a:pt x="7" y="67"/>
                    <a:pt x="7" y="67"/>
                  </a:cubicBezTo>
                  <a:close/>
                  <a:moveTo>
                    <a:pt x="8" y="67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9"/>
                    <a:pt x="8" y="68"/>
                  </a:cubicBezTo>
                  <a:cubicBezTo>
                    <a:pt x="8" y="68"/>
                    <a:pt x="8" y="68"/>
                    <a:pt x="8" y="67"/>
                  </a:cubicBezTo>
                  <a:cubicBezTo>
                    <a:pt x="8" y="68"/>
                    <a:pt x="8" y="67"/>
                    <a:pt x="8" y="67"/>
                  </a:cubicBezTo>
                  <a:close/>
                  <a:moveTo>
                    <a:pt x="7" y="68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7" y="68"/>
                    <a:pt x="7" y="68"/>
                  </a:cubicBezTo>
                  <a:close/>
                  <a:moveTo>
                    <a:pt x="9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lose/>
                  <a:moveTo>
                    <a:pt x="16" y="70"/>
                  </a:moveTo>
                  <a:cubicBezTo>
                    <a:pt x="16" y="70"/>
                    <a:pt x="16" y="69"/>
                    <a:pt x="16" y="69"/>
                  </a:cubicBezTo>
                  <a:cubicBezTo>
                    <a:pt x="16" y="69"/>
                    <a:pt x="16" y="70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14" y="71"/>
                  </a:moveTo>
                  <a:cubicBezTo>
                    <a:pt x="14" y="71"/>
                    <a:pt x="14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3"/>
                  </a:cubicBezTo>
                  <a:cubicBezTo>
                    <a:pt x="13" y="73"/>
                    <a:pt x="14" y="72"/>
                    <a:pt x="14" y="71"/>
                  </a:cubicBezTo>
                  <a:close/>
                  <a:moveTo>
                    <a:pt x="8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1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lose/>
                  <a:moveTo>
                    <a:pt x="15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79"/>
                    <a:pt x="14" y="79"/>
                  </a:cubicBezTo>
                  <a:cubicBezTo>
                    <a:pt x="14" y="78"/>
                    <a:pt x="14" y="77"/>
                    <a:pt x="14" y="75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4" y="73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5" y="77"/>
                    <a:pt x="15" y="78"/>
                  </a:cubicBezTo>
                  <a:close/>
                  <a:moveTo>
                    <a:pt x="14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lose/>
                  <a:moveTo>
                    <a:pt x="14" y="75"/>
                  </a:move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5" y="75"/>
                    <a:pt x="16" y="75"/>
                  </a:cubicBezTo>
                  <a:cubicBezTo>
                    <a:pt x="16" y="75"/>
                    <a:pt x="16" y="75"/>
                    <a:pt x="1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6" y="75"/>
                    <a:pt x="15" y="75"/>
                    <a:pt x="15" y="74"/>
                  </a:cubicBezTo>
                  <a:cubicBezTo>
                    <a:pt x="16" y="75"/>
                    <a:pt x="16" y="75"/>
                    <a:pt x="16" y="74"/>
                  </a:cubicBezTo>
                  <a:cubicBezTo>
                    <a:pt x="16" y="74"/>
                    <a:pt x="16" y="75"/>
                    <a:pt x="16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6" y="75"/>
                    <a:pt x="16" y="76"/>
                  </a:cubicBezTo>
                  <a:cubicBezTo>
                    <a:pt x="16" y="76"/>
                    <a:pt x="16" y="76"/>
                    <a:pt x="16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7"/>
                  </a:cubicBezTo>
                  <a:cubicBezTo>
                    <a:pt x="15" y="76"/>
                    <a:pt x="15" y="76"/>
                    <a:pt x="15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lose/>
                  <a:moveTo>
                    <a:pt x="16" y="77"/>
                  </a:moveTo>
                  <a:cubicBezTo>
                    <a:pt x="16" y="77"/>
                    <a:pt x="16" y="77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6"/>
                    <a:pt x="16" y="76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lose/>
                  <a:moveTo>
                    <a:pt x="12" y="78"/>
                  </a:moveTo>
                  <a:cubicBezTo>
                    <a:pt x="12" y="78"/>
                    <a:pt x="12" y="78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2" y="78"/>
                    <a:pt x="12" y="77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7"/>
                    <a:pt x="12" y="77"/>
                    <a:pt x="13" y="77"/>
                  </a:cubicBezTo>
                  <a:cubicBezTo>
                    <a:pt x="13" y="77"/>
                    <a:pt x="13" y="77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7"/>
                  </a:cubicBezTo>
                  <a:cubicBezTo>
                    <a:pt x="13" y="77"/>
                    <a:pt x="13" y="78"/>
                    <a:pt x="13" y="77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2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8"/>
                    <a:pt x="12" y="79"/>
                    <a:pt x="12" y="79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2" y="78"/>
                  </a:moveTo>
                  <a:cubicBezTo>
                    <a:pt x="12" y="79"/>
                    <a:pt x="12" y="79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3" y="77"/>
                  </a:move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lose/>
                  <a:moveTo>
                    <a:pt x="12" y="80"/>
                  </a:moveTo>
                  <a:cubicBezTo>
                    <a:pt x="13" y="79"/>
                    <a:pt x="13" y="79"/>
                    <a:pt x="13" y="80"/>
                  </a:cubicBezTo>
                  <a:cubicBezTo>
                    <a:pt x="13" y="80"/>
                    <a:pt x="13" y="80"/>
                    <a:pt x="12" y="80"/>
                  </a:cubicBezTo>
                  <a:close/>
                  <a:moveTo>
                    <a:pt x="13" y="80"/>
                  </a:moveTo>
                  <a:cubicBezTo>
                    <a:pt x="13" y="80"/>
                    <a:pt x="13" y="80"/>
                    <a:pt x="13" y="81"/>
                  </a:cubicBezTo>
                  <a:cubicBezTo>
                    <a:pt x="13" y="81"/>
                    <a:pt x="13" y="80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4" y="79"/>
                    <a:pt x="13" y="80"/>
                    <a:pt x="14" y="80"/>
                  </a:cubicBezTo>
                  <a:cubicBezTo>
                    <a:pt x="13" y="80"/>
                    <a:pt x="14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0"/>
                    <a:pt x="13" y="81"/>
                    <a:pt x="13" y="80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1"/>
                    <a:pt x="14" y="82"/>
                    <a:pt x="14" y="81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1"/>
                  </a:cubicBezTo>
                  <a:cubicBezTo>
                    <a:pt x="15" y="81"/>
                    <a:pt x="14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3"/>
                    <a:pt x="15" y="84"/>
                    <a:pt x="15" y="84"/>
                  </a:cubicBezTo>
                  <a:cubicBezTo>
                    <a:pt x="15" y="84"/>
                    <a:pt x="15" y="85"/>
                    <a:pt x="16" y="85"/>
                  </a:cubicBezTo>
                  <a:cubicBezTo>
                    <a:pt x="16" y="85"/>
                    <a:pt x="15" y="84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4"/>
                    <a:pt x="16" y="84"/>
                  </a:cubicBezTo>
                  <a:cubicBezTo>
                    <a:pt x="16" y="84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7"/>
                    <a:pt x="16" y="87"/>
                  </a:cubicBezTo>
                  <a:cubicBezTo>
                    <a:pt x="16" y="87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6" y="87"/>
                    <a:pt x="17" y="87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7"/>
                    <a:pt x="17" y="87"/>
                  </a:cubicBezTo>
                  <a:cubicBezTo>
                    <a:pt x="17" y="87"/>
                    <a:pt x="17" y="88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6" y="89"/>
                    <a:pt x="17" y="89"/>
                    <a:pt x="16" y="90"/>
                  </a:cubicBez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6" y="90"/>
                    <a:pt x="17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5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6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1"/>
                    <a:pt x="15" y="91"/>
                  </a:cubicBezTo>
                  <a:cubicBezTo>
                    <a:pt x="15" y="91"/>
                    <a:pt x="15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5" y="90"/>
                    <a:pt x="16" y="90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3"/>
                  </a:cubicBezTo>
                  <a:cubicBezTo>
                    <a:pt x="15" y="93"/>
                    <a:pt x="15" y="92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1"/>
                    <a:pt x="15" y="92"/>
                  </a:cubicBez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8"/>
                    <a:pt x="15" y="89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4" y="88"/>
                    <a:pt x="14" y="88"/>
                    <a:pt x="15" y="87"/>
                  </a:cubicBezTo>
                  <a:cubicBezTo>
                    <a:pt x="15" y="87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6"/>
                    <a:pt x="15" y="87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5"/>
                  </a:cubicBezTo>
                  <a:cubicBezTo>
                    <a:pt x="14" y="86"/>
                    <a:pt x="15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5" y="87"/>
                    <a:pt x="15" y="87"/>
                  </a:cubicBezTo>
                  <a:cubicBezTo>
                    <a:pt x="15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8"/>
                    <a:pt x="14" y="88"/>
                  </a:cubicBezTo>
                  <a:cubicBezTo>
                    <a:pt x="14" y="89"/>
                    <a:pt x="14" y="89"/>
                    <a:pt x="14" y="90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3"/>
                  </a:cubicBezTo>
                  <a:cubicBezTo>
                    <a:pt x="14" y="93"/>
                    <a:pt x="14" y="92"/>
                    <a:pt x="14" y="92"/>
                  </a:cubicBezTo>
                  <a:cubicBezTo>
                    <a:pt x="14" y="92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0"/>
                  </a:cubicBezTo>
                  <a:cubicBezTo>
                    <a:pt x="14" y="89"/>
                    <a:pt x="14" y="87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5"/>
                    <a:pt x="13" y="84"/>
                    <a:pt x="13" y="85"/>
                  </a:cubicBezTo>
                  <a:cubicBezTo>
                    <a:pt x="13" y="85"/>
                    <a:pt x="13" y="85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3" y="88"/>
                    <a:pt x="13" y="87"/>
                  </a:cubicBezTo>
                  <a:cubicBezTo>
                    <a:pt x="12" y="87"/>
                    <a:pt x="12" y="88"/>
                    <a:pt x="13" y="88"/>
                  </a:cubicBezTo>
                  <a:cubicBezTo>
                    <a:pt x="12" y="88"/>
                    <a:pt x="12" y="87"/>
                    <a:pt x="13" y="87"/>
                  </a:cubicBezTo>
                  <a:cubicBezTo>
                    <a:pt x="13" y="87"/>
                    <a:pt x="13" y="87"/>
                    <a:pt x="12" y="87"/>
                  </a:cubicBezTo>
                  <a:cubicBezTo>
                    <a:pt x="12" y="86"/>
                    <a:pt x="12" y="86"/>
                    <a:pt x="13" y="86"/>
                  </a:cubicBezTo>
                  <a:cubicBezTo>
                    <a:pt x="13" y="86"/>
                    <a:pt x="12" y="86"/>
                    <a:pt x="12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2" y="86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6"/>
                    <a:pt x="11" y="85"/>
                    <a:pt x="11" y="85"/>
                  </a:cubicBezTo>
                  <a:cubicBezTo>
                    <a:pt x="10" y="84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3"/>
                    <a:pt x="10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4"/>
                  </a:cubicBezTo>
                  <a:cubicBezTo>
                    <a:pt x="11" y="83"/>
                    <a:pt x="11" y="84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2"/>
                  </a:cubicBezTo>
                  <a:cubicBezTo>
                    <a:pt x="11" y="82"/>
                    <a:pt x="11" y="83"/>
                    <a:pt x="11" y="83"/>
                  </a:cubicBezTo>
                  <a:cubicBezTo>
                    <a:pt x="12" y="83"/>
                    <a:pt x="12" y="82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1"/>
                    <a:pt x="12" y="81"/>
                  </a:cubicBezTo>
                  <a:cubicBezTo>
                    <a:pt x="12" y="81"/>
                    <a:pt x="12" y="81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3"/>
                    <a:pt x="12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4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2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2"/>
                    <a:pt x="13" y="82"/>
                  </a:cubicBezTo>
                  <a:cubicBezTo>
                    <a:pt x="13" y="82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lose/>
                  <a:moveTo>
                    <a:pt x="10" y="84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lose/>
                  <a:moveTo>
                    <a:pt x="11" y="84"/>
                  </a:move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lose/>
                  <a:moveTo>
                    <a:pt x="12" y="84"/>
                  </a:moveTo>
                  <a:cubicBezTo>
                    <a:pt x="11" y="84"/>
                    <a:pt x="11" y="85"/>
                    <a:pt x="11" y="85"/>
                  </a:cubicBezTo>
                  <a:cubicBezTo>
                    <a:pt x="12" y="85"/>
                    <a:pt x="12" y="85"/>
                    <a:pt x="12" y="84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5" y="91"/>
                  </a:move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2"/>
                    <a:pt x="16" y="92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1"/>
                    <a:pt x="15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15" y="88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lose/>
                  <a:moveTo>
                    <a:pt x="15" y="89"/>
                  </a:move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lose/>
                  <a:moveTo>
                    <a:pt x="15" y="90"/>
                  </a:moveTo>
                  <a:cubicBezTo>
                    <a:pt x="15" y="89"/>
                    <a:pt x="15" y="89"/>
                    <a:pt x="15" y="88"/>
                  </a:cubicBezTo>
                  <a:cubicBezTo>
                    <a:pt x="15" y="88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90"/>
                  </a:cubicBezTo>
                  <a:close/>
                  <a:moveTo>
                    <a:pt x="16" y="84"/>
                  </a:moveTo>
                  <a:cubicBezTo>
                    <a:pt x="16" y="84"/>
                    <a:pt x="16" y="83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lose/>
                  <a:moveTo>
                    <a:pt x="16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8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9"/>
                    <a:pt x="16" y="88"/>
                  </a:cubicBezTo>
                  <a:close/>
                  <a:moveTo>
                    <a:pt x="15" y="87"/>
                  </a:move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6" y="88"/>
                    <a:pt x="16" y="89"/>
                  </a:cubicBezTo>
                  <a:cubicBezTo>
                    <a:pt x="16" y="89"/>
                    <a:pt x="16" y="87"/>
                    <a:pt x="16" y="88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5" y="87"/>
                    <a:pt x="15" y="87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6"/>
                    <a:pt x="14" y="87"/>
                    <a:pt x="14" y="86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lose/>
                  <a:moveTo>
                    <a:pt x="14" y="84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4" y="84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5" y="85"/>
                    <a:pt x="14" y="84"/>
                    <a:pt x="14" y="84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4"/>
                  </a:moveTo>
                  <a:cubicBezTo>
                    <a:pt x="15" y="84"/>
                    <a:pt x="14" y="83"/>
                    <a:pt x="14" y="83"/>
                  </a:cubicBezTo>
                  <a:cubicBezTo>
                    <a:pt x="14" y="83"/>
                    <a:pt x="15" y="83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4" y="83"/>
                    <a:pt x="15" y="82"/>
                    <a:pt x="14" y="82"/>
                  </a:cubicBezTo>
                  <a:cubicBezTo>
                    <a:pt x="14" y="82"/>
                    <a:pt x="15" y="83"/>
                    <a:pt x="14" y="83"/>
                  </a:cubicBez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4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14" y="85"/>
                  </a:move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lose/>
                  <a:moveTo>
                    <a:pt x="14" y="90"/>
                  </a:move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4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0"/>
                    <a:pt x="12" y="79"/>
                  </a:cubicBezTo>
                  <a:cubicBezTo>
                    <a:pt x="12" y="80"/>
                    <a:pt x="12" y="81"/>
                    <a:pt x="12" y="80"/>
                  </a:cubicBezTo>
                  <a:close/>
                  <a:moveTo>
                    <a:pt x="10" y="80"/>
                  </a:moveTo>
                  <a:cubicBezTo>
                    <a:pt x="11" y="80"/>
                    <a:pt x="11" y="80"/>
                    <a:pt x="10" y="81"/>
                  </a:cubicBezTo>
                  <a:cubicBezTo>
                    <a:pt x="10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0" y="81"/>
                    <a:pt x="10" y="81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6" y="82"/>
                  </a:moveTo>
                  <a:cubicBezTo>
                    <a:pt x="6" y="82"/>
                    <a:pt x="6" y="82"/>
                    <a:pt x="6" y="82"/>
                  </a:cubicBezTo>
                  <a:cubicBezTo>
                    <a:pt x="6" y="82"/>
                    <a:pt x="6" y="82"/>
                    <a:pt x="6" y="81"/>
                  </a:cubicBezTo>
                  <a:cubicBezTo>
                    <a:pt x="6" y="82"/>
                    <a:pt x="6" y="82"/>
                    <a:pt x="6" y="83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2"/>
                    <a:pt x="6" y="83"/>
                    <a:pt x="6" y="82"/>
                  </a:cubicBezTo>
                  <a:cubicBezTo>
                    <a:pt x="6" y="82"/>
                    <a:pt x="6" y="82"/>
                    <a:pt x="6" y="82"/>
                  </a:cubicBezTo>
                  <a:close/>
                  <a:moveTo>
                    <a:pt x="9" y="82"/>
                  </a:moveTo>
                  <a:cubicBezTo>
                    <a:pt x="9" y="82"/>
                    <a:pt x="9" y="83"/>
                    <a:pt x="9" y="83"/>
                  </a:cubicBezTo>
                  <a:cubicBezTo>
                    <a:pt x="9" y="83"/>
                    <a:pt x="9" y="82"/>
                    <a:pt x="9" y="82"/>
                  </a:cubicBezTo>
                  <a:cubicBezTo>
                    <a:pt x="9" y="82"/>
                    <a:pt x="9" y="83"/>
                    <a:pt x="9" y="83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5"/>
                    <a:pt x="9" y="85"/>
                  </a:cubicBezTo>
                  <a:cubicBezTo>
                    <a:pt x="9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5"/>
                    <a:pt x="8" y="86"/>
                    <a:pt x="9" y="86"/>
                  </a:cubicBezTo>
                  <a:cubicBezTo>
                    <a:pt x="9" y="86"/>
                    <a:pt x="9" y="87"/>
                    <a:pt x="9" y="87"/>
                  </a:cubicBezTo>
                  <a:cubicBezTo>
                    <a:pt x="9" y="87"/>
                    <a:pt x="9" y="88"/>
                    <a:pt x="9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8" y="87"/>
                    <a:pt x="8" y="87"/>
                  </a:cubicBezTo>
                  <a:cubicBezTo>
                    <a:pt x="8" y="86"/>
                    <a:pt x="8" y="86"/>
                    <a:pt x="9" y="86"/>
                  </a:cubicBezTo>
                  <a:cubicBezTo>
                    <a:pt x="9" y="86"/>
                    <a:pt x="8" y="86"/>
                    <a:pt x="8" y="86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7" y="87"/>
                    <a:pt x="8" y="87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9"/>
                  </a:cubicBezTo>
                  <a:cubicBezTo>
                    <a:pt x="7" y="89"/>
                    <a:pt x="7" y="88"/>
                    <a:pt x="7" y="88"/>
                  </a:cubicBezTo>
                  <a:cubicBezTo>
                    <a:pt x="7" y="88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7" y="90"/>
                    <a:pt x="7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7" y="89"/>
                    <a:pt x="6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6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6"/>
                    <a:pt x="7" y="86"/>
                  </a:cubicBezTo>
                  <a:cubicBezTo>
                    <a:pt x="7" y="86"/>
                    <a:pt x="7" y="87"/>
                    <a:pt x="7" y="87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8" y="86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3"/>
                    <a:pt x="8" y="83"/>
                  </a:cubicBezTo>
                  <a:cubicBezTo>
                    <a:pt x="8" y="83"/>
                    <a:pt x="8" y="83"/>
                    <a:pt x="9" y="83"/>
                  </a:cubicBezTo>
                  <a:cubicBezTo>
                    <a:pt x="8" y="83"/>
                    <a:pt x="8" y="84"/>
                    <a:pt x="8" y="84"/>
                  </a:cubicBezTo>
                  <a:cubicBezTo>
                    <a:pt x="9" y="84"/>
                    <a:pt x="9" y="83"/>
                    <a:pt x="9" y="83"/>
                  </a:cubicBezTo>
                  <a:cubicBezTo>
                    <a:pt x="9" y="82"/>
                    <a:pt x="9" y="82"/>
                    <a:pt x="9" y="82"/>
                  </a:cubicBezTo>
                  <a:close/>
                  <a:moveTo>
                    <a:pt x="7" y="86"/>
                  </a:moveTo>
                  <a:cubicBezTo>
                    <a:pt x="8" y="87"/>
                    <a:pt x="7" y="87"/>
                    <a:pt x="7" y="87"/>
                  </a:cubicBezTo>
                  <a:cubicBezTo>
                    <a:pt x="7" y="87"/>
                    <a:pt x="8" y="87"/>
                    <a:pt x="8" y="87"/>
                  </a:cubicBezTo>
                  <a:cubicBezTo>
                    <a:pt x="8" y="87"/>
                    <a:pt x="8" y="86"/>
                    <a:pt x="7" y="86"/>
                  </a:cubicBezTo>
                  <a:close/>
                  <a:moveTo>
                    <a:pt x="8" y="86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6"/>
                    <a:pt x="8" y="87"/>
                    <a:pt x="8" y="87"/>
                  </a:cubicBezTo>
                  <a:cubicBezTo>
                    <a:pt x="8" y="87"/>
                    <a:pt x="8" y="86"/>
                    <a:pt x="8" y="86"/>
                  </a:cubicBezTo>
                  <a:close/>
                  <a:moveTo>
                    <a:pt x="9" y="84"/>
                  </a:moveTo>
                  <a:cubicBezTo>
                    <a:pt x="9" y="84"/>
                    <a:pt x="9" y="85"/>
                    <a:pt x="9" y="85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9" y="84"/>
                  </a:move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13" y="82"/>
                  </a:moveTo>
                  <a:cubicBezTo>
                    <a:pt x="13" y="82"/>
                    <a:pt x="13" y="82"/>
                    <a:pt x="13" y="83"/>
                  </a:cubicBezTo>
                  <a:cubicBezTo>
                    <a:pt x="12" y="82"/>
                    <a:pt x="13" y="82"/>
                    <a:pt x="13" y="82"/>
                  </a:cubicBezTo>
                  <a:close/>
                  <a:moveTo>
                    <a:pt x="5" y="83"/>
                  </a:move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4" y="83"/>
                    <a:pt x="4" y="83"/>
                  </a:cubicBezTo>
                  <a:cubicBezTo>
                    <a:pt x="4" y="83"/>
                    <a:pt x="5" y="83"/>
                    <a:pt x="5" y="83"/>
                  </a:cubicBezTo>
                  <a:close/>
                  <a:moveTo>
                    <a:pt x="12" y="88"/>
                  </a:moveTo>
                  <a:cubicBezTo>
                    <a:pt x="12" y="87"/>
                    <a:pt x="12" y="87"/>
                    <a:pt x="12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8"/>
                  </a:cubicBezTo>
                  <a:cubicBezTo>
                    <a:pt x="12" y="88"/>
                    <a:pt x="12" y="87"/>
                    <a:pt x="12" y="87"/>
                  </a:cubicBezTo>
                  <a:cubicBezTo>
                    <a:pt x="12" y="87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9"/>
                    <a:pt x="12" y="89"/>
                  </a:cubicBezTo>
                  <a:cubicBezTo>
                    <a:pt x="12" y="89"/>
                    <a:pt x="12" y="88"/>
                    <a:pt x="12" y="88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ubicBezTo>
                    <a:pt x="13" y="87"/>
                    <a:pt x="13" y="88"/>
                    <a:pt x="13" y="88"/>
                  </a:cubicBezTo>
                  <a:close/>
                  <a:moveTo>
                    <a:pt x="14" y="130"/>
                  </a:moveTo>
                  <a:cubicBezTo>
                    <a:pt x="14" y="130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2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5"/>
                    <a:pt x="14" y="136"/>
                  </a:cubicBezTo>
                  <a:cubicBezTo>
                    <a:pt x="14" y="136"/>
                    <a:pt x="14" y="134"/>
                    <a:pt x="14" y="134"/>
                  </a:cubicBezTo>
                  <a:cubicBezTo>
                    <a:pt x="14" y="134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6"/>
                    <a:pt x="14" y="135"/>
                  </a:cubicBezTo>
                  <a:cubicBezTo>
                    <a:pt x="14" y="135"/>
                    <a:pt x="14" y="135"/>
                    <a:pt x="14" y="134"/>
                  </a:cubicBezTo>
                  <a:cubicBezTo>
                    <a:pt x="14" y="134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5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5"/>
                    <a:pt x="14" y="135"/>
                  </a:cubicBezTo>
                  <a:cubicBezTo>
                    <a:pt x="14" y="135"/>
                    <a:pt x="14" y="136"/>
                    <a:pt x="14" y="135"/>
                  </a:cubicBezTo>
                  <a:cubicBezTo>
                    <a:pt x="13" y="135"/>
                    <a:pt x="14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7"/>
                  </a:cubicBezTo>
                  <a:cubicBezTo>
                    <a:pt x="13" y="137"/>
                    <a:pt x="13" y="136"/>
                    <a:pt x="13" y="136"/>
                  </a:cubicBezTo>
                  <a:cubicBezTo>
                    <a:pt x="13" y="134"/>
                    <a:pt x="13" y="134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2"/>
                  </a:cubicBezTo>
                  <a:cubicBezTo>
                    <a:pt x="14" y="132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4" y="132"/>
                  </a:cubicBezTo>
                  <a:cubicBezTo>
                    <a:pt x="13" y="133"/>
                    <a:pt x="13" y="132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2"/>
                  </a:cubicBezTo>
                  <a:cubicBezTo>
                    <a:pt x="13" y="132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3"/>
                    <a:pt x="13" y="132"/>
                    <a:pt x="13" y="131"/>
                  </a:cubicBezTo>
                  <a:cubicBezTo>
                    <a:pt x="13" y="131"/>
                    <a:pt x="12" y="130"/>
                    <a:pt x="13" y="130"/>
                  </a:cubicBezTo>
                  <a:cubicBezTo>
                    <a:pt x="13" y="130"/>
                    <a:pt x="13" y="130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0"/>
                    <a:pt x="13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4" y="132"/>
                    <a:pt x="14" y="131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2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ubicBezTo>
                    <a:pt x="14" y="130"/>
                    <a:pt x="14" y="131"/>
                    <a:pt x="14" y="130"/>
                  </a:cubicBezTo>
                  <a:cubicBezTo>
                    <a:pt x="14" y="130"/>
                    <a:pt x="14" y="130"/>
                    <a:pt x="14" y="131"/>
                  </a:cubicBezTo>
                  <a:cubicBezTo>
                    <a:pt x="14" y="131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3" y="128"/>
                  </a:cubicBezTo>
                  <a:cubicBezTo>
                    <a:pt x="14" y="128"/>
                    <a:pt x="14" y="128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6"/>
                    <a:pt x="14" y="126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5"/>
                  </a:cubicBezTo>
                  <a:cubicBezTo>
                    <a:pt x="14" y="124"/>
                    <a:pt x="14" y="123"/>
                    <a:pt x="14" y="122"/>
                  </a:cubicBezTo>
                  <a:cubicBezTo>
                    <a:pt x="14" y="122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2"/>
                    <a:pt x="14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4" y="121"/>
                    <a:pt x="13" y="121"/>
                    <a:pt x="14" y="121"/>
                  </a:cubicBezTo>
                  <a:cubicBezTo>
                    <a:pt x="14" y="121"/>
                    <a:pt x="14" y="121"/>
                    <a:pt x="13" y="121"/>
                  </a:cubicBezTo>
                  <a:cubicBezTo>
                    <a:pt x="13" y="120"/>
                    <a:pt x="14" y="120"/>
                    <a:pt x="13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8"/>
                    <a:pt x="14" y="117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4" y="118"/>
                    <a:pt x="14" y="119"/>
                    <a:pt x="14" y="120"/>
                  </a:cubicBezTo>
                  <a:cubicBezTo>
                    <a:pt x="14" y="120"/>
                    <a:pt x="14" y="120"/>
                    <a:pt x="14" y="120"/>
                  </a:cubicBezTo>
                  <a:cubicBezTo>
                    <a:pt x="14" y="120"/>
                    <a:pt x="14" y="120"/>
                    <a:pt x="14" y="121"/>
                  </a:cubicBezTo>
                  <a:cubicBezTo>
                    <a:pt x="14" y="121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8"/>
                    <a:pt x="14" y="118"/>
                  </a:cubicBezTo>
                  <a:cubicBezTo>
                    <a:pt x="14" y="118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5" y="116"/>
                    <a:pt x="14" y="116"/>
                    <a:pt x="14" y="114"/>
                  </a:cubicBezTo>
                  <a:cubicBezTo>
                    <a:pt x="14" y="114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6"/>
                    <a:pt x="14" y="116"/>
                  </a:cubicBezTo>
                  <a:cubicBezTo>
                    <a:pt x="14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7"/>
                    <a:pt x="13" y="116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3" y="120"/>
                    <a:pt x="13" y="120"/>
                  </a:cubicBezTo>
                  <a:cubicBezTo>
                    <a:pt x="12" y="120"/>
                    <a:pt x="12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1"/>
                    <a:pt x="12" y="121"/>
                  </a:cubicBezTo>
                  <a:cubicBezTo>
                    <a:pt x="12" y="121"/>
                    <a:pt x="13" y="121"/>
                    <a:pt x="12" y="121"/>
                  </a:cubicBezTo>
                  <a:cubicBezTo>
                    <a:pt x="12" y="120"/>
                    <a:pt x="13" y="121"/>
                    <a:pt x="13" y="120"/>
                  </a:cubicBezTo>
                  <a:cubicBezTo>
                    <a:pt x="13" y="121"/>
                    <a:pt x="12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4"/>
                  </a:cubicBezTo>
                  <a:cubicBezTo>
                    <a:pt x="13" y="124"/>
                    <a:pt x="12" y="124"/>
                    <a:pt x="13" y="125"/>
                  </a:cubicBezTo>
                  <a:cubicBezTo>
                    <a:pt x="12" y="125"/>
                    <a:pt x="12" y="125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2" y="123"/>
                    <a:pt x="12" y="124"/>
                    <a:pt x="12" y="124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3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3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1" y="123"/>
                    <a:pt x="11" y="124"/>
                    <a:pt x="11" y="123"/>
                  </a:cubicBezTo>
                  <a:cubicBezTo>
                    <a:pt x="11" y="123"/>
                    <a:pt x="11" y="123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3"/>
                    <a:pt x="11" y="124"/>
                    <a:pt x="11" y="124"/>
                  </a:cubicBezTo>
                  <a:cubicBezTo>
                    <a:pt x="11" y="124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19"/>
                  </a:cubicBezTo>
                  <a:cubicBezTo>
                    <a:pt x="11" y="119"/>
                    <a:pt x="11" y="119"/>
                    <a:pt x="11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7"/>
                    <a:pt x="11" y="118"/>
                    <a:pt x="11" y="117"/>
                  </a:cubicBezTo>
                  <a:cubicBezTo>
                    <a:pt x="11" y="117"/>
                    <a:pt x="11" y="118"/>
                    <a:pt x="11" y="118"/>
                  </a:cubicBezTo>
                  <a:cubicBezTo>
                    <a:pt x="11" y="118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6"/>
                    <a:pt x="11" y="117"/>
                    <a:pt x="12" y="117"/>
                  </a:cubicBezTo>
                  <a:cubicBezTo>
                    <a:pt x="11" y="117"/>
                    <a:pt x="12" y="118"/>
                    <a:pt x="12" y="118"/>
                  </a:cubicBezTo>
                  <a:cubicBezTo>
                    <a:pt x="12" y="118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7"/>
                  </a:cubicBezTo>
                  <a:cubicBezTo>
                    <a:pt x="12" y="117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1" y="116"/>
                    <a:pt x="12" y="115"/>
                    <a:pt x="12" y="115"/>
                  </a:cubicBezTo>
                  <a:cubicBezTo>
                    <a:pt x="11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5"/>
                  </a:cubicBezTo>
                  <a:cubicBezTo>
                    <a:pt x="12" y="115"/>
                    <a:pt x="12" y="114"/>
                    <a:pt x="12" y="114"/>
                  </a:cubicBezTo>
                  <a:cubicBezTo>
                    <a:pt x="11" y="114"/>
                    <a:pt x="12" y="115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6"/>
                    <a:pt x="12" y="116"/>
                  </a:cubicBezTo>
                  <a:cubicBezTo>
                    <a:pt x="12" y="116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4"/>
                    <a:pt x="12" y="115"/>
                    <a:pt x="12" y="115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2"/>
                  </a:cubicBezTo>
                  <a:cubicBezTo>
                    <a:pt x="13" y="113"/>
                    <a:pt x="12" y="114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4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4" y="110"/>
                    <a:pt x="13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4" y="111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2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09"/>
                  </a:cubicBezTo>
                  <a:cubicBezTo>
                    <a:pt x="15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5" y="110"/>
                    <a:pt x="15" y="109"/>
                  </a:cubicBezTo>
                  <a:cubicBezTo>
                    <a:pt x="15" y="110"/>
                    <a:pt x="14" y="109"/>
                    <a:pt x="14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9"/>
                    <a:pt x="14" y="109"/>
                    <a:pt x="15" y="109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5" y="108"/>
                    <a:pt x="15" y="109"/>
                    <a:pt x="15" y="109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8"/>
                    <a:pt x="14" y="108"/>
                  </a:cubicBezTo>
                  <a:cubicBezTo>
                    <a:pt x="14" y="108"/>
                    <a:pt x="15" y="108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5" y="107"/>
                  </a:cubicBezTo>
                  <a:cubicBezTo>
                    <a:pt x="15" y="107"/>
                    <a:pt x="14" y="106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7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4"/>
                  </a:cubicBezTo>
                  <a:cubicBezTo>
                    <a:pt x="14" y="104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5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4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4" y="103"/>
                  </a:cubicBezTo>
                  <a:cubicBezTo>
                    <a:pt x="14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4" y="101"/>
                    <a:pt x="14" y="101"/>
                  </a:cubicBezTo>
                  <a:cubicBezTo>
                    <a:pt x="14" y="101"/>
                    <a:pt x="15" y="101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1"/>
                  </a:cubicBezTo>
                  <a:cubicBezTo>
                    <a:pt x="14" y="101"/>
                    <a:pt x="14" y="101"/>
                    <a:pt x="14" y="100"/>
                  </a:cubicBezTo>
                  <a:cubicBezTo>
                    <a:pt x="14" y="101"/>
                    <a:pt x="14" y="100"/>
                    <a:pt x="14" y="101"/>
                  </a:cubicBezTo>
                  <a:cubicBezTo>
                    <a:pt x="13" y="101"/>
                    <a:pt x="14" y="100"/>
                    <a:pt x="14" y="100"/>
                  </a:cubicBezTo>
                  <a:cubicBezTo>
                    <a:pt x="13" y="100"/>
                    <a:pt x="13" y="100"/>
                    <a:pt x="14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4" y="99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5" y="99"/>
                    <a:pt x="14" y="100"/>
                    <a:pt x="14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8"/>
                  </a:cubicBezTo>
                  <a:cubicBezTo>
                    <a:pt x="14" y="98"/>
                    <a:pt x="14" y="98"/>
                    <a:pt x="15" y="98"/>
                  </a:cubicBezTo>
                  <a:cubicBezTo>
                    <a:pt x="15" y="98"/>
                    <a:pt x="14" y="98"/>
                    <a:pt x="15" y="98"/>
                  </a:cubicBezTo>
                  <a:cubicBezTo>
                    <a:pt x="15" y="98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9"/>
                    <a:pt x="15" y="100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6" y="102"/>
                    <a:pt x="16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5" y="100"/>
                  </a:cubicBez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99"/>
                    <a:pt x="16" y="99"/>
                  </a:cubicBezTo>
                  <a:cubicBezTo>
                    <a:pt x="16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5"/>
                    <a:pt x="15" y="95"/>
                  </a:cubicBezTo>
                  <a:cubicBezTo>
                    <a:pt x="15" y="95"/>
                    <a:pt x="15" y="94"/>
                    <a:pt x="15" y="95"/>
                  </a:cubicBezTo>
                  <a:cubicBezTo>
                    <a:pt x="15" y="95"/>
                    <a:pt x="15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3"/>
                    <a:pt x="16" y="94"/>
                    <a:pt x="15" y="94"/>
                  </a:cubicBezTo>
                  <a:cubicBezTo>
                    <a:pt x="15" y="94"/>
                    <a:pt x="15" y="93"/>
                    <a:pt x="15" y="93"/>
                  </a:cubicBezTo>
                  <a:cubicBezTo>
                    <a:pt x="15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3"/>
                    <a:pt x="16" y="94"/>
                  </a:cubicBezTo>
                  <a:cubicBezTo>
                    <a:pt x="16" y="93"/>
                    <a:pt x="17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1"/>
                    <a:pt x="16" y="91"/>
                  </a:cubicBezTo>
                  <a:cubicBezTo>
                    <a:pt x="16" y="91"/>
                    <a:pt x="17" y="91"/>
                    <a:pt x="17" y="92"/>
                  </a:cubicBezTo>
                  <a:cubicBezTo>
                    <a:pt x="17" y="92"/>
                    <a:pt x="17" y="91"/>
                    <a:pt x="17" y="91"/>
                  </a:cubicBezTo>
                  <a:cubicBezTo>
                    <a:pt x="17" y="91"/>
                    <a:pt x="17" y="91"/>
                    <a:pt x="17" y="90"/>
                  </a:cubicBezTo>
                  <a:cubicBezTo>
                    <a:pt x="17" y="90"/>
                    <a:pt x="17" y="91"/>
                    <a:pt x="17" y="91"/>
                  </a:cubicBezTo>
                  <a:cubicBezTo>
                    <a:pt x="17" y="91"/>
                    <a:pt x="17" y="90"/>
                    <a:pt x="17" y="9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8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2"/>
                    <a:pt x="18" y="93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9"/>
                    <a:pt x="18" y="99"/>
                  </a:cubicBezTo>
                  <a:cubicBezTo>
                    <a:pt x="18" y="99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9"/>
                  </a:cubicBezTo>
                  <a:cubicBezTo>
                    <a:pt x="18" y="98"/>
                    <a:pt x="18" y="100"/>
                    <a:pt x="18" y="101"/>
                  </a:cubicBezTo>
                  <a:cubicBezTo>
                    <a:pt x="18" y="101"/>
                    <a:pt x="18" y="100"/>
                    <a:pt x="18" y="101"/>
                  </a:cubicBezTo>
                  <a:cubicBezTo>
                    <a:pt x="18" y="101"/>
                    <a:pt x="18" y="101"/>
                    <a:pt x="18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3"/>
                    <a:pt x="18" y="105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8"/>
                    <a:pt x="18" y="107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1"/>
                    <a:pt x="18" y="110"/>
                    <a:pt x="18" y="111"/>
                  </a:cubicBezTo>
                  <a:cubicBezTo>
                    <a:pt x="18" y="111"/>
                    <a:pt x="18" y="110"/>
                    <a:pt x="18" y="110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3"/>
                    <a:pt x="18" y="113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6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3"/>
                    <a:pt x="18" y="112"/>
                    <a:pt x="18" y="111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0"/>
                    <a:pt x="17" y="107"/>
                    <a:pt x="17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6"/>
                    <a:pt x="17" y="106"/>
                    <a:pt x="17" y="106"/>
                  </a:cubicBezTo>
                  <a:cubicBezTo>
                    <a:pt x="18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2"/>
                  </a:cubicBezTo>
                  <a:cubicBezTo>
                    <a:pt x="17" y="103"/>
                    <a:pt x="17" y="104"/>
                    <a:pt x="17" y="104"/>
                  </a:cubicBezTo>
                  <a:cubicBezTo>
                    <a:pt x="17" y="105"/>
                    <a:pt x="17" y="104"/>
                    <a:pt x="17" y="105"/>
                  </a:cubicBezTo>
                  <a:cubicBezTo>
                    <a:pt x="17" y="104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7" y="105"/>
                    <a:pt x="17" y="106"/>
                    <a:pt x="17" y="106"/>
                  </a:cubicBezTo>
                  <a:cubicBezTo>
                    <a:pt x="17" y="106"/>
                    <a:pt x="17" y="107"/>
                    <a:pt x="17" y="106"/>
                  </a:cubicBezTo>
                  <a:cubicBezTo>
                    <a:pt x="17" y="106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5"/>
                    <a:pt x="17" y="105"/>
                    <a:pt x="17" y="105"/>
                  </a:cubicBezTo>
                  <a:cubicBezTo>
                    <a:pt x="17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6" y="106"/>
                    <a:pt x="16" y="105"/>
                    <a:pt x="16" y="105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8"/>
                    <a:pt x="16" y="108"/>
                  </a:cubicBezTo>
                  <a:cubicBezTo>
                    <a:pt x="16" y="108"/>
                    <a:pt x="16" y="108"/>
                    <a:pt x="16" y="107"/>
                  </a:cubicBezTo>
                  <a:cubicBezTo>
                    <a:pt x="16" y="108"/>
                    <a:pt x="16" y="108"/>
                    <a:pt x="16" y="109"/>
                  </a:cubicBezTo>
                  <a:cubicBezTo>
                    <a:pt x="16" y="108"/>
                    <a:pt x="16" y="109"/>
                    <a:pt x="16" y="109"/>
                  </a:cubicBezTo>
                  <a:cubicBezTo>
                    <a:pt x="16" y="109"/>
                    <a:pt x="16" y="110"/>
                    <a:pt x="16" y="110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2"/>
                    <a:pt x="16" y="111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09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7" y="112"/>
                    <a:pt x="17" y="112"/>
                    <a:pt x="16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3"/>
                  </a:cubicBezTo>
                  <a:cubicBezTo>
                    <a:pt x="17" y="113"/>
                    <a:pt x="17" y="112"/>
                    <a:pt x="17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8"/>
                    <a:pt x="18" y="118"/>
                  </a:cubicBezTo>
                  <a:cubicBezTo>
                    <a:pt x="18" y="119"/>
                    <a:pt x="18" y="120"/>
                    <a:pt x="18" y="121"/>
                  </a:cubicBezTo>
                  <a:cubicBezTo>
                    <a:pt x="17" y="121"/>
                    <a:pt x="18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0"/>
                    <a:pt x="18" y="119"/>
                    <a:pt x="17" y="119"/>
                  </a:cubicBezTo>
                  <a:cubicBezTo>
                    <a:pt x="17" y="119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19"/>
                  </a:cubicBezTo>
                  <a:cubicBezTo>
                    <a:pt x="17" y="120"/>
                    <a:pt x="17" y="120"/>
                    <a:pt x="18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ubicBezTo>
                    <a:pt x="17" y="123"/>
                    <a:pt x="18" y="124"/>
                    <a:pt x="18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8" y="125"/>
                  </a:cubicBezTo>
                  <a:cubicBezTo>
                    <a:pt x="18" y="125"/>
                    <a:pt x="17" y="125"/>
                    <a:pt x="17" y="125"/>
                  </a:cubicBezTo>
                  <a:cubicBezTo>
                    <a:pt x="18" y="125"/>
                    <a:pt x="18" y="125"/>
                    <a:pt x="18" y="126"/>
                  </a:cubicBezTo>
                  <a:cubicBezTo>
                    <a:pt x="18" y="126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4"/>
                    <a:pt x="18" y="126"/>
                    <a:pt x="18" y="126"/>
                  </a:cubicBezTo>
                  <a:cubicBezTo>
                    <a:pt x="18" y="126"/>
                    <a:pt x="18" y="127"/>
                    <a:pt x="18" y="127"/>
                  </a:cubicBezTo>
                  <a:cubicBezTo>
                    <a:pt x="18" y="127"/>
                    <a:pt x="18" y="128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1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9" y="129"/>
                    <a:pt x="18" y="128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6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2"/>
                    <a:pt x="18" y="120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8" y="118"/>
                  </a:cubicBezTo>
                  <a:cubicBezTo>
                    <a:pt x="18" y="119"/>
                    <a:pt x="19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5"/>
                    <a:pt x="19" y="128"/>
                    <a:pt x="18" y="130"/>
                  </a:cubicBezTo>
                  <a:cubicBezTo>
                    <a:pt x="19" y="130"/>
                    <a:pt x="19" y="130"/>
                    <a:pt x="19" y="130"/>
                  </a:cubicBezTo>
                  <a:cubicBezTo>
                    <a:pt x="18" y="130"/>
                    <a:pt x="19" y="131"/>
                    <a:pt x="18" y="132"/>
                  </a:cubicBezTo>
                  <a:cubicBezTo>
                    <a:pt x="18" y="132"/>
                    <a:pt x="19" y="132"/>
                    <a:pt x="19" y="132"/>
                  </a:cubicBezTo>
                  <a:cubicBezTo>
                    <a:pt x="19" y="132"/>
                    <a:pt x="19" y="133"/>
                    <a:pt x="19" y="133"/>
                  </a:cubicBezTo>
                  <a:cubicBezTo>
                    <a:pt x="19" y="133"/>
                    <a:pt x="18" y="133"/>
                    <a:pt x="18" y="133"/>
                  </a:cubicBezTo>
                  <a:cubicBezTo>
                    <a:pt x="18" y="132"/>
                    <a:pt x="19" y="131"/>
                    <a:pt x="18" y="131"/>
                  </a:cubicBezTo>
                  <a:cubicBezTo>
                    <a:pt x="18" y="131"/>
                    <a:pt x="18" y="131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3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2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4"/>
                  </a:cubicBezTo>
                  <a:cubicBezTo>
                    <a:pt x="18" y="134"/>
                    <a:pt x="18" y="135"/>
                    <a:pt x="17" y="134"/>
                  </a:cubicBezTo>
                  <a:cubicBezTo>
                    <a:pt x="18" y="135"/>
                    <a:pt x="18" y="135"/>
                    <a:pt x="17" y="135"/>
                  </a:cubicBezTo>
                  <a:cubicBezTo>
                    <a:pt x="17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7" y="135"/>
                    <a:pt x="18" y="135"/>
                  </a:cubicBezTo>
                  <a:cubicBezTo>
                    <a:pt x="17" y="135"/>
                    <a:pt x="17" y="135"/>
                    <a:pt x="17" y="134"/>
                  </a:cubicBezTo>
                  <a:cubicBezTo>
                    <a:pt x="17" y="134"/>
                    <a:pt x="18" y="134"/>
                    <a:pt x="18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3"/>
                    <a:pt x="18" y="132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0"/>
                    <a:pt x="17" y="130"/>
                    <a:pt x="17" y="129"/>
                  </a:cubicBezTo>
                  <a:cubicBezTo>
                    <a:pt x="17" y="129"/>
                    <a:pt x="17" y="130"/>
                    <a:pt x="17" y="130"/>
                  </a:cubicBezTo>
                  <a:cubicBezTo>
                    <a:pt x="17" y="129"/>
                    <a:pt x="17" y="129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7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6" y="131"/>
                    <a:pt x="16" y="132"/>
                  </a:cubicBezTo>
                  <a:cubicBezTo>
                    <a:pt x="16" y="131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2"/>
                    <a:pt x="16" y="132"/>
                  </a:cubicBezTo>
                  <a:cubicBezTo>
                    <a:pt x="16" y="132"/>
                    <a:pt x="16" y="132"/>
                    <a:pt x="16" y="131"/>
                  </a:cubicBezTo>
                  <a:cubicBezTo>
                    <a:pt x="15" y="132"/>
                    <a:pt x="16" y="132"/>
                    <a:pt x="15" y="133"/>
                  </a:cubicBezTo>
                  <a:cubicBezTo>
                    <a:pt x="15" y="132"/>
                    <a:pt x="16" y="132"/>
                    <a:pt x="15" y="131"/>
                  </a:cubicBezTo>
                  <a:cubicBezTo>
                    <a:pt x="15" y="131"/>
                    <a:pt x="16" y="131"/>
                    <a:pt x="16" y="131"/>
                  </a:cubicBezTo>
                  <a:cubicBezTo>
                    <a:pt x="16" y="131"/>
                    <a:pt x="15" y="131"/>
                    <a:pt x="16" y="131"/>
                  </a:cubicBezTo>
                  <a:cubicBezTo>
                    <a:pt x="16" y="130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8"/>
                    <a:pt x="15" y="128"/>
                  </a:cubicBezTo>
                  <a:cubicBezTo>
                    <a:pt x="15" y="128"/>
                    <a:pt x="15" y="127"/>
                    <a:pt x="16" y="128"/>
                  </a:cubicBezTo>
                  <a:cubicBezTo>
                    <a:pt x="15" y="127"/>
                    <a:pt x="16" y="127"/>
                    <a:pt x="16" y="127"/>
                  </a:cubicBezTo>
                  <a:cubicBezTo>
                    <a:pt x="16" y="127"/>
                    <a:pt x="15" y="127"/>
                    <a:pt x="15" y="127"/>
                  </a:cubicBezTo>
                  <a:cubicBezTo>
                    <a:pt x="15" y="127"/>
                    <a:pt x="16" y="126"/>
                    <a:pt x="16" y="127"/>
                  </a:cubicBezTo>
                  <a:cubicBezTo>
                    <a:pt x="16" y="127"/>
                    <a:pt x="16" y="126"/>
                    <a:pt x="16" y="126"/>
                  </a:cubicBezTo>
                  <a:cubicBezTo>
                    <a:pt x="15" y="126"/>
                    <a:pt x="15" y="125"/>
                    <a:pt x="15" y="124"/>
                  </a:cubicBezTo>
                  <a:cubicBezTo>
                    <a:pt x="15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4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6"/>
                    <a:pt x="15" y="127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9"/>
                    <a:pt x="15" y="128"/>
                    <a:pt x="15" y="128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30"/>
                    <a:pt x="15" y="130"/>
                  </a:cubicBezTo>
                  <a:cubicBezTo>
                    <a:pt x="15" y="130"/>
                    <a:pt x="15" y="129"/>
                    <a:pt x="15" y="130"/>
                  </a:cubicBezTo>
                  <a:cubicBezTo>
                    <a:pt x="14" y="129"/>
                    <a:pt x="15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9"/>
                    <a:pt x="14" y="130"/>
                    <a:pt x="14" y="131"/>
                  </a:cubicBezTo>
                  <a:cubicBezTo>
                    <a:pt x="14" y="130"/>
                    <a:pt x="14" y="128"/>
                    <a:pt x="14" y="128"/>
                  </a:cubicBezTo>
                  <a:cubicBezTo>
                    <a:pt x="15" y="128"/>
                    <a:pt x="14" y="130"/>
                    <a:pt x="15" y="131"/>
                  </a:cubicBezTo>
                  <a:cubicBezTo>
                    <a:pt x="15" y="131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lose/>
                  <a:moveTo>
                    <a:pt x="18" y="98"/>
                  </a:moveTo>
                  <a:cubicBezTo>
                    <a:pt x="18" y="98"/>
                    <a:pt x="18" y="98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7"/>
                    <a:pt x="18" y="98"/>
                  </a:cubicBezTo>
                  <a:close/>
                  <a:moveTo>
                    <a:pt x="18" y="109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lose/>
                  <a:moveTo>
                    <a:pt x="16" y="106"/>
                  </a:moveTo>
                  <a:cubicBezTo>
                    <a:pt x="16" y="105"/>
                    <a:pt x="16" y="105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6" y="103"/>
                    <a:pt x="17" y="103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lose/>
                  <a:moveTo>
                    <a:pt x="17" y="95"/>
                  </a:moveTo>
                  <a:cubicBezTo>
                    <a:pt x="17" y="95"/>
                    <a:pt x="17" y="96"/>
                    <a:pt x="17" y="96"/>
                  </a:cubicBezTo>
                  <a:cubicBezTo>
                    <a:pt x="17" y="96"/>
                    <a:pt x="17" y="96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6"/>
                    <a:pt x="17" y="96"/>
                  </a:cubicBezTo>
                  <a:cubicBezTo>
                    <a:pt x="17" y="96"/>
                    <a:pt x="17" y="97"/>
                    <a:pt x="17" y="97"/>
                  </a:cubicBezTo>
                  <a:close/>
                  <a:moveTo>
                    <a:pt x="17" y="100"/>
                  </a:moveTo>
                  <a:cubicBezTo>
                    <a:pt x="17" y="101"/>
                    <a:pt x="17" y="101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0"/>
                    <a:pt x="17" y="98"/>
                    <a:pt x="17" y="97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7" y="100"/>
                    <a:pt x="17" y="101"/>
                    <a:pt x="17" y="100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4"/>
                    <a:pt x="17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6" y="94"/>
                    <a:pt x="16" y="95"/>
                    <a:pt x="16" y="95"/>
                  </a:cubicBezTo>
                  <a:cubicBezTo>
                    <a:pt x="16" y="95"/>
                    <a:pt x="17" y="94"/>
                    <a:pt x="16" y="94"/>
                  </a:cubicBezTo>
                  <a:close/>
                  <a:moveTo>
                    <a:pt x="16" y="99"/>
                  </a:move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9"/>
                  </a:cubicBezTo>
                  <a:close/>
                  <a:moveTo>
                    <a:pt x="16" y="95"/>
                  </a:move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5" y="95"/>
                  </a:moveTo>
                  <a:cubicBezTo>
                    <a:pt x="15" y="96"/>
                    <a:pt x="15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5"/>
                    <a:pt x="16" y="95"/>
                  </a:cubicBezTo>
                  <a:cubicBezTo>
                    <a:pt x="15" y="95"/>
                    <a:pt x="16" y="95"/>
                    <a:pt x="15" y="95"/>
                  </a:cubicBezTo>
                  <a:cubicBezTo>
                    <a:pt x="15" y="95"/>
                    <a:pt x="16" y="95"/>
                    <a:pt x="16" y="95"/>
                  </a:cubicBezTo>
                  <a:cubicBezTo>
                    <a:pt x="15" y="96"/>
                    <a:pt x="15" y="95"/>
                    <a:pt x="15" y="95"/>
                  </a:cubicBezTo>
                  <a:close/>
                  <a:moveTo>
                    <a:pt x="16" y="97"/>
                  </a:moveTo>
                  <a:cubicBezTo>
                    <a:pt x="16" y="97"/>
                    <a:pt x="15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6"/>
                    <a:pt x="15" y="97"/>
                  </a:cubicBezTo>
                  <a:cubicBezTo>
                    <a:pt x="15" y="97"/>
                    <a:pt x="15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lose/>
                  <a:moveTo>
                    <a:pt x="16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7" y="104"/>
                  </a:cubicBezTo>
                  <a:cubicBezTo>
                    <a:pt x="16" y="104"/>
                    <a:pt x="16" y="104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1"/>
                  </a:cubicBezTo>
                  <a:cubicBezTo>
                    <a:pt x="16" y="101"/>
                    <a:pt x="16" y="101"/>
                    <a:pt x="17" y="101"/>
                  </a:cubicBezTo>
                  <a:cubicBezTo>
                    <a:pt x="16" y="101"/>
                    <a:pt x="17" y="102"/>
                    <a:pt x="16" y="102"/>
                  </a:cubicBezTo>
                  <a:cubicBezTo>
                    <a:pt x="16" y="102"/>
                    <a:pt x="16" y="102"/>
                    <a:pt x="17" y="102"/>
                  </a:cubicBezTo>
                  <a:cubicBezTo>
                    <a:pt x="17" y="102"/>
                    <a:pt x="17" y="102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0"/>
                    <a:pt x="17" y="100"/>
                  </a:cubicBezTo>
                  <a:cubicBezTo>
                    <a:pt x="16" y="100"/>
                    <a:pt x="17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6" y="103"/>
                  </a:move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1" y="120"/>
                  </a:move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lose/>
                  <a:moveTo>
                    <a:pt x="11" y="122"/>
                  </a:moveTo>
                  <a:cubicBezTo>
                    <a:pt x="11" y="122"/>
                    <a:pt x="12" y="122"/>
                    <a:pt x="12" y="123"/>
                  </a:cubicBezTo>
                  <a:cubicBezTo>
                    <a:pt x="12" y="123"/>
                    <a:pt x="12" y="122"/>
                    <a:pt x="11" y="122"/>
                  </a:cubicBezTo>
                  <a:close/>
                  <a:moveTo>
                    <a:pt x="12" y="120"/>
                  </a:move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1" y="119"/>
                    <a:pt x="12" y="120"/>
                    <a:pt x="11" y="120"/>
                  </a:cubicBezTo>
                  <a:cubicBezTo>
                    <a:pt x="12" y="120"/>
                    <a:pt x="11" y="120"/>
                    <a:pt x="12" y="120"/>
                  </a:cubicBezTo>
                  <a:cubicBezTo>
                    <a:pt x="11" y="120"/>
                    <a:pt x="12" y="119"/>
                    <a:pt x="12" y="120"/>
                  </a:cubicBezTo>
                  <a:close/>
                  <a:moveTo>
                    <a:pt x="12" y="120"/>
                  </a:moveTo>
                  <a:cubicBezTo>
                    <a:pt x="12" y="120"/>
                    <a:pt x="12" y="121"/>
                    <a:pt x="12" y="121"/>
                  </a:cubicBezTo>
                  <a:cubicBezTo>
                    <a:pt x="12" y="120"/>
                    <a:pt x="12" y="120"/>
                    <a:pt x="12" y="120"/>
                  </a:cubicBezTo>
                  <a:close/>
                  <a:moveTo>
                    <a:pt x="13" y="118"/>
                  </a:moveTo>
                  <a:cubicBezTo>
                    <a:pt x="13" y="117"/>
                    <a:pt x="13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ubicBezTo>
                    <a:pt x="13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8"/>
                  </a:cubicBezTo>
                  <a:cubicBezTo>
                    <a:pt x="13" y="118"/>
                    <a:pt x="13" y="117"/>
                    <a:pt x="13" y="118"/>
                  </a:cubicBezTo>
                  <a:cubicBezTo>
                    <a:pt x="13" y="118"/>
                    <a:pt x="13" y="118"/>
                    <a:pt x="12" y="118"/>
                  </a:cubicBezTo>
                  <a:cubicBezTo>
                    <a:pt x="12" y="118"/>
                    <a:pt x="13" y="118"/>
                    <a:pt x="12" y="118"/>
                  </a:cubicBezTo>
                  <a:cubicBezTo>
                    <a:pt x="12" y="119"/>
                    <a:pt x="12" y="119"/>
                    <a:pt x="13" y="119"/>
                  </a:cubicBezTo>
                  <a:cubicBezTo>
                    <a:pt x="13" y="118"/>
                    <a:pt x="12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8"/>
                    <a:pt x="13" y="118"/>
                  </a:cubicBezTo>
                  <a:close/>
                  <a:moveTo>
                    <a:pt x="13" y="111"/>
                  </a:moveTo>
                  <a:cubicBezTo>
                    <a:pt x="13" y="112"/>
                    <a:pt x="13" y="112"/>
                    <a:pt x="14" y="112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3" y="114"/>
                  </a:moveTo>
                  <a:cubicBezTo>
                    <a:pt x="13" y="114"/>
                    <a:pt x="13" y="114"/>
                    <a:pt x="13" y="113"/>
                  </a:cubicBezTo>
                  <a:cubicBezTo>
                    <a:pt x="13" y="113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3" y="113"/>
                    <a:pt x="13" y="112"/>
                  </a:cubicBezTo>
                  <a:cubicBezTo>
                    <a:pt x="13" y="113"/>
                    <a:pt x="13" y="112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4" y="113"/>
                    <a:pt x="13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4"/>
                    <a:pt x="14" y="114"/>
                    <a:pt x="14" y="115"/>
                  </a:cubicBezTo>
                  <a:cubicBezTo>
                    <a:pt x="14" y="115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5" y="128"/>
                  </a:moveTo>
                  <a:cubicBezTo>
                    <a:pt x="15" y="128"/>
                    <a:pt x="14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5" y="125"/>
                  </a:moveTo>
                  <a:cubicBezTo>
                    <a:pt x="15" y="125"/>
                    <a:pt x="15" y="124"/>
                    <a:pt x="15" y="124"/>
                  </a:cubicBezTo>
                  <a:cubicBezTo>
                    <a:pt x="15" y="125"/>
                    <a:pt x="15" y="125"/>
                    <a:pt x="15" y="125"/>
                  </a:cubicBezTo>
                  <a:close/>
                  <a:moveTo>
                    <a:pt x="15" y="123"/>
                  </a:moveTo>
                  <a:cubicBezTo>
                    <a:pt x="15" y="124"/>
                    <a:pt x="15" y="123"/>
                    <a:pt x="15" y="124"/>
                  </a:cubicBezTo>
                  <a:cubicBezTo>
                    <a:pt x="15" y="124"/>
                    <a:pt x="15" y="124"/>
                    <a:pt x="14" y="124"/>
                  </a:cubicBezTo>
                  <a:cubicBezTo>
                    <a:pt x="14" y="124"/>
                    <a:pt x="15" y="124"/>
                    <a:pt x="14" y="124"/>
                  </a:cubicBezTo>
                  <a:cubicBezTo>
                    <a:pt x="14" y="124"/>
                    <a:pt x="14" y="124"/>
                    <a:pt x="14" y="123"/>
                  </a:cubicBezTo>
                  <a:cubicBezTo>
                    <a:pt x="14" y="124"/>
                    <a:pt x="14" y="124"/>
                    <a:pt x="15" y="124"/>
                  </a:cubicBezTo>
                  <a:cubicBezTo>
                    <a:pt x="15" y="124"/>
                    <a:pt x="14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5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2"/>
                    <a:pt x="15" y="122"/>
                    <a:pt x="14" y="122"/>
                  </a:cubicBezTo>
                  <a:cubicBezTo>
                    <a:pt x="14" y="122"/>
                    <a:pt x="14" y="123"/>
                    <a:pt x="15" y="123"/>
                  </a:cubicBezTo>
                  <a:cubicBezTo>
                    <a:pt x="14" y="122"/>
                    <a:pt x="14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1"/>
                    <a:pt x="15" y="121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6"/>
                    <a:pt x="15" y="117"/>
                    <a:pt x="15" y="117"/>
                  </a:cubicBezTo>
                  <a:cubicBezTo>
                    <a:pt x="15" y="117"/>
                    <a:pt x="14" y="118"/>
                    <a:pt x="15" y="118"/>
                  </a:cubicBezTo>
                  <a:close/>
                  <a:moveTo>
                    <a:pt x="15" y="119"/>
                  </a:moveTo>
                  <a:cubicBezTo>
                    <a:pt x="15" y="119"/>
                    <a:pt x="15" y="118"/>
                    <a:pt x="15" y="118"/>
                  </a:cubicBezTo>
                  <a:cubicBezTo>
                    <a:pt x="15" y="118"/>
                    <a:pt x="15" y="119"/>
                    <a:pt x="15" y="119"/>
                  </a:cubicBezTo>
                  <a:close/>
                  <a:moveTo>
                    <a:pt x="15" y="119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19"/>
                    <a:pt x="15" y="119"/>
                  </a:cubicBezTo>
                  <a:close/>
                  <a:moveTo>
                    <a:pt x="15" y="123"/>
                  </a:move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3"/>
                    <a:pt x="15" y="123"/>
                  </a:cubicBezTo>
                  <a:cubicBezTo>
                    <a:pt x="15" y="123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5" y="121"/>
                    <a:pt x="15" y="121"/>
                    <a:pt x="15" y="121"/>
                  </a:cubicBezTo>
                  <a:close/>
                  <a:moveTo>
                    <a:pt x="15" y="122"/>
                  </a:move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lose/>
                  <a:moveTo>
                    <a:pt x="15" y="120"/>
                  </a:moveTo>
                  <a:cubicBezTo>
                    <a:pt x="15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5" y="119"/>
                    <a:pt x="16" y="120"/>
                    <a:pt x="15" y="120"/>
                  </a:cubicBezTo>
                  <a:cubicBezTo>
                    <a:pt x="15" y="119"/>
                    <a:pt x="16" y="118"/>
                    <a:pt x="15" y="118"/>
                  </a:cubicBezTo>
                  <a:cubicBezTo>
                    <a:pt x="15" y="119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0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6" y="118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8"/>
                    <a:pt x="15" y="118"/>
                    <a:pt x="15" y="118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6"/>
                    <a:pt x="15" y="116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5" y="114"/>
                  </a:moveTo>
                  <a:cubicBezTo>
                    <a:pt x="15" y="113"/>
                    <a:pt x="15" y="114"/>
                    <a:pt x="15" y="114"/>
                  </a:cubicBezTo>
                  <a:cubicBezTo>
                    <a:pt x="15" y="114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4"/>
                  </a:cubicBezTo>
                  <a:close/>
                  <a:moveTo>
                    <a:pt x="15" y="112"/>
                  </a:move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lose/>
                  <a:moveTo>
                    <a:pt x="16" y="121"/>
                  </a:moveTo>
                  <a:cubicBezTo>
                    <a:pt x="16" y="121"/>
                    <a:pt x="16" y="120"/>
                    <a:pt x="16" y="120"/>
                  </a:cubicBezTo>
                  <a:cubicBezTo>
                    <a:pt x="16" y="120"/>
                    <a:pt x="16" y="121"/>
                    <a:pt x="15" y="121"/>
                  </a:cubicBezTo>
                  <a:cubicBezTo>
                    <a:pt x="16" y="121"/>
                    <a:pt x="15" y="122"/>
                    <a:pt x="16" y="122"/>
                  </a:cubicBezTo>
                  <a:cubicBezTo>
                    <a:pt x="16" y="122"/>
                    <a:pt x="16" y="121"/>
                    <a:pt x="16" y="121"/>
                  </a:cubicBezTo>
                  <a:close/>
                  <a:moveTo>
                    <a:pt x="16" y="118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lose/>
                  <a:moveTo>
                    <a:pt x="16" y="125"/>
                  </a:moveTo>
                  <a:cubicBezTo>
                    <a:pt x="16" y="125"/>
                    <a:pt x="16" y="125"/>
                    <a:pt x="16" y="126"/>
                  </a:cubicBezTo>
                  <a:cubicBezTo>
                    <a:pt x="16" y="126"/>
                    <a:pt x="16" y="125"/>
                    <a:pt x="17" y="125"/>
                  </a:cubicBezTo>
                  <a:cubicBezTo>
                    <a:pt x="16" y="125"/>
                    <a:pt x="16" y="125"/>
                    <a:pt x="16" y="125"/>
                  </a:cubicBezTo>
                  <a:close/>
                  <a:moveTo>
                    <a:pt x="17" y="125"/>
                  </a:moveTo>
                  <a:cubicBezTo>
                    <a:pt x="17" y="124"/>
                    <a:pt x="17" y="125"/>
                    <a:pt x="16" y="125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4"/>
                    <a:pt x="16" y="124"/>
                  </a:cubicBezTo>
                  <a:cubicBezTo>
                    <a:pt x="16" y="124"/>
                    <a:pt x="16" y="123"/>
                    <a:pt x="16" y="123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5"/>
                    <a:pt x="16" y="125"/>
                  </a:cubicBezTo>
                  <a:cubicBezTo>
                    <a:pt x="16" y="125"/>
                    <a:pt x="16" y="125"/>
                    <a:pt x="16" y="126"/>
                  </a:cubicBezTo>
                  <a:close/>
                  <a:moveTo>
                    <a:pt x="16" y="127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7"/>
                    <a:pt x="16" y="127"/>
                  </a:cubicBezTo>
                  <a:close/>
                  <a:moveTo>
                    <a:pt x="16" y="124"/>
                  </a:move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7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lose/>
                  <a:moveTo>
                    <a:pt x="16" y="130"/>
                  </a:moveTo>
                  <a:cubicBezTo>
                    <a:pt x="16" y="129"/>
                    <a:pt x="16" y="129"/>
                    <a:pt x="16" y="128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30"/>
                    <a:pt x="16" y="130"/>
                  </a:cubicBezTo>
                  <a:close/>
                  <a:moveTo>
                    <a:pt x="17" y="131"/>
                  </a:moveTo>
                  <a:cubicBezTo>
                    <a:pt x="16" y="131"/>
                    <a:pt x="16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6"/>
                    <a:pt x="16" y="126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ubicBezTo>
                    <a:pt x="16" y="127"/>
                    <a:pt x="16" y="126"/>
                    <a:pt x="16" y="126"/>
                  </a:cubicBezTo>
                  <a:close/>
                  <a:moveTo>
                    <a:pt x="17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7"/>
                  </a:moveTo>
                  <a:cubicBezTo>
                    <a:pt x="17" y="128"/>
                    <a:pt x="17" y="128"/>
                    <a:pt x="17" y="129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8"/>
                  </a:moveTo>
                  <a:cubicBezTo>
                    <a:pt x="17" y="128"/>
                    <a:pt x="17" y="129"/>
                    <a:pt x="18" y="129"/>
                  </a:cubicBezTo>
                  <a:cubicBezTo>
                    <a:pt x="17" y="129"/>
                    <a:pt x="18" y="128"/>
                    <a:pt x="17" y="128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1"/>
                    <a:pt x="18" y="131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2"/>
                    <a:pt x="18" y="131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1"/>
                    <a:pt x="18" y="131"/>
                  </a:cubicBezTo>
                  <a:close/>
                  <a:moveTo>
                    <a:pt x="18" y="129"/>
                  </a:moveTo>
                  <a:cubicBezTo>
                    <a:pt x="17" y="130"/>
                    <a:pt x="17" y="130"/>
                    <a:pt x="17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29"/>
                  </a:cubicBezTo>
                  <a:close/>
                  <a:moveTo>
                    <a:pt x="17" y="126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8" y="127"/>
                    <a:pt x="17" y="127"/>
                    <a:pt x="18" y="127"/>
                  </a:cubicBezTo>
                  <a:cubicBezTo>
                    <a:pt x="17" y="127"/>
                    <a:pt x="17" y="127"/>
                    <a:pt x="17" y="126"/>
                  </a:cubicBezTo>
                  <a:close/>
                  <a:moveTo>
                    <a:pt x="17" y="125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6"/>
                  </a:cubicBezTo>
                  <a:cubicBezTo>
                    <a:pt x="17" y="126"/>
                    <a:pt x="16" y="125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8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5"/>
                    <a:pt x="17" y="125"/>
                    <a:pt x="17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5"/>
                    <a:pt x="17" y="124"/>
                    <a:pt x="17" y="124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7" y="123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5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7" y="125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7" y="122"/>
                    <a:pt x="16" y="122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7" y="122"/>
                  </a:moveTo>
                  <a:cubicBezTo>
                    <a:pt x="17" y="123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4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2"/>
                  </a:cubicBezTo>
                  <a:close/>
                  <a:moveTo>
                    <a:pt x="17" y="119"/>
                  </a:move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lose/>
                  <a:moveTo>
                    <a:pt x="17" y="118"/>
                  </a:move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8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8"/>
                    <a:pt x="18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6"/>
                    <a:pt x="17" y="116"/>
                  </a:cubicBezTo>
                  <a:cubicBezTo>
                    <a:pt x="17" y="117"/>
                    <a:pt x="16" y="117"/>
                    <a:pt x="17" y="117"/>
                  </a:cubicBezTo>
                  <a:close/>
                  <a:moveTo>
                    <a:pt x="16" y="117"/>
                  </a:move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5" y="116"/>
                  </a:cubicBezTo>
                  <a:cubicBezTo>
                    <a:pt x="16" y="116"/>
                    <a:pt x="15" y="116"/>
                    <a:pt x="15" y="116"/>
                  </a:cubicBezTo>
                  <a:cubicBezTo>
                    <a:pt x="16" y="116"/>
                    <a:pt x="15" y="117"/>
                    <a:pt x="15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7" y="120"/>
                    <a:pt x="16" y="119"/>
                    <a:pt x="17" y="118"/>
                  </a:cubicBezTo>
                  <a:cubicBezTo>
                    <a:pt x="17" y="118"/>
                    <a:pt x="16" y="117"/>
                    <a:pt x="16" y="117"/>
                  </a:cubicBezTo>
                  <a:cubicBezTo>
                    <a:pt x="16" y="117"/>
                    <a:pt x="16" y="116"/>
                    <a:pt x="16" y="116"/>
                  </a:cubicBezTo>
                  <a:cubicBezTo>
                    <a:pt x="16" y="116"/>
                    <a:pt x="17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7" y="115"/>
                  </a:cubicBezTo>
                  <a:cubicBezTo>
                    <a:pt x="16" y="115"/>
                    <a:pt x="17" y="114"/>
                    <a:pt x="16" y="114"/>
                  </a:cubicBezTo>
                  <a:cubicBezTo>
                    <a:pt x="16" y="115"/>
                    <a:pt x="16" y="116"/>
                    <a:pt x="16" y="117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lose/>
                  <a:moveTo>
                    <a:pt x="15" y="113"/>
                  </a:moveTo>
                  <a:cubicBezTo>
                    <a:pt x="15" y="113"/>
                    <a:pt x="15" y="114"/>
                    <a:pt x="16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5" y="114"/>
                    <a:pt x="15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5" y="113"/>
                  </a:cubicBezTo>
                  <a:cubicBezTo>
                    <a:pt x="15" y="113"/>
                    <a:pt x="16" y="113"/>
                    <a:pt x="15" y="113"/>
                  </a:cubicBezTo>
                  <a:close/>
                  <a:moveTo>
                    <a:pt x="16" y="114"/>
                  </a:moveTo>
                  <a:cubicBezTo>
                    <a:pt x="16" y="114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4"/>
                    <a:pt x="16" y="114"/>
                  </a:cubicBezTo>
                  <a:close/>
                  <a:moveTo>
                    <a:pt x="16" y="112"/>
                  </a:moveTo>
                  <a:cubicBezTo>
                    <a:pt x="16" y="111"/>
                    <a:pt x="16" y="110"/>
                    <a:pt x="16" y="110"/>
                  </a:cubicBezTo>
                  <a:cubicBezTo>
                    <a:pt x="16" y="110"/>
                    <a:pt x="16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5" y="110"/>
                    <a:pt x="16" y="110"/>
                    <a:pt x="16" y="111"/>
                  </a:cubicBezTo>
                  <a:cubicBezTo>
                    <a:pt x="16" y="111"/>
                    <a:pt x="15" y="111"/>
                    <a:pt x="15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5" y="111"/>
                    <a:pt x="16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6" y="112"/>
                    <a:pt x="16" y="112"/>
                    <a:pt x="16" y="113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2"/>
                    <a:pt x="16" y="112"/>
                    <a:pt x="16" y="112"/>
                  </a:cubicBezTo>
                  <a:close/>
                  <a:moveTo>
                    <a:pt x="16" y="110"/>
                  </a:moveTo>
                  <a:cubicBezTo>
                    <a:pt x="16" y="110"/>
                    <a:pt x="16" y="109"/>
                    <a:pt x="16" y="109"/>
                  </a:cubicBezTo>
                  <a:cubicBezTo>
                    <a:pt x="16" y="109"/>
                    <a:pt x="16" y="109"/>
                    <a:pt x="16" y="110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4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0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99"/>
                    <a:pt x="15" y="99"/>
                  </a:cubicBezTo>
                  <a:cubicBezTo>
                    <a:pt x="15" y="99"/>
                    <a:pt x="15" y="100"/>
                    <a:pt x="15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lose/>
                  <a:moveTo>
                    <a:pt x="15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09"/>
                    <a:pt x="16" y="109"/>
                    <a:pt x="15" y="108"/>
                  </a:cubicBezTo>
                  <a:cubicBezTo>
                    <a:pt x="15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7"/>
                  </a:cubicBezTo>
                  <a:cubicBezTo>
                    <a:pt x="15" y="108"/>
                    <a:pt x="15" y="107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7"/>
                    <a:pt x="15" y="107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8"/>
                    <a:pt x="15" y="108"/>
                    <a:pt x="15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5" y="107"/>
                    <a:pt x="16" y="107"/>
                    <a:pt x="16" y="107"/>
                  </a:cubicBezTo>
                  <a:cubicBezTo>
                    <a:pt x="15" y="107"/>
                    <a:pt x="16" y="106"/>
                    <a:pt x="15" y="106"/>
                  </a:cubicBezTo>
                  <a:cubicBezTo>
                    <a:pt x="15" y="106"/>
                    <a:pt x="16" y="106"/>
                    <a:pt x="16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9"/>
                    <a:pt x="15" y="110"/>
                  </a:cubicBezTo>
                  <a:close/>
                  <a:moveTo>
                    <a:pt x="15" y="111"/>
                  </a:moveTo>
                  <a:cubicBezTo>
                    <a:pt x="15" y="111"/>
                    <a:pt x="15" y="112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3"/>
                  </a:moveTo>
                  <a:cubicBezTo>
                    <a:pt x="15" y="112"/>
                    <a:pt x="15" y="113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3"/>
                    <a:pt x="15" y="113"/>
                  </a:cubicBezTo>
                  <a:close/>
                  <a:moveTo>
                    <a:pt x="15" y="116"/>
                  </a:move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4" y="115"/>
                  </a:cubicBezTo>
                  <a:cubicBezTo>
                    <a:pt x="14" y="115"/>
                    <a:pt x="14" y="115"/>
                    <a:pt x="14" y="116"/>
                  </a:cubicBezTo>
                  <a:cubicBezTo>
                    <a:pt x="14" y="116"/>
                    <a:pt x="15" y="117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4" y="111"/>
                  </a:moveTo>
                  <a:cubicBezTo>
                    <a:pt x="15" y="110"/>
                    <a:pt x="14" y="111"/>
                    <a:pt x="15" y="111"/>
                  </a:cubicBezTo>
                  <a:cubicBezTo>
                    <a:pt x="14" y="111"/>
                    <a:pt x="15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1"/>
                  </a:cubicBezTo>
                  <a:close/>
                  <a:moveTo>
                    <a:pt x="14" y="11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9"/>
                  </a:moveTo>
                  <a:cubicBezTo>
                    <a:pt x="14" y="119"/>
                    <a:pt x="15" y="119"/>
                    <a:pt x="14" y="119"/>
                  </a:cubicBezTo>
                  <a:cubicBezTo>
                    <a:pt x="15" y="119"/>
                    <a:pt x="14" y="118"/>
                    <a:pt x="14" y="119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5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2"/>
                    <a:pt x="14" y="121"/>
                    <a:pt x="14" y="121"/>
                  </a:cubicBezTo>
                  <a:close/>
                  <a:moveTo>
                    <a:pt x="14" y="122"/>
                  </a:move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lose/>
                  <a:moveTo>
                    <a:pt x="14" y="123"/>
                  </a:move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0"/>
                    <a:pt x="14" y="120"/>
                  </a:cubicBezTo>
                  <a:cubicBezTo>
                    <a:pt x="14" y="121"/>
                    <a:pt x="14" y="121"/>
                    <a:pt x="14" y="121"/>
                  </a:cubicBezTo>
                  <a:close/>
                  <a:moveTo>
                    <a:pt x="14" y="127"/>
                  </a:move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5" y="127"/>
                    <a:pt x="15" y="127"/>
                    <a:pt x="15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4" y="126"/>
                    <a:pt x="15" y="126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6"/>
                    <a:pt x="14" y="126"/>
                    <a:pt x="15" y="125"/>
                  </a:cubicBezTo>
                  <a:cubicBezTo>
                    <a:pt x="14" y="125"/>
                    <a:pt x="15" y="126"/>
                    <a:pt x="14" y="125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lose/>
                  <a:moveTo>
                    <a:pt x="14" y="132"/>
                  </a:move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0" y="90"/>
                  </a:moveTo>
                  <a:cubicBezTo>
                    <a:pt x="10" y="90"/>
                    <a:pt x="11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89"/>
                    <a:pt x="10" y="90"/>
                    <a:pt x="10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0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1"/>
                  </a:cubicBezTo>
                  <a:close/>
                  <a:moveTo>
                    <a:pt x="11" y="91"/>
                  </a:moveTo>
                  <a:cubicBezTo>
                    <a:pt x="11" y="91"/>
                    <a:pt x="11" y="91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2" y="90"/>
                  </a:cubicBezTo>
                  <a:cubicBezTo>
                    <a:pt x="12" y="90"/>
                    <a:pt x="12" y="91"/>
                    <a:pt x="11" y="91"/>
                  </a:cubicBezTo>
                  <a:cubicBezTo>
                    <a:pt x="11" y="91"/>
                    <a:pt x="12" y="91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1" y="92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2"/>
                    <a:pt x="11" y="92"/>
                    <a:pt x="11" y="91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lose/>
                  <a:moveTo>
                    <a:pt x="13" y="96"/>
                  </a:moveTo>
                  <a:cubicBezTo>
                    <a:pt x="13" y="96"/>
                    <a:pt x="13" y="96"/>
                    <a:pt x="14" y="96"/>
                  </a:cubicBezTo>
                  <a:cubicBezTo>
                    <a:pt x="13" y="96"/>
                    <a:pt x="14" y="96"/>
                    <a:pt x="13" y="96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3" y="96"/>
                    <a:pt x="13" y="97"/>
                    <a:pt x="13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7"/>
                    <a:pt x="13" y="97"/>
                  </a:cubicBezTo>
                  <a:cubicBezTo>
                    <a:pt x="13" y="97"/>
                    <a:pt x="13" y="97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4"/>
                    <a:pt x="13" y="94"/>
                  </a:cubicBezTo>
                  <a:cubicBezTo>
                    <a:pt x="13" y="94"/>
                    <a:pt x="13" y="94"/>
                    <a:pt x="13" y="93"/>
                  </a:cubicBezTo>
                  <a:cubicBezTo>
                    <a:pt x="13" y="93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1"/>
                    <a:pt x="13" y="91"/>
                  </a:cubicBezTo>
                  <a:cubicBezTo>
                    <a:pt x="14" y="91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3" y="94"/>
                    <a:pt x="14" y="94"/>
                  </a:cubicBezTo>
                  <a:cubicBezTo>
                    <a:pt x="13" y="94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6"/>
                    <a:pt x="14" y="95"/>
                    <a:pt x="14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7"/>
                    <a:pt x="14" y="97"/>
                  </a:cubicBezTo>
                  <a:cubicBezTo>
                    <a:pt x="14" y="97"/>
                    <a:pt x="14" y="96"/>
                    <a:pt x="13" y="97"/>
                  </a:cubicBezTo>
                  <a:cubicBezTo>
                    <a:pt x="13" y="97"/>
                    <a:pt x="13" y="96"/>
                    <a:pt x="13" y="96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5"/>
                    <a:pt x="13" y="94"/>
                  </a:cubicBezTo>
                  <a:cubicBezTo>
                    <a:pt x="13" y="94"/>
                    <a:pt x="13" y="93"/>
                    <a:pt x="13" y="94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3"/>
                  </a:cubicBezTo>
                  <a:cubicBezTo>
                    <a:pt x="9" y="93"/>
                    <a:pt x="9" y="92"/>
                    <a:pt x="9" y="92"/>
                  </a:cubicBezTo>
                  <a:cubicBezTo>
                    <a:pt x="9" y="92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2"/>
                    <a:pt x="9" y="93"/>
                    <a:pt x="9" y="92"/>
                  </a:cubicBezTo>
                  <a:close/>
                  <a:moveTo>
                    <a:pt x="7" y="92"/>
                  </a:moveTo>
                  <a:cubicBezTo>
                    <a:pt x="7" y="93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2"/>
                  </a:cubicBezTo>
                  <a:close/>
                  <a:moveTo>
                    <a:pt x="7" y="92"/>
                  </a:moveTo>
                  <a:cubicBezTo>
                    <a:pt x="7" y="92"/>
                    <a:pt x="7" y="92"/>
                    <a:pt x="8" y="92"/>
                  </a:cubicBezTo>
                  <a:cubicBezTo>
                    <a:pt x="8" y="93"/>
                    <a:pt x="8" y="93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9" y="94"/>
                  </a:cubicBezTo>
                  <a:cubicBezTo>
                    <a:pt x="8" y="94"/>
                    <a:pt x="9" y="93"/>
                    <a:pt x="8" y="93"/>
                  </a:cubicBezTo>
                  <a:cubicBezTo>
                    <a:pt x="8" y="94"/>
                    <a:pt x="9" y="94"/>
                    <a:pt x="9" y="94"/>
                  </a:cubicBezTo>
                  <a:cubicBezTo>
                    <a:pt x="8" y="94"/>
                    <a:pt x="8" y="94"/>
                    <a:pt x="8" y="93"/>
                  </a:cubicBezTo>
                  <a:cubicBezTo>
                    <a:pt x="8" y="94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5"/>
                    <a:pt x="8" y="94"/>
                  </a:cubicBezTo>
                  <a:cubicBezTo>
                    <a:pt x="7" y="94"/>
                    <a:pt x="8" y="93"/>
                    <a:pt x="8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2"/>
                  </a:cubicBezTo>
                  <a:cubicBezTo>
                    <a:pt x="7" y="92"/>
                    <a:pt x="7" y="93"/>
                    <a:pt x="7" y="92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4"/>
                    <a:pt x="9" y="93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3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lose/>
                  <a:moveTo>
                    <a:pt x="9" y="95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10" y="95"/>
                    <a:pt x="9" y="95"/>
                    <a:pt x="9" y="95"/>
                  </a:cubicBezTo>
                  <a:cubicBezTo>
                    <a:pt x="9" y="96"/>
                    <a:pt x="9" y="95"/>
                    <a:pt x="9" y="95"/>
                  </a:cubicBezTo>
                  <a:close/>
                  <a:moveTo>
                    <a:pt x="15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8"/>
                    <a:pt x="10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0" y="98"/>
                    <a:pt x="10" y="98"/>
                  </a:cubicBezTo>
                  <a:cubicBezTo>
                    <a:pt x="10" y="98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6"/>
                    <a:pt x="10" y="97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5"/>
                    <a:pt x="10" y="96"/>
                  </a:cubicBezTo>
                  <a:cubicBezTo>
                    <a:pt x="10" y="96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6"/>
                    <a:pt x="10" y="97"/>
                    <a:pt x="11" y="97"/>
                  </a:cubicBezTo>
                  <a:close/>
                  <a:moveTo>
                    <a:pt x="9" y="97"/>
                  </a:move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10" y="96"/>
                    <a:pt x="9" y="96"/>
                  </a:cubicBezTo>
                  <a:cubicBezTo>
                    <a:pt x="9" y="96"/>
                    <a:pt x="10" y="96"/>
                    <a:pt x="10" y="96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9" y="97"/>
                    <a:pt x="9" y="97"/>
                    <a:pt x="9" y="97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9"/>
                    <a:pt x="7" y="98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0"/>
                    <a:pt x="7" y="100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0"/>
                  </a:moveTo>
                  <a:cubicBezTo>
                    <a:pt x="7" y="100"/>
                    <a:pt x="7" y="99"/>
                    <a:pt x="7" y="99"/>
                  </a:cubicBezTo>
                  <a:cubicBezTo>
                    <a:pt x="7" y="99"/>
                    <a:pt x="7" y="100"/>
                    <a:pt x="7" y="100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9" y="100"/>
                  </a:moveTo>
                  <a:cubicBezTo>
                    <a:pt x="9" y="100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9" y="99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100"/>
                    <a:pt x="10" y="99"/>
                    <a:pt x="10" y="99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1"/>
                    <a:pt x="10" y="100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1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4"/>
                  </a:cubicBezTo>
                  <a:cubicBezTo>
                    <a:pt x="10" y="104"/>
                    <a:pt x="10" y="103"/>
                    <a:pt x="10" y="102"/>
                  </a:cubicBezTo>
                  <a:cubicBezTo>
                    <a:pt x="10" y="102"/>
                    <a:pt x="10" y="102"/>
                    <a:pt x="10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1"/>
                    <a:pt x="10" y="102"/>
                    <a:pt x="10" y="102"/>
                  </a:cubicBezTo>
                  <a:cubicBezTo>
                    <a:pt x="10" y="101"/>
                    <a:pt x="10" y="100"/>
                    <a:pt x="10" y="100"/>
                  </a:cubicBezTo>
                  <a:cubicBezTo>
                    <a:pt x="10" y="100"/>
                    <a:pt x="9" y="99"/>
                    <a:pt x="9" y="100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0"/>
                    <a:pt x="8" y="100"/>
                  </a:cubicBezTo>
                  <a:cubicBezTo>
                    <a:pt x="8" y="100"/>
                    <a:pt x="8" y="99"/>
                    <a:pt x="8" y="98"/>
                  </a:cubicBezTo>
                  <a:cubicBezTo>
                    <a:pt x="8" y="98"/>
                    <a:pt x="8" y="98"/>
                    <a:pt x="8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7"/>
                    <a:pt x="8" y="97"/>
                  </a:cubicBezTo>
                  <a:cubicBezTo>
                    <a:pt x="8" y="97"/>
                    <a:pt x="8" y="98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1"/>
                    <a:pt x="8" y="100"/>
                    <a:pt x="8" y="101"/>
                  </a:cubicBezTo>
                  <a:close/>
                  <a:moveTo>
                    <a:pt x="8" y="100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lose/>
                  <a:moveTo>
                    <a:pt x="11" y="101"/>
                  </a:moveTo>
                  <a:cubicBezTo>
                    <a:pt x="11" y="101"/>
                    <a:pt x="11" y="101"/>
                    <a:pt x="11" y="101"/>
                  </a:cubicBezTo>
                  <a:cubicBezTo>
                    <a:pt x="11" y="100"/>
                    <a:pt x="11" y="100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1" y="101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99"/>
                    <a:pt x="13" y="99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1"/>
                    <a:pt x="13" y="101"/>
                  </a:cubicBezTo>
                  <a:cubicBezTo>
                    <a:pt x="12" y="100"/>
                    <a:pt x="13" y="100"/>
                    <a:pt x="13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4" y="99"/>
                    <a:pt x="15" y="99"/>
                  </a:cubicBezTo>
                  <a:close/>
                  <a:moveTo>
                    <a:pt x="9" y="101"/>
                  </a:moveTo>
                  <a:cubicBezTo>
                    <a:pt x="8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1"/>
                  </a:cubicBezTo>
                  <a:close/>
                  <a:moveTo>
                    <a:pt x="13" y="103"/>
                  </a:moveTo>
                  <a:cubicBezTo>
                    <a:pt x="13" y="103"/>
                    <a:pt x="13" y="104"/>
                    <a:pt x="13" y="104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03"/>
                    <a:pt x="13" y="102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2"/>
                    <a:pt x="13" y="101"/>
                    <a:pt x="13" y="101"/>
                  </a:cubicBezTo>
                  <a:cubicBezTo>
                    <a:pt x="13" y="101"/>
                    <a:pt x="13" y="101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1"/>
                    <a:pt x="13" y="101"/>
                    <a:pt x="13" y="100"/>
                  </a:cubicBezTo>
                  <a:cubicBezTo>
                    <a:pt x="13" y="101"/>
                    <a:pt x="13" y="103"/>
                    <a:pt x="13" y="103"/>
                  </a:cubicBezTo>
                  <a:cubicBezTo>
                    <a:pt x="13" y="103"/>
                    <a:pt x="13" y="104"/>
                    <a:pt x="13" y="104"/>
                  </a:cubicBezTo>
                  <a:cubicBezTo>
                    <a:pt x="13" y="104"/>
                    <a:pt x="13" y="104"/>
                    <a:pt x="13" y="103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9" y="102"/>
                    <a:pt x="8" y="102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8" y="102"/>
                    <a:pt x="8" y="103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6"/>
                    <a:pt x="8" y="105"/>
                    <a:pt x="8" y="105"/>
                  </a:cubicBezTo>
                  <a:cubicBezTo>
                    <a:pt x="8" y="104"/>
                    <a:pt x="8" y="103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ubicBezTo>
                    <a:pt x="12" y="103"/>
                    <a:pt x="12" y="102"/>
                    <a:pt x="12" y="101"/>
                  </a:cubicBezTo>
                  <a:cubicBezTo>
                    <a:pt x="12" y="102"/>
                    <a:pt x="13" y="102"/>
                    <a:pt x="12" y="103"/>
                  </a:cubicBezTo>
                  <a:close/>
                  <a:moveTo>
                    <a:pt x="8" y="103"/>
                  </a:moveTo>
                  <a:cubicBezTo>
                    <a:pt x="8" y="103"/>
                    <a:pt x="8" y="102"/>
                    <a:pt x="8" y="102"/>
                  </a:cubicBezTo>
                  <a:cubicBezTo>
                    <a:pt x="8" y="102"/>
                    <a:pt x="8" y="102"/>
                    <a:pt x="8" y="103"/>
                  </a:cubicBezTo>
                  <a:close/>
                  <a:moveTo>
                    <a:pt x="14" y="103"/>
                  </a:moveTo>
                  <a:cubicBezTo>
                    <a:pt x="14" y="103"/>
                    <a:pt x="14" y="103"/>
                    <a:pt x="15" y="103"/>
                  </a:cubicBezTo>
                  <a:cubicBezTo>
                    <a:pt x="15" y="104"/>
                    <a:pt x="14" y="103"/>
                    <a:pt x="14" y="103"/>
                  </a:cubicBezTo>
                  <a:close/>
                  <a:moveTo>
                    <a:pt x="10" y="104"/>
                  </a:moveTo>
                  <a:cubicBezTo>
                    <a:pt x="10" y="104"/>
                    <a:pt x="10" y="105"/>
                    <a:pt x="10" y="105"/>
                  </a:cubicBezTo>
                  <a:cubicBezTo>
                    <a:pt x="10" y="105"/>
                    <a:pt x="11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ubicBezTo>
                    <a:pt x="10" y="104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1" y="104"/>
                  </a:cubicBezTo>
                  <a:cubicBezTo>
                    <a:pt x="11" y="104"/>
                    <a:pt x="10" y="104"/>
                    <a:pt x="10" y="104"/>
                  </a:cubicBezTo>
                  <a:close/>
                  <a:moveTo>
                    <a:pt x="16" y="105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5"/>
                    <a:pt x="16" y="105"/>
                  </a:cubicBezTo>
                  <a:close/>
                  <a:moveTo>
                    <a:pt x="7" y="106"/>
                  </a:moveTo>
                  <a:cubicBezTo>
                    <a:pt x="7" y="106"/>
                    <a:pt x="7" y="106"/>
                    <a:pt x="7" y="105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7"/>
                    <a:pt x="7" y="106"/>
                    <a:pt x="7" y="106"/>
                  </a:cubicBezTo>
                  <a:close/>
                  <a:moveTo>
                    <a:pt x="10" y="105"/>
                  </a:move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6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9" y="110"/>
                  </a:moveTo>
                  <a:cubicBezTo>
                    <a:pt x="9" y="110"/>
                    <a:pt x="8" y="110"/>
                    <a:pt x="8" y="110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09"/>
                    <a:pt x="9" y="109"/>
                    <a:pt x="8" y="109"/>
                  </a:cubicBezTo>
                  <a:cubicBezTo>
                    <a:pt x="8" y="109"/>
                    <a:pt x="9" y="109"/>
                    <a:pt x="9" y="109"/>
                  </a:cubicBezTo>
                  <a:cubicBezTo>
                    <a:pt x="9" y="109"/>
                    <a:pt x="9" y="110"/>
                    <a:pt x="9" y="110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lose/>
                  <a:moveTo>
                    <a:pt x="7" y="113"/>
                  </a:moveTo>
                  <a:cubicBezTo>
                    <a:pt x="7" y="113"/>
                    <a:pt x="7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7" y="112"/>
                    <a:pt x="7" y="111"/>
                    <a:pt x="7" y="110"/>
                  </a:cubicBezTo>
                  <a:cubicBezTo>
                    <a:pt x="7" y="110"/>
                    <a:pt x="7" y="110"/>
                    <a:pt x="7" y="111"/>
                  </a:cubicBezTo>
                  <a:cubicBezTo>
                    <a:pt x="7" y="111"/>
                    <a:pt x="7" y="111"/>
                    <a:pt x="7" y="110"/>
                  </a:cubicBezTo>
                  <a:cubicBezTo>
                    <a:pt x="7" y="110"/>
                    <a:pt x="7" y="111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7" y="111"/>
                    <a:pt x="7" y="112"/>
                    <a:pt x="7" y="113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8" y="112"/>
                    <a:pt x="7" y="112"/>
                    <a:pt x="7" y="113"/>
                  </a:cubicBezTo>
                  <a:close/>
                  <a:moveTo>
                    <a:pt x="9" y="110"/>
                  </a:moveTo>
                  <a:cubicBezTo>
                    <a:pt x="9" y="110"/>
                    <a:pt x="9" y="111"/>
                    <a:pt x="9" y="111"/>
                  </a:cubicBezTo>
                  <a:cubicBezTo>
                    <a:pt x="8" y="111"/>
                    <a:pt x="9" y="110"/>
                    <a:pt x="8" y="110"/>
                  </a:cubicBezTo>
                  <a:cubicBezTo>
                    <a:pt x="8" y="110"/>
                    <a:pt x="9" y="110"/>
                    <a:pt x="9" y="110"/>
                  </a:cubicBezTo>
                  <a:close/>
                  <a:moveTo>
                    <a:pt x="9" y="115"/>
                  </a:moveTo>
                  <a:cubicBezTo>
                    <a:pt x="9" y="113"/>
                    <a:pt x="9" y="112"/>
                    <a:pt x="9" y="111"/>
                  </a:cubicBezTo>
                  <a:cubicBezTo>
                    <a:pt x="9" y="111"/>
                    <a:pt x="9" y="111"/>
                    <a:pt x="9" y="112"/>
                  </a:cubicBezTo>
                  <a:cubicBezTo>
                    <a:pt x="9" y="112"/>
                    <a:pt x="9" y="112"/>
                    <a:pt x="10" y="112"/>
                  </a:cubicBezTo>
                  <a:cubicBezTo>
                    <a:pt x="9" y="111"/>
                    <a:pt x="10" y="111"/>
                    <a:pt x="9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2"/>
                  </a:cubicBezTo>
                  <a:cubicBezTo>
                    <a:pt x="10" y="112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0" y="112"/>
                    <a:pt x="11" y="112"/>
                    <a:pt x="10" y="113"/>
                  </a:cubicBezTo>
                  <a:cubicBezTo>
                    <a:pt x="10" y="113"/>
                    <a:pt x="10" y="112"/>
                    <a:pt x="10" y="112"/>
                  </a:cubicBezTo>
                  <a:cubicBezTo>
                    <a:pt x="10" y="112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2"/>
                  </a:cubicBezTo>
                  <a:cubicBezTo>
                    <a:pt x="10" y="113"/>
                    <a:pt x="10" y="113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0" y="114"/>
                    <a:pt x="10" y="115"/>
                  </a:cubicBezTo>
                  <a:cubicBezTo>
                    <a:pt x="10" y="115"/>
                    <a:pt x="10" y="114"/>
                    <a:pt x="10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10" y="116"/>
                    <a:pt x="10" y="116"/>
                  </a:cubicBez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10" y="114"/>
                    <a:pt x="10" y="114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9" y="114"/>
                    <a:pt x="9" y="114"/>
                  </a:cubicBezTo>
                  <a:cubicBezTo>
                    <a:pt x="9" y="114"/>
                    <a:pt x="10" y="114"/>
                    <a:pt x="10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1"/>
                  </a:moveTo>
                  <a:cubicBezTo>
                    <a:pt x="9" y="112"/>
                    <a:pt x="9" y="111"/>
                    <a:pt x="9" y="111"/>
                  </a:cubicBezTo>
                  <a:cubicBezTo>
                    <a:pt x="9" y="111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2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1"/>
                    <a:pt x="9" y="111"/>
                    <a:pt x="8" y="111"/>
                  </a:cubicBezTo>
                  <a:cubicBezTo>
                    <a:pt x="8" y="111"/>
                    <a:pt x="9" y="111"/>
                    <a:pt x="9" y="111"/>
                  </a:cubicBezTo>
                  <a:cubicBezTo>
                    <a:pt x="9" y="111"/>
                    <a:pt x="9" y="111"/>
                    <a:pt x="9" y="111"/>
                  </a:cubicBezTo>
                  <a:close/>
                  <a:moveTo>
                    <a:pt x="11" y="113"/>
                  </a:moveTo>
                  <a:cubicBezTo>
                    <a:pt x="11" y="113"/>
                    <a:pt x="11" y="113"/>
                    <a:pt x="11" y="113"/>
                  </a:cubicBezTo>
                  <a:cubicBezTo>
                    <a:pt x="11" y="113"/>
                    <a:pt x="11" y="114"/>
                    <a:pt x="11" y="113"/>
                  </a:cubicBezTo>
                  <a:cubicBezTo>
                    <a:pt x="11" y="114"/>
                    <a:pt x="11" y="114"/>
                    <a:pt x="11" y="115"/>
                  </a:cubicBezTo>
                  <a:cubicBezTo>
                    <a:pt x="10" y="114"/>
                    <a:pt x="11" y="114"/>
                    <a:pt x="11" y="113"/>
                  </a:cubicBezTo>
                  <a:close/>
                  <a:moveTo>
                    <a:pt x="14" y="118"/>
                  </a:move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9"/>
                  </a:cubicBezTo>
                  <a:cubicBezTo>
                    <a:pt x="14" y="118"/>
                    <a:pt x="14" y="118"/>
                    <a:pt x="14" y="118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9" y="121"/>
                    <a:pt x="9" y="121"/>
                  </a:cubicBezTo>
                  <a:cubicBezTo>
                    <a:pt x="9" y="121"/>
                    <a:pt x="9" y="122"/>
                    <a:pt x="9" y="122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8" y="122"/>
                    <a:pt x="9" y="121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19"/>
                  </a:cubicBezTo>
                  <a:cubicBezTo>
                    <a:pt x="9" y="119"/>
                    <a:pt x="9" y="120"/>
                    <a:pt x="9" y="119"/>
                  </a:cubicBezTo>
                  <a:cubicBezTo>
                    <a:pt x="9" y="120"/>
                    <a:pt x="9" y="120"/>
                    <a:pt x="9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0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8" y="121"/>
                  </a:moveTo>
                  <a:cubicBezTo>
                    <a:pt x="18" y="121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lose/>
                  <a:moveTo>
                    <a:pt x="13" y="124"/>
                  </a:move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2"/>
                    <a:pt x="13" y="123"/>
                    <a:pt x="13" y="123"/>
                  </a:cubicBezTo>
                  <a:cubicBezTo>
                    <a:pt x="13" y="123"/>
                    <a:pt x="13" y="124"/>
                    <a:pt x="13" y="123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5"/>
                  </a:cubicBezTo>
                  <a:cubicBezTo>
                    <a:pt x="12" y="125"/>
                    <a:pt x="13" y="124"/>
                    <a:pt x="13" y="124"/>
                  </a:cubicBezTo>
                  <a:close/>
                  <a:moveTo>
                    <a:pt x="13" y="121"/>
                  </a:move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3"/>
                  </a:cubicBezTo>
                  <a:cubicBezTo>
                    <a:pt x="13" y="122"/>
                    <a:pt x="13" y="122"/>
                    <a:pt x="13" y="121"/>
                  </a:cubicBezTo>
                  <a:close/>
                  <a:moveTo>
                    <a:pt x="18" y="123"/>
                  </a:moveTo>
                  <a:cubicBezTo>
                    <a:pt x="18" y="123"/>
                    <a:pt x="18" y="123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8" y="123"/>
                    <a:pt x="18" y="122"/>
                    <a:pt x="18" y="122"/>
                  </a:cubicBezTo>
                  <a:cubicBezTo>
                    <a:pt x="18" y="122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4"/>
                    <a:pt x="18" y="124"/>
                  </a:cubicBezTo>
                  <a:cubicBezTo>
                    <a:pt x="18" y="124"/>
                    <a:pt x="18" y="123"/>
                    <a:pt x="18" y="123"/>
                  </a:cubicBezTo>
                  <a:close/>
                  <a:moveTo>
                    <a:pt x="9" y="124"/>
                  </a:moveTo>
                  <a:cubicBezTo>
                    <a:pt x="9" y="124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4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8" y="125"/>
                    <a:pt x="8" y="125"/>
                  </a:cubicBezTo>
                  <a:cubicBezTo>
                    <a:pt x="8" y="125"/>
                    <a:pt x="8" y="125"/>
                    <a:pt x="9" y="125"/>
                  </a:cubicBezTo>
                  <a:cubicBezTo>
                    <a:pt x="8" y="125"/>
                    <a:pt x="9" y="124"/>
                    <a:pt x="8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8" y="124"/>
                    <a:pt x="9" y="123"/>
                    <a:pt x="8" y="123"/>
                  </a:cubicBez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lose/>
                  <a:moveTo>
                    <a:pt x="19" y="124"/>
                  </a:moveTo>
                  <a:cubicBezTo>
                    <a:pt x="19" y="124"/>
                    <a:pt x="19" y="124"/>
                    <a:pt x="19" y="124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lose/>
                  <a:moveTo>
                    <a:pt x="17" y="132"/>
                  </a:move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2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6"/>
                    <a:pt x="17" y="136"/>
                  </a:cubicBezTo>
                  <a:cubicBezTo>
                    <a:pt x="16" y="136"/>
                    <a:pt x="17" y="136"/>
                    <a:pt x="17" y="135"/>
                  </a:cubicBezTo>
                  <a:cubicBezTo>
                    <a:pt x="17" y="135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8" y="132"/>
                  </a:moveTo>
                  <a:cubicBezTo>
                    <a:pt x="18" y="133"/>
                    <a:pt x="17" y="133"/>
                    <a:pt x="18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3"/>
                    <a:pt x="18" y="132"/>
                  </a:cubicBezTo>
                  <a:close/>
                  <a:moveTo>
                    <a:pt x="15" y="136"/>
                  </a:moveTo>
                  <a:cubicBezTo>
                    <a:pt x="15" y="136"/>
                    <a:pt x="15" y="136"/>
                    <a:pt x="15" y="135"/>
                  </a:cubicBezTo>
                  <a:cubicBezTo>
                    <a:pt x="15" y="135"/>
                    <a:pt x="15" y="136"/>
                    <a:pt x="15" y="136"/>
                  </a:cubicBezTo>
                  <a:cubicBezTo>
                    <a:pt x="16" y="136"/>
                    <a:pt x="15" y="136"/>
                    <a:pt x="15" y="135"/>
                  </a:cubicBezTo>
                  <a:cubicBezTo>
                    <a:pt x="16" y="136"/>
                    <a:pt x="15" y="136"/>
                    <a:pt x="15" y="136"/>
                  </a:cubicBezTo>
                  <a:close/>
                  <a:moveTo>
                    <a:pt x="16" y="138"/>
                  </a:move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40"/>
                  </a:cubicBezTo>
                  <a:cubicBezTo>
                    <a:pt x="16" y="140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5" y="139"/>
                    <a:pt x="16" y="138"/>
                    <a:pt x="15" y="138"/>
                  </a:cubicBezTo>
                  <a:cubicBezTo>
                    <a:pt x="16" y="138"/>
                    <a:pt x="15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5" y="137"/>
                    <a:pt x="16" y="137"/>
                  </a:cubicBezTo>
                  <a:cubicBezTo>
                    <a:pt x="16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5"/>
                    <a:pt x="16" y="136"/>
                    <a:pt x="16" y="136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6" y="135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ubicBezTo>
                    <a:pt x="16" y="133"/>
                    <a:pt x="15" y="132"/>
                    <a:pt x="16" y="132"/>
                  </a:cubicBezTo>
                  <a:cubicBezTo>
                    <a:pt x="16" y="133"/>
                    <a:pt x="16" y="133"/>
                    <a:pt x="16" y="134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6"/>
                  </a:cubicBezTo>
                  <a:cubicBezTo>
                    <a:pt x="16" y="136"/>
                    <a:pt x="16" y="136"/>
                    <a:pt x="16" y="135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6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7"/>
                    <a:pt x="16" y="138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6" y="136"/>
                  </a:move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6"/>
                    <a:pt x="16" y="136"/>
                  </a:cubicBezTo>
                  <a:close/>
                  <a:moveTo>
                    <a:pt x="17" y="132"/>
                  </a:move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3"/>
                  </a:cubicBezTo>
                  <a:cubicBezTo>
                    <a:pt x="15" y="133"/>
                    <a:pt x="15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lose/>
                  <a:moveTo>
                    <a:pt x="18" y="134"/>
                  </a:move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lose/>
                  <a:moveTo>
                    <a:pt x="12" y="136"/>
                  </a:moveTo>
                  <a:cubicBezTo>
                    <a:pt x="12" y="136"/>
                    <a:pt x="12" y="136"/>
                    <a:pt x="12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3" y="135"/>
                    <a:pt x="13" y="136"/>
                    <a:pt x="12" y="136"/>
                  </a:cubicBezTo>
                  <a:close/>
                  <a:moveTo>
                    <a:pt x="18" y="134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18" y="135"/>
                    <a:pt x="19" y="135"/>
                    <a:pt x="19" y="135"/>
                  </a:cubicBezTo>
                  <a:cubicBezTo>
                    <a:pt x="19" y="135"/>
                    <a:pt x="18" y="135"/>
                    <a:pt x="19" y="135"/>
                  </a:cubicBezTo>
                  <a:cubicBezTo>
                    <a:pt x="19" y="135"/>
                    <a:pt x="18" y="135"/>
                    <a:pt x="18" y="135"/>
                  </a:cubicBezTo>
                  <a:cubicBezTo>
                    <a:pt x="18" y="135"/>
                    <a:pt x="19" y="134"/>
                    <a:pt x="18" y="134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8" y="139"/>
                  </a:moveTo>
                  <a:cubicBezTo>
                    <a:pt x="18" y="139"/>
                    <a:pt x="18" y="139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6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8"/>
                    <a:pt x="18" y="138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40"/>
                    <a:pt x="18" y="140"/>
                  </a:cubicBezTo>
                  <a:cubicBezTo>
                    <a:pt x="18" y="140"/>
                    <a:pt x="18" y="139"/>
                    <a:pt x="18" y="139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1"/>
                    <a:pt x="18" y="142"/>
                    <a:pt x="19" y="141"/>
                  </a:cubicBezTo>
                  <a:cubicBezTo>
                    <a:pt x="19" y="142"/>
                    <a:pt x="18" y="142"/>
                    <a:pt x="18" y="142"/>
                  </a:cubicBezTo>
                  <a:cubicBezTo>
                    <a:pt x="18" y="141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0"/>
                    <a:pt x="18" y="139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1"/>
                  </a:cubicBezTo>
                  <a:cubicBezTo>
                    <a:pt x="17" y="141"/>
                    <a:pt x="17" y="141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1"/>
                    <a:pt x="17" y="140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0"/>
                    <a:pt x="17" y="140"/>
                  </a:cubicBezTo>
                  <a:close/>
                  <a:moveTo>
                    <a:pt x="17" y="138"/>
                  </a:moveTo>
                  <a:cubicBezTo>
                    <a:pt x="17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8"/>
                    <a:pt x="17" y="138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40"/>
                    <a:pt x="17" y="140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7" y="139"/>
                  </a:cubicBezTo>
                  <a:close/>
                  <a:moveTo>
                    <a:pt x="16" y="141"/>
                  </a:moveTo>
                  <a:cubicBezTo>
                    <a:pt x="16" y="142"/>
                    <a:pt x="17" y="142"/>
                    <a:pt x="17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0"/>
                    <a:pt x="17" y="141"/>
                    <a:pt x="16" y="141"/>
                  </a:cubicBezTo>
                  <a:close/>
                  <a:moveTo>
                    <a:pt x="18" y="144"/>
                  </a:moveTo>
                  <a:cubicBezTo>
                    <a:pt x="18" y="143"/>
                    <a:pt x="18" y="143"/>
                    <a:pt x="18" y="143"/>
                  </a:cubicBezTo>
                  <a:cubicBezTo>
                    <a:pt x="19" y="143"/>
                    <a:pt x="19" y="144"/>
                    <a:pt x="19" y="143"/>
                  </a:cubicBezTo>
                  <a:cubicBezTo>
                    <a:pt x="19" y="143"/>
                    <a:pt x="19" y="144"/>
                    <a:pt x="19" y="144"/>
                  </a:cubicBezTo>
                  <a:cubicBezTo>
                    <a:pt x="19" y="144"/>
                    <a:pt x="19" y="143"/>
                    <a:pt x="18" y="144"/>
                  </a:cubicBezTo>
                  <a:close/>
                  <a:moveTo>
                    <a:pt x="19" y="144"/>
                  </a:moveTo>
                  <a:cubicBezTo>
                    <a:pt x="19" y="144"/>
                    <a:pt x="19" y="143"/>
                    <a:pt x="19" y="143"/>
                  </a:cubicBezTo>
                  <a:cubicBezTo>
                    <a:pt x="19" y="144"/>
                    <a:pt x="19" y="144"/>
                    <a:pt x="19" y="144"/>
                  </a:cubicBezTo>
                  <a:close/>
                  <a:moveTo>
                    <a:pt x="16" y="148"/>
                  </a:move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7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6" y="148"/>
                  </a:moveTo>
                  <a:cubicBezTo>
                    <a:pt x="17" y="148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8"/>
                  </a:cubicBezTo>
                  <a:cubicBezTo>
                    <a:pt x="16" y="148"/>
                    <a:pt x="16" y="149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4"/>
                    <a:pt x="18" y="155"/>
                  </a:cubicBezTo>
                  <a:cubicBezTo>
                    <a:pt x="18" y="155"/>
                    <a:pt x="19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ubicBezTo>
                    <a:pt x="18" y="154"/>
                    <a:pt x="18" y="154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4"/>
                    <a:pt x="18" y="154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lose/>
                  <a:moveTo>
                    <a:pt x="19" y="155"/>
                  </a:move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lose/>
                  <a:moveTo>
                    <a:pt x="19" y="156"/>
                  </a:moveTo>
                  <a:cubicBezTo>
                    <a:pt x="19" y="156"/>
                    <a:pt x="19" y="156"/>
                    <a:pt x="19" y="155"/>
                  </a:cubicBezTo>
                  <a:cubicBezTo>
                    <a:pt x="19" y="155"/>
                    <a:pt x="19" y="156"/>
                    <a:pt x="19" y="156"/>
                  </a:cubicBezTo>
                  <a:cubicBezTo>
                    <a:pt x="19" y="157"/>
                    <a:pt x="19" y="156"/>
                    <a:pt x="19" y="157"/>
                  </a:cubicBezTo>
                  <a:cubicBezTo>
                    <a:pt x="19" y="157"/>
                    <a:pt x="19" y="156"/>
                    <a:pt x="19" y="156"/>
                  </a:cubicBezTo>
                  <a:close/>
                  <a:moveTo>
                    <a:pt x="19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3"/>
                    <a:pt x="19" y="162"/>
                    <a:pt x="19" y="162"/>
                  </a:cubicBezTo>
                  <a:cubicBezTo>
                    <a:pt x="19" y="163"/>
                    <a:pt x="19" y="164"/>
                    <a:pt x="19" y="165"/>
                  </a:cubicBezTo>
                  <a:cubicBezTo>
                    <a:pt x="19" y="165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8"/>
                    <a:pt x="19" y="168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6"/>
                    <a:pt x="19" y="165"/>
                    <a:pt x="19" y="165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2"/>
                    <a:pt x="18" y="161"/>
                    <a:pt x="18" y="160"/>
                  </a:cubicBezTo>
                  <a:cubicBezTo>
                    <a:pt x="19" y="160"/>
                    <a:pt x="18" y="160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8"/>
                    <a:pt x="19" y="157"/>
                    <a:pt x="19" y="156"/>
                  </a:cubicBezTo>
                  <a:cubicBezTo>
                    <a:pt x="19" y="157"/>
                    <a:pt x="19" y="160"/>
                    <a:pt x="19" y="161"/>
                  </a:cubicBezTo>
                  <a:cubicBezTo>
                    <a:pt x="19" y="161"/>
                    <a:pt x="19" y="161"/>
                    <a:pt x="19" y="162"/>
                  </a:cubicBezTo>
                  <a:close/>
                  <a:moveTo>
                    <a:pt x="18" y="156"/>
                  </a:move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lose/>
                  <a:moveTo>
                    <a:pt x="20" y="170"/>
                  </a:moveTo>
                  <a:cubicBezTo>
                    <a:pt x="20" y="168"/>
                    <a:pt x="20" y="166"/>
                    <a:pt x="20" y="165"/>
                  </a:cubicBezTo>
                  <a:cubicBezTo>
                    <a:pt x="20" y="166"/>
                    <a:pt x="20" y="168"/>
                    <a:pt x="20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5"/>
                    <a:pt x="19" y="175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5"/>
                  </a:cubicBezTo>
                  <a:cubicBezTo>
                    <a:pt x="19" y="175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5"/>
                    <a:pt x="19" y="174"/>
                  </a:cubicBezTo>
                  <a:cubicBezTo>
                    <a:pt x="19" y="175"/>
                    <a:pt x="19" y="175"/>
                    <a:pt x="19" y="175"/>
                  </a:cubicBezTo>
                  <a:close/>
                  <a:moveTo>
                    <a:pt x="21" y="182"/>
                  </a:moveTo>
                  <a:cubicBezTo>
                    <a:pt x="21" y="182"/>
                    <a:pt x="21" y="183"/>
                    <a:pt x="21" y="183"/>
                  </a:cubicBezTo>
                  <a:cubicBezTo>
                    <a:pt x="21" y="183"/>
                    <a:pt x="21" y="183"/>
                    <a:pt x="20" y="183"/>
                  </a:cubicBezTo>
                  <a:cubicBezTo>
                    <a:pt x="21" y="183"/>
                    <a:pt x="20" y="182"/>
                    <a:pt x="21" y="182"/>
                  </a:cubicBezTo>
                  <a:cubicBezTo>
                    <a:pt x="20" y="182"/>
                    <a:pt x="20" y="182"/>
                    <a:pt x="20" y="182"/>
                  </a:cubicBezTo>
                  <a:cubicBezTo>
                    <a:pt x="20" y="181"/>
                    <a:pt x="21" y="182"/>
                    <a:pt x="21" y="181"/>
                  </a:cubicBezTo>
                  <a:cubicBezTo>
                    <a:pt x="21" y="181"/>
                    <a:pt x="21" y="182"/>
                    <a:pt x="20" y="182"/>
                  </a:cubicBezTo>
                  <a:cubicBezTo>
                    <a:pt x="20" y="181"/>
                    <a:pt x="21" y="181"/>
                    <a:pt x="21" y="181"/>
                  </a:cubicBezTo>
                  <a:cubicBezTo>
                    <a:pt x="21" y="182"/>
                    <a:pt x="21" y="182"/>
                    <a:pt x="21" y="181"/>
                  </a:cubicBezTo>
                  <a:cubicBezTo>
                    <a:pt x="21" y="182"/>
                    <a:pt x="21" y="182"/>
                    <a:pt x="21" y="182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3"/>
                    <a:pt x="21" y="192"/>
                  </a:cubicBezTo>
                  <a:cubicBezTo>
                    <a:pt x="21" y="192"/>
                    <a:pt x="21" y="192"/>
                    <a:pt x="21" y="193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1"/>
                    <a:pt x="21" y="190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90"/>
                  </a:cubicBezTo>
                  <a:cubicBezTo>
                    <a:pt x="21" y="189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1" y="188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90"/>
                    <a:pt x="21" y="189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1"/>
                  </a:cubicBezTo>
                  <a:cubicBezTo>
                    <a:pt x="21" y="190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2"/>
                  </a:cubicBezTo>
                  <a:cubicBezTo>
                    <a:pt x="21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1" y="192"/>
                  </a:cubicBezTo>
                  <a:cubicBezTo>
                    <a:pt x="22" y="192"/>
                    <a:pt x="22" y="193"/>
                    <a:pt x="22" y="193"/>
                  </a:cubicBezTo>
                  <a:cubicBezTo>
                    <a:pt x="22" y="193"/>
                    <a:pt x="21" y="193"/>
                    <a:pt x="22" y="194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93"/>
                    <a:pt x="22" y="194"/>
                    <a:pt x="22" y="194"/>
                  </a:cubicBezTo>
                  <a:cubicBezTo>
                    <a:pt x="22" y="194"/>
                    <a:pt x="22" y="193"/>
                    <a:pt x="22" y="193"/>
                  </a:cubicBezTo>
                  <a:cubicBezTo>
                    <a:pt x="22" y="194"/>
                    <a:pt x="22" y="195"/>
                    <a:pt x="22" y="196"/>
                  </a:cubicBezTo>
                  <a:cubicBezTo>
                    <a:pt x="22" y="196"/>
                    <a:pt x="22" y="195"/>
                    <a:pt x="22" y="195"/>
                  </a:cubicBezTo>
                  <a:cubicBezTo>
                    <a:pt x="22" y="195"/>
                    <a:pt x="22" y="195"/>
                    <a:pt x="22" y="194"/>
                  </a:cubicBezTo>
                  <a:cubicBezTo>
                    <a:pt x="22" y="195"/>
                    <a:pt x="22" y="195"/>
                    <a:pt x="22" y="195"/>
                  </a:cubicBezTo>
                  <a:cubicBezTo>
                    <a:pt x="22" y="195"/>
                    <a:pt x="22" y="195"/>
                    <a:pt x="21" y="195"/>
                  </a:cubicBezTo>
                  <a:cubicBezTo>
                    <a:pt x="21" y="194"/>
                    <a:pt x="22" y="194"/>
                    <a:pt x="22" y="194"/>
                  </a:cubicBezTo>
                  <a:cubicBezTo>
                    <a:pt x="21" y="194"/>
                    <a:pt x="22" y="194"/>
                    <a:pt x="21" y="194"/>
                  </a:cubicBezTo>
                  <a:close/>
                  <a:moveTo>
                    <a:pt x="20" y="188"/>
                  </a:moveTo>
                  <a:cubicBezTo>
                    <a:pt x="20" y="188"/>
                    <a:pt x="20" y="188"/>
                    <a:pt x="20" y="189"/>
                  </a:cubicBezTo>
                  <a:cubicBezTo>
                    <a:pt x="20" y="189"/>
                    <a:pt x="20" y="188"/>
                    <a:pt x="20" y="188"/>
                  </a:cubicBezTo>
                  <a:close/>
                  <a:moveTo>
                    <a:pt x="20" y="189"/>
                  </a:move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0" y="189"/>
                    <a:pt x="20" y="189"/>
                  </a:cubicBezTo>
                  <a:close/>
                  <a:moveTo>
                    <a:pt x="20" y="190"/>
                  </a:moveTo>
                  <a:cubicBezTo>
                    <a:pt x="20" y="190"/>
                    <a:pt x="20" y="190"/>
                    <a:pt x="20" y="191"/>
                  </a:cubicBezTo>
                  <a:cubicBezTo>
                    <a:pt x="20" y="191"/>
                    <a:pt x="20" y="190"/>
                    <a:pt x="20" y="190"/>
                  </a:cubicBezTo>
                  <a:close/>
                  <a:moveTo>
                    <a:pt x="22" y="199"/>
                  </a:moveTo>
                  <a:cubicBezTo>
                    <a:pt x="22" y="199"/>
                    <a:pt x="22" y="199"/>
                    <a:pt x="22" y="198"/>
                  </a:cubicBezTo>
                  <a:cubicBezTo>
                    <a:pt x="22" y="198"/>
                    <a:pt x="22" y="199"/>
                    <a:pt x="22" y="199"/>
                  </a:cubicBezTo>
                  <a:close/>
                  <a:moveTo>
                    <a:pt x="20" y="201"/>
                  </a:moveTo>
                  <a:cubicBezTo>
                    <a:pt x="20" y="201"/>
                    <a:pt x="20" y="201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ubicBezTo>
                    <a:pt x="20" y="200"/>
                    <a:pt x="20" y="200"/>
                    <a:pt x="20" y="200"/>
                  </a:cubicBezTo>
                  <a:cubicBezTo>
                    <a:pt x="20" y="200"/>
                    <a:pt x="20" y="201"/>
                    <a:pt x="20" y="201"/>
                  </a:cubicBezTo>
                  <a:close/>
                  <a:moveTo>
                    <a:pt x="21" y="202"/>
                  </a:moveTo>
                  <a:cubicBezTo>
                    <a:pt x="21" y="202"/>
                    <a:pt x="20" y="202"/>
                    <a:pt x="20" y="202"/>
                  </a:cubicBezTo>
                  <a:cubicBezTo>
                    <a:pt x="20" y="202"/>
                    <a:pt x="20" y="202"/>
                    <a:pt x="20" y="202"/>
                  </a:cubicBezTo>
                  <a:cubicBezTo>
                    <a:pt x="20" y="202"/>
                    <a:pt x="20" y="201"/>
                    <a:pt x="20" y="201"/>
                  </a:cubicBezTo>
                  <a:cubicBezTo>
                    <a:pt x="20" y="201"/>
                    <a:pt x="20" y="202"/>
                    <a:pt x="21" y="202"/>
                  </a:cubicBezTo>
                  <a:close/>
                  <a:moveTo>
                    <a:pt x="18" y="211"/>
                  </a:moveTo>
                  <a:cubicBezTo>
                    <a:pt x="18" y="211"/>
                    <a:pt x="18" y="211"/>
                    <a:pt x="18" y="211"/>
                  </a:cubicBezTo>
                  <a:cubicBezTo>
                    <a:pt x="18" y="211"/>
                    <a:pt x="18" y="211"/>
                    <a:pt x="18" y="212"/>
                  </a:cubicBezTo>
                  <a:cubicBezTo>
                    <a:pt x="18" y="212"/>
                    <a:pt x="18" y="211"/>
                    <a:pt x="18" y="211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4"/>
                    <a:pt x="22" y="214"/>
                  </a:cubicBezTo>
                  <a:cubicBezTo>
                    <a:pt x="21" y="214"/>
                    <a:pt x="22" y="213"/>
                    <a:pt x="22" y="213"/>
                  </a:cubicBezTo>
                  <a:close/>
                  <a:moveTo>
                    <a:pt x="0" y="21"/>
                  </a:moveTo>
                  <a:cubicBezTo>
                    <a:pt x="0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1"/>
                    <a:pt x="0" y="21"/>
                  </a:cubicBezTo>
                  <a:close/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9"/>
                  </a:cubicBezTo>
                  <a:cubicBezTo>
                    <a:pt x="5" y="49"/>
                    <a:pt x="5" y="48"/>
                    <a:pt x="5" y="48"/>
                  </a:cubicBezTo>
                  <a:close/>
                  <a:moveTo>
                    <a:pt x="6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8"/>
                    <a:pt x="6" y="48"/>
                    <a:pt x="6" y="48"/>
                  </a:cubicBezTo>
                  <a:close/>
                  <a:moveTo>
                    <a:pt x="6" y="50"/>
                  </a:moveTo>
                  <a:cubicBezTo>
                    <a:pt x="6" y="50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2"/>
                    <a:pt x="10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lose/>
                  <a:moveTo>
                    <a:pt x="14" y="60"/>
                  </a:moveTo>
                  <a:cubicBezTo>
                    <a:pt x="14" y="60"/>
                    <a:pt x="13" y="60"/>
                    <a:pt x="14" y="60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13" y="60"/>
                    <a:pt x="13" y="59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3" y="59"/>
                    <a:pt x="14" y="60"/>
                  </a:cubicBezTo>
                  <a:close/>
                  <a:moveTo>
                    <a:pt x="7" y="63"/>
                  </a:moveTo>
                  <a:cubicBezTo>
                    <a:pt x="7" y="63"/>
                    <a:pt x="7" y="64"/>
                    <a:pt x="7" y="64"/>
                  </a:cubicBezTo>
                  <a:cubicBezTo>
                    <a:pt x="7" y="64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lose/>
                  <a:moveTo>
                    <a:pt x="15" y="74"/>
                  </a:moveTo>
                  <a:cubicBezTo>
                    <a:pt x="15" y="75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74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2"/>
                    <a:pt x="16" y="82"/>
                  </a:cubicBezTo>
                  <a:cubicBezTo>
                    <a:pt x="16" y="82"/>
                    <a:pt x="16" y="82"/>
                    <a:pt x="16" y="83"/>
                  </a:cubicBezTo>
                  <a:cubicBezTo>
                    <a:pt x="16" y="82"/>
                    <a:pt x="16" y="81"/>
                    <a:pt x="16" y="81"/>
                  </a:cubicBezTo>
                  <a:close/>
                  <a:moveTo>
                    <a:pt x="10" y="82"/>
                  </a:moveTo>
                  <a:cubicBezTo>
                    <a:pt x="10" y="82"/>
                    <a:pt x="10" y="83"/>
                    <a:pt x="10" y="82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lnTo>
                    <a:pt x="10" y="82"/>
                  </a:lnTo>
                  <a:close/>
                  <a:moveTo>
                    <a:pt x="12" y="89"/>
                  </a:move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8" y="93"/>
                    <a:pt x="7" y="94"/>
                    <a:pt x="7" y="94"/>
                  </a:cubicBezTo>
                  <a:close/>
                  <a:moveTo>
                    <a:pt x="12" y="98"/>
                  </a:moveTo>
                  <a:cubicBezTo>
                    <a:pt x="12" y="98"/>
                    <a:pt x="12" y="97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3" y="97"/>
                  </a:cubicBezTo>
                  <a:cubicBezTo>
                    <a:pt x="13" y="97"/>
                    <a:pt x="12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8"/>
                    <a:pt x="12" y="98"/>
                  </a:cubicBezTo>
                  <a:close/>
                  <a:moveTo>
                    <a:pt x="12" y="99"/>
                  </a:move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8"/>
                  </a:cubicBezTo>
                  <a:cubicBezTo>
                    <a:pt x="12" y="98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lose/>
                  <a:moveTo>
                    <a:pt x="11" y="103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2"/>
                  </a:cubicBezTo>
                  <a:cubicBezTo>
                    <a:pt x="11" y="102"/>
                    <a:pt x="11" y="103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2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1" y="101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lose/>
                  <a:moveTo>
                    <a:pt x="7" y="105"/>
                  </a:moveTo>
                  <a:cubicBezTo>
                    <a:pt x="7" y="105"/>
                    <a:pt x="8" y="104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8" y="106"/>
                    <a:pt x="7" y="105"/>
                    <a:pt x="7" y="105"/>
                  </a:cubicBezTo>
                  <a:close/>
                  <a:moveTo>
                    <a:pt x="13" y="106"/>
                  </a:moveTo>
                  <a:cubicBezTo>
                    <a:pt x="13" y="106"/>
                    <a:pt x="13" y="106"/>
                    <a:pt x="13" y="106"/>
                  </a:cubicBezTo>
                  <a:cubicBezTo>
                    <a:pt x="13" y="107"/>
                    <a:pt x="13" y="106"/>
                    <a:pt x="13" y="106"/>
                  </a:cubicBezTo>
                  <a:cubicBezTo>
                    <a:pt x="13" y="106"/>
                    <a:pt x="13" y="106"/>
                    <a:pt x="13" y="105"/>
                  </a:cubicBezTo>
                  <a:cubicBezTo>
                    <a:pt x="13" y="105"/>
                    <a:pt x="13" y="105"/>
                    <a:pt x="13" y="106"/>
                  </a:cubicBezTo>
                  <a:close/>
                  <a:moveTo>
                    <a:pt x="15" y="133"/>
                  </a:move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1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7" y="142"/>
                  </a:moveTo>
                  <a:cubicBezTo>
                    <a:pt x="17" y="142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8" y="141"/>
                    <a:pt x="17" y="142"/>
                    <a:pt x="17" y="143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65ED5FE-9B8B-4663-994D-0C03DCE41FA8}"/>
                </a:ext>
              </a:extLst>
            </p:cNvPr>
            <p:cNvSpPr/>
            <p:nvPr/>
          </p:nvSpPr>
          <p:spPr bwMode="auto">
            <a:xfrm>
              <a:off x="7589838" y="1660525"/>
              <a:ext cx="161925" cy="303213"/>
            </a:xfrm>
            <a:custGeom>
              <a:avLst/>
              <a:gdLst>
                <a:gd name="T0" fmla="*/ 44 w 66"/>
                <a:gd name="T1" fmla="*/ 27 h 123"/>
                <a:gd name="T2" fmla="*/ 45 w 66"/>
                <a:gd name="T3" fmla="*/ 32 h 123"/>
                <a:gd name="T4" fmla="*/ 42 w 66"/>
                <a:gd name="T5" fmla="*/ 35 h 123"/>
                <a:gd name="T6" fmla="*/ 40 w 66"/>
                <a:gd name="T7" fmla="*/ 37 h 123"/>
                <a:gd name="T8" fmla="*/ 37 w 66"/>
                <a:gd name="T9" fmla="*/ 42 h 123"/>
                <a:gd name="T10" fmla="*/ 44 w 66"/>
                <a:gd name="T11" fmla="*/ 49 h 123"/>
                <a:gd name="T12" fmla="*/ 40 w 66"/>
                <a:gd name="T13" fmla="*/ 55 h 123"/>
                <a:gd name="T14" fmla="*/ 32 w 66"/>
                <a:gd name="T15" fmla="*/ 53 h 123"/>
                <a:gd name="T16" fmla="*/ 35 w 66"/>
                <a:gd name="T17" fmla="*/ 57 h 123"/>
                <a:gd name="T18" fmla="*/ 29 w 66"/>
                <a:gd name="T19" fmla="*/ 60 h 123"/>
                <a:gd name="T20" fmla="*/ 26 w 66"/>
                <a:gd name="T21" fmla="*/ 66 h 123"/>
                <a:gd name="T22" fmla="*/ 25 w 66"/>
                <a:gd name="T23" fmla="*/ 71 h 123"/>
                <a:gd name="T24" fmla="*/ 28 w 66"/>
                <a:gd name="T25" fmla="*/ 79 h 123"/>
                <a:gd name="T26" fmla="*/ 22 w 66"/>
                <a:gd name="T27" fmla="*/ 80 h 123"/>
                <a:gd name="T28" fmla="*/ 23 w 66"/>
                <a:gd name="T29" fmla="*/ 89 h 123"/>
                <a:gd name="T30" fmla="*/ 12 w 66"/>
                <a:gd name="T31" fmla="*/ 111 h 123"/>
                <a:gd name="T32" fmla="*/ 8 w 66"/>
                <a:gd name="T33" fmla="*/ 122 h 123"/>
                <a:gd name="T34" fmla="*/ 51 w 66"/>
                <a:gd name="T35" fmla="*/ 33 h 123"/>
                <a:gd name="T36" fmla="*/ 48 w 66"/>
                <a:gd name="T37" fmla="*/ 38 h 123"/>
                <a:gd name="T38" fmla="*/ 49 w 66"/>
                <a:gd name="T39" fmla="*/ 32 h 123"/>
                <a:gd name="T40" fmla="*/ 45 w 66"/>
                <a:gd name="T41" fmla="*/ 35 h 123"/>
                <a:gd name="T42" fmla="*/ 49 w 66"/>
                <a:gd name="T43" fmla="*/ 26 h 123"/>
                <a:gd name="T44" fmla="*/ 46 w 66"/>
                <a:gd name="T45" fmla="*/ 24 h 123"/>
                <a:gd name="T46" fmla="*/ 47 w 66"/>
                <a:gd name="T47" fmla="*/ 14 h 123"/>
                <a:gd name="T48" fmla="*/ 47 w 66"/>
                <a:gd name="T49" fmla="*/ 18 h 123"/>
                <a:gd name="T50" fmla="*/ 48 w 66"/>
                <a:gd name="T51" fmla="*/ 24 h 123"/>
                <a:gd name="T52" fmla="*/ 46 w 66"/>
                <a:gd name="T53" fmla="*/ 34 h 123"/>
                <a:gd name="T54" fmla="*/ 52 w 66"/>
                <a:gd name="T55" fmla="*/ 27 h 123"/>
                <a:gd name="T56" fmla="*/ 54 w 66"/>
                <a:gd name="T57" fmla="*/ 27 h 123"/>
                <a:gd name="T58" fmla="*/ 44 w 66"/>
                <a:gd name="T59" fmla="*/ 29 h 123"/>
                <a:gd name="T60" fmla="*/ 43 w 66"/>
                <a:gd name="T61" fmla="*/ 34 h 123"/>
                <a:gd name="T62" fmla="*/ 45 w 66"/>
                <a:gd name="T63" fmla="*/ 45 h 123"/>
                <a:gd name="T64" fmla="*/ 43 w 66"/>
                <a:gd name="T65" fmla="*/ 49 h 123"/>
                <a:gd name="T66" fmla="*/ 41 w 66"/>
                <a:gd name="T67" fmla="*/ 51 h 123"/>
                <a:gd name="T68" fmla="*/ 40 w 66"/>
                <a:gd name="T69" fmla="*/ 48 h 123"/>
                <a:gd name="T70" fmla="*/ 41 w 66"/>
                <a:gd name="T71" fmla="*/ 49 h 123"/>
                <a:gd name="T72" fmla="*/ 34 w 66"/>
                <a:gd name="T73" fmla="*/ 48 h 123"/>
                <a:gd name="T74" fmla="*/ 25 w 66"/>
                <a:gd name="T75" fmla="*/ 76 h 123"/>
                <a:gd name="T76" fmla="*/ 28 w 66"/>
                <a:gd name="T77" fmla="*/ 70 h 123"/>
                <a:gd name="T78" fmla="*/ 27 w 66"/>
                <a:gd name="T79" fmla="*/ 68 h 123"/>
                <a:gd name="T80" fmla="*/ 31 w 66"/>
                <a:gd name="T81" fmla="*/ 63 h 123"/>
                <a:gd name="T82" fmla="*/ 38 w 66"/>
                <a:gd name="T83" fmla="*/ 57 h 123"/>
                <a:gd name="T84" fmla="*/ 41 w 66"/>
                <a:gd name="T85" fmla="*/ 57 h 123"/>
                <a:gd name="T86" fmla="*/ 34 w 66"/>
                <a:gd name="T87" fmla="*/ 67 h 123"/>
                <a:gd name="T88" fmla="*/ 29 w 66"/>
                <a:gd name="T89" fmla="*/ 76 h 123"/>
                <a:gd name="T90" fmla="*/ 27 w 66"/>
                <a:gd name="T91" fmla="*/ 72 h 123"/>
                <a:gd name="T92" fmla="*/ 38 w 66"/>
                <a:gd name="T93" fmla="*/ 57 h 123"/>
                <a:gd name="T94" fmla="*/ 31 w 66"/>
                <a:gd name="T95" fmla="*/ 65 h 123"/>
                <a:gd name="T96" fmla="*/ 32 w 66"/>
                <a:gd name="T97" fmla="*/ 67 h 123"/>
                <a:gd name="T98" fmla="*/ 29 w 66"/>
                <a:gd name="T99" fmla="*/ 76 h 123"/>
                <a:gd name="T100" fmla="*/ 32 w 66"/>
                <a:gd name="T101" fmla="*/ 67 h 123"/>
                <a:gd name="T102" fmla="*/ 35 w 66"/>
                <a:gd name="T103" fmla="*/ 61 h 123"/>
                <a:gd name="T104" fmla="*/ 27 w 66"/>
                <a:gd name="T105" fmla="*/ 73 h 123"/>
                <a:gd name="T106" fmla="*/ 37 w 66"/>
                <a:gd name="T107" fmla="*/ 55 h 123"/>
                <a:gd name="T108" fmla="*/ 34 w 66"/>
                <a:gd name="T109" fmla="*/ 55 h 123"/>
                <a:gd name="T110" fmla="*/ 31 w 66"/>
                <a:gd name="T111" fmla="*/ 54 h 123"/>
                <a:gd name="T112" fmla="*/ 28 w 66"/>
                <a:gd name="T113" fmla="*/ 58 h 123"/>
                <a:gd name="T114" fmla="*/ 28 w 66"/>
                <a:gd name="T115" fmla="*/ 63 h 123"/>
                <a:gd name="T116" fmla="*/ 28 w 66"/>
                <a:gd name="T117" fmla="*/ 77 h 123"/>
                <a:gd name="T118" fmla="*/ 28 w 66"/>
                <a:gd name="T119" fmla="*/ 79 h 123"/>
                <a:gd name="T120" fmla="*/ 22 w 66"/>
                <a:gd name="T121" fmla="*/ 90 h 123"/>
                <a:gd name="T122" fmla="*/ 12 w 66"/>
                <a:gd name="T123" fmla="*/ 112 h 123"/>
                <a:gd name="T124" fmla="*/ 32 w 66"/>
                <a:gd name="T125" fmla="*/ 5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23"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50" y="8"/>
                  </a:moveTo>
                  <a:cubicBezTo>
                    <a:pt x="50" y="7"/>
                    <a:pt x="50" y="8"/>
                    <a:pt x="50" y="7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10"/>
                  </a:move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9" y="9"/>
                    <a:pt x="49" y="10"/>
                  </a:cubicBezTo>
                  <a:close/>
                  <a:moveTo>
                    <a:pt x="48" y="10"/>
                  </a:moveTo>
                  <a:cubicBezTo>
                    <a:pt x="49" y="10"/>
                    <a:pt x="49" y="11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lose/>
                  <a:moveTo>
                    <a:pt x="46" y="15"/>
                  </a:moveTo>
                  <a:cubicBezTo>
                    <a:pt x="46" y="16"/>
                    <a:pt x="46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6" y="15"/>
                  </a:cubicBezTo>
                  <a:close/>
                  <a:moveTo>
                    <a:pt x="45" y="16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lose/>
                  <a:moveTo>
                    <a:pt x="46" y="17"/>
                  </a:move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lose/>
                  <a:moveTo>
                    <a:pt x="46" y="21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1"/>
                  </a:cubicBezTo>
                  <a:close/>
                  <a:moveTo>
                    <a:pt x="45" y="20"/>
                  </a:move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4" y="22"/>
                    <a:pt x="45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2"/>
                    <a:pt x="44" y="22"/>
                  </a:cubicBezTo>
                  <a:cubicBezTo>
                    <a:pt x="43" y="22"/>
                    <a:pt x="43" y="23"/>
                    <a:pt x="43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6"/>
                  </a:cubicBezTo>
                  <a:cubicBezTo>
                    <a:pt x="45" y="27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6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2"/>
                    <a:pt x="53" y="32"/>
                  </a:cubicBezTo>
                  <a:cubicBezTo>
                    <a:pt x="53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3" y="32"/>
                    <a:pt x="53" y="31"/>
                  </a:cubicBezTo>
                  <a:close/>
                  <a:moveTo>
                    <a:pt x="47" y="29"/>
                  </a:moveTo>
                  <a:cubicBezTo>
                    <a:pt x="47" y="29"/>
                    <a:pt x="47" y="30"/>
                    <a:pt x="46" y="30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3" y="28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3" y="28"/>
                  </a:ln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4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9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6" y="30"/>
                  </a:cubicBezTo>
                  <a:cubicBezTo>
                    <a:pt x="47" y="30"/>
                    <a:pt x="46" y="30"/>
                    <a:pt x="47" y="30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5" y="29"/>
                  </a:moveTo>
                  <a:cubicBezTo>
                    <a:pt x="45" y="29"/>
                    <a:pt x="45" y="30"/>
                    <a:pt x="45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0"/>
                    <a:pt x="45" y="29"/>
                  </a:cubicBezTo>
                  <a:close/>
                  <a:moveTo>
                    <a:pt x="47" y="32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lose/>
                  <a:moveTo>
                    <a:pt x="40" y="28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6" y="32"/>
                  </a:cubicBezTo>
                  <a:close/>
                  <a:moveTo>
                    <a:pt x="49" y="33"/>
                  </a:move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3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3"/>
                    <a:pt x="46" y="33"/>
                  </a:cubicBezTo>
                  <a:cubicBezTo>
                    <a:pt x="46" y="32"/>
                    <a:pt x="46" y="32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2"/>
                    <a:pt x="44" y="31"/>
                    <a:pt x="44" y="32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33"/>
                  </a:moveTo>
                  <a:cubicBezTo>
                    <a:pt x="45" y="32"/>
                    <a:pt x="45" y="32"/>
                    <a:pt x="46" y="32"/>
                  </a:cubicBezTo>
                  <a:cubicBezTo>
                    <a:pt x="46" y="32"/>
                    <a:pt x="45" y="33"/>
                    <a:pt x="45" y="33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3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8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4" y="32"/>
                    <a:pt x="44" y="32"/>
                  </a:cubicBezTo>
                  <a:close/>
                  <a:moveTo>
                    <a:pt x="46" y="34"/>
                  </a:moveTo>
                  <a:cubicBezTo>
                    <a:pt x="45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4"/>
                    <a:pt x="46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2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5" y="33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5" y="34"/>
                    <a:pt x="45" y="33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4" y="34"/>
                    <a:pt x="44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lose/>
                  <a:moveTo>
                    <a:pt x="43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4"/>
                    <a:pt x="42" y="34"/>
                    <a:pt x="43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4" y="35"/>
                  </a:moveTo>
                  <a:cubicBezTo>
                    <a:pt x="44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lose/>
                  <a:moveTo>
                    <a:pt x="49" y="39"/>
                  </a:move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9" y="39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3" y="35"/>
                    <a:pt x="42" y="36"/>
                    <a:pt x="42" y="36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4" y="37"/>
                    <a:pt x="45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7" y="33"/>
                  </a:cubicBezTo>
                  <a:cubicBezTo>
                    <a:pt x="38" y="33"/>
                    <a:pt x="37" y="34"/>
                    <a:pt x="37" y="34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9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40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lnTo>
                    <a:pt x="41" y="36"/>
                  </a:lnTo>
                  <a:close/>
                  <a:moveTo>
                    <a:pt x="48" y="39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8"/>
                    <a:pt x="42" y="37"/>
                    <a:pt x="43" y="37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8" y="40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1"/>
                    <a:pt x="48" y="40"/>
                    <a:pt x="48" y="40"/>
                  </a:cubicBezTo>
                  <a:close/>
                  <a:moveTo>
                    <a:pt x="46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1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39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lose/>
                  <a:moveTo>
                    <a:pt x="47" y="41"/>
                  </a:move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8" y="40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lose/>
                  <a:moveTo>
                    <a:pt x="48" y="41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7" y="35"/>
                  </a:cubicBezTo>
                  <a:cubicBezTo>
                    <a:pt x="37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5" y="41"/>
                    <a:pt x="45" y="42"/>
                  </a:cubicBezTo>
                  <a:cubicBezTo>
                    <a:pt x="45" y="41"/>
                    <a:pt x="45" y="41"/>
                    <a:pt x="46" y="41"/>
                  </a:cubicBezTo>
                  <a:cubicBezTo>
                    <a:pt x="46" y="40"/>
                    <a:pt x="45" y="41"/>
                    <a:pt x="45" y="41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6" y="41"/>
                    <a:pt x="46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8"/>
                    <a:pt x="40" y="39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8" y="40"/>
                    <a:pt x="39" y="40"/>
                    <a:pt x="38" y="40"/>
                  </a:cubicBezTo>
                  <a:cubicBezTo>
                    <a:pt x="38" y="40"/>
                    <a:pt x="38" y="41"/>
                    <a:pt x="38" y="41"/>
                  </a:cubicBezTo>
                  <a:cubicBezTo>
                    <a:pt x="38" y="41"/>
                    <a:pt x="38" y="40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1" y="41"/>
                  </a:cubicBezTo>
                  <a:cubicBezTo>
                    <a:pt x="41" y="41"/>
                    <a:pt x="41" y="40"/>
                    <a:pt x="41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6" y="43"/>
                    <a:pt x="46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46" y="44"/>
                  </a:moveTo>
                  <a:cubicBezTo>
                    <a:pt x="47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42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35" y="39"/>
                  </a:moveTo>
                  <a:cubicBezTo>
                    <a:pt x="36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8" y="41"/>
                    <a:pt x="37" y="41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1"/>
                    <a:pt x="37" y="41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3" y="44"/>
                  </a:cubicBezTo>
                  <a:close/>
                  <a:moveTo>
                    <a:pt x="40" y="43"/>
                  </a:moveTo>
                  <a:cubicBezTo>
                    <a:pt x="40" y="43"/>
                    <a:pt x="41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0" y="43"/>
                    <a:pt x="41" y="44"/>
                  </a:cubicBezTo>
                  <a:cubicBezTo>
                    <a:pt x="40" y="44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7" y="42"/>
                  </a:cubicBezTo>
                  <a:close/>
                  <a:moveTo>
                    <a:pt x="42" y="45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39" y="43"/>
                  </a:moveTo>
                  <a:cubicBezTo>
                    <a:pt x="39" y="43"/>
                    <a:pt x="38" y="44"/>
                    <a:pt x="38" y="44"/>
                  </a:cubicBezTo>
                  <a:cubicBezTo>
                    <a:pt x="38" y="43"/>
                    <a:pt x="38" y="43"/>
                    <a:pt x="39" y="43"/>
                  </a:cubicBezTo>
                  <a:close/>
                  <a:moveTo>
                    <a:pt x="38" y="43"/>
                  </a:moveTo>
                  <a:cubicBezTo>
                    <a:pt x="37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5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1" y="46"/>
                    <a:pt x="42" y="46"/>
                    <a:pt x="42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1" y="46"/>
                  </a:cubicBezTo>
                  <a:cubicBezTo>
                    <a:pt x="41" y="46"/>
                    <a:pt x="40" y="46"/>
                    <a:pt x="41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3" y="47"/>
                  </a:cubicBezTo>
                  <a:cubicBezTo>
                    <a:pt x="43" y="47"/>
                    <a:pt x="42" y="47"/>
                    <a:pt x="43" y="47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lose/>
                  <a:moveTo>
                    <a:pt x="37" y="44"/>
                  </a:moveTo>
                  <a:cubicBezTo>
                    <a:pt x="37" y="44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7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8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7"/>
                    <a:pt x="38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4" y="48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8"/>
                    <a:pt x="44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4" y="50"/>
                  </a:moveTo>
                  <a:cubicBezTo>
                    <a:pt x="44" y="50"/>
                    <a:pt x="43" y="51"/>
                    <a:pt x="43" y="51"/>
                  </a:cubicBezTo>
                  <a:cubicBezTo>
                    <a:pt x="43" y="50"/>
                    <a:pt x="44" y="50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43" y="52"/>
                  </a:moveTo>
                  <a:cubicBezTo>
                    <a:pt x="42" y="52"/>
                    <a:pt x="43" y="52"/>
                    <a:pt x="43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7" y="50"/>
                  </a:moveTo>
                  <a:cubicBezTo>
                    <a:pt x="36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lose/>
                  <a:moveTo>
                    <a:pt x="40" y="51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6" y="51"/>
                  </a:cubicBezTo>
                  <a:cubicBezTo>
                    <a:pt x="36" y="51"/>
                    <a:pt x="37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1"/>
                  </a:cubicBezTo>
                  <a:close/>
                  <a:moveTo>
                    <a:pt x="36" y="50"/>
                  </a:move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9" y="51"/>
                    <a:pt x="38" y="51"/>
                    <a:pt x="38" y="51"/>
                  </a:cubicBezTo>
                  <a:close/>
                  <a:moveTo>
                    <a:pt x="38" y="52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54"/>
                  </a:moveTo>
                  <a:cubicBezTo>
                    <a:pt x="42" y="54"/>
                    <a:pt x="42" y="54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8" y="52"/>
                    <a:pt x="38" y="51"/>
                  </a:cubicBezTo>
                  <a:cubicBezTo>
                    <a:pt x="38" y="51"/>
                    <a:pt x="38" y="51"/>
                    <a:pt x="38" y="52"/>
                  </a:cubicBezTo>
                  <a:close/>
                  <a:moveTo>
                    <a:pt x="34" y="50"/>
                  </a:moveTo>
                  <a:cubicBezTo>
                    <a:pt x="34" y="50"/>
                    <a:pt x="34" y="50"/>
                    <a:pt x="33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lose/>
                  <a:moveTo>
                    <a:pt x="35" y="50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3"/>
                  </a:cubicBezTo>
                  <a:close/>
                  <a:moveTo>
                    <a:pt x="37" y="52"/>
                  </a:moveTo>
                  <a:cubicBezTo>
                    <a:pt x="37" y="52"/>
                    <a:pt x="36" y="52"/>
                    <a:pt x="36" y="52"/>
                  </a:cubicBezTo>
                  <a:cubicBezTo>
                    <a:pt x="36" y="52"/>
                    <a:pt x="36" y="52"/>
                    <a:pt x="37" y="52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40" y="54"/>
                  </a:moveTo>
                  <a:cubicBezTo>
                    <a:pt x="40" y="54"/>
                    <a:pt x="40" y="54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1" y="49"/>
                  </a:moveTo>
                  <a:cubicBezTo>
                    <a:pt x="31" y="49"/>
                    <a:pt x="31" y="50"/>
                    <a:pt x="31" y="50"/>
                  </a:cubicBezTo>
                  <a:cubicBezTo>
                    <a:pt x="30" y="50"/>
                    <a:pt x="30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1" y="51"/>
                  </a:moveTo>
                  <a:cubicBezTo>
                    <a:pt x="30" y="51"/>
                    <a:pt x="30" y="52"/>
                    <a:pt x="30" y="52"/>
                  </a:cubicBezTo>
                  <a:cubicBezTo>
                    <a:pt x="30" y="51"/>
                    <a:pt x="30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lose/>
                  <a:moveTo>
                    <a:pt x="34" y="52"/>
                  </a:moveTo>
                  <a:cubicBezTo>
                    <a:pt x="35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2"/>
                  </a:move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0" y="50"/>
                    <a:pt x="31" y="50"/>
                    <a:pt x="31" y="50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2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6" y="53"/>
                    <a:pt x="35" y="53"/>
                    <a:pt x="35" y="53"/>
                  </a:cubicBezTo>
                  <a:close/>
                  <a:moveTo>
                    <a:pt x="37" y="53"/>
                  </a:move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6" y="54"/>
                    <a:pt x="36" y="54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3"/>
                  </a:cubicBezTo>
                  <a:close/>
                  <a:moveTo>
                    <a:pt x="36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6" y="54"/>
                    <a:pt x="36" y="54"/>
                  </a:cubicBezTo>
                  <a:close/>
                  <a:moveTo>
                    <a:pt x="31" y="52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4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4" y="54"/>
                    <a:pt x="35" y="54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2"/>
                    <a:pt x="32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5" y="54"/>
                  </a:moveTo>
                  <a:cubicBezTo>
                    <a:pt x="34" y="54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1" y="52"/>
                  </a:move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2"/>
                    <a:pt x="31" y="52"/>
                  </a:cubicBezTo>
                  <a:close/>
                  <a:moveTo>
                    <a:pt x="36" y="56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lose/>
                  <a:moveTo>
                    <a:pt x="37" y="56"/>
                  </a:moveTo>
                  <a:cubicBezTo>
                    <a:pt x="37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8" y="56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5" y="55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lose/>
                  <a:moveTo>
                    <a:pt x="29" y="53"/>
                  </a:moveTo>
                  <a:cubicBezTo>
                    <a:pt x="29" y="52"/>
                    <a:pt x="30" y="53"/>
                    <a:pt x="30" y="52"/>
                  </a:cubicBezTo>
                  <a:cubicBezTo>
                    <a:pt x="30" y="52"/>
                    <a:pt x="30" y="53"/>
                    <a:pt x="29" y="53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5" y="55"/>
                    <a:pt x="35" y="55"/>
                  </a:cubicBezTo>
                  <a:cubicBezTo>
                    <a:pt x="35" y="55"/>
                    <a:pt x="34" y="55"/>
                    <a:pt x="34" y="55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4" y="56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lose/>
                  <a:moveTo>
                    <a:pt x="29" y="54"/>
                  </a:moveTo>
                  <a:cubicBezTo>
                    <a:pt x="29" y="54"/>
                    <a:pt x="30" y="54"/>
                    <a:pt x="30" y="53"/>
                  </a:cubicBezTo>
                  <a:cubicBezTo>
                    <a:pt x="30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30" y="54"/>
                    <a:pt x="29" y="54"/>
                    <a:pt x="30" y="55"/>
                  </a:cubicBezTo>
                  <a:cubicBezTo>
                    <a:pt x="29" y="55"/>
                    <a:pt x="29" y="55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5" y="57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5" y="58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3" y="58"/>
                    <a:pt x="33" y="58"/>
                  </a:cubicBezTo>
                  <a:cubicBezTo>
                    <a:pt x="33" y="58"/>
                    <a:pt x="33" y="57"/>
                    <a:pt x="33" y="57"/>
                  </a:cubicBezTo>
                  <a:close/>
                  <a:moveTo>
                    <a:pt x="31" y="56"/>
                  </a:move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6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7"/>
                  </a:cubicBezTo>
                  <a:cubicBezTo>
                    <a:pt x="28" y="57"/>
                    <a:pt x="28" y="56"/>
                    <a:pt x="28" y="56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28" y="59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4" y="61"/>
                    <a:pt x="34" y="61"/>
                  </a:cubicBezTo>
                  <a:cubicBezTo>
                    <a:pt x="34" y="62"/>
                    <a:pt x="33" y="61"/>
                    <a:pt x="33" y="62"/>
                  </a:cubicBezTo>
                  <a:close/>
                  <a:moveTo>
                    <a:pt x="30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0" y="59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9"/>
                  </a:cubicBezTo>
                  <a:cubicBezTo>
                    <a:pt x="27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9" y="59"/>
                    <a:pt x="29" y="59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2" y="61"/>
                  </a:move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29" y="59"/>
                    <a:pt x="29" y="60"/>
                    <a:pt x="29" y="60"/>
                  </a:cubicBezTo>
                  <a:close/>
                  <a:moveTo>
                    <a:pt x="29" y="61"/>
                  </a:moveTo>
                  <a:cubicBezTo>
                    <a:pt x="29" y="61"/>
                    <a:pt x="30" y="61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lose/>
                  <a:moveTo>
                    <a:pt x="33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2" y="62"/>
                    <a:pt x="33" y="62"/>
                    <a:pt x="33" y="62"/>
                  </a:cubicBezTo>
                  <a:close/>
                  <a:moveTo>
                    <a:pt x="27" y="59"/>
                  </a:move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0"/>
                    <a:pt x="27" y="60"/>
                  </a:cubicBezTo>
                  <a:cubicBezTo>
                    <a:pt x="27" y="60"/>
                    <a:pt x="27" y="61"/>
                    <a:pt x="27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7" y="65"/>
                    <a:pt x="36" y="65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4" y="65"/>
                  </a:cubicBezTo>
                  <a:cubicBezTo>
                    <a:pt x="34" y="65"/>
                    <a:pt x="35" y="65"/>
                    <a:pt x="35" y="65"/>
                  </a:cubicBezTo>
                  <a:close/>
                  <a:moveTo>
                    <a:pt x="29" y="63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30" y="62"/>
                    <a:pt x="29" y="63"/>
                    <a:pt x="29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2"/>
                    <a:pt x="27" y="61"/>
                    <a:pt x="27" y="61"/>
                  </a:cubicBezTo>
                  <a:close/>
                  <a:moveTo>
                    <a:pt x="35" y="66"/>
                  </a:move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lose/>
                  <a:moveTo>
                    <a:pt x="26" y="63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3"/>
                  </a:move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4"/>
                    <a:pt x="26" y="64"/>
                  </a:cubicBezTo>
                  <a:cubicBezTo>
                    <a:pt x="26" y="64"/>
                    <a:pt x="26" y="63"/>
                    <a:pt x="26" y="63"/>
                  </a:cubicBezTo>
                  <a:close/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26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lose/>
                  <a:moveTo>
                    <a:pt x="30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6"/>
                    <a:pt x="30" y="66"/>
                    <a:pt x="30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3" y="72"/>
                  </a:cubicBezTo>
                  <a:cubicBezTo>
                    <a:pt x="33" y="71"/>
                    <a:pt x="34" y="70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70"/>
                    <a:pt x="34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7" y="66"/>
                    <a:pt x="27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6"/>
                    <a:pt x="27" y="66"/>
                    <a:pt x="26" y="66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6"/>
                    <a:pt x="26" y="66"/>
                  </a:cubicBezTo>
                  <a:cubicBezTo>
                    <a:pt x="26" y="67"/>
                    <a:pt x="26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6" y="67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7"/>
                  </a:cubicBezTo>
                  <a:close/>
                  <a:moveTo>
                    <a:pt x="28" y="68"/>
                  </a:moveTo>
                  <a:cubicBezTo>
                    <a:pt x="29" y="68"/>
                    <a:pt x="29" y="68"/>
                    <a:pt x="29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4" y="68"/>
                  </a:move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lose/>
                  <a:moveTo>
                    <a:pt x="26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5" y="68"/>
                    <a:pt x="24" y="68"/>
                    <a:pt x="24" y="68"/>
                  </a:cubicBezTo>
                  <a:close/>
                  <a:moveTo>
                    <a:pt x="28" y="70"/>
                  </a:moveTo>
                  <a:cubicBezTo>
                    <a:pt x="28" y="70"/>
                    <a:pt x="27" y="71"/>
                    <a:pt x="27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70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5" y="72"/>
                    <a:pt x="26" y="72"/>
                  </a:cubicBezTo>
                  <a:cubicBezTo>
                    <a:pt x="25" y="72"/>
                    <a:pt x="25" y="73"/>
                    <a:pt x="25" y="73"/>
                  </a:cubicBezTo>
                  <a:cubicBezTo>
                    <a:pt x="25" y="72"/>
                    <a:pt x="26" y="71"/>
                    <a:pt x="26" y="70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0"/>
                    <a:pt x="25" y="70"/>
                  </a:cubicBezTo>
                  <a:cubicBezTo>
                    <a:pt x="26" y="70"/>
                    <a:pt x="25" y="71"/>
                    <a:pt x="25" y="71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3" y="70"/>
                    <a:pt x="24" y="70"/>
                    <a:pt x="24" y="70"/>
                  </a:cubicBezTo>
                  <a:close/>
                  <a:moveTo>
                    <a:pt x="23" y="70"/>
                  </a:move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lose/>
                  <a:moveTo>
                    <a:pt x="28" y="72"/>
                  </a:moveTo>
                  <a:cubicBezTo>
                    <a:pt x="29" y="72"/>
                    <a:pt x="28" y="73"/>
                    <a:pt x="28" y="73"/>
                  </a:cubicBezTo>
                  <a:cubicBezTo>
                    <a:pt x="28" y="73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7" y="71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lose/>
                  <a:moveTo>
                    <a:pt x="23" y="70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4" y="71"/>
                  </a:cubicBezTo>
                  <a:cubicBezTo>
                    <a:pt x="24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3" y="73"/>
                  </a:moveTo>
                  <a:cubicBezTo>
                    <a:pt x="23" y="73"/>
                    <a:pt x="23" y="73"/>
                    <a:pt x="23" y="72"/>
                  </a:cubicBezTo>
                  <a:cubicBezTo>
                    <a:pt x="24" y="72"/>
                    <a:pt x="24" y="73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8" y="74"/>
                    <a:pt x="28" y="75"/>
                  </a:cubicBezTo>
                  <a:cubicBezTo>
                    <a:pt x="28" y="75"/>
                    <a:pt x="28" y="75"/>
                    <a:pt x="27" y="75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8" y="77"/>
                    <a:pt x="27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7" y="77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6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7" y="76"/>
                    <a:pt x="26" y="76"/>
                    <a:pt x="27" y="76"/>
                  </a:cubicBezTo>
                  <a:cubicBezTo>
                    <a:pt x="27" y="77"/>
                    <a:pt x="26" y="76"/>
                    <a:pt x="26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7"/>
                    <a:pt x="29" y="77"/>
                  </a:cubicBezTo>
                  <a:cubicBezTo>
                    <a:pt x="29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4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lose/>
                  <a:moveTo>
                    <a:pt x="20" y="74"/>
                  </a:moveTo>
                  <a:cubicBezTo>
                    <a:pt x="20" y="75"/>
                    <a:pt x="20" y="74"/>
                    <a:pt x="20" y="74"/>
                  </a:cubicBezTo>
                  <a:cubicBezTo>
                    <a:pt x="20" y="74"/>
                    <a:pt x="20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4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0" y="75"/>
                  </a:moveTo>
                  <a:cubicBezTo>
                    <a:pt x="20" y="75"/>
                    <a:pt x="20" y="75"/>
                    <a:pt x="20" y="74"/>
                  </a:cubicBezTo>
                  <a:cubicBezTo>
                    <a:pt x="20" y="75"/>
                    <a:pt x="20" y="75"/>
                    <a:pt x="20" y="75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7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4" y="78"/>
                  </a:move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7"/>
                    <a:pt x="24" y="77"/>
                  </a:cubicBezTo>
                  <a:cubicBezTo>
                    <a:pt x="24" y="77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80"/>
                    <a:pt x="27" y="79"/>
                  </a:cubicBezTo>
                  <a:close/>
                  <a:moveTo>
                    <a:pt x="28" y="80"/>
                  </a:moveTo>
                  <a:cubicBezTo>
                    <a:pt x="28" y="80"/>
                    <a:pt x="28" y="80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80"/>
                    <a:pt x="28" y="80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3" y="7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8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7" y="79"/>
                  </a:moveTo>
                  <a:cubicBezTo>
                    <a:pt x="27" y="80"/>
                    <a:pt x="26" y="79"/>
                    <a:pt x="26" y="80"/>
                  </a:cubicBezTo>
                  <a:cubicBezTo>
                    <a:pt x="26" y="79"/>
                    <a:pt x="26" y="79"/>
                    <a:pt x="27" y="79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4" y="79"/>
                    <a:pt x="24" y="79"/>
                  </a:cubicBezTo>
                  <a:cubicBezTo>
                    <a:pt x="24" y="79"/>
                    <a:pt x="23" y="79"/>
                    <a:pt x="23" y="79"/>
                  </a:cubicBezTo>
                  <a:cubicBezTo>
                    <a:pt x="23" y="79"/>
                    <a:pt x="23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4" y="78"/>
                  </a:cubicBezTo>
                  <a:cubicBezTo>
                    <a:pt x="24" y="79"/>
                    <a:pt x="24" y="79"/>
                    <a:pt x="23" y="79"/>
                  </a:cubicBezTo>
                  <a:cubicBezTo>
                    <a:pt x="24" y="79"/>
                    <a:pt x="24" y="78"/>
                    <a:pt x="24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lose/>
                  <a:moveTo>
                    <a:pt x="26" y="81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5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8" y="81"/>
                    <a:pt x="28" y="81"/>
                  </a:cubicBezTo>
                  <a:cubicBezTo>
                    <a:pt x="28" y="81"/>
                    <a:pt x="28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3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5" y="80"/>
                  </a:cubicBezTo>
                  <a:cubicBezTo>
                    <a:pt x="25" y="80"/>
                    <a:pt x="24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2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8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8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79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79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0" y="79"/>
                  </a:move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79"/>
                    <a:pt x="20" y="79"/>
                  </a:cubicBezTo>
                  <a:close/>
                  <a:moveTo>
                    <a:pt x="25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5" y="82"/>
                  </a:cubicBezTo>
                  <a:cubicBezTo>
                    <a:pt x="26" y="82"/>
                    <a:pt x="25" y="82"/>
                    <a:pt x="25" y="82"/>
                  </a:cubicBezTo>
                  <a:close/>
                  <a:moveTo>
                    <a:pt x="27" y="83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lnTo>
                    <a:pt x="27" y="83"/>
                  </a:lnTo>
                  <a:close/>
                  <a:moveTo>
                    <a:pt x="27" y="82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close/>
                  <a:moveTo>
                    <a:pt x="25" y="82"/>
                  </a:move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2"/>
                  </a:moveTo>
                  <a:cubicBezTo>
                    <a:pt x="21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lose/>
                  <a:moveTo>
                    <a:pt x="23" y="83"/>
                  </a:move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lose/>
                  <a:moveTo>
                    <a:pt x="18" y="81"/>
                  </a:move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21" y="83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21" y="83"/>
                    <a:pt x="21" y="83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1" y="83"/>
                    <a:pt x="20" y="83"/>
                    <a:pt x="21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3"/>
                  </a:moveTo>
                  <a:cubicBezTo>
                    <a:pt x="17" y="82"/>
                    <a:pt x="17" y="82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21" y="84"/>
                  </a:moveTo>
                  <a:cubicBezTo>
                    <a:pt x="21" y="84"/>
                    <a:pt x="21" y="84"/>
                    <a:pt x="21" y="84"/>
                  </a:cubicBezTo>
                  <a:cubicBezTo>
                    <a:pt x="20" y="84"/>
                    <a:pt x="21" y="84"/>
                    <a:pt x="21" y="84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4"/>
                    <a:pt x="20" y="84"/>
                  </a:cubicBezTo>
                  <a:cubicBezTo>
                    <a:pt x="20" y="84"/>
                    <a:pt x="20" y="83"/>
                    <a:pt x="20" y="83"/>
                  </a:cubicBezTo>
                  <a:close/>
                  <a:moveTo>
                    <a:pt x="20" y="84"/>
                  </a:moveTo>
                  <a:cubicBezTo>
                    <a:pt x="20" y="84"/>
                    <a:pt x="20" y="84"/>
                    <a:pt x="20" y="84"/>
                  </a:cubicBezTo>
                  <a:close/>
                  <a:moveTo>
                    <a:pt x="16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3"/>
                    <a:pt x="16" y="82"/>
                  </a:cubicBezTo>
                  <a:close/>
                  <a:moveTo>
                    <a:pt x="22" y="86"/>
                  </a:moveTo>
                  <a:cubicBezTo>
                    <a:pt x="21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6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17" y="85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6"/>
                    <a:pt x="17" y="85"/>
                  </a:cubicBezTo>
                  <a:close/>
                  <a:moveTo>
                    <a:pt x="19" y="86"/>
                  </a:moveTo>
                  <a:cubicBezTo>
                    <a:pt x="18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3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3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lose/>
                  <a:moveTo>
                    <a:pt x="17" y="87"/>
                  </a:move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6" y="90"/>
                  </a:moveTo>
                  <a:cubicBezTo>
                    <a:pt x="16" y="90"/>
                    <a:pt x="16" y="90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lose/>
                  <a:moveTo>
                    <a:pt x="18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lose/>
                  <a:moveTo>
                    <a:pt x="14" y="95"/>
                  </a:moveTo>
                  <a:cubicBezTo>
                    <a:pt x="15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lose/>
                  <a:moveTo>
                    <a:pt x="18" y="98"/>
                  </a:moveTo>
                  <a:cubicBezTo>
                    <a:pt x="18" y="97"/>
                    <a:pt x="18" y="98"/>
                    <a:pt x="17" y="98"/>
                  </a:cubicBezTo>
                  <a:cubicBezTo>
                    <a:pt x="18" y="98"/>
                    <a:pt x="17" y="98"/>
                    <a:pt x="17" y="97"/>
                  </a:cubicBezTo>
                  <a:cubicBezTo>
                    <a:pt x="18" y="97"/>
                    <a:pt x="18" y="98"/>
                    <a:pt x="18" y="97"/>
                  </a:cubicBezTo>
                  <a:cubicBezTo>
                    <a:pt x="18" y="97"/>
                    <a:pt x="18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6" y="103"/>
                  </a:cubicBezTo>
                  <a:cubicBezTo>
                    <a:pt x="16" y="102"/>
                    <a:pt x="17" y="102"/>
                    <a:pt x="17" y="102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3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3" y="104"/>
                    <a:pt x="13" y="103"/>
                  </a:cubicBezTo>
                  <a:cubicBezTo>
                    <a:pt x="13" y="104"/>
                    <a:pt x="13" y="104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7"/>
                  </a:cubicBezTo>
                  <a:cubicBezTo>
                    <a:pt x="14" y="106"/>
                    <a:pt x="15" y="106"/>
                    <a:pt x="15" y="105"/>
                  </a:cubicBezTo>
                  <a:cubicBezTo>
                    <a:pt x="15" y="106"/>
                    <a:pt x="15" y="106"/>
                    <a:pt x="14" y="107"/>
                  </a:cubicBezTo>
                  <a:close/>
                  <a:moveTo>
                    <a:pt x="12" y="105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lose/>
                  <a:moveTo>
                    <a:pt x="14" y="107"/>
                  </a:moveTo>
                  <a:cubicBezTo>
                    <a:pt x="14" y="108"/>
                    <a:pt x="14" y="108"/>
                    <a:pt x="14" y="108"/>
                  </a:cubicBezTo>
                  <a:cubicBezTo>
                    <a:pt x="13" y="108"/>
                    <a:pt x="14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09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1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1"/>
                    <a:pt x="12" y="111"/>
                  </a:cubicBezTo>
                  <a:cubicBezTo>
                    <a:pt x="11" y="111"/>
                    <a:pt x="12" y="110"/>
                    <a:pt x="12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1" y="111"/>
                    <a:pt x="11" y="110"/>
                  </a:cubicBezTo>
                  <a:cubicBezTo>
                    <a:pt x="11" y="111"/>
                    <a:pt x="11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7" y="110"/>
                    <a:pt x="7" y="110"/>
                    <a:pt x="6" y="110"/>
                  </a:cubicBezTo>
                  <a:close/>
                  <a:moveTo>
                    <a:pt x="6" y="111"/>
                  </a:move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10" y="115"/>
                    <a:pt x="9" y="116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9" y="117"/>
                    <a:pt x="10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1" y="115"/>
                    <a:pt x="11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8" y="114"/>
                    <a:pt x="8" y="114"/>
                    <a:pt x="9" y="114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5"/>
                    <a:pt x="11" y="115"/>
                  </a:cubicBezTo>
                  <a:cubicBezTo>
                    <a:pt x="11" y="115"/>
                    <a:pt x="11" y="116"/>
                    <a:pt x="11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0" y="117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1" y="116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9" y="115"/>
                    <a:pt x="8" y="115"/>
                    <a:pt x="8" y="115"/>
                  </a:cubicBezTo>
                  <a:close/>
                  <a:moveTo>
                    <a:pt x="4" y="114"/>
                  </a:moveTo>
                  <a:cubicBezTo>
                    <a:pt x="4" y="114"/>
                    <a:pt x="3" y="114"/>
                    <a:pt x="3" y="114"/>
                  </a:cubicBezTo>
                  <a:cubicBezTo>
                    <a:pt x="3" y="114"/>
                    <a:pt x="3" y="114"/>
                    <a:pt x="4" y="114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6"/>
                    <a:pt x="7" y="116"/>
                  </a:cubicBezTo>
                  <a:cubicBezTo>
                    <a:pt x="8" y="116"/>
                    <a:pt x="7" y="116"/>
                    <a:pt x="7" y="117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lose/>
                  <a:moveTo>
                    <a:pt x="7" y="117"/>
                  </a:move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8"/>
                  </a:cubicBezTo>
                  <a:cubicBezTo>
                    <a:pt x="7" y="117"/>
                    <a:pt x="7" y="118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10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3" y="116"/>
                    <a:pt x="3" y="115"/>
                  </a:cubicBezTo>
                  <a:cubicBezTo>
                    <a:pt x="3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9" y="120"/>
                    <a:pt x="9" y="120"/>
                  </a:cubicBezTo>
                  <a:cubicBezTo>
                    <a:pt x="9" y="119"/>
                    <a:pt x="9" y="119"/>
                    <a:pt x="9" y="119"/>
                  </a:cubicBezTo>
                  <a:close/>
                  <a:moveTo>
                    <a:pt x="8" y="118"/>
                  </a:moveTo>
                  <a:cubicBezTo>
                    <a:pt x="8" y="118"/>
                    <a:pt x="8" y="119"/>
                    <a:pt x="8" y="119"/>
                  </a:cubicBezTo>
                  <a:cubicBezTo>
                    <a:pt x="8" y="119"/>
                    <a:pt x="8" y="119"/>
                    <a:pt x="8" y="118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7"/>
                    <a:pt x="2" y="117"/>
                  </a:cubicBezTo>
                  <a:cubicBezTo>
                    <a:pt x="2" y="117"/>
                    <a:pt x="2" y="116"/>
                    <a:pt x="3" y="116"/>
                  </a:cubicBezTo>
                  <a:close/>
                  <a:moveTo>
                    <a:pt x="5" y="118"/>
                  </a:moveTo>
                  <a:cubicBezTo>
                    <a:pt x="5" y="118"/>
                    <a:pt x="5" y="118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9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9" y="120"/>
                    <a:pt x="9" y="120"/>
                  </a:cubicBezTo>
                  <a:cubicBezTo>
                    <a:pt x="9" y="120"/>
                    <a:pt x="9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5" y="118"/>
                  </a:cubicBezTo>
                  <a:cubicBezTo>
                    <a:pt x="5" y="118"/>
                    <a:pt x="4" y="118"/>
                    <a:pt x="4" y="119"/>
                  </a:cubicBezTo>
                  <a:close/>
                  <a:moveTo>
                    <a:pt x="2" y="117"/>
                  </a:moveTo>
                  <a:cubicBezTo>
                    <a:pt x="2" y="117"/>
                    <a:pt x="2" y="117"/>
                    <a:pt x="2" y="117"/>
                  </a:cubicBezTo>
                  <a:cubicBezTo>
                    <a:pt x="2" y="117"/>
                    <a:pt x="2" y="117"/>
                    <a:pt x="2" y="117"/>
                  </a:cubicBezTo>
                  <a:close/>
                  <a:moveTo>
                    <a:pt x="8" y="122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6" y="120"/>
                  </a:moveTo>
                  <a:cubicBezTo>
                    <a:pt x="5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0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3" y="121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4" y="120"/>
                    <a:pt x="4" y="120"/>
                  </a:cubicBezTo>
                  <a:cubicBezTo>
                    <a:pt x="3" y="120"/>
                    <a:pt x="3" y="120"/>
                    <a:pt x="3" y="121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7" y="123"/>
                  </a:move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3"/>
                    <a:pt x="7" y="122"/>
                  </a:cubicBezTo>
                  <a:cubicBezTo>
                    <a:pt x="7" y="122"/>
                    <a:pt x="7" y="123"/>
                    <a:pt x="7" y="123"/>
                  </a:cubicBezTo>
                  <a:close/>
                  <a:moveTo>
                    <a:pt x="5" y="123"/>
                  </a:moveTo>
                  <a:cubicBezTo>
                    <a:pt x="5" y="123"/>
                    <a:pt x="6" y="123"/>
                    <a:pt x="6" y="123"/>
                  </a:cubicBezTo>
                  <a:cubicBezTo>
                    <a:pt x="6" y="123"/>
                    <a:pt x="5" y="123"/>
                    <a:pt x="5" y="123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63" y="17"/>
                  </a:moveTo>
                  <a:cubicBezTo>
                    <a:pt x="63" y="18"/>
                    <a:pt x="63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9"/>
                  </a:cubicBezTo>
                  <a:cubicBezTo>
                    <a:pt x="62" y="19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1" y="21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8" y="24"/>
                    <a:pt x="59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6" y="25"/>
                    <a:pt x="57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9"/>
                    <a:pt x="54" y="30"/>
                    <a:pt x="53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4" y="29"/>
                    <a:pt x="53" y="30"/>
                    <a:pt x="54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3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2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0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1" y="34"/>
                    <a:pt x="51" y="33"/>
                    <a:pt x="51" y="33"/>
                  </a:cubicBezTo>
                  <a:cubicBezTo>
                    <a:pt x="51" y="34"/>
                    <a:pt x="51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7"/>
                    <a:pt x="49" y="36"/>
                    <a:pt x="50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8" y="37"/>
                    <a:pt x="49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6" y="41"/>
                  </a:cubicBezTo>
                  <a:cubicBezTo>
                    <a:pt x="46" y="42"/>
                    <a:pt x="47" y="41"/>
                    <a:pt x="47" y="42"/>
                  </a:cubicBezTo>
                  <a:cubicBezTo>
                    <a:pt x="46" y="42"/>
                    <a:pt x="46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6" y="41"/>
                    <a:pt x="46" y="40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8" y="39"/>
                    <a:pt x="47" y="39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8" y="39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6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7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ubicBezTo>
                    <a:pt x="48" y="36"/>
                    <a:pt x="47" y="37"/>
                    <a:pt x="47" y="37"/>
                  </a:cubicBezTo>
                  <a:cubicBezTo>
                    <a:pt x="48" y="37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6"/>
                    <a:pt x="48" y="36"/>
                    <a:pt x="48" y="37"/>
                  </a:cubicBezTo>
                  <a:cubicBezTo>
                    <a:pt x="48" y="37"/>
                    <a:pt x="49" y="36"/>
                    <a:pt x="49" y="36"/>
                  </a:cubicBezTo>
                  <a:cubicBezTo>
                    <a:pt x="49" y="36"/>
                    <a:pt x="49" y="36"/>
                    <a:pt x="4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5"/>
                  </a:cubicBezTo>
                  <a:cubicBezTo>
                    <a:pt x="50" y="34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1" y="32"/>
                  </a:cubicBezTo>
                  <a:cubicBezTo>
                    <a:pt x="51" y="32"/>
                    <a:pt x="51" y="32"/>
                    <a:pt x="50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2"/>
                  </a:cubicBezTo>
                  <a:cubicBezTo>
                    <a:pt x="50" y="31"/>
                    <a:pt x="50" y="32"/>
                    <a:pt x="50" y="31"/>
                  </a:cubicBezTo>
                  <a:cubicBezTo>
                    <a:pt x="50" y="31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8" y="33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9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8" y="32"/>
                    <a:pt x="49" y="32"/>
                  </a:cubicBezTo>
                  <a:cubicBezTo>
                    <a:pt x="48" y="32"/>
                    <a:pt x="48" y="32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3"/>
                  </a:cubicBezTo>
                  <a:cubicBezTo>
                    <a:pt x="47" y="34"/>
                    <a:pt x="47" y="33"/>
                    <a:pt x="47" y="34"/>
                  </a:cubicBezTo>
                  <a:cubicBezTo>
                    <a:pt x="47" y="33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6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6" y="35"/>
                    <a:pt x="46" y="35"/>
                    <a:pt x="47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8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6"/>
                  </a:cubicBezTo>
                  <a:cubicBezTo>
                    <a:pt x="47" y="35"/>
                    <a:pt x="47" y="36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6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6" y="36"/>
                    <a:pt x="46" y="36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5" y="39"/>
                    <a:pt x="44" y="39"/>
                  </a:cubicBezTo>
                  <a:cubicBezTo>
                    <a:pt x="45" y="39"/>
                    <a:pt x="44" y="40"/>
                    <a:pt x="45" y="40"/>
                  </a:cubicBezTo>
                  <a:cubicBezTo>
                    <a:pt x="44" y="40"/>
                    <a:pt x="45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4" y="39"/>
                    <a:pt x="44" y="39"/>
                  </a:cubicBezTo>
                  <a:cubicBezTo>
                    <a:pt x="45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7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5" y="36"/>
                    <a:pt x="46" y="35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6" y="35"/>
                    <a:pt x="46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3"/>
                    <a:pt x="46" y="34"/>
                  </a:cubicBezTo>
                  <a:cubicBezTo>
                    <a:pt x="46" y="34"/>
                    <a:pt x="46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29"/>
                    <a:pt x="49" y="30"/>
                  </a:cubicBezTo>
                  <a:cubicBezTo>
                    <a:pt x="49" y="29"/>
                    <a:pt x="48" y="29"/>
                    <a:pt x="49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29"/>
                    <a:pt x="48" y="30"/>
                    <a:pt x="48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9"/>
                    <a:pt x="48" y="29"/>
                  </a:cubicBezTo>
                  <a:cubicBezTo>
                    <a:pt x="48" y="28"/>
                    <a:pt x="49" y="28"/>
                    <a:pt x="49" y="28"/>
                  </a:cubicBezTo>
                  <a:cubicBezTo>
                    <a:pt x="48" y="28"/>
                    <a:pt x="48" y="29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7" y="28"/>
                    <a:pt x="48" y="27"/>
                    <a:pt x="48" y="27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8" y="27"/>
                  </a:cubicBezTo>
                  <a:cubicBezTo>
                    <a:pt x="49" y="27"/>
                    <a:pt x="48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7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5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7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7"/>
                    <a:pt x="47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8"/>
                    <a:pt x="46" y="29"/>
                  </a:cubicBezTo>
                  <a:cubicBezTo>
                    <a:pt x="46" y="29"/>
                    <a:pt x="47" y="29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6" y="29"/>
                    <a:pt x="46" y="30"/>
                  </a:cubicBezTo>
                  <a:cubicBezTo>
                    <a:pt x="46" y="30"/>
                    <a:pt x="46" y="29"/>
                    <a:pt x="46" y="29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3"/>
                    <a:pt x="44" y="32"/>
                    <a:pt x="44" y="33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5" y="27"/>
                    <a:pt x="46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5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5" y="25"/>
                  </a:cubicBezTo>
                  <a:cubicBezTo>
                    <a:pt x="45" y="25"/>
                    <a:pt x="45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3"/>
                    <a:pt x="45" y="24"/>
                    <a:pt x="45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3"/>
                    <a:pt x="45" y="23"/>
                    <a:pt x="45" y="23"/>
                  </a:cubicBezTo>
                  <a:cubicBezTo>
                    <a:pt x="46" y="24"/>
                    <a:pt x="45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5" y="23"/>
                    <a:pt x="45" y="22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6" y="21"/>
                    <a:pt x="46" y="22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7" y="20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19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19"/>
                  </a:cubicBezTo>
                  <a:cubicBezTo>
                    <a:pt x="45" y="19"/>
                    <a:pt x="45" y="19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6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4"/>
                    <a:pt x="47" y="14"/>
                  </a:cubicBezTo>
                  <a:cubicBezTo>
                    <a:pt x="47" y="14"/>
                    <a:pt x="47" y="13"/>
                    <a:pt x="47" y="13"/>
                  </a:cubicBezTo>
                  <a:cubicBezTo>
                    <a:pt x="47" y="13"/>
                    <a:pt x="48" y="13"/>
                    <a:pt x="48" y="13"/>
                  </a:cubicBezTo>
                  <a:cubicBezTo>
                    <a:pt x="48" y="13"/>
                    <a:pt x="48" y="12"/>
                    <a:pt x="48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1"/>
                  </a:cubicBezTo>
                  <a:cubicBezTo>
                    <a:pt x="48" y="12"/>
                    <a:pt x="49" y="11"/>
                    <a:pt x="49" y="11"/>
                  </a:cubicBezTo>
                  <a:cubicBezTo>
                    <a:pt x="49" y="11"/>
                    <a:pt x="49" y="11"/>
                    <a:pt x="49" y="12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1" y="8"/>
                    <a:pt x="51" y="8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2" y="7"/>
                    <a:pt x="52" y="7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5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1"/>
                    <a:pt x="55" y="1"/>
                  </a:cubicBezTo>
                  <a:cubicBezTo>
                    <a:pt x="57" y="1"/>
                    <a:pt x="58" y="0"/>
                    <a:pt x="60" y="1"/>
                  </a:cubicBezTo>
                  <a:cubicBezTo>
                    <a:pt x="60" y="1"/>
                    <a:pt x="60" y="1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3" y="1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4" y="2"/>
                    <a:pt x="64" y="3"/>
                    <a:pt x="64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5" y="4"/>
                    <a:pt x="65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5" y="6"/>
                  </a:cubicBezTo>
                  <a:cubicBezTo>
                    <a:pt x="66" y="7"/>
                    <a:pt x="65" y="7"/>
                    <a:pt x="66" y="7"/>
                  </a:cubicBezTo>
                  <a:cubicBezTo>
                    <a:pt x="65" y="8"/>
                    <a:pt x="66" y="9"/>
                    <a:pt x="65" y="10"/>
                  </a:cubicBezTo>
                  <a:cubicBezTo>
                    <a:pt x="66" y="10"/>
                    <a:pt x="65" y="10"/>
                    <a:pt x="65" y="11"/>
                  </a:cubicBezTo>
                  <a:cubicBezTo>
                    <a:pt x="65" y="11"/>
                    <a:pt x="65" y="11"/>
                    <a:pt x="65" y="12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4" y="13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5"/>
                    <a:pt x="64" y="16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8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8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8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8" y="18"/>
                    <a:pt x="48" y="18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21"/>
                  </a:moveTo>
                  <a:cubicBezTo>
                    <a:pt x="47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lose/>
                  <a:moveTo>
                    <a:pt x="46" y="22"/>
                  </a:moveTo>
                  <a:cubicBezTo>
                    <a:pt x="47" y="22"/>
                    <a:pt x="47" y="21"/>
                    <a:pt x="47" y="21"/>
                  </a:cubicBezTo>
                  <a:cubicBezTo>
                    <a:pt x="47" y="22"/>
                    <a:pt x="46" y="21"/>
                    <a:pt x="46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7" y="23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lose/>
                  <a:moveTo>
                    <a:pt x="47" y="24"/>
                  </a:move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6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7" y="25"/>
                  </a:cubicBezTo>
                  <a:cubicBezTo>
                    <a:pt x="47" y="26"/>
                    <a:pt x="46" y="25"/>
                    <a:pt x="46" y="26"/>
                  </a:cubicBezTo>
                  <a:cubicBezTo>
                    <a:pt x="46" y="26"/>
                    <a:pt x="46" y="26"/>
                    <a:pt x="47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9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5"/>
                    <a:pt x="48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50" y="24"/>
                  </a:moveTo>
                  <a:cubicBezTo>
                    <a:pt x="50" y="25"/>
                    <a:pt x="50" y="24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5"/>
                    <a:pt x="50" y="25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5"/>
                  </a:cubicBezTo>
                  <a:cubicBezTo>
                    <a:pt x="49" y="25"/>
                    <a:pt x="49" y="25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3"/>
                  </a:moveTo>
                  <a:cubicBezTo>
                    <a:pt x="50" y="22"/>
                    <a:pt x="50" y="23"/>
                    <a:pt x="50" y="23"/>
                  </a:cubicBezTo>
                  <a:cubicBezTo>
                    <a:pt x="50" y="23"/>
                    <a:pt x="50" y="22"/>
                    <a:pt x="50" y="22"/>
                  </a:cubicBezTo>
                  <a:cubicBezTo>
                    <a:pt x="50" y="22"/>
                    <a:pt x="50" y="22"/>
                    <a:pt x="50" y="23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6"/>
                  </a:cubicBezTo>
                  <a:cubicBezTo>
                    <a:pt x="48" y="26"/>
                    <a:pt x="48" y="25"/>
                    <a:pt x="49" y="25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5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1" y="23"/>
                  </a:move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lose/>
                  <a:moveTo>
                    <a:pt x="49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7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39"/>
                  </a:move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6"/>
                  </a:cubicBezTo>
                  <a:cubicBezTo>
                    <a:pt x="46" y="36"/>
                    <a:pt x="46" y="37"/>
                    <a:pt x="46" y="37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4"/>
                    <a:pt x="46" y="3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50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50" y="28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0"/>
                    <a:pt x="48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8" y="32"/>
                    <a:pt x="47" y="32"/>
                  </a:cubicBezTo>
                  <a:close/>
                  <a:moveTo>
                    <a:pt x="48" y="33"/>
                  </a:moveTo>
                  <a:cubicBezTo>
                    <a:pt x="48" y="32"/>
                    <a:pt x="48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8" y="32"/>
                    <a:pt x="48" y="33"/>
                  </a:cubicBezTo>
                  <a:close/>
                  <a:moveTo>
                    <a:pt x="48" y="32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lose/>
                  <a:moveTo>
                    <a:pt x="50" y="30"/>
                  </a:moveTo>
                  <a:cubicBezTo>
                    <a:pt x="50" y="30"/>
                    <a:pt x="49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50" y="30"/>
                  </a:moveTo>
                  <a:cubicBezTo>
                    <a:pt x="50" y="29"/>
                    <a:pt x="50" y="30"/>
                    <a:pt x="50" y="29"/>
                  </a:cubicBezTo>
                  <a:cubicBezTo>
                    <a:pt x="50" y="29"/>
                    <a:pt x="50" y="30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0"/>
                    <a:pt x="50" y="30"/>
                    <a:pt x="50" y="31"/>
                  </a:cubicBez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7"/>
                  </a:move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6"/>
                    <a:pt x="54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lose/>
                  <a:moveTo>
                    <a:pt x="52" y="27"/>
                  </a:moveTo>
                  <a:cubicBezTo>
                    <a:pt x="53" y="27"/>
                    <a:pt x="52" y="27"/>
                    <a:pt x="52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lose/>
                  <a:moveTo>
                    <a:pt x="51" y="30"/>
                  </a:moveTo>
                  <a:cubicBezTo>
                    <a:pt x="51" y="29"/>
                    <a:pt x="52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lose/>
                  <a:moveTo>
                    <a:pt x="50" y="31"/>
                  </a:moveTo>
                  <a:cubicBezTo>
                    <a:pt x="51" y="31"/>
                    <a:pt x="51" y="30"/>
                    <a:pt x="51" y="30"/>
                  </a:cubicBezTo>
                  <a:cubicBezTo>
                    <a:pt x="51" y="30"/>
                    <a:pt x="50" y="30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1" y="2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2" y="30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4" y="25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5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3" y="26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4" y="26"/>
                    <a:pt x="54" y="27"/>
                    <a:pt x="54" y="26"/>
                  </a:cubicBezTo>
                  <a:close/>
                  <a:moveTo>
                    <a:pt x="47" y="38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lose/>
                  <a:moveTo>
                    <a:pt x="50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9" y="36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6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0" y="34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2" y="29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2" y="30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2" y="30"/>
                    <a:pt x="52" y="30"/>
                  </a:cubicBezTo>
                  <a:cubicBezTo>
                    <a:pt x="52" y="30"/>
                    <a:pt x="52" y="30"/>
                    <a:pt x="53" y="30"/>
                  </a:cubicBezTo>
                  <a:cubicBezTo>
                    <a:pt x="52" y="30"/>
                    <a:pt x="53" y="30"/>
                    <a:pt x="53" y="30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8"/>
                    <a:pt x="54" y="28"/>
                  </a:cubicBezTo>
                  <a:cubicBezTo>
                    <a:pt x="54" y="28"/>
                    <a:pt x="54" y="27"/>
                    <a:pt x="54" y="27"/>
                  </a:cubicBezTo>
                  <a:cubicBezTo>
                    <a:pt x="54" y="27"/>
                    <a:pt x="53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3" y="28"/>
                    <a:pt x="53" y="29"/>
                  </a:cubicBezTo>
                  <a:cubicBezTo>
                    <a:pt x="53" y="29"/>
                    <a:pt x="53" y="28"/>
                    <a:pt x="54" y="28"/>
                  </a:cubicBezTo>
                  <a:cubicBezTo>
                    <a:pt x="54" y="28"/>
                    <a:pt x="53" y="28"/>
                    <a:pt x="54" y="28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56" y="26"/>
                  </a:moveTo>
                  <a:cubicBezTo>
                    <a:pt x="56" y="27"/>
                    <a:pt x="55" y="26"/>
                    <a:pt x="56" y="27"/>
                  </a:cubicBezTo>
                  <a:cubicBezTo>
                    <a:pt x="56" y="27"/>
                    <a:pt x="56" y="26"/>
                    <a:pt x="56" y="26"/>
                  </a:cubicBezTo>
                  <a:close/>
                  <a:moveTo>
                    <a:pt x="59" y="23"/>
                  </a:moveTo>
                  <a:cubicBezTo>
                    <a:pt x="58" y="23"/>
                    <a:pt x="59" y="23"/>
                    <a:pt x="59" y="23"/>
                  </a:cubicBezTo>
                  <a:cubicBezTo>
                    <a:pt x="59" y="23"/>
                    <a:pt x="58" y="23"/>
                    <a:pt x="58" y="23"/>
                  </a:cubicBezTo>
                  <a:cubicBezTo>
                    <a:pt x="58" y="23"/>
                    <a:pt x="58" y="24"/>
                    <a:pt x="59" y="23"/>
                  </a:cubicBezTo>
                  <a:close/>
                  <a:moveTo>
                    <a:pt x="60" y="22"/>
                  </a:moveTo>
                  <a:cubicBezTo>
                    <a:pt x="60" y="22"/>
                    <a:pt x="60" y="22"/>
                    <a:pt x="60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60" y="22"/>
                  </a:cubicBezTo>
                  <a:cubicBezTo>
                    <a:pt x="60" y="22"/>
                    <a:pt x="59" y="22"/>
                    <a:pt x="60" y="22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65" y="4"/>
                  </a:moveTo>
                  <a:cubicBezTo>
                    <a:pt x="65" y="4"/>
                    <a:pt x="65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5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lose/>
                  <a:moveTo>
                    <a:pt x="46" y="27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28"/>
                    <a:pt x="44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4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30"/>
                    <a:pt x="43" y="30"/>
                  </a:cubicBezTo>
                  <a:cubicBezTo>
                    <a:pt x="43" y="30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30"/>
                  </a:cubicBezTo>
                  <a:cubicBezTo>
                    <a:pt x="44" y="30"/>
                    <a:pt x="44" y="30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2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7" y="30"/>
                    <a:pt x="46" y="31"/>
                    <a:pt x="47" y="31"/>
                  </a:cubicBezTo>
                  <a:cubicBezTo>
                    <a:pt x="47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1"/>
                    <a:pt x="47" y="31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4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9" y="34"/>
                    <a:pt x="49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9" y="34"/>
                    <a:pt x="49" y="33"/>
                  </a:cubicBezTo>
                  <a:cubicBezTo>
                    <a:pt x="49" y="34"/>
                    <a:pt x="49" y="33"/>
                    <a:pt x="49" y="34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8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1"/>
                    <a:pt x="46" y="31"/>
                  </a:cubicBezTo>
                  <a:close/>
                  <a:moveTo>
                    <a:pt x="44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3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0"/>
                    <a:pt x="43" y="31"/>
                    <a:pt x="43" y="30"/>
                  </a:cubicBezTo>
                  <a:cubicBezTo>
                    <a:pt x="44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9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5"/>
                  </a:cubicBezTo>
                  <a:cubicBezTo>
                    <a:pt x="47" y="35"/>
                    <a:pt x="48" y="34"/>
                    <a:pt x="47" y="35"/>
                  </a:cubicBezTo>
                  <a:cubicBezTo>
                    <a:pt x="47" y="34"/>
                    <a:pt x="48" y="34"/>
                    <a:pt x="47" y="34"/>
                  </a:cubicBezTo>
                  <a:close/>
                  <a:moveTo>
                    <a:pt x="41" y="30"/>
                  </a:moveTo>
                  <a:cubicBezTo>
                    <a:pt x="40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4"/>
                    <a:pt x="43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3" y="37"/>
                    <a:pt x="43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40" y="38"/>
                    <a:pt x="39" y="38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1" y="38"/>
                    <a:pt x="41" y="38"/>
                    <a:pt x="41" y="37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0" y="37"/>
                  </a:moveTo>
                  <a:cubicBezTo>
                    <a:pt x="41" y="37"/>
                    <a:pt x="40" y="37"/>
                    <a:pt x="41" y="38"/>
                  </a:cubicBezTo>
                  <a:cubicBezTo>
                    <a:pt x="40" y="38"/>
                    <a:pt x="40" y="37"/>
                    <a:pt x="40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39"/>
                    <a:pt x="42" y="39"/>
                    <a:pt x="41" y="38"/>
                  </a:cubicBezTo>
                  <a:cubicBezTo>
                    <a:pt x="41" y="38"/>
                    <a:pt x="42" y="38"/>
                    <a:pt x="42" y="38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7" y="42"/>
                  </a:moveTo>
                  <a:cubicBezTo>
                    <a:pt x="47" y="43"/>
                    <a:pt x="47" y="42"/>
                    <a:pt x="47" y="42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2"/>
                  </a:cubicBezTo>
                  <a:close/>
                  <a:moveTo>
                    <a:pt x="45" y="42"/>
                  </a:moveTo>
                  <a:cubicBezTo>
                    <a:pt x="45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4" y="43"/>
                  </a:cubicBezTo>
                  <a:cubicBezTo>
                    <a:pt x="44" y="43"/>
                    <a:pt x="45" y="42"/>
                    <a:pt x="45" y="42"/>
                  </a:cubicBezTo>
                  <a:close/>
                  <a:moveTo>
                    <a:pt x="40" y="4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7"/>
                    <a:pt x="43" y="46"/>
                    <a:pt x="43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5"/>
                    <a:pt x="44" y="45"/>
                    <a:pt x="43" y="46"/>
                  </a:cubicBezTo>
                  <a:cubicBezTo>
                    <a:pt x="43" y="46"/>
                    <a:pt x="44" y="46"/>
                    <a:pt x="43" y="46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5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6" y="46"/>
                    <a:pt x="46" y="46"/>
                  </a:cubicBezTo>
                  <a:cubicBezTo>
                    <a:pt x="46" y="46"/>
                    <a:pt x="45" y="46"/>
                    <a:pt x="45" y="46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5" y="45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6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7"/>
                  </a:moveTo>
                  <a:cubicBezTo>
                    <a:pt x="45" y="46"/>
                    <a:pt x="45" y="46"/>
                    <a:pt x="45" y="47"/>
                  </a:cubicBezTo>
                  <a:cubicBezTo>
                    <a:pt x="44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7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2" y="45"/>
                  </a:cubicBezTo>
                  <a:cubicBezTo>
                    <a:pt x="41" y="45"/>
                    <a:pt x="42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0" y="46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2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7"/>
                    <a:pt x="41" y="47"/>
                  </a:cubicBezTo>
                  <a:cubicBezTo>
                    <a:pt x="41" y="47"/>
                    <a:pt x="42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6"/>
                    <a:pt x="42" y="46"/>
                  </a:cubicBezTo>
                  <a:cubicBezTo>
                    <a:pt x="42" y="46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6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8"/>
                  </a:cubicBezTo>
                  <a:cubicBezTo>
                    <a:pt x="43" y="48"/>
                    <a:pt x="43" y="48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1"/>
                    <a:pt x="43" y="51"/>
                  </a:cubicBezTo>
                  <a:cubicBezTo>
                    <a:pt x="43" y="51"/>
                    <a:pt x="43" y="51"/>
                    <a:pt x="43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3"/>
                    <a:pt x="42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5"/>
                    <a:pt x="39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0" y="54"/>
                    <a:pt x="39" y="54"/>
                    <a:pt x="40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40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1"/>
                  </a:cubicBezTo>
                  <a:cubicBezTo>
                    <a:pt x="40" y="52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1" y="51"/>
                    <a:pt x="40" y="51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1"/>
                    <a:pt x="40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40" y="51"/>
                    <a:pt x="40" y="50"/>
                  </a:cubicBezTo>
                  <a:cubicBezTo>
                    <a:pt x="40" y="49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39" y="50"/>
                  </a:cubicBezTo>
                  <a:cubicBezTo>
                    <a:pt x="40" y="50"/>
                    <a:pt x="39" y="49"/>
                    <a:pt x="40" y="49"/>
                  </a:cubicBezTo>
                  <a:cubicBezTo>
                    <a:pt x="40" y="49"/>
                    <a:pt x="40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8" y="51"/>
                    <a:pt x="39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9"/>
                    <a:pt x="39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7" y="49"/>
                  </a:cubicBezTo>
                  <a:cubicBezTo>
                    <a:pt x="37" y="48"/>
                    <a:pt x="38" y="48"/>
                    <a:pt x="38" y="48"/>
                  </a:cubicBezTo>
                  <a:cubicBezTo>
                    <a:pt x="38" y="48"/>
                    <a:pt x="37" y="48"/>
                    <a:pt x="37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8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7"/>
                  </a:cubicBezTo>
                  <a:close/>
                  <a:moveTo>
                    <a:pt x="39" y="48"/>
                  </a:moveTo>
                  <a:cubicBezTo>
                    <a:pt x="39" y="48"/>
                    <a:pt x="38" y="48"/>
                    <a:pt x="38" y="48"/>
                  </a:cubicBezTo>
                  <a:cubicBezTo>
                    <a:pt x="39" y="48"/>
                    <a:pt x="39" y="48"/>
                    <a:pt x="39" y="48"/>
                  </a:cubicBezTo>
                  <a:close/>
                  <a:moveTo>
                    <a:pt x="40" y="49"/>
                  </a:moveTo>
                  <a:cubicBezTo>
                    <a:pt x="40" y="48"/>
                    <a:pt x="40" y="49"/>
                    <a:pt x="40" y="48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40" y="53"/>
                  </a:moveTo>
                  <a:cubicBezTo>
                    <a:pt x="40" y="54"/>
                    <a:pt x="39" y="54"/>
                    <a:pt x="39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3"/>
                  </a:cubicBezTo>
                  <a:close/>
                  <a:moveTo>
                    <a:pt x="43" y="50"/>
                  </a:move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1" y="53"/>
                    <a:pt x="41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2"/>
                    <a:pt x="41" y="51"/>
                    <a:pt x="41" y="52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49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1"/>
                  </a:move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50"/>
                    <a:pt x="41" y="50"/>
                    <a:pt x="41" y="49"/>
                  </a:cubicBezTo>
                  <a:close/>
                  <a:moveTo>
                    <a:pt x="42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8"/>
                    <a:pt x="42" y="48"/>
                  </a:cubicBezTo>
                  <a:cubicBezTo>
                    <a:pt x="41" y="49"/>
                    <a:pt x="42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2" y="48"/>
                    <a:pt x="42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0" y="50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0" y="50"/>
                    <a:pt x="40" y="50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39" y="53"/>
                    <a:pt x="39" y="53"/>
                  </a:cubicBezTo>
                  <a:close/>
                  <a:moveTo>
                    <a:pt x="42" y="51"/>
                  </a:move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7"/>
                    <a:pt x="41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39" y="46"/>
                    <a:pt x="40" y="46"/>
                    <a:pt x="39" y="46"/>
                  </a:cubicBezTo>
                  <a:cubicBezTo>
                    <a:pt x="40" y="46"/>
                    <a:pt x="39" y="46"/>
                    <a:pt x="39" y="46"/>
                  </a:cubicBezTo>
                  <a:lnTo>
                    <a:pt x="40" y="46"/>
                  </a:lnTo>
                  <a:close/>
                  <a:moveTo>
                    <a:pt x="34" y="44"/>
                  </a:moveTo>
                  <a:cubicBezTo>
                    <a:pt x="35" y="44"/>
                    <a:pt x="34" y="44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5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5" y="45"/>
                  </a:cubicBezTo>
                  <a:cubicBezTo>
                    <a:pt x="35" y="44"/>
                    <a:pt x="35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8"/>
                    <a:pt x="37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6" y="47"/>
                    <a:pt x="35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2" y="49"/>
                    <a:pt x="33" y="49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6"/>
                    <a:pt x="36" y="47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8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5" y="47"/>
                    <a:pt x="34" y="47"/>
                  </a:cubicBezTo>
                  <a:close/>
                  <a:moveTo>
                    <a:pt x="35" y="48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7" y="47"/>
                    <a:pt x="37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1" y="48"/>
                    <a:pt x="40" y="47"/>
                    <a:pt x="40" y="48"/>
                  </a:cubicBezTo>
                  <a:cubicBezTo>
                    <a:pt x="40" y="48"/>
                    <a:pt x="40" y="48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1"/>
                    <a:pt x="37" y="50"/>
                  </a:cubicBezTo>
                  <a:cubicBezTo>
                    <a:pt x="37" y="50"/>
                    <a:pt x="38" y="50"/>
                    <a:pt x="37" y="50"/>
                  </a:cubicBezTo>
                  <a:close/>
                  <a:moveTo>
                    <a:pt x="39" y="51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0"/>
                  </a:cubicBezTo>
                  <a:cubicBezTo>
                    <a:pt x="39" y="50"/>
                    <a:pt x="39" y="51"/>
                    <a:pt x="39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6" y="75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6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6"/>
                    <a:pt x="25" y="76"/>
                  </a:cubicBezTo>
                  <a:cubicBezTo>
                    <a:pt x="25" y="76"/>
                    <a:pt x="26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6"/>
                    <a:pt x="25" y="77"/>
                    <a:pt x="24" y="77"/>
                  </a:cubicBezTo>
                  <a:cubicBezTo>
                    <a:pt x="24" y="77"/>
                    <a:pt x="25" y="76"/>
                    <a:pt x="25" y="76"/>
                  </a:cubicBezTo>
                  <a:cubicBezTo>
                    <a:pt x="25" y="76"/>
                    <a:pt x="25" y="76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5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4" y="76"/>
                    <a:pt x="25" y="76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6" y="73"/>
                  </a:cubicBezTo>
                  <a:cubicBezTo>
                    <a:pt x="26" y="73"/>
                    <a:pt x="25" y="73"/>
                    <a:pt x="25" y="73"/>
                  </a:cubicBezTo>
                  <a:cubicBezTo>
                    <a:pt x="25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5"/>
                    <a:pt x="25" y="74"/>
                    <a:pt x="26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2"/>
                  </a:cubicBezTo>
                  <a:cubicBezTo>
                    <a:pt x="28" y="72"/>
                    <a:pt x="27" y="72"/>
                    <a:pt x="27" y="71"/>
                  </a:cubicBezTo>
                  <a:cubicBezTo>
                    <a:pt x="27" y="71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8" y="71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1"/>
                  </a:cubicBezTo>
                  <a:cubicBezTo>
                    <a:pt x="28" y="71"/>
                    <a:pt x="28" y="70"/>
                    <a:pt x="28" y="70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0"/>
                    <a:pt x="29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69"/>
                    <a:pt x="29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9" y="69"/>
                    <a:pt x="28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7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6"/>
                    <a:pt x="30" y="66"/>
                    <a:pt x="31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8"/>
                    <a:pt x="29" y="68"/>
                  </a:cubicBezTo>
                  <a:cubicBezTo>
                    <a:pt x="29" y="69"/>
                    <a:pt x="29" y="68"/>
                    <a:pt x="29" y="68"/>
                  </a:cubicBezTo>
                  <a:cubicBezTo>
                    <a:pt x="30" y="68"/>
                    <a:pt x="29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6"/>
                    <a:pt x="31" y="66"/>
                    <a:pt x="31" y="65"/>
                  </a:cubicBezTo>
                  <a:cubicBezTo>
                    <a:pt x="31" y="65"/>
                    <a:pt x="31" y="66"/>
                    <a:pt x="30" y="66"/>
                  </a:cubicBezTo>
                  <a:cubicBezTo>
                    <a:pt x="31" y="66"/>
                    <a:pt x="30" y="66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30" y="66"/>
                    <a:pt x="30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8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8"/>
                    <a:pt x="28" y="67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7" y="69"/>
                    <a:pt x="27" y="69"/>
                  </a:cubicBezTo>
                  <a:cubicBezTo>
                    <a:pt x="27" y="69"/>
                    <a:pt x="27" y="69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70"/>
                    <a:pt x="27" y="70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9"/>
                    <a:pt x="27" y="69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5" y="69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9" y="67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8" y="65"/>
                    <a:pt x="28" y="66"/>
                  </a:cubicBezTo>
                  <a:cubicBezTo>
                    <a:pt x="28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29" y="66"/>
                  </a:cubicBezTo>
                  <a:cubicBezTo>
                    <a:pt x="30" y="66"/>
                    <a:pt x="30" y="65"/>
                    <a:pt x="30" y="64"/>
                  </a:cubicBezTo>
                  <a:cubicBezTo>
                    <a:pt x="30" y="64"/>
                    <a:pt x="30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2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3" y="63"/>
                    <a:pt x="33" y="62"/>
                    <a:pt x="33" y="62"/>
                  </a:cubicBezTo>
                  <a:cubicBezTo>
                    <a:pt x="33" y="62"/>
                    <a:pt x="33" y="63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1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0"/>
                    <a:pt x="35" y="60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5" y="60"/>
                    <a:pt x="35" y="59"/>
                  </a:cubicBezTo>
                  <a:cubicBezTo>
                    <a:pt x="35" y="59"/>
                    <a:pt x="35" y="60"/>
                    <a:pt x="36" y="59"/>
                  </a:cubicBezTo>
                  <a:cubicBezTo>
                    <a:pt x="36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8"/>
                    <a:pt x="36" y="58"/>
                  </a:cubicBezTo>
                  <a:cubicBezTo>
                    <a:pt x="36" y="58"/>
                    <a:pt x="36" y="59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8"/>
                    <a:pt x="35" y="57"/>
                    <a:pt x="36" y="57"/>
                  </a:cubicBezTo>
                  <a:cubicBezTo>
                    <a:pt x="36" y="57"/>
                    <a:pt x="35" y="58"/>
                    <a:pt x="35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7" y="58"/>
                    <a:pt x="37" y="57"/>
                  </a:cubicBezTo>
                  <a:cubicBezTo>
                    <a:pt x="37" y="57"/>
                    <a:pt x="36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7" y="58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9"/>
                    <a:pt x="36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9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8"/>
                    <a:pt x="37" y="58"/>
                  </a:cubicBezTo>
                  <a:cubicBezTo>
                    <a:pt x="37" y="58"/>
                    <a:pt x="37" y="58"/>
                    <a:pt x="38" y="58"/>
                  </a:cubicBezTo>
                  <a:cubicBezTo>
                    <a:pt x="38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7"/>
                    <a:pt x="37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9" y="55"/>
                    <a:pt x="38" y="56"/>
                    <a:pt x="39" y="56"/>
                  </a:cubicBezTo>
                  <a:cubicBezTo>
                    <a:pt x="39" y="56"/>
                    <a:pt x="39" y="55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1" y="55"/>
                    <a:pt x="41" y="55"/>
                  </a:cubicBezTo>
                  <a:cubicBezTo>
                    <a:pt x="41" y="55"/>
                    <a:pt x="40" y="55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2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39" y="59"/>
                  </a:cubicBezTo>
                  <a:cubicBezTo>
                    <a:pt x="40" y="59"/>
                    <a:pt x="40" y="59"/>
                    <a:pt x="40" y="58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58"/>
                    <a:pt x="39" y="60"/>
                    <a:pt x="39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8" y="61"/>
                    <a:pt x="38" y="60"/>
                    <a:pt x="38" y="60"/>
                  </a:cubicBezTo>
                  <a:cubicBezTo>
                    <a:pt x="38" y="61"/>
                    <a:pt x="38" y="62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3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6" y="64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4" y="68"/>
                    <a:pt x="35" y="68"/>
                    <a:pt x="35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6"/>
                    <a:pt x="35" y="66"/>
                    <a:pt x="36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1"/>
                    <a:pt x="38" y="61"/>
                    <a:pt x="37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7" y="61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6" y="63"/>
                    <a:pt x="37" y="63"/>
                  </a:cubicBezTo>
                  <a:cubicBezTo>
                    <a:pt x="37" y="63"/>
                    <a:pt x="36" y="63"/>
                    <a:pt x="36" y="62"/>
                  </a:cubicBezTo>
                  <a:cubicBezTo>
                    <a:pt x="36" y="62"/>
                    <a:pt x="36" y="63"/>
                    <a:pt x="36" y="63"/>
                  </a:cubicBezTo>
                  <a:cubicBezTo>
                    <a:pt x="36" y="62"/>
                    <a:pt x="36" y="63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7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4"/>
                  </a:cubicBezTo>
                  <a:cubicBezTo>
                    <a:pt x="34" y="64"/>
                    <a:pt x="34" y="64"/>
                    <a:pt x="35" y="64"/>
                  </a:cubicBezTo>
                  <a:cubicBezTo>
                    <a:pt x="35" y="64"/>
                    <a:pt x="34" y="64"/>
                    <a:pt x="34" y="64"/>
                  </a:cubicBezTo>
                  <a:cubicBezTo>
                    <a:pt x="35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5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4" y="68"/>
                    <a:pt x="34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69"/>
                    <a:pt x="33" y="68"/>
                  </a:cubicBezTo>
                  <a:cubicBezTo>
                    <a:pt x="34" y="69"/>
                    <a:pt x="33" y="69"/>
                    <a:pt x="33" y="69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0"/>
                    <a:pt x="32" y="70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3" y="70"/>
                    <a:pt x="33" y="70"/>
                    <a:pt x="32" y="69"/>
                  </a:cubicBezTo>
                  <a:cubicBezTo>
                    <a:pt x="32" y="69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3"/>
                    <a:pt x="31" y="73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5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2"/>
                    <a:pt x="33" y="70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8"/>
                    <a:pt x="34" y="68"/>
                  </a:cubicBezTo>
                  <a:cubicBezTo>
                    <a:pt x="34" y="68"/>
                    <a:pt x="35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4" y="70"/>
                    <a:pt x="33" y="70"/>
                    <a:pt x="33" y="70"/>
                  </a:cubicBezTo>
                  <a:cubicBezTo>
                    <a:pt x="33" y="70"/>
                    <a:pt x="34" y="70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33" y="71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3"/>
                    <a:pt x="31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7"/>
                    <a:pt x="29" y="77"/>
                  </a:cubicBezTo>
                  <a:cubicBezTo>
                    <a:pt x="29" y="77"/>
                    <a:pt x="30" y="77"/>
                    <a:pt x="30" y="77"/>
                  </a:cubicBezTo>
                  <a:cubicBezTo>
                    <a:pt x="30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ubicBezTo>
                    <a:pt x="29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7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7" y="76"/>
                    <a:pt x="27" y="75"/>
                    <a:pt x="27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6" y="76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29" y="71"/>
                    <a:pt x="29" y="71"/>
                    <a:pt x="30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1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8" y="72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3"/>
                    <a:pt x="28" y="73"/>
                  </a:cubicBezTo>
                  <a:cubicBezTo>
                    <a:pt x="28" y="73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6" y="74"/>
                    <a:pt x="26" y="74"/>
                  </a:cubicBezTo>
                  <a:cubicBezTo>
                    <a:pt x="26" y="74"/>
                    <a:pt x="27" y="73"/>
                    <a:pt x="27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6" y="74"/>
                    <a:pt x="26" y="74"/>
                    <a:pt x="26" y="75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4"/>
                    <a:pt x="37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5"/>
                    <a:pt x="36" y="65"/>
                  </a:cubicBezTo>
                  <a:close/>
                  <a:moveTo>
                    <a:pt x="36" y="62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1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8" y="61"/>
                    <a:pt x="37" y="61"/>
                    <a:pt x="37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7"/>
                    <a:pt x="40" y="57"/>
                  </a:cubicBezTo>
                  <a:cubicBezTo>
                    <a:pt x="39" y="57"/>
                    <a:pt x="40" y="57"/>
                    <a:pt x="39" y="58"/>
                  </a:cubicBezTo>
                  <a:close/>
                  <a:moveTo>
                    <a:pt x="38" y="59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8"/>
                    <a:pt x="39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5"/>
                    <a:pt x="40" y="55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6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6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9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6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9" y="56"/>
                  </a:move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6"/>
                  </a:cubicBezTo>
                  <a:close/>
                  <a:moveTo>
                    <a:pt x="36" y="6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7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59"/>
                  </a:cubicBezTo>
                  <a:cubicBezTo>
                    <a:pt x="37" y="59"/>
                    <a:pt x="38" y="59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9"/>
                    <a:pt x="38" y="59"/>
                    <a:pt x="38" y="59"/>
                  </a:cubicBezTo>
                  <a:cubicBezTo>
                    <a:pt x="38" y="59"/>
                    <a:pt x="37" y="59"/>
                    <a:pt x="37" y="59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9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8" y="68"/>
                    <a:pt x="28" y="67"/>
                    <a:pt x="27" y="67"/>
                  </a:cubicBezTo>
                  <a:close/>
                  <a:moveTo>
                    <a:pt x="29" y="67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9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6"/>
                    <a:pt x="29" y="67"/>
                    <a:pt x="29" y="67"/>
                  </a:cubicBezTo>
                  <a:close/>
                  <a:moveTo>
                    <a:pt x="32" y="64"/>
                  </a:moveTo>
                  <a:cubicBezTo>
                    <a:pt x="32" y="64"/>
                    <a:pt x="31" y="64"/>
                    <a:pt x="31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5"/>
                    <a:pt x="31" y="65"/>
                  </a:cubicBezTo>
                  <a:close/>
                  <a:moveTo>
                    <a:pt x="27" y="73"/>
                  </a:moveTo>
                  <a:cubicBezTo>
                    <a:pt x="28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9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9" y="70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8" y="71"/>
                  </a:cubicBezTo>
                  <a:cubicBezTo>
                    <a:pt x="28" y="71"/>
                    <a:pt x="28" y="71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9" y="71"/>
                    <a:pt x="28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0"/>
                  </a:cubicBezTo>
                  <a:close/>
                  <a:moveTo>
                    <a:pt x="30" y="69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lose/>
                  <a:moveTo>
                    <a:pt x="31" y="68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1" y="68"/>
                  </a:cubicBezTo>
                  <a:close/>
                  <a:moveTo>
                    <a:pt x="30" y="68"/>
                  </a:move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8"/>
                    <a:pt x="30" y="68"/>
                  </a:cubicBezTo>
                  <a:close/>
                  <a:moveTo>
                    <a:pt x="30" y="71"/>
                  </a:moveTo>
                  <a:cubicBezTo>
                    <a:pt x="30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0"/>
                    <a:pt x="30" y="71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1"/>
                    <a:pt x="29" y="71"/>
                    <a:pt x="30" y="71"/>
                  </a:cubicBezTo>
                  <a:close/>
                  <a:moveTo>
                    <a:pt x="30" y="69"/>
                  </a:moveTo>
                  <a:cubicBezTo>
                    <a:pt x="30" y="69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0" y="69"/>
                  </a:cubicBezTo>
                  <a:close/>
                  <a:moveTo>
                    <a:pt x="30" y="70"/>
                  </a:moveTo>
                  <a:cubicBezTo>
                    <a:pt x="29" y="70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lose/>
                  <a:moveTo>
                    <a:pt x="31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8"/>
                    <a:pt x="31" y="68"/>
                  </a:cubicBezTo>
                  <a:cubicBezTo>
                    <a:pt x="31" y="68"/>
                    <a:pt x="31" y="69"/>
                    <a:pt x="30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69"/>
                    <a:pt x="30" y="69"/>
                    <a:pt x="31" y="69"/>
                  </a:cubicBezTo>
                  <a:cubicBezTo>
                    <a:pt x="31" y="69"/>
                    <a:pt x="30" y="69"/>
                    <a:pt x="31" y="69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1" y="68"/>
                    <a:pt x="32" y="67"/>
                    <a:pt x="32" y="67"/>
                  </a:cubicBezTo>
                  <a:cubicBezTo>
                    <a:pt x="31" y="67"/>
                    <a:pt x="31" y="67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2" y="66"/>
                  </a:moveTo>
                  <a:cubicBezTo>
                    <a:pt x="32" y="66"/>
                    <a:pt x="32" y="67"/>
                    <a:pt x="32" y="67"/>
                  </a:cubicBezTo>
                  <a:cubicBezTo>
                    <a:pt x="32" y="67"/>
                    <a:pt x="32" y="66"/>
                    <a:pt x="32" y="66"/>
                  </a:cubicBezTo>
                  <a:close/>
                  <a:moveTo>
                    <a:pt x="32" y="66"/>
                  </a:moveTo>
                  <a:cubicBezTo>
                    <a:pt x="33" y="66"/>
                    <a:pt x="32" y="66"/>
                    <a:pt x="32" y="66"/>
                  </a:cubicBezTo>
                  <a:cubicBezTo>
                    <a:pt x="32" y="66"/>
                    <a:pt x="33" y="65"/>
                    <a:pt x="33" y="65"/>
                  </a:cubicBezTo>
                  <a:cubicBezTo>
                    <a:pt x="32" y="65"/>
                    <a:pt x="32" y="65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5"/>
                    <a:pt x="33" y="64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1" y="70"/>
                  </a:moveTo>
                  <a:cubicBezTo>
                    <a:pt x="31" y="70"/>
                    <a:pt x="31" y="70"/>
                    <a:pt x="31" y="69"/>
                  </a:cubicBezTo>
                  <a:cubicBezTo>
                    <a:pt x="31" y="70"/>
                    <a:pt x="30" y="70"/>
                    <a:pt x="30" y="69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1" y="70"/>
                  </a:cubicBezTo>
                  <a:close/>
                  <a:moveTo>
                    <a:pt x="31" y="68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70"/>
                    <a:pt x="31" y="69"/>
                    <a:pt x="31" y="69"/>
                  </a:cubicBezTo>
                  <a:cubicBezTo>
                    <a:pt x="31" y="69"/>
                    <a:pt x="32" y="69"/>
                    <a:pt x="32" y="69"/>
                  </a:cubicBezTo>
                  <a:cubicBezTo>
                    <a:pt x="32" y="69"/>
                    <a:pt x="32" y="69"/>
                    <a:pt x="31" y="69"/>
                  </a:cubicBezTo>
                  <a:cubicBezTo>
                    <a:pt x="31" y="69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29" y="73"/>
                  </a:cubicBezTo>
                  <a:cubicBezTo>
                    <a:pt x="30" y="73"/>
                    <a:pt x="30" y="73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2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8" y="73"/>
                    <a:pt x="29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4"/>
                  </a:moveTo>
                  <a:cubicBezTo>
                    <a:pt x="28" y="74"/>
                    <a:pt x="28" y="73"/>
                    <a:pt x="28" y="73"/>
                  </a:cubicBezTo>
                  <a:cubicBezTo>
                    <a:pt x="28" y="74"/>
                    <a:pt x="29" y="74"/>
                    <a:pt x="28" y="74"/>
                  </a:cubicBezTo>
                  <a:cubicBezTo>
                    <a:pt x="28" y="74"/>
                    <a:pt x="28" y="74"/>
                    <a:pt x="29" y="74"/>
                  </a:cubicBezTo>
                  <a:close/>
                  <a:moveTo>
                    <a:pt x="28" y="75"/>
                  </a:moveTo>
                  <a:cubicBezTo>
                    <a:pt x="28" y="75"/>
                    <a:pt x="29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8" y="75"/>
                    <a:pt x="28" y="76"/>
                    <a:pt x="28" y="76"/>
                  </a:cubicBezTo>
                  <a:cubicBezTo>
                    <a:pt x="28" y="75"/>
                    <a:pt x="28" y="76"/>
                    <a:pt x="28" y="75"/>
                  </a:cubicBez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4"/>
                    <a:pt x="29" y="74"/>
                  </a:cubicBezTo>
                  <a:cubicBezTo>
                    <a:pt x="29" y="73"/>
                    <a:pt x="29" y="73"/>
                    <a:pt x="30" y="73"/>
                  </a:cubicBezTo>
                  <a:close/>
                  <a:moveTo>
                    <a:pt x="30" y="74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29" y="74"/>
                    <a:pt x="29" y="74"/>
                  </a:cubicBezTo>
                  <a:cubicBezTo>
                    <a:pt x="29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0" y="74"/>
                    <a:pt x="29" y="74"/>
                    <a:pt x="29" y="75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5"/>
                  </a:moveTo>
                  <a:cubicBezTo>
                    <a:pt x="30" y="75"/>
                    <a:pt x="29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6"/>
                    <a:pt x="29" y="77"/>
                    <a:pt x="29" y="76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30" y="76"/>
                  </a:cubicBezTo>
                  <a:cubicBezTo>
                    <a:pt x="30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lnTo>
                    <a:pt x="30" y="73"/>
                  </a:ln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29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1" y="73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0" y="72"/>
                    <a:pt x="30" y="73"/>
                  </a:cubicBezTo>
                  <a:close/>
                  <a:moveTo>
                    <a:pt x="31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1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1"/>
                    <a:pt x="31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70"/>
                    <a:pt x="32" y="69"/>
                    <a:pt x="32" y="69"/>
                  </a:cubicBezTo>
                  <a:close/>
                  <a:moveTo>
                    <a:pt x="33" y="69"/>
                  </a:move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2" y="69"/>
                    <a:pt x="33" y="69"/>
                    <a:pt x="33" y="69"/>
                  </a:cubicBezTo>
                  <a:cubicBezTo>
                    <a:pt x="33" y="69"/>
                    <a:pt x="32" y="69"/>
                    <a:pt x="32" y="69"/>
                  </a:cubicBezTo>
                  <a:cubicBezTo>
                    <a:pt x="33" y="69"/>
                    <a:pt x="32" y="69"/>
                    <a:pt x="33" y="69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8"/>
                    <a:pt x="33" y="68"/>
                  </a:cubicBezTo>
                  <a:close/>
                  <a:moveTo>
                    <a:pt x="32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7"/>
                  </a:cubicBezTo>
                  <a:cubicBezTo>
                    <a:pt x="32" y="68"/>
                    <a:pt x="33" y="67"/>
                    <a:pt x="32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2" y="68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8"/>
                    <a:pt x="32" y="6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1" y="70"/>
                    <a:pt x="31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2" y="67"/>
                    <a:pt x="32" y="68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5"/>
                    <a:pt x="33" y="66"/>
                    <a:pt x="33" y="66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3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6" y="58"/>
                    <a:pt x="37" y="58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7" y="58"/>
                    <a:pt x="37" y="59"/>
                    <a:pt x="36" y="59"/>
                  </a:cubicBezTo>
                  <a:cubicBezTo>
                    <a:pt x="37" y="59"/>
                    <a:pt x="37" y="59"/>
                    <a:pt x="37" y="58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6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4" y="63"/>
                  </a:moveTo>
                  <a:cubicBezTo>
                    <a:pt x="34" y="63"/>
                    <a:pt x="34" y="63"/>
                    <a:pt x="33" y="63"/>
                  </a:cubicBezTo>
                  <a:cubicBezTo>
                    <a:pt x="33" y="64"/>
                    <a:pt x="34" y="64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3"/>
                    <a:pt x="34" y="63"/>
                    <a:pt x="34" y="64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3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4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4" y="62"/>
                    <a:pt x="33" y="63"/>
                    <a:pt x="34" y="63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2" y="65"/>
                    <a:pt x="32" y="65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2" y="67"/>
                    <a:pt x="32" y="67"/>
                    <a:pt x="31" y="67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3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1" y="66"/>
                  </a:move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6"/>
                    <a:pt x="32" y="65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6"/>
                  </a:cubicBezTo>
                  <a:cubicBezTo>
                    <a:pt x="31" y="65"/>
                    <a:pt x="31" y="65"/>
                    <a:pt x="32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70"/>
                  </a:moveTo>
                  <a:cubicBezTo>
                    <a:pt x="29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7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3"/>
                    <a:pt x="28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4"/>
                    <a:pt x="25" y="7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1" y="63"/>
                    <a:pt x="31" y="63"/>
                  </a:cubicBezTo>
                  <a:close/>
                  <a:moveTo>
                    <a:pt x="36" y="51"/>
                  </a:moveTo>
                  <a:cubicBezTo>
                    <a:pt x="36" y="50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0"/>
                    <a:pt x="35" y="50"/>
                    <a:pt x="36" y="50"/>
                  </a:cubicBezTo>
                  <a:cubicBezTo>
                    <a:pt x="36" y="50"/>
                    <a:pt x="36" y="51"/>
                    <a:pt x="36" y="51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lose/>
                  <a:moveTo>
                    <a:pt x="36" y="52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6" y="52"/>
                  </a:cubicBezTo>
                  <a:cubicBezTo>
                    <a:pt x="37" y="51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6" y="52"/>
                    <a:pt x="35" y="52"/>
                    <a:pt x="36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2" y="49"/>
                    <a:pt x="32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6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6"/>
                    <a:pt x="37" y="56"/>
                    <a:pt x="36" y="56"/>
                  </a:cubicBezTo>
                  <a:cubicBezTo>
                    <a:pt x="36" y="56"/>
                    <a:pt x="37" y="56"/>
                    <a:pt x="36" y="56"/>
                  </a:cubicBezTo>
                  <a:cubicBezTo>
                    <a:pt x="36" y="56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0"/>
                  </a:cubicBezTo>
                  <a:close/>
                  <a:moveTo>
                    <a:pt x="32" y="50"/>
                  </a:moveTo>
                  <a:cubicBezTo>
                    <a:pt x="32" y="51"/>
                    <a:pt x="32" y="51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2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2" y="52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2" y="52"/>
                    <a:pt x="32" y="5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1"/>
                    <a:pt x="32" y="50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3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2"/>
                  </a:cubicBezTo>
                  <a:cubicBezTo>
                    <a:pt x="35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3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3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lose/>
                  <a:moveTo>
                    <a:pt x="32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29" y="55"/>
                  </a:moveTo>
                  <a:cubicBezTo>
                    <a:pt x="30" y="55"/>
                    <a:pt x="29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3"/>
                  </a:cubicBezTo>
                  <a:cubicBezTo>
                    <a:pt x="30" y="54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2" y="56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5"/>
                    <a:pt x="32" y="56"/>
                    <a:pt x="32" y="56"/>
                  </a:cubicBezTo>
                  <a:cubicBezTo>
                    <a:pt x="32" y="56"/>
                    <a:pt x="33" y="56"/>
                    <a:pt x="32" y="56"/>
                  </a:cubicBezTo>
                  <a:cubicBezTo>
                    <a:pt x="33" y="56"/>
                    <a:pt x="32" y="55"/>
                    <a:pt x="33" y="56"/>
                  </a:cubicBezTo>
                  <a:cubicBezTo>
                    <a:pt x="33" y="56"/>
                    <a:pt x="33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2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5"/>
                    <a:pt x="32" y="56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6"/>
                    <a:pt x="34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4" y="56"/>
                    <a:pt x="33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3" y="57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6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ubicBezTo>
                    <a:pt x="34" y="57"/>
                    <a:pt x="34" y="57"/>
                    <a:pt x="35" y="57"/>
                  </a:cubicBezTo>
                  <a:close/>
                  <a:moveTo>
                    <a:pt x="36" y="57"/>
                  </a:moveTo>
                  <a:cubicBezTo>
                    <a:pt x="37" y="58"/>
                    <a:pt x="36" y="58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7" y="57"/>
                    <a:pt x="36" y="58"/>
                    <a:pt x="36" y="57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4" y="59"/>
                  </a:moveTo>
                  <a:cubicBezTo>
                    <a:pt x="34" y="59"/>
                    <a:pt x="34" y="59"/>
                    <a:pt x="33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5" y="58"/>
                    <a:pt x="34" y="59"/>
                    <a:pt x="34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4" y="59"/>
                    <a:pt x="34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7"/>
                  </a:cubicBezTo>
                  <a:cubicBezTo>
                    <a:pt x="30" y="57"/>
                    <a:pt x="29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1" y="55"/>
                  </a:cubicBezTo>
                  <a:cubicBezTo>
                    <a:pt x="30" y="56"/>
                    <a:pt x="31" y="56"/>
                    <a:pt x="30" y="56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8"/>
                    <a:pt x="33" y="58"/>
                  </a:cubicBezTo>
                  <a:cubicBezTo>
                    <a:pt x="33" y="58"/>
                    <a:pt x="33" y="59"/>
                    <a:pt x="33" y="59"/>
                  </a:cubicBezTo>
                  <a:cubicBezTo>
                    <a:pt x="33" y="58"/>
                    <a:pt x="33" y="58"/>
                    <a:pt x="34" y="57"/>
                  </a:cubicBezTo>
                  <a:cubicBezTo>
                    <a:pt x="34" y="58"/>
                    <a:pt x="34" y="58"/>
                    <a:pt x="33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30" y="56"/>
                  </a:cubicBezTo>
                  <a:cubicBezTo>
                    <a:pt x="30" y="56"/>
                    <a:pt x="29" y="56"/>
                    <a:pt x="29" y="56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9"/>
                    <a:pt x="31" y="59"/>
                  </a:cubicBezTo>
                  <a:cubicBezTo>
                    <a:pt x="31" y="59"/>
                    <a:pt x="31" y="60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7" y="58"/>
                    <a:pt x="28" y="57"/>
                    <a:pt x="28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1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4"/>
                    <a:pt x="36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5" y="64"/>
                    <a:pt x="35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60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2"/>
                    <a:pt x="26" y="62"/>
                  </a:cubicBezTo>
                  <a:cubicBezTo>
                    <a:pt x="26" y="61"/>
                    <a:pt x="26" y="60"/>
                    <a:pt x="26" y="60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1"/>
                    <a:pt x="28" y="61"/>
                  </a:cubicBezTo>
                  <a:cubicBezTo>
                    <a:pt x="28" y="61"/>
                    <a:pt x="28" y="61"/>
                    <a:pt x="28" y="60"/>
                  </a:cubicBezTo>
                  <a:cubicBezTo>
                    <a:pt x="28" y="60"/>
                    <a:pt x="28" y="61"/>
                    <a:pt x="28" y="61"/>
                  </a:cubicBezTo>
                  <a:close/>
                  <a:moveTo>
                    <a:pt x="27" y="63"/>
                  </a:moveTo>
                  <a:cubicBezTo>
                    <a:pt x="27" y="63"/>
                    <a:pt x="28" y="62"/>
                    <a:pt x="28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9" y="61"/>
                    <a:pt x="28" y="61"/>
                    <a:pt x="29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1"/>
                    <a:pt x="29" y="62"/>
                    <a:pt x="29" y="61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9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7" y="64"/>
                    <a:pt x="27" y="65"/>
                  </a:cubicBezTo>
                  <a:cubicBezTo>
                    <a:pt x="27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8" y="64"/>
                    <a:pt x="28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7" y="61"/>
                  </a:moveTo>
                  <a:cubicBezTo>
                    <a:pt x="27" y="62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9" y="63"/>
                    <a:pt x="29" y="63"/>
                  </a:cubicBezTo>
                  <a:cubicBezTo>
                    <a:pt x="29" y="63"/>
                    <a:pt x="28" y="64"/>
                    <a:pt x="29" y="63"/>
                  </a:cubicBezTo>
                  <a:cubicBezTo>
                    <a:pt x="29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7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7"/>
                  </a:cubicBezTo>
                  <a:cubicBezTo>
                    <a:pt x="24" y="66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25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7" y="69"/>
                  </a:cubicBezTo>
                  <a:cubicBezTo>
                    <a:pt x="27" y="69"/>
                    <a:pt x="28" y="69"/>
                    <a:pt x="28" y="70"/>
                  </a:cubicBezTo>
                  <a:cubicBezTo>
                    <a:pt x="28" y="70"/>
                    <a:pt x="27" y="70"/>
                    <a:pt x="28" y="70"/>
                  </a:cubicBezTo>
                  <a:cubicBezTo>
                    <a:pt x="27" y="70"/>
                    <a:pt x="27" y="70"/>
                    <a:pt x="27" y="71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1"/>
                    <a:pt x="26" y="71"/>
                    <a:pt x="26" y="71"/>
                  </a:cubicBezTo>
                  <a:cubicBezTo>
                    <a:pt x="26" y="71"/>
                    <a:pt x="26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32" y="72"/>
                  </a:moveTo>
                  <a:cubicBezTo>
                    <a:pt x="32" y="72"/>
                    <a:pt x="32" y="72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31" y="72"/>
                    <a:pt x="32" y="72"/>
                    <a:pt x="32" y="72"/>
                  </a:cubicBezTo>
                  <a:close/>
                  <a:moveTo>
                    <a:pt x="24" y="68"/>
                  </a:moveTo>
                  <a:cubicBezTo>
                    <a:pt x="24" y="68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4" y="68"/>
                  </a:cubicBezTo>
                  <a:close/>
                  <a:moveTo>
                    <a:pt x="32" y="73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2"/>
                    <a:pt x="33" y="72"/>
                  </a:cubicBezTo>
                  <a:cubicBezTo>
                    <a:pt x="33" y="72"/>
                    <a:pt x="32" y="73"/>
                    <a:pt x="32" y="73"/>
                  </a:cubicBezTo>
                  <a:close/>
                  <a:moveTo>
                    <a:pt x="28" y="76"/>
                  </a:moveTo>
                  <a:cubicBezTo>
                    <a:pt x="29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9" y="75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6" y="77"/>
                  </a:cubicBezTo>
                  <a:cubicBezTo>
                    <a:pt x="26" y="77"/>
                    <a:pt x="25" y="78"/>
                    <a:pt x="26" y="78"/>
                  </a:cubicBezTo>
                  <a:cubicBezTo>
                    <a:pt x="26" y="78"/>
                    <a:pt x="26" y="77"/>
                    <a:pt x="26" y="77"/>
                  </a:cubicBezTo>
                  <a:cubicBezTo>
                    <a:pt x="26" y="78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6" y="79"/>
                    <a:pt x="25" y="79"/>
                  </a:cubicBezTo>
                  <a:cubicBezTo>
                    <a:pt x="25" y="78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7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6"/>
                    <a:pt x="28" y="77"/>
                  </a:cubicBezTo>
                  <a:close/>
                  <a:moveTo>
                    <a:pt x="26" y="76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5" y="77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8" y="78"/>
                  </a:move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9"/>
                    <a:pt x="28" y="79"/>
                  </a:cubicBezTo>
                  <a:cubicBezTo>
                    <a:pt x="28" y="79"/>
                    <a:pt x="28" y="79"/>
                    <a:pt x="29" y="79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9" y="78"/>
                    <a:pt x="29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6" y="81"/>
                  </a:cubicBezTo>
                  <a:cubicBezTo>
                    <a:pt x="27" y="81"/>
                    <a:pt x="27" y="80"/>
                    <a:pt x="27" y="80"/>
                  </a:cubicBezTo>
                  <a:cubicBezTo>
                    <a:pt x="27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0"/>
                    <a:pt x="27" y="80"/>
                    <a:pt x="27" y="81"/>
                  </a:cubicBezTo>
                  <a:cubicBezTo>
                    <a:pt x="27" y="80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6" y="81"/>
                    <a:pt x="25" y="81"/>
                    <a:pt x="25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5" y="81"/>
                    <a:pt x="25" y="81"/>
                  </a:cubicBezTo>
                  <a:cubicBezTo>
                    <a:pt x="25" y="81"/>
                    <a:pt x="26" y="81"/>
                    <a:pt x="26" y="81"/>
                  </a:cubicBezTo>
                  <a:close/>
                  <a:moveTo>
                    <a:pt x="26" y="79"/>
                  </a:moveTo>
                  <a:cubicBezTo>
                    <a:pt x="26" y="79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79"/>
                  </a:cubicBezTo>
                  <a:close/>
                  <a:moveTo>
                    <a:pt x="26" y="81"/>
                  </a:move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5" y="80"/>
                    <a:pt x="25" y="80"/>
                  </a:cubicBez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1"/>
                    <a:pt x="26" y="80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4" y="82"/>
                  </a:cubicBezTo>
                  <a:cubicBezTo>
                    <a:pt x="24" y="82"/>
                    <a:pt x="24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0"/>
                    <a:pt x="25" y="81"/>
                    <a:pt x="25" y="81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4"/>
                  </a:cubicBezTo>
                  <a:cubicBezTo>
                    <a:pt x="26" y="83"/>
                    <a:pt x="26" y="83"/>
                    <a:pt x="26" y="83"/>
                  </a:cubicBezTo>
                  <a:close/>
                  <a:moveTo>
                    <a:pt x="26" y="84"/>
                  </a:moveTo>
                  <a:cubicBezTo>
                    <a:pt x="26" y="84"/>
                    <a:pt x="26" y="83"/>
                    <a:pt x="27" y="83"/>
                  </a:cubicBezTo>
                  <a:cubicBezTo>
                    <a:pt x="26" y="84"/>
                    <a:pt x="26" y="84"/>
                    <a:pt x="26" y="84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90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9"/>
                    <a:pt x="22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90"/>
                  </a:cubicBezTo>
                  <a:cubicBezTo>
                    <a:pt x="23" y="90"/>
                    <a:pt x="23" y="90"/>
                    <a:pt x="22" y="90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3" y="90"/>
                    <a:pt x="22" y="90"/>
                    <a:pt x="22" y="90"/>
                  </a:cubicBezTo>
                  <a:cubicBezTo>
                    <a:pt x="22" y="91"/>
                    <a:pt x="22" y="90"/>
                    <a:pt x="22" y="91"/>
                  </a:cubicBezTo>
                  <a:cubicBezTo>
                    <a:pt x="22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4"/>
                  </a:cubicBezTo>
                  <a:cubicBezTo>
                    <a:pt x="20" y="94"/>
                    <a:pt x="20" y="93"/>
                    <a:pt x="20" y="93"/>
                  </a:cubicBezTo>
                  <a:cubicBezTo>
                    <a:pt x="20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6"/>
                  </a:cubicBezTo>
                  <a:cubicBezTo>
                    <a:pt x="19" y="96"/>
                    <a:pt x="19" y="96"/>
                    <a:pt x="19" y="95"/>
                  </a:cubicBezTo>
                  <a:cubicBezTo>
                    <a:pt x="19" y="95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8" y="96"/>
                    <a:pt x="18" y="97"/>
                  </a:cubicBezTo>
                  <a:cubicBezTo>
                    <a:pt x="18" y="96"/>
                    <a:pt x="18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0" y="93"/>
                    <a:pt x="20" y="92"/>
                  </a:cubicBezTo>
                  <a:cubicBezTo>
                    <a:pt x="21" y="92"/>
                    <a:pt x="20" y="92"/>
                    <a:pt x="21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91"/>
                    <a:pt x="22" y="90"/>
                    <a:pt x="22" y="90"/>
                  </a:cubicBezTo>
                  <a:cubicBezTo>
                    <a:pt x="22" y="91"/>
                    <a:pt x="21" y="92"/>
                    <a:pt x="21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2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9" y="97"/>
                    <a:pt x="20" y="96"/>
                    <a:pt x="20" y="95"/>
                  </a:cubicBezTo>
                  <a:cubicBezTo>
                    <a:pt x="20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6" y="104"/>
                  </a:cubicBezTo>
                  <a:cubicBezTo>
                    <a:pt x="15" y="105"/>
                    <a:pt x="15" y="105"/>
                    <a:pt x="16" y="105"/>
                  </a:cubicBezTo>
                  <a:cubicBezTo>
                    <a:pt x="16" y="105"/>
                    <a:pt x="15" y="105"/>
                    <a:pt x="15" y="105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3" y="109"/>
                    <a:pt x="13" y="108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4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10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2" y="111"/>
                    <a:pt x="12" y="112"/>
                  </a:cubicBezTo>
                  <a:cubicBezTo>
                    <a:pt x="13" y="112"/>
                    <a:pt x="13" y="111"/>
                    <a:pt x="13" y="111"/>
                  </a:cubicBezTo>
                  <a:cubicBezTo>
                    <a:pt x="13" y="111"/>
                    <a:pt x="12" y="112"/>
                    <a:pt x="12" y="112"/>
                  </a:cubicBezTo>
                  <a:cubicBezTo>
                    <a:pt x="12" y="112"/>
                    <a:pt x="13" y="111"/>
                    <a:pt x="13" y="111"/>
                  </a:cubicBezTo>
                  <a:cubicBezTo>
                    <a:pt x="13" y="112"/>
                    <a:pt x="12" y="112"/>
                    <a:pt x="12" y="113"/>
                  </a:cubicBezTo>
                  <a:cubicBezTo>
                    <a:pt x="12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13" y="108"/>
                  </a:move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lose/>
                  <a:moveTo>
                    <a:pt x="13" y="109"/>
                  </a:moveTo>
                  <a:cubicBezTo>
                    <a:pt x="13" y="109"/>
                    <a:pt x="13" y="109"/>
                    <a:pt x="12" y="109"/>
                  </a:cubicBezTo>
                  <a:cubicBezTo>
                    <a:pt x="12" y="109"/>
                    <a:pt x="13" y="108"/>
                    <a:pt x="13" y="109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9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4"/>
                  </a:cubicBezTo>
                  <a:cubicBezTo>
                    <a:pt x="9" y="115"/>
                    <a:pt x="9" y="114"/>
                    <a:pt x="9" y="114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5"/>
                  </a:moveTo>
                  <a:cubicBezTo>
                    <a:pt x="9" y="116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8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4" y="119"/>
                  </a:move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20"/>
                  </a:cubicBezTo>
                  <a:cubicBezTo>
                    <a:pt x="4" y="120"/>
                    <a:pt x="4" y="119"/>
                    <a:pt x="4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3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50" y="8"/>
                    <a:pt x="50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9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6"/>
                    <a:pt x="49" y="35"/>
                  </a:cubicBezTo>
                  <a:cubicBezTo>
                    <a:pt x="49" y="36"/>
                    <a:pt x="48" y="36"/>
                    <a:pt x="48" y="36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1" y="35"/>
                  </a:cubicBezTo>
                  <a:cubicBezTo>
                    <a:pt x="41" y="35"/>
                    <a:pt x="42" y="35"/>
                    <a:pt x="42" y="34"/>
                  </a:cubicBezTo>
                  <a:cubicBezTo>
                    <a:pt x="42" y="34"/>
                    <a:pt x="42" y="35"/>
                    <a:pt x="42" y="35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4" y="48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8" y="46"/>
                  </a:ln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8" y="51"/>
                    <a:pt x="37" y="51"/>
                    <a:pt x="37" y="51"/>
                  </a:cubicBezTo>
                  <a:close/>
                  <a:moveTo>
                    <a:pt x="32" y="52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lose/>
                  <a:moveTo>
                    <a:pt x="35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3"/>
                    <a:pt x="35" y="53"/>
                  </a:cubicBezTo>
                  <a:cubicBezTo>
                    <a:pt x="36" y="53"/>
                    <a:pt x="35" y="54"/>
                    <a:pt x="36" y="54"/>
                  </a:cubicBezTo>
                  <a:cubicBezTo>
                    <a:pt x="35" y="54"/>
                    <a:pt x="36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6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5"/>
                    <a:pt x="35" y="55"/>
                  </a:cubicBezTo>
                  <a:cubicBezTo>
                    <a:pt x="35" y="55"/>
                    <a:pt x="35" y="56"/>
                    <a:pt x="35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8"/>
                  </a:moveTo>
                  <a:cubicBezTo>
                    <a:pt x="28" y="57"/>
                    <a:pt x="29" y="57"/>
                    <a:pt x="29" y="56"/>
                  </a:cubicBezTo>
                  <a:cubicBezTo>
                    <a:pt x="29" y="56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8" y="58"/>
                  </a:cubicBezTo>
                  <a:cubicBezTo>
                    <a:pt x="28" y="58"/>
                    <a:pt x="28" y="57"/>
                    <a:pt x="28" y="58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1"/>
                  </a:cubicBezTo>
                  <a:cubicBezTo>
                    <a:pt x="33" y="61"/>
                    <a:pt x="33" y="60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6"/>
                    <a:pt x="27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1"/>
                    <a:pt x="2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3C17B64-6CF7-4916-B6C0-3AA235855DAC}"/>
                </a:ext>
              </a:extLst>
            </p:cNvPr>
            <p:cNvSpPr/>
            <p:nvPr/>
          </p:nvSpPr>
          <p:spPr bwMode="auto">
            <a:xfrm>
              <a:off x="6559551" y="1571625"/>
              <a:ext cx="161925" cy="303213"/>
            </a:xfrm>
            <a:custGeom>
              <a:avLst/>
              <a:gdLst>
                <a:gd name="T0" fmla="*/ 44 w 65"/>
                <a:gd name="T1" fmla="*/ 27 h 123"/>
                <a:gd name="T2" fmla="*/ 45 w 65"/>
                <a:gd name="T3" fmla="*/ 32 h 123"/>
                <a:gd name="T4" fmla="*/ 41 w 65"/>
                <a:gd name="T5" fmla="*/ 35 h 123"/>
                <a:gd name="T6" fmla="*/ 40 w 65"/>
                <a:gd name="T7" fmla="*/ 37 h 123"/>
                <a:gd name="T8" fmla="*/ 37 w 65"/>
                <a:gd name="T9" fmla="*/ 42 h 123"/>
                <a:gd name="T10" fmla="*/ 43 w 65"/>
                <a:gd name="T11" fmla="*/ 48 h 123"/>
                <a:gd name="T12" fmla="*/ 40 w 65"/>
                <a:gd name="T13" fmla="*/ 54 h 123"/>
                <a:gd name="T14" fmla="*/ 31 w 65"/>
                <a:gd name="T15" fmla="*/ 53 h 123"/>
                <a:gd name="T16" fmla="*/ 34 w 65"/>
                <a:gd name="T17" fmla="*/ 57 h 123"/>
                <a:gd name="T18" fmla="*/ 29 w 65"/>
                <a:gd name="T19" fmla="*/ 60 h 123"/>
                <a:gd name="T20" fmla="*/ 25 w 65"/>
                <a:gd name="T21" fmla="*/ 66 h 123"/>
                <a:gd name="T22" fmla="*/ 24 w 65"/>
                <a:gd name="T23" fmla="*/ 71 h 123"/>
                <a:gd name="T24" fmla="*/ 27 w 65"/>
                <a:gd name="T25" fmla="*/ 79 h 123"/>
                <a:gd name="T26" fmla="*/ 22 w 65"/>
                <a:gd name="T27" fmla="*/ 79 h 123"/>
                <a:gd name="T28" fmla="*/ 22 w 65"/>
                <a:gd name="T29" fmla="*/ 89 h 123"/>
                <a:gd name="T30" fmla="*/ 11 w 65"/>
                <a:gd name="T31" fmla="*/ 111 h 123"/>
                <a:gd name="T32" fmla="*/ 8 w 65"/>
                <a:gd name="T33" fmla="*/ 120 h 123"/>
                <a:gd name="T34" fmla="*/ 51 w 65"/>
                <a:gd name="T35" fmla="*/ 33 h 123"/>
                <a:gd name="T36" fmla="*/ 47 w 65"/>
                <a:gd name="T37" fmla="*/ 37 h 123"/>
                <a:gd name="T38" fmla="*/ 48 w 65"/>
                <a:gd name="T39" fmla="*/ 33 h 123"/>
                <a:gd name="T40" fmla="*/ 45 w 65"/>
                <a:gd name="T41" fmla="*/ 36 h 123"/>
                <a:gd name="T42" fmla="*/ 48 w 65"/>
                <a:gd name="T43" fmla="*/ 26 h 123"/>
                <a:gd name="T44" fmla="*/ 46 w 65"/>
                <a:gd name="T45" fmla="*/ 24 h 123"/>
                <a:gd name="T46" fmla="*/ 46 w 65"/>
                <a:gd name="T47" fmla="*/ 14 h 123"/>
                <a:gd name="T48" fmla="*/ 46 w 65"/>
                <a:gd name="T49" fmla="*/ 18 h 123"/>
                <a:gd name="T50" fmla="*/ 46 w 65"/>
                <a:gd name="T51" fmla="*/ 28 h 123"/>
                <a:gd name="T52" fmla="*/ 45 w 65"/>
                <a:gd name="T53" fmla="*/ 35 h 123"/>
                <a:gd name="T54" fmla="*/ 52 w 65"/>
                <a:gd name="T55" fmla="*/ 27 h 123"/>
                <a:gd name="T56" fmla="*/ 53 w 65"/>
                <a:gd name="T57" fmla="*/ 27 h 123"/>
                <a:gd name="T58" fmla="*/ 43 w 65"/>
                <a:gd name="T59" fmla="*/ 29 h 123"/>
                <a:gd name="T60" fmla="*/ 43 w 65"/>
                <a:gd name="T61" fmla="*/ 33 h 123"/>
                <a:gd name="T62" fmla="*/ 44 w 65"/>
                <a:gd name="T63" fmla="*/ 45 h 123"/>
                <a:gd name="T64" fmla="*/ 42 w 65"/>
                <a:gd name="T65" fmla="*/ 50 h 123"/>
                <a:gd name="T66" fmla="*/ 40 w 65"/>
                <a:gd name="T67" fmla="*/ 52 h 123"/>
                <a:gd name="T68" fmla="*/ 40 w 65"/>
                <a:gd name="T69" fmla="*/ 47 h 123"/>
                <a:gd name="T70" fmla="*/ 40 w 65"/>
                <a:gd name="T71" fmla="*/ 49 h 123"/>
                <a:gd name="T72" fmla="*/ 33 w 65"/>
                <a:gd name="T73" fmla="*/ 48 h 123"/>
                <a:gd name="T74" fmla="*/ 25 w 65"/>
                <a:gd name="T75" fmla="*/ 75 h 123"/>
                <a:gd name="T76" fmla="*/ 28 w 65"/>
                <a:gd name="T77" fmla="*/ 69 h 123"/>
                <a:gd name="T78" fmla="*/ 26 w 65"/>
                <a:gd name="T79" fmla="*/ 69 h 123"/>
                <a:gd name="T80" fmla="*/ 30 w 65"/>
                <a:gd name="T81" fmla="*/ 64 h 123"/>
                <a:gd name="T82" fmla="*/ 36 w 65"/>
                <a:gd name="T83" fmla="*/ 57 h 123"/>
                <a:gd name="T84" fmla="*/ 40 w 65"/>
                <a:gd name="T85" fmla="*/ 56 h 123"/>
                <a:gd name="T86" fmla="*/ 34 w 65"/>
                <a:gd name="T87" fmla="*/ 66 h 123"/>
                <a:gd name="T88" fmla="*/ 29 w 65"/>
                <a:gd name="T89" fmla="*/ 76 h 123"/>
                <a:gd name="T90" fmla="*/ 27 w 65"/>
                <a:gd name="T91" fmla="*/ 73 h 123"/>
                <a:gd name="T92" fmla="*/ 37 w 65"/>
                <a:gd name="T93" fmla="*/ 57 h 123"/>
                <a:gd name="T94" fmla="*/ 30 w 65"/>
                <a:gd name="T95" fmla="*/ 64 h 123"/>
                <a:gd name="T96" fmla="*/ 31 w 65"/>
                <a:gd name="T97" fmla="*/ 67 h 123"/>
                <a:gd name="T98" fmla="*/ 28 w 65"/>
                <a:gd name="T99" fmla="*/ 77 h 123"/>
                <a:gd name="T100" fmla="*/ 31 w 65"/>
                <a:gd name="T101" fmla="*/ 67 h 123"/>
                <a:gd name="T102" fmla="*/ 36 w 65"/>
                <a:gd name="T103" fmla="*/ 59 h 123"/>
                <a:gd name="T104" fmla="*/ 27 w 65"/>
                <a:gd name="T105" fmla="*/ 72 h 123"/>
                <a:gd name="T106" fmla="*/ 37 w 65"/>
                <a:gd name="T107" fmla="*/ 54 h 123"/>
                <a:gd name="T108" fmla="*/ 33 w 65"/>
                <a:gd name="T109" fmla="*/ 54 h 123"/>
                <a:gd name="T110" fmla="*/ 30 w 65"/>
                <a:gd name="T111" fmla="*/ 54 h 123"/>
                <a:gd name="T112" fmla="*/ 36 w 65"/>
                <a:gd name="T113" fmla="*/ 61 h 123"/>
                <a:gd name="T114" fmla="*/ 27 w 65"/>
                <a:gd name="T115" fmla="*/ 61 h 123"/>
                <a:gd name="T116" fmla="*/ 26 w 65"/>
                <a:gd name="T117" fmla="*/ 79 h 123"/>
                <a:gd name="T118" fmla="*/ 27 w 65"/>
                <a:gd name="T119" fmla="*/ 79 h 123"/>
                <a:gd name="T120" fmla="*/ 23 w 65"/>
                <a:gd name="T121" fmla="*/ 89 h 123"/>
                <a:gd name="T122" fmla="*/ 12 w 65"/>
                <a:gd name="T123" fmla="*/ 113 h 123"/>
                <a:gd name="T124" fmla="*/ 31 w 65"/>
                <a:gd name="T125" fmla="*/ 5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" h="123">
                  <a:moveTo>
                    <a:pt x="64" y="3"/>
                  </a:moveTo>
                  <a:cubicBezTo>
                    <a:pt x="65" y="3"/>
                    <a:pt x="65" y="4"/>
                    <a:pt x="65" y="4"/>
                  </a:cubicBezTo>
                  <a:cubicBezTo>
                    <a:pt x="64" y="4"/>
                    <a:pt x="65" y="4"/>
                    <a:pt x="65" y="4"/>
                  </a:cubicBezTo>
                  <a:cubicBezTo>
                    <a:pt x="64" y="4"/>
                    <a:pt x="64" y="4"/>
                    <a:pt x="64" y="3"/>
                  </a:cubicBezTo>
                  <a:close/>
                  <a:moveTo>
                    <a:pt x="49" y="8"/>
                  </a:moveTo>
                  <a:cubicBezTo>
                    <a:pt x="49" y="7"/>
                    <a:pt x="50" y="8"/>
                    <a:pt x="50" y="7"/>
                  </a:cubicBezTo>
                  <a:cubicBezTo>
                    <a:pt x="50" y="8"/>
                    <a:pt x="50" y="7"/>
                    <a:pt x="50" y="7"/>
                  </a:cubicBezTo>
                  <a:cubicBezTo>
                    <a:pt x="50" y="8"/>
                    <a:pt x="50" y="8"/>
                    <a:pt x="49" y="8"/>
                  </a:cubicBezTo>
                  <a:close/>
                  <a:moveTo>
                    <a:pt x="49" y="9"/>
                  </a:moveTo>
                  <a:cubicBezTo>
                    <a:pt x="49" y="9"/>
                    <a:pt x="49" y="9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lose/>
                  <a:moveTo>
                    <a:pt x="48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2"/>
                    <a:pt x="47" y="12"/>
                    <a:pt x="47" y="12"/>
                  </a:cubicBezTo>
                  <a:close/>
                  <a:moveTo>
                    <a:pt x="45" y="15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5" y="15"/>
                  </a:cubicBezTo>
                  <a:close/>
                  <a:moveTo>
                    <a:pt x="44" y="16"/>
                  </a:moveTo>
                  <a:cubicBezTo>
                    <a:pt x="45" y="15"/>
                    <a:pt x="45" y="15"/>
                    <a:pt x="45" y="15"/>
                  </a:cubicBezTo>
                  <a:cubicBezTo>
                    <a:pt x="45" y="16"/>
                    <a:pt x="45" y="16"/>
                    <a:pt x="44" y="16"/>
                  </a:cubicBezTo>
                  <a:close/>
                  <a:moveTo>
                    <a:pt x="45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lose/>
                  <a:moveTo>
                    <a:pt x="45" y="20"/>
                  </a:moveTo>
                  <a:cubicBezTo>
                    <a:pt x="45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5" y="20"/>
                  </a:cubicBezTo>
                  <a:close/>
                  <a:moveTo>
                    <a:pt x="44" y="21"/>
                  </a:moveTo>
                  <a:cubicBezTo>
                    <a:pt x="44" y="21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2"/>
                    <a:pt x="43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3" y="22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3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7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5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lose/>
                  <a:moveTo>
                    <a:pt x="43" y="26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3" y="27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46" y="29"/>
                  </a:moveTo>
                  <a:cubicBezTo>
                    <a:pt x="46" y="29"/>
                    <a:pt x="46" y="30"/>
                    <a:pt x="46" y="30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0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2" y="32"/>
                    <a:pt x="51" y="32"/>
                    <a:pt x="52" y="32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7" y="31"/>
                    <a:pt x="46" y="31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39" y="29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4"/>
                    <a:pt x="49" y="34"/>
                  </a:cubicBezTo>
                  <a:cubicBezTo>
                    <a:pt x="49" y="34"/>
                    <a:pt x="49" y="33"/>
                    <a:pt x="49" y="33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1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5" y="32"/>
                    <a:pt x="44" y="32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3"/>
                    <a:pt x="45" y="33"/>
                  </a:cubicBezTo>
                  <a:cubicBezTo>
                    <a:pt x="46" y="33"/>
                    <a:pt x="45" y="33"/>
                    <a:pt x="45" y="33"/>
                  </a:cubicBezTo>
                  <a:cubicBezTo>
                    <a:pt x="45" y="33"/>
                    <a:pt x="45" y="34"/>
                    <a:pt x="45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3"/>
                    <a:pt x="44" y="33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5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7" y="35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9" y="37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1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5"/>
                  </a:moveTo>
                  <a:cubicBezTo>
                    <a:pt x="43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9" y="38"/>
                  </a:cubicBezTo>
                  <a:cubicBezTo>
                    <a:pt x="49" y="38"/>
                    <a:pt x="48" y="38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4"/>
                    <a:pt x="42" y="35"/>
                  </a:cubicBezTo>
                  <a:cubicBezTo>
                    <a:pt x="42" y="35"/>
                    <a:pt x="41" y="35"/>
                    <a:pt x="41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2" y="35"/>
                    <a:pt x="42" y="36"/>
                    <a:pt x="42" y="36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6"/>
                    <a:pt x="44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8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0" y="35"/>
                    <a:pt x="40" y="36"/>
                    <a:pt x="40" y="36"/>
                  </a:cubicBezTo>
                  <a:cubicBezTo>
                    <a:pt x="40" y="36"/>
                    <a:pt x="40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4"/>
                    <a:pt x="37" y="34"/>
                  </a:cubicBezTo>
                  <a:close/>
                  <a:moveTo>
                    <a:pt x="43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3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39"/>
                    <a:pt x="47" y="39"/>
                  </a:cubicBezTo>
                  <a:close/>
                  <a:moveTo>
                    <a:pt x="40" y="36"/>
                  </a:moveTo>
                  <a:cubicBezTo>
                    <a:pt x="40" y="36"/>
                    <a:pt x="40" y="36"/>
                    <a:pt x="41" y="36"/>
                  </a:cubicBezTo>
                  <a:cubicBezTo>
                    <a:pt x="41" y="36"/>
                    <a:pt x="40" y="36"/>
                    <a:pt x="40" y="36"/>
                  </a:cubicBezTo>
                  <a:close/>
                  <a:moveTo>
                    <a:pt x="48" y="39"/>
                  </a:moveTo>
                  <a:cubicBezTo>
                    <a:pt x="48" y="39"/>
                    <a:pt x="48" y="40"/>
                    <a:pt x="48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0" y="37"/>
                    <a:pt x="41" y="36"/>
                  </a:cubicBezTo>
                  <a:cubicBezTo>
                    <a:pt x="41" y="37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2" y="37"/>
                    <a:pt x="41" y="37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7" y="40"/>
                  </a:moveTo>
                  <a:cubicBezTo>
                    <a:pt x="47" y="40"/>
                    <a:pt x="47" y="40"/>
                    <a:pt x="48" y="40"/>
                  </a:cubicBezTo>
                  <a:cubicBezTo>
                    <a:pt x="47" y="41"/>
                    <a:pt x="47" y="40"/>
                    <a:pt x="47" y="40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5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7" y="40"/>
                  </a:moveTo>
                  <a:cubicBezTo>
                    <a:pt x="47" y="40"/>
                    <a:pt x="46" y="40"/>
                    <a:pt x="46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7" y="41"/>
                  </a:cubicBezTo>
                  <a:cubicBezTo>
                    <a:pt x="47" y="40"/>
                    <a:pt x="46" y="41"/>
                    <a:pt x="46" y="40"/>
                  </a:cubicBezTo>
                  <a:cubicBezTo>
                    <a:pt x="46" y="40"/>
                    <a:pt x="47" y="40"/>
                    <a:pt x="47" y="40"/>
                  </a:cubicBezTo>
                  <a:close/>
                  <a:moveTo>
                    <a:pt x="47" y="40"/>
                  </a:move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0"/>
                    <a:pt x="47" y="41"/>
                    <a:pt x="47" y="40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39" y="38"/>
                    <a:pt x="40" y="38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1"/>
                    <a:pt x="45" y="42"/>
                  </a:cubicBezTo>
                  <a:cubicBezTo>
                    <a:pt x="45" y="41"/>
                    <a:pt x="45" y="41"/>
                    <a:pt x="45" y="40"/>
                  </a:cubicBezTo>
                  <a:cubicBezTo>
                    <a:pt x="45" y="40"/>
                    <a:pt x="45" y="41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39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39" y="39"/>
                  </a:moveTo>
                  <a:cubicBezTo>
                    <a:pt x="39" y="39"/>
                    <a:pt x="40" y="38"/>
                    <a:pt x="39" y="38"/>
                  </a:cubicBezTo>
                  <a:cubicBezTo>
                    <a:pt x="40" y="38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38" y="39"/>
                  </a:moveTo>
                  <a:cubicBezTo>
                    <a:pt x="38" y="38"/>
                    <a:pt x="38" y="38"/>
                    <a:pt x="38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8" y="39"/>
                  </a:cubicBezTo>
                  <a:close/>
                  <a:moveTo>
                    <a:pt x="43" y="40"/>
                  </a:moveTo>
                  <a:cubicBezTo>
                    <a:pt x="44" y="41"/>
                    <a:pt x="43" y="41"/>
                    <a:pt x="43" y="41"/>
                  </a:cubicBezTo>
                  <a:cubicBezTo>
                    <a:pt x="43" y="41"/>
                    <a:pt x="43" y="40"/>
                    <a:pt x="43" y="40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39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7" y="41"/>
                    <a:pt x="37" y="41"/>
                  </a:cubicBezTo>
                  <a:cubicBezTo>
                    <a:pt x="37" y="41"/>
                    <a:pt x="37" y="40"/>
                    <a:pt x="37" y="40"/>
                  </a:cubicBezTo>
                  <a:cubicBezTo>
                    <a:pt x="37" y="40"/>
                    <a:pt x="38" y="40"/>
                    <a:pt x="38" y="4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8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46" y="43"/>
                  </a:moveTo>
                  <a:cubicBezTo>
                    <a:pt x="45" y="43"/>
                    <a:pt x="46" y="43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0" y="41"/>
                  </a:cubicBezTo>
                  <a:cubicBezTo>
                    <a:pt x="41" y="40"/>
                    <a:pt x="40" y="40"/>
                    <a:pt x="41" y="40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2"/>
                    <a:pt x="43" y="42"/>
                    <a:pt x="43" y="42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lose/>
                  <a:moveTo>
                    <a:pt x="42" y="42"/>
                  </a:moveTo>
                  <a:cubicBezTo>
                    <a:pt x="41" y="42"/>
                    <a:pt x="41" y="42"/>
                    <a:pt x="41" y="41"/>
                  </a:cubicBezTo>
                  <a:cubicBezTo>
                    <a:pt x="41" y="42"/>
                    <a:pt x="42" y="42"/>
                    <a:pt x="42" y="42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5" y="44"/>
                    <a:pt x="45" y="44"/>
                  </a:cubicBezTo>
                  <a:close/>
                  <a:moveTo>
                    <a:pt x="35" y="39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7" y="41"/>
                    <a:pt x="37" y="41"/>
                  </a:cubicBezTo>
                  <a:close/>
                  <a:moveTo>
                    <a:pt x="42" y="43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2" y="43"/>
                  </a:cubicBezTo>
                  <a:close/>
                  <a:moveTo>
                    <a:pt x="40" y="43"/>
                  </a:move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2" y="44"/>
                    <a:pt x="42" y="44"/>
                  </a:cubicBezTo>
                  <a:cubicBezTo>
                    <a:pt x="42" y="44"/>
                    <a:pt x="42" y="45"/>
                    <a:pt x="41" y="44"/>
                  </a:cubicBezTo>
                  <a:close/>
                  <a:moveTo>
                    <a:pt x="36" y="42"/>
                  </a:moveTo>
                  <a:cubicBezTo>
                    <a:pt x="36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2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8" y="43"/>
                  </a:moveTo>
                  <a:cubicBezTo>
                    <a:pt x="38" y="43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34" y="42"/>
                  </a:moveTo>
                  <a:cubicBezTo>
                    <a:pt x="34" y="42"/>
                    <a:pt x="35" y="42"/>
                    <a:pt x="35" y="42"/>
                  </a:cubicBezTo>
                  <a:cubicBezTo>
                    <a:pt x="35" y="42"/>
                    <a:pt x="34" y="42"/>
                    <a:pt x="34" y="42"/>
                  </a:cubicBezTo>
                  <a:close/>
                  <a:moveTo>
                    <a:pt x="42" y="46"/>
                  </a:move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39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5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2" y="47"/>
                    <a:pt x="42" y="47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8" y="45"/>
                  </a:moveTo>
                  <a:cubicBezTo>
                    <a:pt x="38" y="45"/>
                    <a:pt x="38" y="45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3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3" y="49"/>
                  </a:moveTo>
                  <a:cubicBezTo>
                    <a:pt x="43" y="50"/>
                    <a:pt x="43" y="50"/>
                    <a:pt x="42" y="51"/>
                  </a:cubicBezTo>
                  <a:cubicBezTo>
                    <a:pt x="43" y="50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lose/>
                  <a:moveTo>
                    <a:pt x="35" y="46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6"/>
                    <a:pt x="35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1" y="48"/>
                    <a:pt x="40" y="48"/>
                    <a:pt x="41" y="48"/>
                  </a:cubicBezTo>
                  <a:close/>
                  <a:moveTo>
                    <a:pt x="36" y="47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2" y="52"/>
                  </a:moveTo>
                  <a:cubicBezTo>
                    <a:pt x="42" y="52"/>
                    <a:pt x="42" y="52"/>
                    <a:pt x="42" y="52"/>
                  </a:cubicBezTo>
                  <a:close/>
                  <a:moveTo>
                    <a:pt x="3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9" y="51"/>
                  </a:moveTo>
                  <a:cubicBezTo>
                    <a:pt x="40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lose/>
                  <a:moveTo>
                    <a:pt x="34" y="49"/>
                  </a:moveTo>
                  <a:cubicBezTo>
                    <a:pt x="34" y="49"/>
                    <a:pt x="34" y="49"/>
                    <a:pt x="34" y="49"/>
                  </a:cubicBezTo>
                  <a:cubicBezTo>
                    <a:pt x="34" y="48"/>
                    <a:pt x="35" y="49"/>
                    <a:pt x="34" y="49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7" y="50"/>
                    <a:pt x="36" y="50"/>
                    <a:pt x="36" y="51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5" y="49"/>
                    <a:pt x="35" y="50"/>
                    <a:pt x="35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2"/>
                    <a:pt x="38" y="51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0"/>
                  </a:cubicBezTo>
                  <a:cubicBezTo>
                    <a:pt x="37" y="50"/>
                    <a:pt x="36" y="51"/>
                    <a:pt x="36" y="51"/>
                  </a:cubicBezTo>
                  <a:close/>
                  <a:moveTo>
                    <a:pt x="41" y="54"/>
                  </a:moveTo>
                  <a:cubicBezTo>
                    <a:pt x="41" y="54"/>
                    <a:pt x="41" y="53"/>
                    <a:pt x="42" y="53"/>
                  </a:cubicBezTo>
                  <a:cubicBezTo>
                    <a:pt x="42" y="53"/>
                    <a:pt x="41" y="54"/>
                    <a:pt x="41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3" y="50"/>
                  </a:moveTo>
                  <a:cubicBezTo>
                    <a:pt x="33" y="49"/>
                    <a:pt x="33" y="50"/>
                    <a:pt x="33" y="50"/>
                  </a:cubicBezTo>
                  <a:cubicBezTo>
                    <a:pt x="33" y="50"/>
                    <a:pt x="33" y="49"/>
                    <a:pt x="33" y="49"/>
                  </a:cubicBezTo>
                  <a:cubicBezTo>
                    <a:pt x="33" y="49"/>
                    <a:pt x="33" y="50"/>
                    <a:pt x="33" y="50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3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40" y="54"/>
                  </a:moveTo>
                  <a:cubicBezTo>
                    <a:pt x="39" y="54"/>
                    <a:pt x="40" y="54"/>
                    <a:pt x="39" y="54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0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49"/>
                  </a:moveTo>
                  <a:cubicBezTo>
                    <a:pt x="30" y="49"/>
                    <a:pt x="30" y="49"/>
                    <a:pt x="30" y="5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49"/>
                    <a:pt x="30" y="49"/>
                    <a:pt x="30" y="49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2"/>
                    <a:pt x="29" y="52"/>
                  </a:cubicBezTo>
                  <a:cubicBezTo>
                    <a:pt x="30" y="51"/>
                    <a:pt x="30" y="51"/>
                    <a:pt x="30" y="50"/>
                  </a:cubicBezTo>
                  <a:cubicBezTo>
                    <a:pt x="30" y="50"/>
                    <a:pt x="31" y="50"/>
                    <a:pt x="31" y="50"/>
                  </a:cubicBezTo>
                  <a:cubicBezTo>
                    <a:pt x="31" y="50"/>
                    <a:pt x="30" y="50"/>
                    <a:pt x="30" y="51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2"/>
                    <a:pt x="34" y="52"/>
                  </a:cubicBezTo>
                  <a:cubicBezTo>
                    <a:pt x="33" y="52"/>
                    <a:pt x="34" y="51"/>
                    <a:pt x="34" y="51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3" y="51"/>
                  </a:cubicBezTo>
                  <a:cubicBezTo>
                    <a:pt x="33" y="51"/>
                    <a:pt x="32" y="51"/>
                    <a:pt x="32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51"/>
                  </a:moveTo>
                  <a:cubicBezTo>
                    <a:pt x="30" y="50"/>
                    <a:pt x="30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ubicBezTo>
                    <a:pt x="30" y="50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2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4"/>
                  </a:cubicBezTo>
                  <a:cubicBezTo>
                    <a:pt x="36" y="54"/>
                    <a:pt x="36" y="53"/>
                    <a:pt x="36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3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5" y="53"/>
                  </a:moveTo>
                  <a:cubicBezTo>
                    <a:pt x="36" y="53"/>
                    <a:pt x="35" y="54"/>
                    <a:pt x="35" y="54"/>
                  </a:cubicBezTo>
                  <a:cubicBezTo>
                    <a:pt x="35" y="54"/>
                    <a:pt x="35" y="54"/>
                    <a:pt x="35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2"/>
                    <a:pt x="31" y="52"/>
                  </a:cubicBezTo>
                  <a:cubicBezTo>
                    <a:pt x="30" y="52"/>
                    <a:pt x="30" y="52"/>
                    <a:pt x="31" y="51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3"/>
                  </a:cubicBezTo>
                  <a:cubicBezTo>
                    <a:pt x="34" y="53"/>
                    <a:pt x="34" y="54"/>
                    <a:pt x="34" y="54"/>
                  </a:cubicBezTo>
                  <a:close/>
                  <a:moveTo>
                    <a:pt x="31" y="53"/>
                  </a:moveTo>
                  <a:cubicBezTo>
                    <a:pt x="32" y="53"/>
                    <a:pt x="31" y="53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4"/>
                    <a:pt x="33" y="55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1" y="52"/>
                  </a:moveTo>
                  <a:cubicBezTo>
                    <a:pt x="30" y="52"/>
                    <a:pt x="30" y="53"/>
                    <a:pt x="30" y="52"/>
                  </a:cubicBezTo>
                  <a:cubicBezTo>
                    <a:pt x="30" y="52"/>
                    <a:pt x="30" y="52"/>
                    <a:pt x="31" y="52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6" y="56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5"/>
                  </a:cubicBezTo>
                  <a:cubicBezTo>
                    <a:pt x="37" y="55"/>
                    <a:pt x="37" y="56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29" y="52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3"/>
                    <a:pt x="29" y="52"/>
                  </a:cubicBezTo>
                  <a:close/>
                  <a:moveTo>
                    <a:pt x="30" y="53"/>
                  </a:moveTo>
                  <a:cubicBezTo>
                    <a:pt x="29" y="52"/>
                    <a:pt x="29" y="53"/>
                    <a:pt x="29" y="53"/>
                  </a:cubicBezTo>
                  <a:cubicBezTo>
                    <a:pt x="29" y="53"/>
                    <a:pt x="29" y="53"/>
                    <a:pt x="29" y="52"/>
                  </a:cubicBezTo>
                  <a:cubicBezTo>
                    <a:pt x="29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2" y="55"/>
                  </a:moveTo>
                  <a:cubicBezTo>
                    <a:pt x="32" y="55"/>
                    <a:pt x="32" y="55"/>
                    <a:pt x="32" y="5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5"/>
                    <a:pt x="32" y="54"/>
                    <a:pt x="32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5"/>
                    <a:pt x="34" y="55"/>
                  </a:cubicBezTo>
                  <a:close/>
                  <a:moveTo>
                    <a:pt x="30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0" y="54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3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6"/>
                    <a:pt x="34" y="56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7"/>
                    <a:pt x="34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2" y="58"/>
                    <a:pt x="33" y="57"/>
                    <a:pt x="33" y="57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lose/>
                  <a:moveTo>
                    <a:pt x="34" y="59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5" y="58"/>
                    <a:pt x="35" y="59"/>
                    <a:pt x="34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5"/>
                    <a:pt x="29" y="55"/>
                  </a:cubicBezTo>
                  <a:cubicBezTo>
                    <a:pt x="29" y="55"/>
                    <a:pt x="29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5"/>
                    <a:pt x="29" y="56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7" y="56"/>
                    <a:pt x="28" y="56"/>
                    <a:pt x="28" y="56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58"/>
                    <a:pt x="30" y="58"/>
                    <a:pt x="30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8" y="58"/>
                  </a:cubicBezTo>
                  <a:cubicBezTo>
                    <a:pt x="28" y="58"/>
                    <a:pt x="28" y="58"/>
                    <a:pt x="27" y="58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8" y="59"/>
                    <a:pt x="29" y="59"/>
                    <a:pt x="29" y="59"/>
                  </a:cubicBezTo>
                  <a:cubicBezTo>
                    <a:pt x="29" y="59"/>
                    <a:pt x="28" y="59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lose/>
                  <a:moveTo>
                    <a:pt x="29" y="60"/>
                  </a:moveTo>
                  <a:cubicBezTo>
                    <a:pt x="29" y="59"/>
                    <a:pt x="29" y="60"/>
                    <a:pt x="29" y="60"/>
                  </a:cubicBezTo>
                  <a:cubicBezTo>
                    <a:pt x="29" y="60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1" y="61"/>
                  </a:moveTo>
                  <a:cubicBezTo>
                    <a:pt x="31" y="61"/>
                    <a:pt x="31" y="61"/>
                    <a:pt x="32" y="61"/>
                  </a:cubicBezTo>
                  <a:cubicBezTo>
                    <a:pt x="32" y="61"/>
                    <a:pt x="32" y="61"/>
                    <a:pt x="31" y="61"/>
                  </a:cubicBezTo>
                  <a:close/>
                  <a:moveTo>
                    <a:pt x="28" y="59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0"/>
                    <a:pt x="29" y="60"/>
                  </a:cubicBezTo>
                  <a:cubicBezTo>
                    <a:pt x="29" y="60"/>
                    <a:pt x="29" y="61"/>
                    <a:pt x="29" y="61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6" y="61"/>
                  </a:move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5" y="65"/>
                  </a:moveTo>
                  <a:cubicBezTo>
                    <a:pt x="34" y="65"/>
                    <a:pt x="35" y="65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0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lose/>
                  <a:moveTo>
                    <a:pt x="29" y="62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3"/>
                    <a:pt x="29" y="62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6" y="61"/>
                  </a:cubicBezTo>
                  <a:close/>
                  <a:moveTo>
                    <a:pt x="34" y="66"/>
                  </a:move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lose/>
                  <a:moveTo>
                    <a:pt x="26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2"/>
                    <a:pt x="26" y="63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lose/>
                  <a:moveTo>
                    <a:pt x="25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5" y="64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lose/>
                  <a:moveTo>
                    <a:pt x="27" y="65"/>
                  </a:moveTo>
                  <a:cubicBezTo>
                    <a:pt x="27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7" y="65"/>
                    <a:pt x="27" y="65"/>
                  </a:cubicBezTo>
                  <a:close/>
                  <a:moveTo>
                    <a:pt x="25" y="64"/>
                  </a:move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lose/>
                  <a:moveTo>
                    <a:pt x="29" y="66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2" y="71"/>
                  </a:cubicBezTo>
                  <a:cubicBezTo>
                    <a:pt x="33" y="70"/>
                    <a:pt x="3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3" y="69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6"/>
                    <a:pt x="26" y="66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6" y="66"/>
                    <a:pt x="25" y="66"/>
                    <a:pt x="25" y="66"/>
                  </a:cubicBezTo>
                  <a:close/>
                  <a:moveTo>
                    <a:pt x="28" y="68"/>
                  </a:move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7"/>
                    <a:pt x="25" y="66"/>
                  </a:cubicBezTo>
                  <a:cubicBezTo>
                    <a:pt x="25" y="67"/>
                    <a:pt x="26" y="66"/>
                    <a:pt x="26" y="67"/>
                  </a:cubicBezTo>
                  <a:close/>
                  <a:moveTo>
                    <a:pt x="25" y="67"/>
                  </a:moveTo>
                  <a:cubicBezTo>
                    <a:pt x="24" y="67"/>
                    <a:pt x="25" y="66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4" y="67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4" y="67"/>
                  </a:cubicBezTo>
                  <a:close/>
                  <a:moveTo>
                    <a:pt x="27" y="69"/>
                  </a:move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lose/>
                  <a:moveTo>
                    <a:pt x="23" y="67"/>
                  </a:moveTo>
                  <a:cubicBezTo>
                    <a:pt x="23" y="67"/>
                    <a:pt x="24" y="67"/>
                    <a:pt x="24" y="67"/>
                  </a:cubicBezTo>
                  <a:cubicBezTo>
                    <a:pt x="24" y="67"/>
                    <a:pt x="24" y="67"/>
                    <a:pt x="23" y="67"/>
                  </a:cubicBezTo>
                  <a:close/>
                  <a:moveTo>
                    <a:pt x="25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8"/>
                  </a:cubicBezTo>
                  <a:cubicBezTo>
                    <a:pt x="23" y="68"/>
                    <a:pt x="23" y="67"/>
                    <a:pt x="23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7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lose/>
                  <a:moveTo>
                    <a:pt x="26" y="70"/>
                  </a:move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5" y="70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4" y="70"/>
                  </a:cubicBezTo>
                  <a:cubicBezTo>
                    <a:pt x="24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5" y="71"/>
                    <a:pt x="26" y="71"/>
                    <a:pt x="25" y="71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5" y="72"/>
                    <a:pt x="25" y="73"/>
                    <a:pt x="24" y="73"/>
                  </a:cubicBezTo>
                  <a:cubicBezTo>
                    <a:pt x="25" y="72"/>
                    <a:pt x="25" y="71"/>
                    <a:pt x="26" y="70"/>
                  </a:cubicBezTo>
                  <a:cubicBezTo>
                    <a:pt x="26" y="70"/>
                    <a:pt x="26" y="70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2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1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2" y="70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2" y="70"/>
                  </a:cubicBezTo>
                  <a:close/>
                  <a:moveTo>
                    <a:pt x="28" y="72"/>
                  </a:moveTo>
                  <a:cubicBezTo>
                    <a:pt x="28" y="72"/>
                    <a:pt x="28" y="72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2" y="70"/>
                  </a:move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70"/>
                    <a:pt x="22" y="70"/>
                  </a:cubicBezTo>
                  <a:close/>
                  <a:moveTo>
                    <a:pt x="24" y="71"/>
                  </a:moveTo>
                  <a:cubicBezTo>
                    <a:pt x="25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3" y="70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3" y="73"/>
                  </a:moveTo>
                  <a:cubicBezTo>
                    <a:pt x="23" y="72"/>
                    <a:pt x="23" y="72"/>
                    <a:pt x="23" y="72"/>
                  </a:cubicBezTo>
                  <a:cubicBezTo>
                    <a:pt x="23" y="72"/>
                    <a:pt x="23" y="72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6" y="75"/>
                  </a:cubicBezTo>
                  <a:cubicBezTo>
                    <a:pt x="26" y="75"/>
                    <a:pt x="25" y="75"/>
                    <a:pt x="25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2" y="74"/>
                    <a:pt x="23" y="74"/>
                    <a:pt x="23" y="74"/>
                  </a:cubicBezTo>
                  <a:close/>
                  <a:moveTo>
                    <a:pt x="26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8"/>
                  </a:cubicBezTo>
                  <a:cubicBezTo>
                    <a:pt x="27" y="77"/>
                    <a:pt x="27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5" y="75"/>
                  </a:moveTo>
                  <a:cubicBezTo>
                    <a:pt x="25" y="76"/>
                    <a:pt x="25" y="76"/>
                    <a:pt x="25" y="76"/>
                  </a:cubicBezTo>
                  <a:lnTo>
                    <a:pt x="25" y="75"/>
                  </a:lnTo>
                  <a:close/>
                  <a:moveTo>
                    <a:pt x="26" y="77"/>
                  </a:move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7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6"/>
                    <a:pt x="27" y="76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6" y="77"/>
                    <a:pt x="27" y="77"/>
                    <a:pt x="27" y="76"/>
                  </a:cubicBezTo>
                  <a:close/>
                  <a:moveTo>
                    <a:pt x="28" y="78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lose/>
                  <a:moveTo>
                    <a:pt x="29" y="78"/>
                  </a:move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7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2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lose/>
                  <a:moveTo>
                    <a:pt x="25" y="76"/>
                  </a:move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6"/>
                  </a:cubicBezTo>
                  <a:close/>
                  <a:moveTo>
                    <a:pt x="20" y="74"/>
                  </a:moveTo>
                  <a:cubicBezTo>
                    <a:pt x="19" y="74"/>
                    <a:pt x="19" y="74"/>
                    <a:pt x="19" y="74"/>
                  </a:cubicBezTo>
                  <a:cubicBezTo>
                    <a:pt x="20" y="74"/>
                    <a:pt x="19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19" y="75"/>
                  </a:moveTo>
                  <a:cubicBezTo>
                    <a:pt x="19" y="75"/>
                    <a:pt x="19" y="74"/>
                    <a:pt x="19" y="74"/>
                  </a:cubicBezTo>
                  <a:cubicBezTo>
                    <a:pt x="19" y="74"/>
                    <a:pt x="19" y="75"/>
                    <a:pt x="19" y="75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4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8"/>
                  </a:cubicBezTo>
                  <a:cubicBezTo>
                    <a:pt x="24" y="78"/>
                    <a:pt x="24" y="78"/>
                    <a:pt x="23" y="78"/>
                  </a:cubicBezTo>
                  <a:cubicBezTo>
                    <a:pt x="24" y="77"/>
                    <a:pt x="23" y="77"/>
                    <a:pt x="24" y="77"/>
                  </a:cubicBezTo>
                  <a:cubicBezTo>
                    <a:pt x="24" y="77"/>
                    <a:pt x="24" y="77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7" y="80"/>
                  </a:moveTo>
                  <a:cubicBezTo>
                    <a:pt x="27" y="80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79"/>
                    <a:pt x="27" y="80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2" y="77"/>
                  </a:move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3" y="77"/>
                    <a:pt x="22" y="77"/>
                    <a:pt x="22" y="77"/>
                  </a:cubicBezTo>
                  <a:close/>
                  <a:moveTo>
                    <a:pt x="25" y="79"/>
                  </a:moveTo>
                  <a:cubicBezTo>
                    <a:pt x="26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5" y="80"/>
                  </a:cubicBezTo>
                  <a:cubicBezTo>
                    <a:pt x="25" y="79"/>
                    <a:pt x="26" y="79"/>
                    <a:pt x="26" y="79"/>
                  </a:cubicBezTo>
                  <a:close/>
                  <a:moveTo>
                    <a:pt x="23" y="78"/>
                  </a:moveTo>
                  <a:cubicBezTo>
                    <a:pt x="23" y="79"/>
                    <a:pt x="23" y="78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9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lose/>
                  <a:moveTo>
                    <a:pt x="25" y="81"/>
                  </a:moveTo>
                  <a:cubicBezTo>
                    <a:pt x="25" y="80"/>
                    <a:pt x="26" y="80"/>
                    <a:pt x="26" y="79"/>
                  </a:cubicBezTo>
                  <a:cubicBezTo>
                    <a:pt x="26" y="80"/>
                    <a:pt x="25" y="80"/>
                    <a:pt x="25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8"/>
                    <a:pt x="24" y="78"/>
                  </a:cubicBezTo>
                  <a:cubicBezTo>
                    <a:pt x="24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lose/>
                  <a:moveTo>
                    <a:pt x="24" y="80"/>
                  </a:move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79"/>
                  </a:cubicBezTo>
                  <a:cubicBezTo>
                    <a:pt x="24" y="80"/>
                    <a:pt x="24" y="80"/>
                    <a:pt x="24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4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7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2"/>
                    <a:pt x="26" y="81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lose/>
                  <a:moveTo>
                    <a:pt x="21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80"/>
                  </a:cubicBezTo>
                  <a:cubicBezTo>
                    <a:pt x="22" y="80"/>
                    <a:pt x="22" y="79"/>
                    <a:pt x="22" y="79"/>
                  </a:cubicBezTo>
                  <a:cubicBezTo>
                    <a:pt x="22" y="79"/>
                    <a:pt x="22" y="80"/>
                    <a:pt x="21" y="80"/>
                  </a:cubicBezTo>
                  <a:close/>
                  <a:moveTo>
                    <a:pt x="21" y="80"/>
                  </a:moveTo>
                  <a:cubicBezTo>
                    <a:pt x="21" y="80"/>
                    <a:pt x="21" y="79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19" y="79"/>
                  </a:moveTo>
                  <a:cubicBezTo>
                    <a:pt x="19" y="79"/>
                    <a:pt x="19" y="79"/>
                    <a:pt x="19" y="78"/>
                  </a:cubicBezTo>
                  <a:cubicBezTo>
                    <a:pt x="19" y="78"/>
                    <a:pt x="19" y="79"/>
                    <a:pt x="19" y="79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1"/>
                  </a:cubicBezTo>
                  <a:close/>
                  <a:moveTo>
                    <a:pt x="27" y="82"/>
                  </a:moveTo>
                  <a:cubicBezTo>
                    <a:pt x="26" y="83"/>
                    <a:pt x="27" y="83"/>
                    <a:pt x="26" y="83"/>
                  </a:cubicBezTo>
                  <a:cubicBezTo>
                    <a:pt x="26" y="83"/>
                    <a:pt x="26" y="83"/>
                    <a:pt x="26" y="82"/>
                  </a:cubicBezTo>
                  <a:lnTo>
                    <a:pt x="27" y="82"/>
                  </a:lnTo>
                  <a:close/>
                  <a:moveTo>
                    <a:pt x="26" y="82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lose/>
                  <a:moveTo>
                    <a:pt x="25" y="82"/>
                  </a:move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2"/>
                    <a:pt x="26" y="82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2"/>
                    <a:pt x="25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1"/>
                  </a:moveTo>
                  <a:cubicBezTo>
                    <a:pt x="21" y="81"/>
                    <a:pt x="21" y="81"/>
                    <a:pt x="20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lose/>
                  <a:moveTo>
                    <a:pt x="21" y="82"/>
                  </a:moveTo>
                  <a:cubicBezTo>
                    <a:pt x="20" y="82"/>
                    <a:pt x="21" y="81"/>
                    <a:pt x="20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0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2" y="83"/>
                  </a:moveTo>
                  <a:cubicBezTo>
                    <a:pt x="22" y="83"/>
                    <a:pt x="23" y="83"/>
                    <a:pt x="23" y="83"/>
                  </a:cubicBezTo>
                  <a:cubicBezTo>
                    <a:pt x="23" y="83"/>
                    <a:pt x="22" y="83"/>
                    <a:pt x="22" y="83"/>
                  </a:cubicBezTo>
                  <a:close/>
                  <a:moveTo>
                    <a:pt x="17" y="81"/>
                  </a:moveTo>
                  <a:cubicBezTo>
                    <a:pt x="17" y="81"/>
                    <a:pt x="17" y="81"/>
                    <a:pt x="17" y="81"/>
                  </a:cubicBezTo>
                  <a:cubicBezTo>
                    <a:pt x="17" y="80"/>
                    <a:pt x="17" y="81"/>
                    <a:pt x="17" y="81"/>
                  </a:cubicBezTo>
                  <a:close/>
                  <a:moveTo>
                    <a:pt x="20" y="82"/>
                  </a:moveTo>
                  <a:cubicBezTo>
                    <a:pt x="20" y="82"/>
                    <a:pt x="20" y="82"/>
                    <a:pt x="20" y="82"/>
                  </a:cubicBezTo>
                  <a:cubicBezTo>
                    <a:pt x="20" y="83"/>
                    <a:pt x="20" y="83"/>
                    <a:pt x="20" y="83"/>
                  </a:cubicBezTo>
                  <a:lnTo>
                    <a:pt x="20" y="82"/>
                  </a:ln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20" y="83"/>
                  </a:move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3"/>
                  </a:cubicBezTo>
                  <a:close/>
                  <a:moveTo>
                    <a:pt x="19" y="83"/>
                  </a:moveTo>
                  <a:cubicBezTo>
                    <a:pt x="19" y="83"/>
                    <a:pt x="19" y="83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lose/>
                  <a:moveTo>
                    <a:pt x="19" y="83"/>
                  </a:moveTo>
                  <a:cubicBezTo>
                    <a:pt x="20" y="84"/>
                    <a:pt x="19" y="84"/>
                    <a:pt x="19" y="83"/>
                  </a:cubicBezTo>
                  <a:close/>
                  <a:moveTo>
                    <a:pt x="16" y="82"/>
                  </a:moveTo>
                  <a:cubicBezTo>
                    <a:pt x="15" y="82"/>
                    <a:pt x="16" y="82"/>
                    <a:pt x="16" y="82"/>
                  </a:cubicBezTo>
                  <a:cubicBezTo>
                    <a:pt x="16" y="82"/>
                    <a:pt x="15" y="83"/>
                    <a:pt x="16" y="82"/>
                  </a:cubicBezTo>
                  <a:close/>
                  <a:moveTo>
                    <a:pt x="21" y="85"/>
                  </a:move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lose/>
                  <a:moveTo>
                    <a:pt x="21" y="87"/>
                  </a:moveTo>
                  <a:cubicBezTo>
                    <a:pt x="21" y="87"/>
                    <a:pt x="21" y="87"/>
                    <a:pt x="21" y="87"/>
                  </a:cubicBezTo>
                  <a:cubicBezTo>
                    <a:pt x="22" y="87"/>
                    <a:pt x="21" y="87"/>
                    <a:pt x="21" y="87"/>
                  </a:cubicBezTo>
                  <a:close/>
                  <a:moveTo>
                    <a:pt x="17" y="85"/>
                  </a:move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lose/>
                  <a:moveTo>
                    <a:pt x="18" y="86"/>
                  </a:moveTo>
                  <a:cubicBezTo>
                    <a:pt x="18" y="86"/>
                    <a:pt x="18" y="86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6"/>
                  </a:cubicBezTo>
                  <a:cubicBezTo>
                    <a:pt x="17" y="86"/>
                    <a:pt x="16" y="87"/>
                    <a:pt x="16" y="86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23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5" y="90"/>
                  </a:move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lose/>
                  <a:moveTo>
                    <a:pt x="17" y="96"/>
                  </a:moveTo>
                  <a:cubicBezTo>
                    <a:pt x="18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lose/>
                  <a:moveTo>
                    <a:pt x="14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4" y="95"/>
                    <a:pt x="14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8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lose/>
                  <a:moveTo>
                    <a:pt x="15" y="100"/>
                  </a:moveTo>
                  <a:cubicBezTo>
                    <a:pt x="16" y="100"/>
                    <a:pt x="15" y="100"/>
                    <a:pt x="15" y="101"/>
                  </a:cubicBezTo>
                  <a:cubicBezTo>
                    <a:pt x="15" y="100"/>
                    <a:pt x="15" y="100"/>
                    <a:pt x="15" y="100"/>
                  </a:cubicBezTo>
                  <a:close/>
                  <a:moveTo>
                    <a:pt x="16" y="102"/>
                  </a:move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lose/>
                  <a:moveTo>
                    <a:pt x="15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104"/>
                    <a:pt x="15" y="103"/>
                    <a:pt x="15" y="103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4" y="104"/>
                  </a:moveTo>
                  <a:cubicBezTo>
                    <a:pt x="14" y="104"/>
                    <a:pt x="14" y="104"/>
                    <a:pt x="14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4"/>
                    <a:pt x="14" y="104"/>
                  </a:cubicBezTo>
                  <a:close/>
                  <a:moveTo>
                    <a:pt x="12" y="104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7"/>
                    <a:pt x="14" y="107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6"/>
                    <a:pt x="14" y="106"/>
                    <a:pt x="14" y="107"/>
                  </a:cubicBezTo>
                  <a:close/>
                  <a:moveTo>
                    <a:pt x="11" y="105"/>
                  </a:moveTo>
                  <a:cubicBezTo>
                    <a:pt x="11" y="105"/>
                    <a:pt x="11" y="104"/>
                    <a:pt x="11" y="104"/>
                  </a:cubicBezTo>
                  <a:cubicBezTo>
                    <a:pt x="11" y="104"/>
                    <a:pt x="11" y="105"/>
                    <a:pt x="11" y="105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8"/>
                    <a:pt x="13" y="108"/>
                  </a:cubicBezTo>
                  <a:cubicBezTo>
                    <a:pt x="13" y="108"/>
                    <a:pt x="13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9"/>
                    <a:pt x="11" y="109"/>
                    <a:pt x="12" y="109"/>
                  </a:cubicBezTo>
                  <a:cubicBezTo>
                    <a:pt x="12" y="109"/>
                    <a:pt x="11" y="110"/>
                    <a:pt x="11" y="110"/>
                  </a:cubicBezTo>
                  <a:close/>
                  <a:moveTo>
                    <a:pt x="7" y="108"/>
                  </a:moveTo>
                  <a:cubicBezTo>
                    <a:pt x="7" y="108"/>
                    <a:pt x="7" y="107"/>
                    <a:pt x="7" y="107"/>
                  </a:cubicBezTo>
                  <a:cubicBezTo>
                    <a:pt x="7" y="107"/>
                    <a:pt x="7" y="108"/>
                    <a:pt x="7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1" y="110"/>
                    <a:pt x="11" y="109"/>
                  </a:cubicBezTo>
                  <a:cubicBezTo>
                    <a:pt x="11" y="110"/>
                    <a:pt x="11" y="110"/>
                    <a:pt x="10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2" y="110"/>
                    <a:pt x="11" y="111"/>
                    <a:pt x="11" y="111"/>
                  </a:cubicBezTo>
                  <a:cubicBezTo>
                    <a:pt x="11" y="111"/>
                    <a:pt x="12" y="110"/>
                    <a:pt x="11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0" y="110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lose/>
                  <a:moveTo>
                    <a:pt x="10" y="111"/>
                  </a:moveTo>
                  <a:cubicBezTo>
                    <a:pt x="11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lose/>
                  <a:moveTo>
                    <a:pt x="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6" y="111"/>
                    <a:pt x="5" y="111"/>
                    <a:pt x="5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9" y="115"/>
                    <a:pt x="9" y="116"/>
                  </a:cubicBezTo>
                  <a:cubicBezTo>
                    <a:pt x="8" y="116"/>
                    <a:pt x="8" y="117"/>
                    <a:pt x="8" y="117"/>
                  </a:cubicBezTo>
                  <a:cubicBezTo>
                    <a:pt x="8" y="116"/>
                    <a:pt x="9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1" y="115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lose/>
                  <a:moveTo>
                    <a:pt x="10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lose/>
                  <a:moveTo>
                    <a:pt x="10" y="116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5"/>
                  </a:cubicBezTo>
                  <a:lnTo>
                    <a:pt x="10" y="116"/>
                  </a:ln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3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3"/>
                  </a:cubicBezTo>
                  <a:close/>
                  <a:moveTo>
                    <a:pt x="7" y="116"/>
                  </a:moveTo>
                  <a:cubicBezTo>
                    <a:pt x="7" y="117"/>
                    <a:pt x="7" y="116"/>
                    <a:pt x="7" y="117"/>
                  </a:cubicBezTo>
                  <a:cubicBezTo>
                    <a:pt x="6" y="116"/>
                    <a:pt x="7" y="116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lose/>
                  <a:moveTo>
                    <a:pt x="7" y="116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7" y="117"/>
                    <a:pt x="7" y="116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6" y="118"/>
                  </a:cubicBezTo>
                  <a:cubicBezTo>
                    <a:pt x="6" y="117"/>
                    <a:pt x="7" y="117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9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5"/>
                    <a:pt x="2" y="115"/>
                  </a:cubicBezTo>
                  <a:cubicBezTo>
                    <a:pt x="2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8" y="119"/>
                    <a:pt x="8" y="120"/>
                  </a:cubicBezTo>
                  <a:cubicBezTo>
                    <a:pt x="8" y="119"/>
                    <a:pt x="8" y="119"/>
                    <a:pt x="9" y="119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9"/>
                    <a:pt x="7" y="119"/>
                  </a:cubicBezTo>
                  <a:cubicBezTo>
                    <a:pt x="7" y="119"/>
                    <a:pt x="7" y="118"/>
                    <a:pt x="7" y="118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7"/>
                    <a:pt x="2" y="117"/>
                  </a:cubicBezTo>
                  <a:cubicBezTo>
                    <a:pt x="2" y="117"/>
                    <a:pt x="2" y="116"/>
                    <a:pt x="2" y="116"/>
                  </a:cubicBezTo>
                  <a:close/>
                  <a:moveTo>
                    <a:pt x="4" y="118"/>
                  </a:moveTo>
                  <a:cubicBezTo>
                    <a:pt x="4" y="118"/>
                    <a:pt x="4" y="117"/>
                    <a:pt x="4" y="117"/>
                  </a:cubicBezTo>
                  <a:cubicBezTo>
                    <a:pt x="5" y="117"/>
                    <a:pt x="4" y="118"/>
                    <a:pt x="4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8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9"/>
                  </a:cubicBezTo>
                  <a:close/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lose/>
                  <a:moveTo>
                    <a:pt x="7" y="121"/>
                  </a:move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0"/>
                    <a:pt x="8" y="120"/>
                    <a:pt x="8" y="120"/>
                  </a:cubicBezTo>
                  <a:cubicBezTo>
                    <a:pt x="8" y="121"/>
                    <a:pt x="8" y="121"/>
                    <a:pt x="7" y="121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7"/>
                    <a:pt x="0" y="117"/>
                  </a:cubicBezTo>
                  <a:cubicBezTo>
                    <a:pt x="0" y="117"/>
                    <a:pt x="0" y="117"/>
                    <a:pt x="1" y="117"/>
                  </a:cubicBezTo>
                  <a:cubicBezTo>
                    <a:pt x="1" y="117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20"/>
                  </a:cubicBezTo>
                  <a:cubicBezTo>
                    <a:pt x="6" y="120"/>
                    <a:pt x="5" y="120"/>
                    <a:pt x="5" y="120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19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1" y="118"/>
                  </a:cubicBezTo>
                  <a:cubicBezTo>
                    <a:pt x="1" y="118"/>
                    <a:pt x="0" y="118"/>
                    <a:pt x="0" y="118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2"/>
                  </a:cubicBezTo>
                  <a:cubicBezTo>
                    <a:pt x="7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5" y="123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45" y="36"/>
                  </a:move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lose/>
                  <a:moveTo>
                    <a:pt x="62" y="17"/>
                  </a:moveTo>
                  <a:cubicBezTo>
                    <a:pt x="62" y="17"/>
                    <a:pt x="62" y="18"/>
                    <a:pt x="62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9"/>
                    <a:pt x="61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1"/>
                    <a:pt x="59" y="22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9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3"/>
                    <a:pt x="58" y="23"/>
                  </a:cubicBezTo>
                  <a:cubicBezTo>
                    <a:pt x="58" y="24"/>
                    <a:pt x="57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9"/>
                    <a:pt x="54" y="30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2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2"/>
                    <a:pt x="51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49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1" y="33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6"/>
                    <a:pt x="49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9" y="37"/>
                    <a:pt x="49" y="37"/>
                  </a:cubicBezTo>
                  <a:cubicBezTo>
                    <a:pt x="49" y="37"/>
                    <a:pt x="48" y="37"/>
                    <a:pt x="48" y="37"/>
                  </a:cubicBezTo>
                  <a:cubicBezTo>
                    <a:pt x="49" y="37"/>
                    <a:pt x="48" y="36"/>
                    <a:pt x="49" y="36"/>
                  </a:cubicBezTo>
                  <a:cubicBezTo>
                    <a:pt x="49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8"/>
                    <a:pt x="48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6" y="40"/>
                    <a:pt x="46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3"/>
                    <a:pt x="45" y="43"/>
                    <a:pt x="45" y="43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1"/>
                    <a:pt x="46" y="40"/>
                    <a:pt x="46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9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8"/>
                  </a:cubicBezTo>
                  <a:cubicBezTo>
                    <a:pt x="48" y="37"/>
                    <a:pt x="47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7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6"/>
                  </a:cubicBezTo>
                  <a:cubicBezTo>
                    <a:pt x="48" y="36"/>
                    <a:pt x="48" y="36"/>
                    <a:pt x="47" y="36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5"/>
                    <a:pt x="48" y="35"/>
                  </a:cubicBezTo>
                  <a:cubicBezTo>
                    <a:pt x="48" y="35"/>
                    <a:pt x="47" y="36"/>
                    <a:pt x="47" y="36"/>
                  </a:cubicBezTo>
                  <a:cubicBezTo>
                    <a:pt x="47" y="36"/>
                    <a:pt x="47" y="37"/>
                    <a:pt x="47" y="37"/>
                  </a:cubicBezTo>
                  <a:cubicBezTo>
                    <a:pt x="47" y="37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6"/>
                    <a:pt x="48" y="35"/>
                    <a:pt x="48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3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0"/>
                    <a:pt x="51" y="31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2" y="28"/>
                    <a:pt x="52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2"/>
                    <a:pt x="50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3"/>
                    <a:pt x="48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5"/>
                    <a:pt x="46" y="34"/>
                    <a:pt x="46" y="34"/>
                  </a:cubicBezTo>
                  <a:cubicBezTo>
                    <a:pt x="46" y="34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6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6" y="35"/>
                    <a:pt x="46" y="36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3" y="40"/>
                    <a:pt x="43" y="40"/>
                  </a:cubicBezTo>
                  <a:cubicBezTo>
                    <a:pt x="43" y="40"/>
                    <a:pt x="44" y="40"/>
                    <a:pt x="43" y="40"/>
                  </a:cubicBezTo>
                  <a:cubicBezTo>
                    <a:pt x="44" y="39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8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4" y="37"/>
                    <a:pt x="44" y="37"/>
                  </a:cubicBezTo>
                  <a:cubicBezTo>
                    <a:pt x="44" y="37"/>
                    <a:pt x="44" y="38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5" y="36"/>
                    <a:pt x="46" y="36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4" y="36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4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6" y="32"/>
                    <a:pt x="46" y="33"/>
                  </a:cubicBez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8" y="30"/>
                    <a:pt x="47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30"/>
                    <a:pt x="47" y="30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6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6" y="26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7"/>
                  </a:cubicBez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5" y="2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5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2"/>
                    <a:pt x="44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6" y="29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5" y="27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6"/>
                    <a:pt x="44" y="26"/>
                  </a:cubicBezTo>
                  <a:cubicBezTo>
                    <a:pt x="44" y="26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5" y="25"/>
                    <a:pt x="45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4"/>
                  </a:cubicBezTo>
                  <a:cubicBezTo>
                    <a:pt x="44" y="24"/>
                    <a:pt x="45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5" y="23"/>
                    <a:pt x="45" y="24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5" y="21"/>
                    <a:pt x="46" y="22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8"/>
                    <a:pt x="46" y="19"/>
                  </a:cubicBezTo>
                  <a:cubicBezTo>
                    <a:pt x="45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20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5" y="17"/>
                    <a:pt x="45" y="17"/>
                    <a:pt x="46" y="16"/>
                  </a:cubicBezTo>
                  <a:cubicBezTo>
                    <a:pt x="46" y="16"/>
                    <a:pt x="46" y="17"/>
                    <a:pt x="45" y="17"/>
                  </a:cubicBezTo>
                  <a:cubicBezTo>
                    <a:pt x="46" y="17"/>
                    <a:pt x="46" y="16"/>
                    <a:pt x="45" y="16"/>
                  </a:cubicBezTo>
                  <a:cubicBezTo>
                    <a:pt x="46" y="16"/>
                    <a:pt x="46" y="16"/>
                    <a:pt x="46" y="15"/>
                  </a:cubicBezTo>
                  <a:cubicBezTo>
                    <a:pt x="46" y="15"/>
                    <a:pt x="46" y="16"/>
                    <a:pt x="46" y="15"/>
                  </a:cubicBezTo>
                  <a:cubicBezTo>
                    <a:pt x="46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5"/>
                    <a:pt x="45" y="15"/>
                  </a:cubicBezTo>
                  <a:cubicBezTo>
                    <a:pt x="45" y="15"/>
                    <a:pt x="45" y="14"/>
                    <a:pt x="45" y="14"/>
                  </a:cubicBezTo>
                  <a:cubicBezTo>
                    <a:pt x="45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6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7" y="12"/>
                  </a:cubicBezTo>
                  <a:cubicBezTo>
                    <a:pt x="47" y="12"/>
                    <a:pt x="48" y="12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9" y="11"/>
                  </a:cubicBezTo>
                  <a:cubicBezTo>
                    <a:pt x="49" y="11"/>
                    <a:pt x="49" y="11"/>
                    <a:pt x="49" y="10"/>
                  </a:cubicBezTo>
                  <a:cubicBezTo>
                    <a:pt x="49" y="11"/>
                    <a:pt x="49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9"/>
                  </a:cubicBezTo>
                  <a:cubicBezTo>
                    <a:pt x="49" y="10"/>
                    <a:pt x="49" y="10"/>
                    <a:pt x="50" y="10"/>
                  </a:cubicBezTo>
                  <a:cubicBezTo>
                    <a:pt x="49" y="9"/>
                    <a:pt x="49" y="10"/>
                    <a:pt x="49" y="9"/>
                  </a:cubicBezTo>
                  <a:cubicBezTo>
                    <a:pt x="49" y="9"/>
                    <a:pt x="49" y="9"/>
                    <a:pt x="50" y="9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0" y="7"/>
                    <a:pt x="50" y="8"/>
                  </a:cubicBezTo>
                  <a:cubicBezTo>
                    <a:pt x="50" y="7"/>
                    <a:pt x="51" y="7"/>
                    <a:pt x="51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2" y="6"/>
                    <a:pt x="52" y="5"/>
                    <a:pt x="52" y="6"/>
                  </a:cubicBezTo>
                  <a:cubicBezTo>
                    <a:pt x="52" y="5"/>
                    <a:pt x="52" y="6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1" y="5"/>
                  </a:cubicBezTo>
                  <a:cubicBezTo>
                    <a:pt x="51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3" y="4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2"/>
                    <a:pt x="54" y="2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8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2" y="1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3" y="2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4"/>
                    <a:pt x="64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7"/>
                    <a:pt x="65" y="7"/>
                  </a:cubicBezTo>
                  <a:cubicBezTo>
                    <a:pt x="65" y="8"/>
                    <a:pt x="65" y="9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4" y="11"/>
                    <a:pt x="65" y="11"/>
                    <a:pt x="65" y="12"/>
                  </a:cubicBezTo>
                  <a:cubicBezTo>
                    <a:pt x="64" y="12"/>
                    <a:pt x="64" y="12"/>
                    <a:pt x="64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5"/>
                    <a:pt x="63" y="16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8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6" y="21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7" y="22"/>
                  </a:cubicBezTo>
                  <a:close/>
                  <a:moveTo>
                    <a:pt x="46" y="22"/>
                  </a:move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7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6" y="23"/>
                  </a:cubicBezTo>
                  <a:cubicBezTo>
                    <a:pt x="46" y="22"/>
                    <a:pt x="46" y="22"/>
                    <a:pt x="46" y="23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3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6" y="25"/>
                    <a:pt x="45" y="25"/>
                  </a:cubicBezTo>
                  <a:cubicBezTo>
                    <a:pt x="46" y="26"/>
                    <a:pt x="46" y="25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7"/>
                    <a:pt x="46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5" y="28"/>
                    <a:pt x="45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7" y="24"/>
                    <a:pt x="48" y="24"/>
                    <a:pt x="47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3"/>
                    <a:pt x="49" y="23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8" y="24"/>
                    <a:pt x="48" y="24"/>
                    <a:pt x="48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4"/>
                    <a:pt x="48" y="24"/>
                    <a:pt x="48" y="24"/>
                  </a:cubicBezTo>
                  <a:cubicBezTo>
                    <a:pt x="48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2"/>
                  </a:moveTo>
                  <a:cubicBezTo>
                    <a:pt x="49" y="22"/>
                    <a:pt x="49" y="23"/>
                    <a:pt x="49" y="23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49" y="25"/>
                    <a:pt x="49" y="25"/>
                  </a:cubicBezTo>
                  <a:cubicBezTo>
                    <a:pt x="50" y="25"/>
                    <a:pt x="49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0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8" y="28"/>
                    <a:pt x="48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4" y="39"/>
                  </a:move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46" y="37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5" y="36"/>
                    <a:pt x="46" y="37"/>
                  </a:cubicBezTo>
                  <a:close/>
                  <a:moveTo>
                    <a:pt x="45" y="35"/>
                  </a:moveTo>
                  <a:cubicBezTo>
                    <a:pt x="45" y="35"/>
                    <a:pt x="45" y="34"/>
                    <a:pt x="45" y="34"/>
                  </a:cubicBezTo>
                  <a:cubicBezTo>
                    <a:pt x="45" y="34"/>
                    <a:pt x="45" y="34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7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1"/>
                    <a:pt x="47" y="31"/>
                  </a:cubicBezTo>
                  <a:cubicBezTo>
                    <a:pt x="47" y="31"/>
                    <a:pt x="48" y="30"/>
                    <a:pt x="47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7" y="31"/>
                    <a:pt x="48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lose/>
                  <a:moveTo>
                    <a:pt x="50" y="29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49" y="29"/>
                    <a:pt x="50" y="29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1"/>
                    <a:pt x="49" y="30"/>
                    <a:pt x="49" y="31"/>
                  </a:cubicBezTo>
                  <a:cubicBezTo>
                    <a:pt x="49" y="31"/>
                    <a:pt x="49" y="30"/>
                    <a:pt x="49" y="30"/>
                  </a:cubicBezTo>
                  <a:close/>
                  <a:moveTo>
                    <a:pt x="53" y="25"/>
                  </a:move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5"/>
                  </a:cubicBezTo>
                  <a:cubicBezTo>
                    <a:pt x="53" y="25"/>
                    <a:pt x="53" y="26"/>
                    <a:pt x="53" y="25"/>
                  </a:cubicBezTo>
                  <a:lnTo>
                    <a:pt x="53" y="26"/>
                  </a:lnTo>
                  <a:close/>
                  <a:moveTo>
                    <a:pt x="52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2" y="26"/>
                    <a:pt x="52" y="26"/>
                  </a:cubicBezTo>
                  <a:close/>
                  <a:moveTo>
                    <a:pt x="52" y="26"/>
                  </a:moveTo>
                  <a:cubicBezTo>
                    <a:pt x="52" y="26"/>
                    <a:pt x="52" y="27"/>
                    <a:pt x="52" y="27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0" y="29"/>
                    <a:pt x="51" y="29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1"/>
                  </a:cubicBezTo>
                  <a:close/>
                  <a:moveTo>
                    <a:pt x="50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1"/>
                    <a:pt x="50" y="31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9"/>
                  </a:move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9"/>
                    <a:pt x="51" y="28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2" y="29"/>
                  </a:cubicBezTo>
                  <a:close/>
                  <a:moveTo>
                    <a:pt x="54" y="24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4"/>
                    <a:pt x="54" y="25"/>
                    <a:pt x="54" y="25"/>
                  </a:cubicBezTo>
                  <a:lnTo>
                    <a:pt x="54" y="24"/>
                  </a:lnTo>
                  <a:close/>
                  <a:moveTo>
                    <a:pt x="53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lnTo>
                    <a:pt x="53" y="25"/>
                  </a:ln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47" y="37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6" y="38"/>
                    <a:pt x="46" y="38"/>
                  </a:cubicBezTo>
                  <a:cubicBezTo>
                    <a:pt x="47" y="38"/>
                    <a:pt x="47" y="38"/>
                    <a:pt x="47" y="37"/>
                  </a:cubicBezTo>
                  <a:close/>
                  <a:moveTo>
                    <a:pt x="49" y="34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9" y="34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52" y="28"/>
                  </a:moveTo>
                  <a:cubicBezTo>
                    <a:pt x="52" y="29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8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2" y="28"/>
                    <a:pt x="53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3" y="29"/>
                    <a:pt x="53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3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2"/>
                    <a:pt x="59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2"/>
                    <a:pt x="58" y="22"/>
                    <a:pt x="59" y="22"/>
                  </a:cubicBezTo>
                  <a:cubicBezTo>
                    <a:pt x="59" y="22"/>
                    <a:pt x="58" y="22"/>
                    <a:pt x="59" y="22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5" y="26"/>
                    <a:pt x="45" y="26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1" y="30"/>
                    <a:pt x="51" y="31"/>
                  </a:cubicBezTo>
                  <a:cubicBezTo>
                    <a:pt x="51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64" y="4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3"/>
                  </a:cubicBezTo>
                  <a:cubicBezTo>
                    <a:pt x="65" y="3"/>
                    <a:pt x="64" y="4"/>
                    <a:pt x="64" y="4"/>
                  </a:cubicBezTo>
                  <a:close/>
                  <a:moveTo>
                    <a:pt x="43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3" y="23"/>
                    <a:pt x="42" y="23"/>
                    <a:pt x="43" y="23"/>
                  </a:cubicBezTo>
                  <a:close/>
                  <a:moveTo>
                    <a:pt x="44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3" y="29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lose/>
                  <a:moveTo>
                    <a:pt x="44" y="28"/>
                  </a:moveTo>
                  <a:cubicBezTo>
                    <a:pt x="45" y="28"/>
                    <a:pt x="44" y="29"/>
                    <a:pt x="45" y="29"/>
                  </a:cubicBezTo>
                  <a:cubicBezTo>
                    <a:pt x="45" y="29"/>
                    <a:pt x="45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8"/>
                    <a:pt x="44" y="28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5" y="31"/>
                  </a:move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2"/>
                    <a:pt x="45" y="32"/>
                  </a:cubicBezTo>
                  <a:cubicBezTo>
                    <a:pt x="45" y="32"/>
                    <a:pt x="45" y="32"/>
                    <a:pt x="45" y="31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8" y="34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7" y="35"/>
                    <a:pt x="48" y="35"/>
                    <a:pt x="47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3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1"/>
                    <a:pt x="43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3" y="30"/>
                    <a:pt x="43" y="31"/>
                  </a:cubicBezTo>
                  <a:cubicBezTo>
                    <a:pt x="43" y="31"/>
                    <a:pt x="43" y="30"/>
                    <a:pt x="43" y="30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2" y="31"/>
                  </a:moveTo>
                  <a:cubicBezTo>
                    <a:pt x="41" y="31"/>
                    <a:pt x="41" y="30"/>
                    <a:pt x="41" y="31"/>
                  </a:cubicBezTo>
                  <a:cubicBezTo>
                    <a:pt x="41" y="31"/>
                    <a:pt x="41" y="30"/>
                    <a:pt x="41" y="30"/>
                  </a:cubicBezTo>
                  <a:cubicBezTo>
                    <a:pt x="42" y="30"/>
                    <a:pt x="42" y="30"/>
                    <a:pt x="42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3" y="34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2" y="36"/>
                  </a:cubicBezTo>
                  <a:cubicBezTo>
                    <a:pt x="42" y="37"/>
                    <a:pt x="42" y="36"/>
                    <a:pt x="42" y="36"/>
                  </a:cubicBezTo>
                  <a:cubicBezTo>
                    <a:pt x="42" y="36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6"/>
                    <a:pt x="42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39" y="37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7"/>
                    <a:pt x="39" y="37"/>
                  </a:cubicBezTo>
                  <a:cubicBezTo>
                    <a:pt x="39" y="37"/>
                    <a:pt x="39" y="36"/>
                    <a:pt x="40" y="35"/>
                  </a:cubicBezTo>
                  <a:cubicBezTo>
                    <a:pt x="40" y="36"/>
                    <a:pt x="39" y="36"/>
                    <a:pt x="40" y="36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7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46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4" y="42"/>
                  </a:moveTo>
                  <a:cubicBezTo>
                    <a:pt x="44" y="42"/>
                    <a:pt x="45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4" y="42"/>
                    <a:pt x="44" y="42"/>
                  </a:cubicBezTo>
                  <a:close/>
                  <a:moveTo>
                    <a:pt x="39" y="40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2" y="46"/>
                    <a:pt x="42" y="46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3" y="44"/>
                  </a:cubicBezTo>
                  <a:cubicBezTo>
                    <a:pt x="43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3" y="44"/>
                    <a:pt x="43" y="45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3" y="44"/>
                    <a:pt x="43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6"/>
                    <a:pt x="44" y="46"/>
                  </a:cubicBezTo>
                  <a:cubicBezTo>
                    <a:pt x="44" y="46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4" y="46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4"/>
                  </a:cubicBezTo>
                  <a:cubicBezTo>
                    <a:pt x="41" y="44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2" y="45"/>
                    <a:pt x="41" y="45"/>
                    <a:pt x="42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4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1" y="45"/>
                    <a:pt x="41" y="45"/>
                    <a:pt x="41" y="44"/>
                  </a:cubicBezTo>
                  <a:close/>
                  <a:moveTo>
                    <a:pt x="40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1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0" y="47"/>
                    <a:pt x="40" y="46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3" y="47"/>
                  </a:cubicBezTo>
                  <a:cubicBezTo>
                    <a:pt x="43" y="47"/>
                    <a:pt x="42" y="47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2" y="50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1" y="52"/>
                    <a:pt x="42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4"/>
                    <a:pt x="41" y="53"/>
                  </a:cubicBezTo>
                  <a:cubicBezTo>
                    <a:pt x="41" y="54"/>
                    <a:pt x="41" y="54"/>
                    <a:pt x="40" y="54"/>
                  </a:cubicBezTo>
                  <a:cubicBezTo>
                    <a:pt x="40" y="53"/>
                    <a:pt x="40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8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ubicBezTo>
                    <a:pt x="39" y="53"/>
                    <a:pt x="39" y="53"/>
                    <a:pt x="39" y="54"/>
                  </a:cubicBezTo>
                  <a:cubicBezTo>
                    <a:pt x="39" y="53"/>
                    <a:pt x="39" y="53"/>
                    <a:pt x="38" y="5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40" y="51"/>
                    <a:pt x="40" y="51"/>
                  </a:cubicBezTo>
                  <a:cubicBezTo>
                    <a:pt x="40" y="52"/>
                    <a:pt x="40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0"/>
                    <a:pt x="41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1"/>
                    <a:pt x="39" y="51"/>
                    <a:pt x="40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7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2"/>
                    <a:pt x="38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1"/>
                    <a:pt x="39" y="50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49"/>
                    <a:pt x="38" y="50"/>
                    <a:pt x="38" y="5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9"/>
                  </a:cubicBezTo>
                  <a:cubicBezTo>
                    <a:pt x="38" y="48"/>
                    <a:pt x="38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8"/>
                    <a:pt x="37" y="48"/>
                    <a:pt x="37" y="49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6"/>
                    <a:pt x="37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6"/>
                    <a:pt x="40" y="46"/>
                  </a:cubicBezTo>
                  <a:cubicBezTo>
                    <a:pt x="39" y="47"/>
                    <a:pt x="40" y="47"/>
                    <a:pt x="40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7" y="47"/>
                    <a:pt x="38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8"/>
                    <a:pt x="37" y="48"/>
                  </a:cubicBezTo>
                  <a:cubicBezTo>
                    <a:pt x="38" y="48"/>
                    <a:pt x="38" y="47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8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9" y="49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lose/>
                  <a:moveTo>
                    <a:pt x="39" y="53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3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3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0" y="52"/>
                    <a:pt x="40" y="52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2"/>
                    <a:pt x="41" y="51"/>
                    <a:pt x="41" y="51"/>
                  </a:cubicBezTo>
                  <a:cubicBezTo>
                    <a:pt x="41" y="52"/>
                    <a:pt x="41" y="51"/>
                    <a:pt x="40" y="52"/>
                  </a:cubicBezTo>
                  <a:close/>
                  <a:moveTo>
                    <a:pt x="41" y="50"/>
                  </a:moveTo>
                  <a:cubicBezTo>
                    <a:pt x="41" y="50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1"/>
                    <a:pt x="40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39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0" y="49"/>
                    <a:pt x="41" y="49"/>
                    <a:pt x="41" y="49"/>
                  </a:cubicBezTo>
                  <a:cubicBezTo>
                    <a:pt x="40" y="49"/>
                    <a:pt x="41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1" y="49"/>
                  </a:cubicBezTo>
                  <a:cubicBezTo>
                    <a:pt x="41" y="49"/>
                    <a:pt x="41" y="49"/>
                    <a:pt x="40" y="50"/>
                  </a:cubicBezTo>
                  <a:cubicBezTo>
                    <a:pt x="41" y="50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9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9" y="52"/>
                  </a:moveTo>
                  <a:cubicBezTo>
                    <a:pt x="38" y="53"/>
                    <a:pt x="38" y="53"/>
                    <a:pt x="39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9" y="53"/>
                    <a:pt x="38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41" y="51"/>
                  </a:move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1" y="51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5"/>
                    <a:pt x="38" y="46"/>
                  </a:cubicBezTo>
                  <a:cubicBezTo>
                    <a:pt x="38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39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lose/>
                  <a:moveTo>
                    <a:pt x="34" y="44"/>
                  </a:move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5"/>
                    <a:pt x="36" y="46"/>
                    <a:pt x="36" y="46"/>
                  </a:cubicBezTo>
                  <a:cubicBezTo>
                    <a:pt x="36" y="46"/>
                    <a:pt x="36" y="46"/>
                    <a:pt x="37" y="46"/>
                  </a:cubicBezTo>
                  <a:cubicBezTo>
                    <a:pt x="37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6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9"/>
                    <a:pt x="35" y="48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4" y="48"/>
                  </a:cubicBezTo>
                  <a:cubicBezTo>
                    <a:pt x="34" y="48"/>
                    <a:pt x="35" y="48"/>
                    <a:pt x="35" y="48"/>
                  </a:cubicBezTo>
                  <a:cubicBezTo>
                    <a:pt x="35" y="47"/>
                    <a:pt x="35" y="48"/>
                    <a:pt x="35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2" y="48"/>
                    <a:pt x="33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7"/>
                    <a:pt x="33" y="48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lose/>
                  <a:moveTo>
                    <a:pt x="36" y="46"/>
                  </a:moveTo>
                  <a:cubicBezTo>
                    <a:pt x="36" y="47"/>
                    <a:pt x="35" y="47"/>
                    <a:pt x="36" y="47"/>
                  </a:cubicBezTo>
                  <a:cubicBezTo>
                    <a:pt x="36" y="47"/>
                    <a:pt x="36" y="47"/>
                    <a:pt x="36" y="46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6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0" y="47"/>
                    <a:pt x="40" y="47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7" y="50"/>
                    <a:pt x="37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1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0"/>
                    <a:pt x="39" y="50"/>
                  </a:cubicBezTo>
                  <a:cubicBezTo>
                    <a:pt x="39" y="50"/>
                    <a:pt x="38" y="51"/>
                    <a:pt x="38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6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6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4" y="77"/>
                    <a:pt x="24" y="76"/>
                    <a:pt x="24" y="77"/>
                  </a:cubicBezTo>
                  <a:cubicBezTo>
                    <a:pt x="24" y="76"/>
                    <a:pt x="24" y="77"/>
                    <a:pt x="23" y="76"/>
                  </a:cubicBezTo>
                  <a:cubicBezTo>
                    <a:pt x="23" y="76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6"/>
                    <a:pt x="23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4" y="75"/>
                  </a:cubicBezTo>
                  <a:cubicBezTo>
                    <a:pt x="24" y="75"/>
                    <a:pt x="25" y="75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5" y="74"/>
                    <a:pt x="25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4"/>
                  </a:cubicBezTo>
                  <a:cubicBezTo>
                    <a:pt x="24" y="74"/>
                    <a:pt x="23" y="75"/>
                    <a:pt x="23" y="75"/>
                  </a:cubicBezTo>
                  <a:cubicBezTo>
                    <a:pt x="24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5" y="73"/>
                    <a:pt x="24" y="73"/>
                    <a:pt x="24" y="74"/>
                  </a:cubicBezTo>
                  <a:cubicBezTo>
                    <a:pt x="24" y="74"/>
                    <a:pt x="24" y="74"/>
                    <a:pt x="25" y="74"/>
                  </a:cubicBezTo>
                  <a:cubicBezTo>
                    <a:pt x="25" y="73"/>
                    <a:pt x="24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2"/>
                  </a:cubicBezTo>
                  <a:cubicBezTo>
                    <a:pt x="25" y="73"/>
                    <a:pt x="25" y="72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3"/>
                    <a:pt x="26" y="73"/>
                    <a:pt x="26" y="72"/>
                  </a:cubicBezTo>
                  <a:cubicBezTo>
                    <a:pt x="26" y="73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1"/>
                    <a:pt x="27" y="71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69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7"/>
                    <a:pt x="29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69"/>
                  </a:cubicBezTo>
                  <a:cubicBezTo>
                    <a:pt x="29" y="69"/>
                    <a:pt x="29" y="68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8"/>
                    <a:pt x="29" y="68"/>
                    <a:pt x="29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6"/>
                    <a:pt x="31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6"/>
                  </a:cubicBezTo>
                  <a:cubicBezTo>
                    <a:pt x="30" y="65"/>
                    <a:pt x="29" y="66"/>
                    <a:pt x="29" y="66"/>
                  </a:cubicBezTo>
                  <a:cubicBezTo>
                    <a:pt x="29" y="66"/>
                    <a:pt x="30" y="65"/>
                    <a:pt x="29" y="65"/>
                  </a:cubicBezTo>
                  <a:cubicBezTo>
                    <a:pt x="29" y="65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8"/>
                  </a:cubicBezTo>
                  <a:cubicBezTo>
                    <a:pt x="28" y="68"/>
                    <a:pt x="28" y="67"/>
                    <a:pt x="28" y="67"/>
                  </a:cubicBezTo>
                  <a:cubicBezTo>
                    <a:pt x="27" y="68"/>
                    <a:pt x="28" y="68"/>
                    <a:pt x="27" y="68"/>
                  </a:cubicBezTo>
                  <a:cubicBezTo>
                    <a:pt x="27" y="68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8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9"/>
                  </a:cubicBezTo>
                  <a:cubicBezTo>
                    <a:pt x="27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7" y="69"/>
                    <a:pt x="27" y="68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5" y="69"/>
                    <a:pt x="26" y="69"/>
                  </a:cubicBezTo>
                  <a:cubicBezTo>
                    <a:pt x="26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8"/>
                    <a:pt x="26" y="68"/>
                  </a:cubicBezTo>
                  <a:cubicBezTo>
                    <a:pt x="26" y="68"/>
                    <a:pt x="26" y="68"/>
                    <a:pt x="25" y="68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5"/>
                    <a:pt x="27" y="65"/>
                    <a:pt x="28" y="6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7"/>
                    <a:pt x="27" y="67"/>
                  </a:cubicBezTo>
                  <a:cubicBezTo>
                    <a:pt x="27" y="67"/>
                    <a:pt x="27" y="66"/>
                    <a:pt x="27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4"/>
                  </a:cubicBezTo>
                  <a:cubicBezTo>
                    <a:pt x="28" y="64"/>
                    <a:pt x="29" y="64"/>
                    <a:pt x="29" y="63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8" y="64"/>
                    <a:pt x="29" y="65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8" y="66"/>
                    <a:pt x="28" y="65"/>
                    <a:pt x="28" y="66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9" y="65"/>
                    <a:pt x="29" y="65"/>
                    <a:pt x="28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30" y="64"/>
                  </a:cubicBezTo>
                  <a:cubicBezTo>
                    <a:pt x="30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1" y="62"/>
                    <a:pt x="31" y="62"/>
                  </a:cubicBezTo>
                  <a:cubicBezTo>
                    <a:pt x="31" y="63"/>
                    <a:pt x="31" y="62"/>
                    <a:pt x="32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2" y="63"/>
                  </a:cubicBezTo>
                  <a:cubicBezTo>
                    <a:pt x="32" y="63"/>
                    <a:pt x="31" y="63"/>
                    <a:pt x="31" y="63"/>
                  </a:cubicBezTo>
                  <a:cubicBezTo>
                    <a:pt x="31" y="64"/>
                    <a:pt x="32" y="63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4"/>
                    <a:pt x="31" y="64"/>
                  </a:cubicBezTo>
                  <a:cubicBezTo>
                    <a:pt x="31" y="64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2"/>
                    <a:pt x="33" y="62"/>
                  </a:cubicBezTo>
                  <a:cubicBezTo>
                    <a:pt x="33" y="63"/>
                    <a:pt x="33" y="62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2"/>
                    <a:pt x="33" y="6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1"/>
                    <a:pt x="33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4" y="61"/>
                    <a:pt x="33" y="61"/>
                    <a:pt x="33" y="6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3" y="61"/>
                    <a:pt x="33" y="61"/>
                  </a:cubicBezTo>
                  <a:cubicBezTo>
                    <a:pt x="33" y="60"/>
                    <a:pt x="33" y="60"/>
                    <a:pt x="34" y="60"/>
                  </a:cubicBezTo>
                  <a:cubicBezTo>
                    <a:pt x="34" y="60"/>
                    <a:pt x="34" y="60"/>
                    <a:pt x="34" y="61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9"/>
                    <a:pt x="35" y="59"/>
                  </a:cubicBezTo>
                  <a:cubicBezTo>
                    <a:pt x="35" y="59"/>
                    <a:pt x="34" y="59"/>
                    <a:pt x="34" y="59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0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5" y="60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60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8"/>
                    <a:pt x="36" y="58"/>
                  </a:cubicBezTo>
                  <a:cubicBezTo>
                    <a:pt x="36" y="58"/>
                    <a:pt x="35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6" y="59"/>
                    <a:pt x="37" y="59"/>
                  </a:cubicBezTo>
                  <a:cubicBezTo>
                    <a:pt x="36" y="59"/>
                    <a:pt x="37" y="59"/>
                    <a:pt x="36" y="59"/>
                  </a:cubicBezTo>
                  <a:cubicBezTo>
                    <a:pt x="36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5"/>
                    <a:pt x="38" y="56"/>
                    <a:pt x="38" y="56"/>
                  </a:cubicBezTo>
                  <a:cubicBezTo>
                    <a:pt x="38" y="56"/>
                    <a:pt x="38" y="55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5"/>
                    <a:pt x="41" y="55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9"/>
                    <a:pt x="39" y="59"/>
                  </a:cubicBezTo>
                  <a:cubicBezTo>
                    <a:pt x="39" y="59"/>
                    <a:pt x="39" y="59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58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37" y="62"/>
                    <a:pt x="36" y="63"/>
                  </a:cubicBezTo>
                  <a:cubicBezTo>
                    <a:pt x="37" y="63"/>
                    <a:pt x="37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6" y="64"/>
                    <a:pt x="36" y="65"/>
                    <a:pt x="36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4" y="67"/>
                    <a:pt x="35" y="67"/>
                    <a:pt x="35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6"/>
                    <a:pt x="35" y="66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6" y="62"/>
                    <a:pt x="36" y="62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6" y="62"/>
                    <a:pt x="37" y="61"/>
                    <a:pt x="37" y="62"/>
                  </a:cubicBezTo>
                  <a:cubicBezTo>
                    <a:pt x="37" y="61"/>
                    <a:pt x="37" y="61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2"/>
                  </a:cubicBezTo>
                  <a:cubicBezTo>
                    <a:pt x="36" y="62"/>
                    <a:pt x="35" y="63"/>
                    <a:pt x="35" y="63"/>
                  </a:cubicBezTo>
                  <a:cubicBezTo>
                    <a:pt x="35" y="62"/>
                    <a:pt x="35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4" y="63"/>
                    <a:pt x="34" y="63"/>
                  </a:cubicBezTo>
                  <a:cubicBezTo>
                    <a:pt x="34" y="63"/>
                    <a:pt x="35" y="63"/>
                    <a:pt x="35" y="63"/>
                  </a:cubicBezTo>
                  <a:cubicBezTo>
                    <a:pt x="35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6"/>
                  </a:cubicBezTo>
                  <a:cubicBezTo>
                    <a:pt x="33" y="66"/>
                    <a:pt x="34" y="66"/>
                    <a:pt x="34" y="66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7"/>
                  </a:cubicBezTo>
                  <a:cubicBezTo>
                    <a:pt x="33" y="67"/>
                    <a:pt x="33" y="67"/>
                    <a:pt x="33" y="66"/>
                  </a:cubicBezTo>
                  <a:cubicBezTo>
                    <a:pt x="34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8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0"/>
                    <a:pt x="32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0"/>
                    <a:pt x="32" y="70"/>
                    <a:pt x="31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9"/>
                    <a:pt x="32" y="70"/>
                    <a:pt x="31" y="70"/>
                  </a:cubicBezTo>
                  <a:cubicBezTo>
                    <a:pt x="31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6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1" y="70"/>
                    <a:pt x="32" y="70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2"/>
                    <a:pt x="31" y="72"/>
                  </a:cubicBezTo>
                  <a:cubicBezTo>
                    <a:pt x="31" y="72"/>
                    <a:pt x="30" y="72"/>
                    <a:pt x="30" y="72"/>
                  </a:cubicBezTo>
                  <a:cubicBezTo>
                    <a:pt x="30" y="72"/>
                    <a:pt x="30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1" y="73"/>
                    <a:pt x="30" y="73"/>
                    <a:pt x="31" y="73"/>
                  </a:cubicBezTo>
                  <a:cubicBezTo>
                    <a:pt x="31" y="73"/>
                    <a:pt x="31" y="73"/>
                    <a:pt x="30" y="73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5"/>
                    <a:pt x="30" y="75"/>
                  </a:cubicBezTo>
                  <a:cubicBezTo>
                    <a:pt x="29" y="75"/>
                    <a:pt x="30" y="75"/>
                    <a:pt x="30" y="75"/>
                  </a:cubicBezTo>
                  <a:cubicBezTo>
                    <a:pt x="29" y="75"/>
                    <a:pt x="29" y="75"/>
                    <a:pt x="30" y="75"/>
                  </a:cubicBezTo>
                  <a:cubicBezTo>
                    <a:pt x="30" y="75"/>
                    <a:pt x="29" y="75"/>
                    <a:pt x="29" y="75"/>
                  </a:cubicBezTo>
                  <a:cubicBezTo>
                    <a:pt x="30" y="75"/>
                    <a:pt x="29" y="76"/>
                    <a:pt x="29" y="76"/>
                  </a:cubicBezTo>
                  <a:cubicBezTo>
                    <a:pt x="29" y="75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1"/>
                    <a:pt x="32" y="70"/>
                    <a:pt x="33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1"/>
                    <a:pt x="33" y="70"/>
                    <a:pt x="33" y="70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2"/>
                    <a:pt x="32" y="72"/>
                  </a:cubicBezTo>
                  <a:cubicBezTo>
                    <a:pt x="31" y="73"/>
                    <a:pt x="30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8" y="77"/>
                    <a:pt x="29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7" y="78"/>
                    <a:pt x="27" y="78"/>
                  </a:cubicBezTo>
                  <a:cubicBezTo>
                    <a:pt x="27" y="78"/>
                    <a:pt x="27" y="78"/>
                    <a:pt x="28" y="78"/>
                  </a:cubicBezTo>
                  <a:cubicBezTo>
                    <a:pt x="28" y="78"/>
                    <a:pt x="27" y="78"/>
                    <a:pt x="28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7"/>
                  </a:cubicBezTo>
                  <a:cubicBezTo>
                    <a:pt x="27" y="77"/>
                    <a:pt x="27" y="78"/>
                    <a:pt x="27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7" y="75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8" y="76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8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6" y="76"/>
                  </a:cubicBezTo>
                  <a:cubicBezTo>
                    <a:pt x="26" y="75"/>
                    <a:pt x="26" y="75"/>
                    <a:pt x="27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2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8" y="71"/>
                    <a:pt x="28" y="71"/>
                  </a:cubicBezTo>
                  <a:cubicBezTo>
                    <a:pt x="29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1"/>
                  </a:cubicBezTo>
                  <a:cubicBezTo>
                    <a:pt x="28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7" y="72"/>
                    <a:pt x="26" y="72"/>
                  </a:cubicBezTo>
                  <a:cubicBezTo>
                    <a:pt x="27" y="72"/>
                    <a:pt x="26" y="72"/>
                    <a:pt x="27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5" y="74"/>
                    <a:pt x="25" y="74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36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lose/>
                  <a:moveTo>
                    <a:pt x="35" y="62"/>
                  </a:move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1"/>
                    <a:pt x="37" y="61"/>
                  </a:cubicBezTo>
                  <a:cubicBezTo>
                    <a:pt x="36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0"/>
                    <a:pt x="37" y="61"/>
                    <a:pt x="36" y="61"/>
                  </a:cubicBezTo>
                  <a:cubicBezTo>
                    <a:pt x="37" y="61"/>
                    <a:pt x="37" y="60"/>
                    <a:pt x="37" y="60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1"/>
                    <a:pt x="37" y="60"/>
                  </a:cubicBezTo>
                  <a:close/>
                  <a:moveTo>
                    <a:pt x="37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7" y="60"/>
                    <a:pt x="37" y="60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9"/>
                  </a:moveTo>
                  <a:cubicBezTo>
                    <a:pt x="38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59"/>
                    <a:pt x="39" y="58"/>
                    <a:pt x="39" y="58"/>
                  </a:cubicBezTo>
                  <a:cubicBezTo>
                    <a:pt x="38" y="58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5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7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6"/>
                    <a:pt x="38" y="56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1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59"/>
                    <a:pt x="37" y="59"/>
                    <a:pt x="38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8" y="66"/>
                  </a:move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9" y="66"/>
                    <a:pt x="28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9" y="67"/>
                  </a:cubicBezTo>
                  <a:cubicBezTo>
                    <a:pt x="28" y="67"/>
                    <a:pt x="29" y="67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lose/>
                  <a:moveTo>
                    <a:pt x="31" y="63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0" y="65"/>
                  </a:moveTo>
                  <a:cubicBezTo>
                    <a:pt x="30" y="65"/>
                    <a:pt x="30" y="65"/>
                    <a:pt x="30" y="64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lose/>
                  <a:moveTo>
                    <a:pt x="31" y="64"/>
                  </a:move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4"/>
                    <a:pt x="31" y="64"/>
                    <a:pt x="31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1" y="65"/>
                    <a:pt x="31" y="64"/>
                    <a:pt x="31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8" y="70"/>
                  </a:moveTo>
                  <a:cubicBezTo>
                    <a:pt x="28" y="71"/>
                    <a:pt x="28" y="70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1"/>
                    <a:pt x="28" y="71"/>
                    <a:pt x="28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69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7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29" y="68"/>
                    <a:pt x="29" y="69"/>
                    <a:pt x="29" y="69"/>
                  </a:cubicBezTo>
                  <a:cubicBezTo>
                    <a:pt x="30" y="69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8" y="70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70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30" y="69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1" y="68"/>
                    <a:pt x="30" y="68"/>
                  </a:cubicBezTo>
                  <a:cubicBezTo>
                    <a:pt x="30" y="68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30" y="69"/>
                  </a:cubicBezTo>
                  <a:cubicBezTo>
                    <a:pt x="30" y="69"/>
                    <a:pt x="29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lose/>
                  <a:moveTo>
                    <a:pt x="31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7"/>
                    <a:pt x="31" y="67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0" y="70"/>
                  </a:moveTo>
                  <a:cubicBezTo>
                    <a:pt x="30" y="70"/>
                    <a:pt x="30" y="70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30" y="70"/>
                    <a:pt x="30" y="69"/>
                    <a:pt x="30" y="70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0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30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8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3"/>
                  </a:cubicBezTo>
                  <a:close/>
                  <a:moveTo>
                    <a:pt x="28" y="75"/>
                  </a:move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7" y="75"/>
                    <a:pt x="27" y="75"/>
                    <a:pt x="27" y="76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7"/>
                  </a:cubicBezTo>
                  <a:cubicBezTo>
                    <a:pt x="28" y="76"/>
                    <a:pt x="29" y="76"/>
                    <a:pt x="29" y="76"/>
                  </a:cubicBezTo>
                  <a:close/>
                  <a:moveTo>
                    <a:pt x="28" y="76"/>
                  </a:move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29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3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2"/>
                    <a:pt x="29" y="73"/>
                  </a:cubicBezTo>
                  <a:cubicBezTo>
                    <a:pt x="29" y="73"/>
                    <a:pt x="29" y="72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2"/>
                    <a:pt x="30" y="72"/>
                    <a:pt x="30" y="71"/>
                  </a:cubicBezTo>
                  <a:cubicBezTo>
                    <a:pt x="30" y="71"/>
                    <a:pt x="30" y="72"/>
                    <a:pt x="30" y="71"/>
                  </a:cubicBezTo>
                  <a:cubicBezTo>
                    <a:pt x="30" y="72"/>
                    <a:pt x="29" y="72"/>
                    <a:pt x="29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0" y="71"/>
                    <a:pt x="30" y="72"/>
                  </a:cubicBezTo>
                  <a:cubicBezTo>
                    <a:pt x="30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8"/>
                  </a:cubicBezTo>
                  <a:cubicBezTo>
                    <a:pt x="32" y="69"/>
                    <a:pt x="32" y="68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70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69"/>
                    <a:pt x="32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3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7"/>
                    <a:pt x="32" y="67"/>
                  </a:cubicBezTo>
                  <a:cubicBezTo>
                    <a:pt x="32" y="68"/>
                    <a:pt x="32" y="68"/>
                    <a:pt x="31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6"/>
                    <a:pt x="32" y="67"/>
                    <a:pt x="32" y="66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8"/>
                    <a:pt x="31" y="67"/>
                    <a:pt x="32" y="67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1" y="68"/>
                    <a:pt x="31" y="68"/>
                  </a:cubicBezTo>
                  <a:cubicBezTo>
                    <a:pt x="32" y="68"/>
                    <a:pt x="31" y="69"/>
                    <a:pt x="31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9"/>
                    <a:pt x="32" y="69"/>
                    <a:pt x="31" y="69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69"/>
                    <a:pt x="31" y="69"/>
                    <a:pt x="32" y="6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3" y="67"/>
                  </a:cubicBezTo>
                  <a:cubicBezTo>
                    <a:pt x="33" y="67"/>
                    <a:pt x="33" y="66"/>
                    <a:pt x="33" y="67"/>
                  </a:cubicBezTo>
                  <a:cubicBezTo>
                    <a:pt x="32" y="67"/>
                    <a:pt x="32" y="67"/>
                    <a:pt x="32" y="68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3" y="65"/>
                    <a:pt x="32" y="65"/>
                  </a:cubicBezTo>
                  <a:close/>
                  <a:moveTo>
                    <a:pt x="32" y="66"/>
                  </a:moveTo>
                  <a:cubicBezTo>
                    <a:pt x="32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5"/>
                  </a:cubicBezTo>
                  <a:cubicBezTo>
                    <a:pt x="33" y="66"/>
                    <a:pt x="32" y="66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4"/>
                    <a:pt x="34" y="64"/>
                    <a:pt x="34" y="64"/>
                  </a:cubicBezTo>
                  <a:cubicBezTo>
                    <a:pt x="34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3"/>
                    <a:pt x="34" y="64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0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8"/>
                    <a:pt x="36" y="58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8"/>
                  </a:cubicBezTo>
                  <a:cubicBezTo>
                    <a:pt x="35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5" y="61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4" y="62"/>
                    <a:pt x="33" y="63"/>
                    <a:pt x="33" y="63"/>
                  </a:cubicBezTo>
                  <a:close/>
                  <a:moveTo>
                    <a:pt x="32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2" y="64"/>
                    <a:pt x="33" y="64"/>
                    <a:pt x="32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4"/>
                    <a:pt x="32" y="64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1" y="66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6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0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1" y="65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6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29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8" y="69"/>
                    <a:pt x="29" y="69"/>
                    <a:pt x="29" y="69"/>
                  </a:cubicBezTo>
                  <a:close/>
                  <a:moveTo>
                    <a:pt x="28" y="69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9" y="69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lose/>
                  <a:moveTo>
                    <a:pt x="28" y="70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9" y="69"/>
                    <a:pt x="29" y="68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7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1"/>
                  </a:cubicBezTo>
                  <a:cubicBezTo>
                    <a:pt x="28" y="71"/>
                    <a:pt x="27" y="72"/>
                    <a:pt x="27" y="71"/>
                  </a:cubicBezTo>
                  <a:cubicBezTo>
                    <a:pt x="27" y="72"/>
                    <a:pt x="27" y="71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6" y="52"/>
                  </a:cubicBezTo>
                  <a:close/>
                  <a:moveTo>
                    <a:pt x="35" y="52"/>
                  </a:moveTo>
                  <a:cubicBezTo>
                    <a:pt x="35" y="51"/>
                    <a:pt x="35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2"/>
                  </a:cubicBezTo>
                  <a:cubicBezTo>
                    <a:pt x="36" y="52"/>
                    <a:pt x="36" y="51"/>
                    <a:pt x="35" y="51"/>
                  </a:cubicBezTo>
                  <a:cubicBezTo>
                    <a:pt x="35" y="52"/>
                    <a:pt x="35" y="52"/>
                    <a:pt x="36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8" y="52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6" y="55"/>
                  </a:cubicBezTo>
                  <a:cubicBezTo>
                    <a:pt x="36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6" y="56"/>
                    <a:pt x="36" y="55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6" y="54"/>
                    <a:pt x="37" y="54"/>
                    <a:pt x="37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3" y="52"/>
                  </a:cubicBezTo>
                  <a:cubicBezTo>
                    <a:pt x="32" y="52"/>
                    <a:pt x="33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2"/>
                    <a:pt x="32" y="51"/>
                  </a:cubicBezTo>
                  <a:cubicBezTo>
                    <a:pt x="31" y="51"/>
                    <a:pt x="32" y="51"/>
                    <a:pt x="32" y="50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3" y="52"/>
                  </a:moveTo>
                  <a:cubicBezTo>
                    <a:pt x="34" y="53"/>
                    <a:pt x="33" y="53"/>
                    <a:pt x="33" y="53"/>
                  </a:cubicBezTo>
                  <a:cubicBezTo>
                    <a:pt x="33" y="53"/>
                    <a:pt x="33" y="53"/>
                    <a:pt x="34" y="53"/>
                  </a:cubicBezTo>
                  <a:cubicBezTo>
                    <a:pt x="34" y="53"/>
                    <a:pt x="33" y="53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2"/>
                  </a:cubicBezTo>
                  <a:close/>
                  <a:moveTo>
                    <a:pt x="32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2" y="53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8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4" y="55"/>
                    <a:pt x="34" y="55"/>
                  </a:cubicBezTo>
                  <a:cubicBezTo>
                    <a:pt x="34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4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3"/>
                  </a:cubicBezTo>
                  <a:cubicBezTo>
                    <a:pt x="32" y="53"/>
                    <a:pt x="32" y="53"/>
                    <a:pt x="33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4"/>
                  </a:cubicBezTo>
                  <a:cubicBezTo>
                    <a:pt x="30" y="54"/>
                    <a:pt x="29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29" y="54"/>
                    <a:pt x="30" y="54"/>
                  </a:cubicBezTo>
                  <a:cubicBezTo>
                    <a:pt x="29" y="54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3" y="55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3" y="55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7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6"/>
                    <a:pt x="31" y="57"/>
                    <a:pt x="31" y="57"/>
                  </a:cubicBezTo>
                  <a:cubicBezTo>
                    <a:pt x="31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4"/>
                    <a:pt x="30" y="54"/>
                  </a:cubicBezTo>
                  <a:cubicBezTo>
                    <a:pt x="30" y="54"/>
                    <a:pt x="31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lnTo>
                    <a:pt x="29" y="55"/>
                  </a:ln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4" y="57"/>
                  </a:moveTo>
                  <a:cubicBezTo>
                    <a:pt x="34" y="57"/>
                    <a:pt x="35" y="57"/>
                    <a:pt x="35" y="56"/>
                  </a:cubicBezTo>
                  <a:cubicBezTo>
                    <a:pt x="35" y="57"/>
                    <a:pt x="35" y="56"/>
                    <a:pt x="35" y="56"/>
                  </a:cubicBezTo>
                  <a:cubicBezTo>
                    <a:pt x="35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6"/>
                    <a:pt x="35" y="56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3" y="58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6"/>
                    <a:pt x="29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6"/>
                    <a:pt x="30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33" y="58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4" y="59"/>
                  </a:moveTo>
                  <a:cubicBezTo>
                    <a:pt x="35" y="60"/>
                    <a:pt x="34" y="60"/>
                    <a:pt x="35" y="60"/>
                  </a:cubicBezTo>
                  <a:cubicBezTo>
                    <a:pt x="34" y="60"/>
                    <a:pt x="34" y="60"/>
                    <a:pt x="34" y="59"/>
                  </a:cubicBezTo>
                  <a:close/>
                  <a:moveTo>
                    <a:pt x="31" y="58"/>
                  </a:moveTo>
                  <a:cubicBezTo>
                    <a:pt x="31" y="58"/>
                    <a:pt x="30" y="58"/>
                    <a:pt x="30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8"/>
                  </a:cubicBezTo>
                  <a:cubicBezTo>
                    <a:pt x="27" y="58"/>
                    <a:pt x="27" y="57"/>
                    <a:pt x="27" y="57"/>
                  </a:cubicBezTo>
                  <a:close/>
                  <a:moveTo>
                    <a:pt x="30" y="59"/>
                  </a:move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5" y="63"/>
                    <a:pt x="35" y="64"/>
                  </a:cubicBezTo>
                  <a:cubicBezTo>
                    <a:pt x="35" y="63"/>
                    <a:pt x="35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5" y="63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6" y="63"/>
                    <a:pt x="35" y="63"/>
                    <a:pt x="35" y="63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0"/>
                    <a:pt x="27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ubicBezTo>
                    <a:pt x="27" y="60"/>
                    <a:pt x="28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2"/>
                  </a:cubicBezTo>
                  <a:cubicBezTo>
                    <a:pt x="25" y="61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5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6" y="61"/>
                    <a:pt x="25" y="61"/>
                    <a:pt x="25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1"/>
                    <a:pt x="27" y="61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7" y="60"/>
                    <a:pt x="27" y="61"/>
                    <a:pt x="27" y="60"/>
                  </a:cubicBezTo>
                  <a:close/>
                  <a:moveTo>
                    <a:pt x="26" y="63"/>
                  </a:moveTo>
                  <a:cubicBezTo>
                    <a:pt x="27" y="62"/>
                    <a:pt x="27" y="62"/>
                    <a:pt x="28" y="61"/>
                  </a:cubicBezTo>
                  <a:cubicBezTo>
                    <a:pt x="28" y="61"/>
                    <a:pt x="27" y="61"/>
                    <a:pt x="27" y="62"/>
                  </a:cubicBezTo>
                  <a:cubicBezTo>
                    <a:pt x="27" y="62"/>
                    <a:pt x="27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2"/>
                    <a:pt x="28" y="62"/>
                  </a:cubicBezTo>
                  <a:cubicBezTo>
                    <a:pt x="28" y="62"/>
                    <a:pt x="28" y="61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8" y="61"/>
                    <a:pt x="28" y="61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9" y="61"/>
                    <a:pt x="28" y="61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7" y="62"/>
                    <a:pt x="28" y="63"/>
                    <a:pt x="27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5"/>
                  </a:cubicBezTo>
                  <a:cubicBezTo>
                    <a:pt x="26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6" y="61"/>
                    <a:pt x="27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7" y="64"/>
                    <a:pt x="28" y="63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30" y="68"/>
                    <a:pt x="30" y="67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5"/>
                  </a:cubicBezTo>
                  <a:cubicBezTo>
                    <a:pt x="24" y="65"/>
                    <a:pt x="24" y="66"/>
                    <a:pt x="25" y="65"/>
                  </a:cubicBezTo>
                  <a:cubicBezTo>
                    <a:pt x="25" y="66"/>
                    <a:pt x="24" y="66"/>
                    <a:pt x="24" y="66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6" y="70"/>
                  </a:move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6" y="70"/>
                    <a:pt x="27" y="70"/>
                  </a:cubicBezTo>
                  <a:cubicBezTo>
                    <a:pt x="27" y="70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1"/>
                    <a:pt x="26" y="71"/>
                  </a:cubicBezTo>
                  <a:cubicBezTo>
                    <a:pt x="26" y="71"/>
                    <a:pt x="26" y="71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7" y="68"/>
                  </a:moveTo>
                  <a:cubicBezTo>
                    <a:pt x="28" y="69"/>
                    <a:pt x="27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8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2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2" y="71"/>
                    <a:pt x="31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1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2" y="69"/>
                  </a:cubicBezTo>
                  <a:cubicBezTo>
                    <a:pt x="22" y="69"/>
                    <a:pt x="22" y="68"/>
                    <a:pt x="22" y="69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32" y="72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3"/>
                    <a:pt x="32" y="73"/>
                  </a:cubicBezTo>
                  <a:lnTo>
                    <a:pt x="32" y="72"/>
                  </a:lnTo>
                  <a:close/>
                  <a:moveTo>
                    <a:pt x="28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8" y="75"/>
                    <a:pt x="28" y="75"/>
                  </a:cubicBezTo>
                  <a:cubicBezTo>
                    <a:pt x="28" y="75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5" y="79"/>
                    <a:pt x="24" y="79"/>
                  </a:cubicBezTo>
                  <a:cubicBezTo>
                    <a:pt x="24" y="79"/>
                    <a:pt x="24" y="80"/>
                    <a:pt x="24" y="80"/>
                  </a:cubicBezTo>
                  <a:cubicBezTo>
                    <a:pt x="24" y="80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5" y="78"/>
                    <a:pt x="24" y="79"/>
                    <a:pt x="24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4" y="79"/>
                    <a:pt x="24" y="79"/>
                  </a:cubicBezTo>
                  <a:cubicBezTo>
                    <a:pt x="25" y="79"/>
                    <a:pt x="25" y="79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4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7"/>
                    <a:pt x="25" y="78"/>
                    <a:pt x="25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6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7"/>
                    <a:pt x="26" y="77"/>
                  </a:cubicBezTo>
                  <a:cubicBezTo>
                    <a:pt x="26" y="77"/>
                    <a:pt x="25" y="77"/>
                    <a:pt x="25" y="78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8" y="76"/>
                  </a:move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7" y="76"/>
                    <a:pt x="28" y="76"/>
                  </a:cubicBezTo>
                  <a:close/>
                  <a:moveTo>
                    <a:pt x="25" y="76"/>
                  </a:move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6"/>
                    <a:pt x="25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6" y="76"/>
                    <a:pt x="25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2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3" y="76"/>
                    <a:pt x="23" y="76"/>
                    <a:pt x="23" y="75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8" y="79"/>
                  </a:cubicBezTo>
                  <a:cubicBezTo>
                    <a:pt x="28" y="79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1"/>
                    <a:pt x="26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6" y="80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5" y="82"/>
                  </a:cubicBezTo>
                  <a:cubicBezTo>
                    <a:pt x="25" y="81"/>
                    <a:pt x="26" y="81"/>
                    <a:pt x="26" y="80"/>
                  </a:cubicBezTo>
                  <a:close/>
                  <a:moveTo>
                    <a:pt x="25" y="80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0"/>
                  </a:cubicBezTo>
                  <a:close/>
                  <a:moveTo>
                    <a:pt x="25" y="79"/>
                  </a:move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79"/>
                    <a:pt x="25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4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1"/>
                    <a:pt x="24" y="81"/>
                  </a:cubicBezTo>
                  <a:close/>
                  <a:moveTo>
                    <a:pt x="25" y="83"/>
                  </a:move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3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1" y="85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4"/>
                  </a:cubicBezTo>
                  <a:cubicBezTo>
                    <a:pt x="21" y="84"/>
                    <a:pt x="21" y="85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5"/>
                  </a:cubicBezTo>
                  <a:cubicBezTo>
                    <a:pt x="22" y="85"/>
                    <a:pt x="22" y="84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8"/>
                  </a:moveTo>
                  <a:cubicBezTo>
                    <a:pt x="22" y="89"/>
                    <a:pt x="22" y="89"/>
                    <a:pt x="21" y="89"/>
                  </a:cubicBezTo>
                  <a:cubicBezTo>
                    <a:pt x="21" y="89"/>
                    <a:pt x="21" y="90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2" y="89"/>
                  </a:cubicBezTo>
                  <a:cubicBezTo>
                    <a:pt x="22" y="88"/>
                    <a:pt x="21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2" y="89"/>
                    <a:pt x="21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3" y="89"/>
                  </a:cubicBezTo>
                  <a:cubicBezTo>
                    <a:pt x="23" y="89"/>
                    <a:pt x="22" y="89"/>
                    <a:pt x="22" y="89"/>
                  </a:cubicBezTo>
                  <a:cubicBezTo>
                    <a:pt x="22" y="89"/>
                    <a:pt x="23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1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3"/>
                  </a:cubicBezTo>
                  <a:cubicBezTo>
                    <a:pt x="19" y="93"/>
                    <a:pt x="20" y="93"/>
                    <a:pt x="20" y="93"/>
                  </a:cubicBezTo>
                  <a:cubicBezTo>
                    <a:pt x="19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9" y="95"/>
                    <a:pt x="18" y="96"/>
                  </a:cubicBezTo>
                  <a:cubicBezTo>
                    <a:pt x="18" y="95"/>
                    <a:pt x="18" y="95"/>
                    <a:pt x="19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3"/>
                    <a:pt x="19" y="93"/>
                    <a:pt x="20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1" y="91"/>
                    <a:pt x="21" y="90"/>
                    <a:pt x="22" y="90"/>
                  </a:cubicBezTo>
                  <a:cubicBezTo>
                    <a:pt x="21" y="90"/>
                    <a:pt x="20" y="92"/>
                    <a:pt x="20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8" y="97"/>
                    <a:pt x="19" y="96"/>
                    <a:pt x="19" y="95"/>
                  </a:cubicBezTo>
                  <a:cubicBezTo>
                    <a:pt x="19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5" y="105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5"/>
                    <a:pt x="15" y="104"/>
                    <a:pt x="15" y="105"/>
                  </a:cubicBezTo>
                  <a:close/>
                  <a:moveTo>
                    <a:pt x="11" y="112"/>
                  </a:move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2" y="109"/>
                    <a:pt x="13" y="109"/>
                    <a:pt x="12" y="109"/>
                  </a:cubicBezTo>
                  <a:cubicBezTo>
                    <a:pt x="13" y="109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2" y="109"/>
                    <a:pt x="13" y="109"/>
                    <a:pt x="13" y="110"/>
                  </a:cubicBezTo>
                  <a:cubicBezTo>
                    <a:pt x="13" y="109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3" y="11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2"/>
                    <a:pt x="12" y="111"/>
                    <a:pt x="12" y="111"/>
                  </a:cubicBezTo>
                  <a:cubicBezTo>
                    <a:pt x="12" y="112"/>
                    <a:pt x="12" y="112"/>
                    <a:pt x="12" y="113"/>
                  </a:cubicBezTo>
                  <a:cubicBezTo>
                    <a:pt x="11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2" y="112"/>
                    <a:pt x="11" y="112"/>
                  </a:cubicBezTo>
                  <a:cubicBezTo>
                    <a:pt x="11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1" y="112"/>
                  </a:cubicBezTo>
                  <a:close/>
                  <a:moveTo>
                    <a:pt x="12" y="108"/>
                  </a:moveTo>
                  <a:cubicBezTo>
                    <a:pt x="13" y="108"/>
                    <a:pt x="12" y="108"/>
                    <a:pt x="12" y="108"/>
                  </a:cubicBezTo>
                  <a:cubicBezTo>
                    <a:pt x="12" y="108"/>
                    <a:pt x="12" y="108"/>
                    <a:pt x="12" y="108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8"/>
                    <a:pt x="12" y="109"/>
                  </a:cubicBezTo>
                  <a:close/>
                  <a:moveTo>
                    <a:pt x="12" y="109"/>
                  </a:moveTo>
                  <a:cubicBezTo>
                    <a:pt x="11" y="109"/>
                    <a:pt x="12" y="109"/>
                    <a:pt x="11" y="109"/>
                  </a:cubicBezTo>
                  <a:cubicBezTo>
                    <a:pt x="11" y="109"/>
                    <a:pt x="11" y="108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4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8" y="114"/>
                    <a:pt x="8" y="115"/>
                    <a:pt x="8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9"/>
                  </a:moveTo>
                  <a:cubicBezTo>
                    <a:pt x="3" y="119"/>
                    <a:pt x="3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19"/>
                    <a:pt x="3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5" y="122"/>
                    <a:pt x="5" y="122"/>
                  </a:cubicBezTo>
                  <a:cubicBezTo>
                    <a:pt x="5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9" y="8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3" y="26"/>
                    <a:pt x="44" y="25"/>
                    <a:pt x="44" y="25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45" y="27"/>
                  </a:move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5" y="27"/>
                  </a:cubicBezTo>
                  <a:close/>
                  <a:moveTo>
                    <a:pt x="47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4"/>
                  </a:cubicBezTo>
                  <a:cubicBezTo>
                    <a:pt x="41" y="34"/>
                    <a:pt x="41" y="35"/>
                    <a:pt x="41" y="35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3" y="49"/>
                  </a:cubicBezTo>
                  <a:cubicBezTo>
                    <a:pt x="43" y="49"/>
                    <a:pt x="43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lose/>
                  <a:moveTo>
                    <a:pt x="37" y="46"/>
                  </a:moveTo>
                  <a:cubicBezTo>
                    <a:pt x="37" y="46"/>
                    <a:pt x="38" y="46"/>
                    <a:pt x="38" y="46"/>
                  </a:cubicBezTo>
                  <a:cubicBezTo>
                    <a:pt x="38" y="47"/>
                    <a:pt x="38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6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1"/>
                    <a:pt x="31" y="51"/>
                    <a:pt x="32" y="51"/>
                  </a:cubicBezTo>
                  <a:cubicBezTo>
                    <a:pt x="32" y="51"/>
                    <a:pt x="31" y="51"/>
                    <a:pt x="31" y="51"/>
                  </a:cubicBezTo>
                  <a:close/>
                  <a:moveTo>
                    <a:pt x="34" y="56"/>
                  </a:moveTo>
                  <a:cubicBezTo>
                    <a:pt x="34" y="55"/>
                    <a:pt x="35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4" y="56"/>
                    <a:pt x="34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3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8"/>
                    <a:pt x="31" y="57"/>
                  </a:cubicBezTo>
                  <a:cubicBezTo>
                    <a:pt x="31" y="57"/>
                    <a:pt x="31" y="57"/>
                    <a:pt x="32" y="58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8" y="58"/>
                    <a:pt x="28" y="57"/>
                    <a:pt x="28" y="57"/>
                  </a:cubicBezTo>
                  <a:close/>
                  <a:moveTo>
                    <a:pt x="32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3" y="60"/>
                    <a:pt x="32" y="60"/>
                  </a:cubicBezTo>
                  <a:close/>
                  <a:moveTo>
                    <a:pt x="25" y="76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6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5" y="76"/>
                  </a:cubicBezTo>
                  <a:close/>
                  <a:moveTo>
                    <a:pt x="24" y="81"/>
                  </a:moveTo>
                  <a:cubicBezTo>
                    <a:pt x="25" y="81"/>
                    <a:pt x="25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2"/>
                    <a:pt x="24" y="82"/>
                  </a:cubicBezTo>
                  <a:cubicBezTo>
                    <a:pt x="24" y="82"/>
                    <a:pt x="24" y="82"/>
                    <a:pt x="25" y="81"/>
                  </a:cubicBezTo>
                  <a:cubicBezTo>
                    <a:pt x="25" y="81"/>
                    <a:pt x="25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D10D392-1B85-45A9-AED8-032C74FDE5A9}"/>
                </a:ext>
              </a:extLst>
            </p:cNvPr>
            <p:cNvSpPr/>
            <p:nvPr/>
          </p:nvSpPr>
          <p:spPr bwMode="auto">
            <a:xfrm>
              <a:off x="7804151" y="1595438"/>
              <a:ext cx="244475" cy="474663"/>
            </a:xfrm>
            <a:custGeom>
              <a:avLst/>
              <a:gdLst>
                <a:gd name="T0" fmla="*/ 70 w 99"/>
                <a:gd name="T1" fmla="*/ 43 h 192"/>
                <a:gd name="T2" fmla="*/ 70 w 99"/>
                <a:gd name="T3" fmla="*/ 50 h 192"/>
                <a:gd name="T4" fmla="*/ 66 w 99"/>
                <a:gd name="T5" fmla="*/ 55 h 192"/>
                <a:gd name="T6" fmla="*/ 64 w 99"/>
                <a:gd name="T7" fmla="*/ 58 h 192"/>
                <a:gd name="T8" fmla="*/ 59 w 99"/>
                <a:gd name="T9" fmla="*/ 66 h 192"/>
                <a:gd name="T10" fmla="*/ 65 w 99"/>
                <a:gd name="T11" fmla="*/ 75 h 192"/>
                <a:gd name="T12" fmla="*/ 59 w 99"/>
                <a:gd name="T13" fmla="*/ 84 h 192"/>
                <a:gd name="T14" fmla="*/ 51 w 99"/>
                <a:gd name="T15" fmla="*/ 83 h 192"/>
                <a:gd name="T16" fmla="*/ 53 w 99"/>
                <a:gd name="T17" fmla="*/ 89 h 192"/>
                <a:gd name="T18" fmla="*/ 46 w 99"/>
                <a:gd name="T19" fmla="*/ 95 h 192"/>
                <a:gd name="T20" fmla="*/ 41 w 99"/>
                <a:gd name="T21" fmla="*/ 104 h 192"/>
                <a:gd name="T22" fmla="*/ 39 w 99"/>
                <a:gd name="T23" fmla="*/ 111 h 192"/>
                <a:gd name="T24" fmla="*/ 40 w 99"/>
                <a:gd name="T25" fmla="*/ 123 h 192"/>
                <a:gd name="T26" fmla="*/ 33 w 99"/>
                <a:gd name="T27" fmla="*/ 125 h 192"/>
                <a:gd name="T28" fmla="*/ 32 w 99"/>
                <a:gd name="T29" fmla="*/ 138 h 192"/>
                <a:gd name="T30" fmla="*/ 14 w 99"/>
                <a:gd name="T31" fmla="*/ 173 h 192"/>
                <a:gd name="T32" fmla="*/ 1 w 99"/>
                <a:gd name="T33" fmla="*/ 185 h 192"/>
                <a:gd name="T34" fmla="*/ 77 w 99"/>
                <a:gd name="T35" fmla="*/ 50 h 192"/>
                <a:gd name="T36" fmla="*/ 71 w 99"/>
                <a:gd name="T37" fmla="*/ 58 h 192"/>
                <a:gd name="T38" fmla="*/ 75 w 99"/>
                <a:gd name="T39" fmla="*/ 49 h 192"/>
                <a:gd name="T40" fmla="*/ 70 w 99"/>
                <a:gd name="T41" fmla="*/ 55 h 192"/>
                <a:gd name="T42" fmla="*/ 75 w 99"/>
                <a:gd name="T43" fmla="*/ 41 h 192"/>
                <a:gd name="T44" fmla="*/ 72 w 99"/>
                <a:gd name="T45" fmla="*/ 40 h 192"/>
                <a:gd name="T46" fmla="*/ 77 w 99"/>
                <a:gd name="T47" fmla="*/ 22 h 192"/>
                <a:gd name="T48" fmla="*/ 75 w 99"/>
                <a:gd name="T49" fmla="*/ 30 h 192"/>
                <a:gd name="T50" fmla="*/ 75 w 99"/>
                <a:gd name="T51" fmla="*/ 39 h 192"/>
                <a:gd name="T52" fmla="*/ 70 w 99"/>
                <a:gd name="T53" fmla="*/ 54 h 192"/>
                <a:gd name="T54" fmla="*/ 80 w 99"/>
                <a:gd name="T55" fmla="*/ 41 h 192"/>
                <a:gd name="T56" fmla="*/ 80 w 99"/>
                <a:gd name="T57" fmla="*/ 42 h 192"/>
                <a:gd name="T58" fmla="*/ 70 w 99"/>
                <a:gd name="T59" fmla="*/ 46 h 192"/>
                <a:gd name="T60" fmla="*/ 68 w 99"/>
                <a:gd name="T61" fmla="*/ 54 h 192"/>
                <a:gd name="T62" fmla="*/ 68 w 99"/>
                <a:gd name="T63" fmla="*/ 69 h 192"/>
                <a:gd name="T64" fmla="*/ 64 w 99"/>
                <a:gd name="T65" fmla="*/ 77 h 192"/>
                <a:gd name="T66" fmla="*/ 60 w 99"/>
                <a:gd name="T67" fmla="*/ 80 h 192"/>
                <a:gd name="T68" fmla="*/ 61 w 99"/>
                <a:gd name="T69" fmla="*/ 75 h 192"/>
                <a:gd name="T70" fmla="*/ 62 w 99"/>
                <a:gd name="T71" fmla="*/ 76 h 192"/>
                <a:gd name="T72" fmla="*/ 53 w 99"/>
                <a:gd name="T73" fmla="*/ 76 h 192"/>
                <a:gd name="T74" fmla="*/ 38 w 99"/>
                <a:gd name="T75" fmla="*/ 118 h 192"/>
                <a:gd name="T76" fmla="*/ 43 w 99"/>
                <a:gd name="T77" fmla="*/ 108 h 192"/>
                <a:gd name="T78" fmla="*/ 41 w 99"/>
                <a:gd name="T79" fmla="*/ 108 h 192"/>
                <a:gd name="T80" fmla="*/ 48 w 99"/>
                <a:gd name="T81" fmla="*/ 98 h 192"/>
                <a:gd name="T82" fmla="*/ 55 w 99"/>
                <a:gd name="T83" fmla="*/ 88 h 192"/>
                <a:gd name="T84" fmla="*/ 60 w 99"/>
                <a:gd name="T85" fmla="*/ 87 h 192"/>
                <a:gd name="T86" fmla="*/ 49 w 99"/>
                <a:gd name="T87" fmla="*/ 104 h 192"/>
                <a:gd name="T88" fmla="*/ 42 w 99"/>
                <a:gd name="T89" fmla="*/ 119 h 192"/>
                <a:gd name="T90" fmla="*/ 40 w 99"/>
                <a:gd name="T91" fmla="*/ 114 h 192"/>
                <a:gd name="T92" fmla="*/ 57 w 99"/>
                <a:gd name="T93" fmla="*/ 87 h 192"/>
                <a:gd name="T94" fmla="*/ 46 w 99"/>
                <a:gd name="T95" fmla="*/ 102 h 192"/>
                <a:gd name="T96" fmla="*/ 48 w 99"/>
                <a:gd name="T97" fmla="*/ 102 h 192"/>
                <a:gd name="T98" fmla="*/ 43 w 99"/>
                <a:gd name="T99" fmla="*/ 117 h 192"/>
                <a:gd name="T100" fmla="*/ 47 w 99"/>
                <a:gd name="T101" fmla="*/ 106 h 192"/>
                <a:gd name="T102" fmla="*/ 50 w 99"/>
                <a:gd name="T103" fmla="*/ 98 h 192"/>
                <a:gd name="T104" fmla="*/ 41 w 99"/>
                <a:gd name="T105" fmla="*/ 113 h 192"/>
                <a:gd name="T106" fmla="*/ 56 w 99"/>
                <a:gd name="T107" fmla="*/ 86 h 192"/>
                <a:gd name="T108" fmla="*/ 52 w 99"/>
                <a:gd name="T109" fmla="*/ 87 h 192"/>
                <a:gd name="T110" fmla="*/ 48 w 99"/>
                <a:gd name="T111" fmla="*/ 87 h 192"/>
                <a:gd name="T112" fmla="*/ 48 w 99"/>
                <a:gd name="T113" fmla="*/ 92 h 192"/>
                <a:gd name="T114" fmla="*/ 44 w 99"/>
                <a:gd name="T115" fmla="*/ 100 h 192"/>
                <a:gd name="T116" fmla="*/ 37 w 99"/>
                <a:gd name="T117" fmla="*/ 121 h 192"/>
                <a:gd name="T118" fmla="*/ 38 w 99"/>
                <a:gd name="T119" fmla="*/ 125 h 192"/>
                <a:gd name="T120" fmla="*/ 31 w 99"/>
                <a:gd name="T121" fmla="*/ 139 h 192"/>
                <a:gd name="T122" fmla="*/ 14 w 99"/>
                <a:gd name="T123" fmla="*/ 174 h 192"/>
                <a:gd name="T124" fmla="*/ 54 w 99"/>
                <a:gd name="T125" fmla="*/ 8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192">
                  <a:moveTo>
                    <a:pt x="99" y="4"/>
                  </a:moveTo>
                  <a:cubicBezTo>
                    <a:pt x="99" y="4"/>
                    <a:pt x="99" y="4"/>
                    <a:pt x="99" y="4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4"/>
                  </a:cubicBezTo>
                  <a:close/>
                  <a:moveTo>
                    <a:pt x="81" y="14"/>
                  </a:moveTo>
                  <a:cubicBezTo>
                    <a:pt x="81" y="13"/>
                    <a:pt x="82" y="14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2" y="14"/>
                    <a:pt x="82" y="13"/>
                    <a:pt x="81" y="14"/>
                  </a:cubicBezTo>
                  <a:close/>
                  <a:moveTo>
                    <a:pt x="80" y="16"/>
                  </a:moveTo>
                  <a:cubicBezTo>
                    <a:pt x="80" y="16"/>
                    <a:pt x="80" y="17"/>
                    <a:pt x="80" y="17"/>
                  </a:cubicBezTo>
                  <a:cubicBezTo>
                    <a:pt x="80" y="17"/>
                    <a:pt x="80" y="17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lose/>
                  <a:moveTo>
                    <a:pt x="79" y="18"/>
                  </a:moveTo>
                  <a:cubicBezTo>
                    <a:pt x="79" y="17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2"/>
                    <a:pt x="77" y="22"/>
                  </a:cubicBezTo>
                  <a:cubicBezTo>
                    <a:pt x="77" y="21"/>
                    <a:pt x="77" y="21"/>
                    <a:pt x="77" y="21"/>
                  </a:cubicBezTo>
                  <a:close/>
                  <a:moveTo>
                    <a:pt x="75" y="26"/>
                  </a:move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lose/>
                  <a:moveTo>
                    <a:pt x="74" y="27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lose/>
                  <a:moveTo>
                    <a:pt x="74" y="29"/>
                  </a:moveTo>
                  <a:cubicBezTo>
                    <a:pt x="74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9"/>
                  </a:cubicBezTo>
                  <a:close/>
                  <a:moveTo>
                    <a:pt x="74" y="33"/>
                  </a:move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3"/>
                  </a:cubicBezTo>
                  <a:cubicBezTo>
                    <a:pt x="74" y="33"/>
                    <a:pt x="74" y="33"/>
                    <a:pt x="74" y="33"/>
                  </a:cubicBezTo>
                  <a:close/>
                  <a:moveTo>
                    <a:pt x="73" y="33"/>
                  </a:moveTo>
                  <a:cubicBezTo>
                    <a:pt x="73" y="33"/>
                    <a:pt x="73" y="33"/>
                    <a:pt x="73" y="33"/>
                  </a:cubicBezTo>
                  <a:cubicBezTo>
                    <a:pt x="72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lose/>
                  <a:moveTo>
                    <a:pt x="72" y="35"/>
                  </a:moveTo>
                  <a:cubicBezTo>
                    <a:pt x="72" y="35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2" y="34"/>
                    <a:pt x="72" y="35"/>
                  </a:cubicBezTo>
                  <a:close/>
                  <a:moveTo>
                    <a:pt x="71" y="37"/>
                  </a:moveTo>
                  <a:cubicBezTo>
                    <a:pt x="71" y="37"/>
                    <a:pt x="71" y="37"/>
                    <a:pt x="71" y="37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1" y="37"/>
                    <a:pt x="71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1" y="36"/>
                    <a:pt x="71" y="36"/>
                  </a:cubicBezTo>
                  <a:cubicBezTo>
                    <a:pt x="71" y="36"/>
                    <a:pt x="70" y="37"/>
                    <a:pt x="70" y="37"/>
                  </a:cubicBezTo>
                  <a:close/>
                  <a:moveTo>
                    <a:pt x="70" y="38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2" y="39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4"/>
                  </a:cubicBezTo>
                  <a:close/>
                  <a:moveTo>
                    <a:pt x="71" y="43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lose/>
                  <a:moveTo>
                    <a:pt x="74" y="44"/>
                  </a:move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3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9" y="48"/>
                    <a:pt x="79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6"/>
                    <a:pt x="72" y="46"/>
                  </a:cubicBezTo>
                  <a:cubicBezTo>
                    <a:pt x="73" y="46"/>
                    <a:pt x="73" y="46"/>
                    <a:pt x="73" y="45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70" y="44"/>
                    <a:pt x="70" y="44"/>
                    <a:pt x="70" y="44"/>
                  </a:cubicBezTo>
                  <a:lnTo>
                    <a:pt x="69" y="44"/>
                  </a:lnTo>
                  <a:close/>
                  <a:moveTo>
                    <a:pt x="67" y="43"/>
                  </a:move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2"/>
                    <a:pt x="67" y="43"/>
                  </a:cubicBezTo>
                  <a:close/>
                  <a:moveTo>
                    <a:pt x="78" y="49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7"/>
                  </a:cubicBezTo>
                  <a:cubicBezTo>
                    <a:pt x="73" y="47"/>
                    <a:pt x="73" y="46"/>
                    <a:pt x="73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5"/>
                  </a:move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6"/>
                    <a:pt x="68" y="46"/>
                  </a:cubicBezTo>
                  <a:cubicBezTo>
                    <a:pt x="68" y="45"/>
                    <a:pt x="69" y="45"/>
                    <a:pt x="69" y="45"/>
                  </a:cubicBezTo>
                  <a:close/>
                  <a:moveTo>
                    <a:pt x="71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8"/>
                  </a:cubicBezTo>
                  <a:cubicBezTo>
                    <a:pt x="72" y="49"/>
                    <a:pt x="72" y="48"/>
                    <a:pt x="72" y="48"/>
                  </a:cubicBezTo>
                  <a:cubicBezTo>
                    <a:pt x="73" y="48"/>
                    <a:pt x="73" y="48"/>
                    <a:pt x="72" y="49"/>
                  </a:cubicBezTo>
                  <a:close/>
                  <a:moveTo>
                    <a:pt x="66" y="46"/>
                  </a:moveTo>
                  <a:cubicBezTo>
                    <a:pt x="65" y="46"/>
                    <a:pt x="66" y="46"/>
                    <a:pt x="65" y="47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2" y="50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51"/>
                  </a:moveTo>
                  <a:cubicBezTo>
                    <a:pt x="75" y="51"/>
                    <a:pt x="75" y="52"/>
                    <a:pt x="74" y="52"/>
                  </a:cubicBezTo>
                  <a:cubicBezTo>
                    <a:pt x="74" y="52"/>
                    <a:pt x="75" y="51"/>
                    <a:pt x="75" y="51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50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50"/>
                    <a:pt x="69" y="49"/>
                    <a:pt x="69" y="50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9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70" y="51"/>
                  </a:moveTo>
                  <a:cubicBezTo>
                    <a:pt x="70" y="51"/>
                    <a:pt x="71" y="50"/>
                    <a:pt x="71" y="50"/>
                  </a:cubicBezTo>
                  <a:cubicBezTo>
                    <a:pt x="71" y="50"/>
                    <a:pt x="71" y="51"/>
                    <a:pt x="7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2" y="51"/>
                    <a:pt x="72" y="50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1" y="51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0"/>
                    <a:pt x="70" y="50"/>
                  </a:cubicBezTo>
                  <a:close/>
                  <a:moveTo>
                    <a:pt x="73" y="52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2"/>
                    <a:pt x="7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8" y="50"/>
                  </a:cubicBezTo>
                  <a:cubicBezTo>
                    <a:pt x="68" y="50"/>
                    <a:pt x="69" y="50"/>
                    <a:pt x="69" y="50"/>
                  </a:cubicBezTo>
                  <a:close/>
                  <a:moveTo>
                    <a:pt x="70" y="53"/>
                  </a:moveTo>
                  <a:cubicBezTo>
                    <a:pt x="70" y="53"/>
                    <a:pt x="71" y="52"/>
                    <a:pt x="71" y="51"/>
                  </a:cubicBezTo>
                  <a:cubicBezTo>
                    <a:pt x="71" y="51"/>
                    <a:pt x="71" y="52"/>
                    <a:pt x="71" y="52"/>
                  </a:cubicBezTo>
                  <a:cubicBezTo>
                    <a:pt x="71" y="52"/>
                    <a:pt x="70" y="52"/>
                    <a:pt x="70" y="53"/>
                  </a:cubicBezTo>
                  <a:close/>
                  <a:moveTo>
                    <a:pt x="66" y="49"/>
                  </a:moveTo>
                  <a:cubicBezTo>
                    <a:pt x="66" y="49"/>
                    <a:pt x="67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49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49"/>
                    <a:pt x="66" y="49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70" y="52"/>
                    <a:pt x="70" y="52"/>
                  </a:cubicBezTo>
                  <a:close/>
                  <a:moveTo>
                    <a:pt x="69" y="52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2"/>
                    <a:pt x="69" y="52"/>
                  </a:cubicBezTo>
                  <a:close/>
                  <a:moveTo>
                    <a:pt x="64" y="50"/>
                  </a:move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70" y="53"/>
                  </a:move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lose/>
                  <a:moveTo>
                    <a:pt x="65" y="51"/>
                  </a:moveTo>
                  <a:cubicBezTo>
                    <a:pt x="66" y="51"/>
                    <a:pt x="66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5" y="51"/>
                  </a:cubicBezTo>
                  <a:close/>
                  <a:moveTo>
                    <a:pt x="67" y="52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3"/>
                    <a:pt x="67" y="52"/>
                  </a:cubicBezTo>
                  <a:close/>
                  <a:moveTo>
                    <a:pt x="69" y="53"/>
                  </a:moveTo>
                  <a:cubicBezTo>
                    <a:pt x="69" y="53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3"/>
                    <a:pt x="68" y="53"/>
                    <a:pt x="69" y="53"/>
                  </a:cubicBezTo>
                  <a:close/>
                  <a:moveTo>
                    <a:pt x="71" y="55"/>
                  </a:moveTo>
                  <a:cubicBezTo>
                    <a:pt x="71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3"/>
                    <a:pt x="65" y="53"/>
                  </a:cubicBezTo>
                  <a:cubicBezTo>
                    <a:pt x="65" y="53"/>
                    <a:pt x="65" y="53"/>
                    <a:pt x="66" y="52"/>
                  </a:cubicBezTo>
                  <a:close/>
                  <a:moveTo>
                    <a:pt x="74" y="56"/>
                  </a:moveTo>
                  <a:cubicBezTo>
                    <a:pt x="74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7"/>
                    <a:pt x="74" y="56"/>
                  </a:cubicBezTo>
                  <a:close/>
                  <a:moveTo>
                    <a:pt x="67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6" y="54"/>
                    <a:pt x="67" y="54"/>
                    <a:pt x="67" y="53"/>
                  </a:cubicBezTo>
                  <a:cubicBezTo>
                    <a:pt x="67" y="54"/>
                    <a:pt x="66" y="54"/>
                    <a:pt x="67" y="54"/>
                  </a:cubicBezTo>
                  <a:close/>
                  <a:moveTo>
                    <a:pt x="66" y="53"/>
                  </a:moveTo>
                  <a:cubicBezTo>
                    <a:pt x="67" y="53"/>
                    <a:pt x="67" y="53"/>
                    <a:pt x="67" y="5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3"/>
                  </a:cubicBezTo>
                  <a:close/>
                  <a:moveTo>
                    <a:pt x="66" y="54"/>
                  </a:move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lose/>
                  <a:moveTo>
                    <a:pt x="68" y="55"/>
                  </a:moveTo>
                  <a:cubicBezTo>
                    <a:pt x="68" y="55"/>
                    <a:pt x="67" y="55"/>
                    <a:pt x="68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73" y="59"/>
                  </a:move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9"/>
                    <a:pt x="73" y="59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7" y="55"/>
                  </a:cubicBezTo>
                  <a:cubicBezTo>
                    <a:pt x="67" y="56"/>
                    <a:pt x="66" y="56"/>
                    <a:pt x="66" y="56"/>
                  </a:cubicBezTo>
                  <a:close/>
                  <a:moveTo>
                    <a:pt x="69" y="57"/>
                  </a:move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7"/>
                    <a:pt x="69" y="57"/>
                  </a:cubicBezTo>
                  <a:close/>
                  <a:moveTo>
                    <a:pt x="72" y="59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60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lose/>
                  <a:moveTo>
                    <a:pt x="65" y="56"/>
                  </a:moveTo>
                  <a:cubicBezTo>
                    <a:pt x="65" y="56"/>
                    <a:pt x="65" y="57"/>
                    <a:pt x="64" y="57"/>
                  </a:cubicBezTo>
                  <a:cubicBezTo>
                    <a:pt x="64" y="57"/>
                    <a:pt x="65" y="56"/>
                    <a:pt x="65" y="55"/>
                  </a:cubicBezTo>
                  <a:lnTo>
                    <a:pt x="65" y="56"/>
                  </a:ln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5"/>
                    <a:pt x="61" y="54"/>
                  </a:cubicBezTo>
                  <a:close/>
                  <a:moveTo>
                    <a:pt x="68" y="58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8"/>
                    <a:pt x="68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lose/>
                  <a:moveTo>
                    <a:pt x="71" y="60"/>
                  </a:moveTo>
                  <a:cubicBezTo>
                    <a:pt x="71" y="60"/>
                    <a:pt x="71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0"/>
                    <a:pt x="71" y="60"/>
                  </a:cubicBezTo>
                  <a:close/>
                  <a:moveTo>
                    <a:pt x="64" y="58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4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1"/>
                    <a:pt x="72" y="61"/>
                  </a:cubicBezTo>
                  <a:cubicBezTo>
                    <a:pt x="72" y="61"/>
                    <a:pt x="72" y="60"/>
                    <a:pt x="72" y="60"/>
                  </a:cubicBezTo>
                  <a:close/>
                  <a:moveTo>
                    <a:pt x="65" y="58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9"/>
                    <a:pt x="66" y="59"/>
                  </a:cubicBezTo>
                  <a:cubicBezTo>
                    <a:pt x="66" y="59"/>
                    <a:pt x="66" y="59"/>
                    <a:pt x="66" y="58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6" y="59"/>
                    <a:pt x="66" y="60"/>
                    <a:pt x="65" y="60"/>
                  </a:cubicBezTo>
                  <a:cubicBezTo>
                    <a:pt x="66" y="60"/>
                    <a:pt x="66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6" y="59"/>
                  </a:cubicBezTo>
                  <a:close/>
                  <a:moveTo>
                    <a:pt x="71" y="61"/>
                  </a:moveTo>
                  <a:cubicBezTo>
                    <a:pt x="72" y="61"/>
                    <a:pt x="71" y="61"/>
                    <a:pt x="72" y="61"/>
                  </a:cubicBezTo>
                  <a:cubicBezTo>
                    <a:pt x="71" y="62"/>
                    <a:pt x="71" y="62"/>
                    <a:pt x="71" y="61"/>
                  </a:cubicBezTo>
                  <a:close/>
                  <a:moveTo>
                    <a:pt x="69" y="61"/>
                  </a:moveTo>
                  <a:cubicBezTo>
                    <a:pt x="69" y="61"/>
                    <a:pt x="69" y="61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70" y="62"/>
                    <a:pt x="70" y="62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70" y="60"/>
                  </a:cubicBezTo>
                  <a:cubicBezTo>
                    <a:pt x="70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lose/>
                  <a:moveTo>
                    <a:pt x="70" y="62"/>
                  </a:move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1"/>
                    <a:pt x="71" y="62"/>
                    <a:pt x="71" y="61"/>
                  </a:cubicBezTo>
                  <a:cubicBezTo>
                    <a:pt x="71" y="62"/>
                    <a:pt x="71" y="61"/>
                    <a:pt x="71" y="61"/>
                  </a:cubicBezTo>
                  <a:cubicBezTo>
                    <a:pt x="71" y="61"/>
                    <a:pt x="71" y="62"/>
                    <a:pt x="71" y="62"/>
                  </a:cubicBezTo>
                  <a:cubicBezTo>
                    <a:pt x="71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1" y="62"/>
                  </a:moveTo>
                  <a:cubicBezTo>
                    <a:pt x="71" y="62"/>
                    <a:pt x="71" y="62"/>
                    <a:pt x="71" y="63"/>
                  </a:cubicBezTo>
                  <a:cubicBezTo>
                    <a:pt x="71" y="63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lose/>
                  <a:moveTo>
                    <a:pt x="63" y="5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9"/>
                    <a:pt x="64" y="59"/>
                  </a:cubicBezTo>
                  <a:cubicBezTo>
                    <a:pt x="63" y="59"/>
                    <a:pt x="63" y="59"/>
                    <a:pt x="63" y="59"/>
                  </a:cubicBezTo>
                  <a:close/>
                  <a:moveTo>
                    <a:pt x="60" y="57"/>
                  </a:move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59"/>
                    <a:pt x="64" y="59"/>
                  </a:cubicBezTo>
                  <a:cubicBezTo>
                    <a:pt x="64" y="59"/>
                    <a:pt x="63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2"/>
                  </a:move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8" y="64"/>
                    <a:pt x="68" y="64"/>
                  </a:cubicBezTo>
                  <a:cubicBezTo>
                    <a:pt x="68" y="64"/>
                    <a:pt x="68" y="63"/>
                    <a:pt x="69" y="62"/>
                  </a:cubicBezTo>
                  <a:cubicBezTo>
                    <a:pt x="69" y="62"/>
                    <a:pt x="69" y="63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2"/>
                  </a:cubicBezTo>
                  <a:cubicBezTo>
                    <a:pt x="69" y="63"/>
                    <a:pt x="69" y="62"/>
                    <a:pt x="69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4" y="61"/>
                  </a:cubicBezTo>
                  <a:cubicBezTo>
                    <a:pt x="64" y="61"/>
                    <a:pt x="64" y="60"/>
                    <a:pt x="65" y="60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4"/>
                  </a:cubicBezTo>
                  <a:cubicBezTo>
                    <a:pt x="68" y="64"/>
                    <a:pt x="69" y="63"/>
                    <a:pt x="69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0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1"/>
                  </a:move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0"/>
                    <a:pt x="62" y="60"/>
                  </a:cubicBezTo>
                  <a:cubicBezTo>
                    <a:pt x="62" y="61"/>
                    <a:pt x="62" y="61"/>
                    <a:pt x="62" y="61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63" y="62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2"/>
                  </a:moveTo>
                  <a:cubicBezTo>
                    <a:pt x="62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4"/>
                  </a:cubicBezTo>
                  <a:cubicBezTo>
                    <a:pt x="61" y="63"/>
                    <a:pt x="60" y="64"/>
                    <a:pt x="60" y="64"/>
                  </a:cubicBezTo>
                  <a:cubicBezTo>
                    <a:pt x="60" y="65"/>
                    <a:pt x="60" y="64"/>
                    <a:pt x="60" y="64"/>
                  </a:cubicBezTo>
                  <a:cubicBezTo>
                    <a:pt x="60" y="64"/>
                    <a:pt x="61" y="63"/>
                    <a:pt x="61" y="63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2" y="61"/>
                    <a:pt x="62" y="61"/>
                  </a:cubicBezTo>
                  <a:cubicBezTo>
                    <a:pt x="62" y="61"/>
                    <a:pt x="62" y="62"/>
                    <a:pt x="62" y="62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5"/>
                    <a:pt x="69" y="65"/>
                  </a:cubicBezTo>
                  <a:cubicBezTo>
                    <a:pt x="69" y="65"/>
                    <a:pt x="69" y="66"/>
                    <a:pt x="69" y="66"/>
                  </a:cubicBezTo>
                  <a:close/>
                  <a:moveTo>
                    <a:pt x="64" y="63"/>
                  </a:moveTo>
                  <a:cubicBezTo>
                    <a:pt x="64" y="63"/>
                    <a:pt x="64" y="64"/>
                    <a:pt x="64" y="64"/>
                  </a:cubicBezTo>
                  <a:cubicBezTo>
                    <a:pt x="64" y="63"/>
                    <a:pt x="64" y="63"/>
                    <a:pt x="64" y="63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70" y="66"/>
                    <a:pt x="69" y="66"/>
                  </a:cubicBezTo>
                  <a:close/>
                  <a:moveTo>
                    <a:pt x="66" y="65"/>
                  </a:move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6"/>
                  </a:cubicBezTo>
                  <a:cubicBezTo>
                    <a:pt x="65" y="66"/>
                    <a:pt x="66" y="65"/>
                    <a:pt x="66" y="65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lose/>
                  <a:moveTo>
                    <a:pt x="65" y="65"/>
                  </a:moveTo>
                  <a:cubicBezTo>
                    <a:pt x="64" y="65"/>
                    <a:pt x="64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lose/>
                  <a:moveTo>
                    <a:pt x="68" y="68"/>
                  </a:move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8" y="68"/>
                    <a:pt x="68" y="68"/>
                  </a:cubicBezTo>
                  <a:close/>
                  <a:moveTo>
                    <a:pt x="58" y="62"/>
                  </a:moveTo>
                  <a:cubicBezTo>
                    <a:pt x="58" y="62"/>
                    <a:pt x="58" y="63"/>
                    <a:pt x="58" y="63"/>
                  </a:cubicBezTo>
                  <a:cubicBezTo>
                    <a:pt x="58" y="63"/>
                    <a:pt x="58" y="63"/>
                    <a:pt x="58" y="62"/>
                  </a:cubicBezTo>
                  <a:close/>
                  <a:moveTo>
                    <a:pt x="60" y="65"/>
                  </a:move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0" y="65"/>
                  </a:cubicBezTo>
                  <a:close/>
                  <a:moveTo>
                    <a:pt x="59" y="65"/>
                  </a:move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59" y="65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66"/>
                    <a:pt x="59" y="65"/>
                    <a:pt x="59" y="65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5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7"/>
                    <a:pt x="65" y="68"/>
                  </a:cubicBezTo>
                  <a:close/>
                  <a:moveTo>
                    <a:pt x="62" y="68"/>
                  </a:moveTo>
                  <a:cubicBezTo>
                    <a:pt x="62" y="68"/>
                    <a:pt x="63" y="67"/>
                    <a:pt x="62" y="68"/>
                  </a:cubicBezTo>
                  <a:cubicBezTo>
                    <a:pt x="62" y="67"/>
                    <a:pt x="63" y="67"/>
                    <a:pt x="63" y="67"/>
                  </a:cubicBezTo>
                  <a:cubicBezTo>
                    <a:pt x="63" y="67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6"/>
                    <a:pt x="60" y="66"/>
                  </a:cubicBezTo>
                  <a:cubicBezTo>
                    <a:pt x="60" y="66"/>
                    <a:pt x="59" y="67"/>
                    <a:pt x="59" y="67"/>
                  </a:cubicBezTo>
                  <a:close/>
                  <a:moveTo>
                    <a:pt x="64" y="69"/>
                  </a:move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lose/>
                  <a:moveTo>
                    <a:pt x="59" y="66"/>
                  </a:moveTo>
                  <a:cubicBezTo>
                    <a:pt x="59" y="67"/>
                    <a:pt x="58" y="67"/>
                    <a:pt x="58" y="67"/>
                  </a:cubicBezTo>
                  <a:cubicBezTo>
                    <a:pt x="58" y="67"/>
                    <a:pt x="58" y="67"/>
                    <a:pt x="59" y="66"/>
                  </a:cubicBezTo>
                  <a:close/>
                  <a:moveTo>
                    <a:pt x="63" y="69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69"/>
                    <a:pt x="63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lose/>
                  <a:moveTo>
                    <a:pt x="60" y="68"/>
                  </a:moveTo>
                  <a:cubicBezTo>
                    <a:pt x="60" y="68"/>
                    <a:pt x="60" y="69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60" y="68"/>
                    <a:pt x="59" y="68"/>
                    <a:pt x="59" y="68"/>
                  </a:cubicBezTo>
                  <a:close/>
                  <a:moveTo>
                    <a:pt x="57" y="67"/>
                  </a:move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64" y="71"/>
                  </a:moveTo>
                  <a:cubicBezTo>
                    <a:pt x="64" y="71"/>
                    <a:pt x="64" y="70"/>
                    <a:pt x="64" y="70"/>
                  </a:cubicBezTo>
                  <a:cubicBezTo>
                    <a:pt x="64" y="70"/>
                    <a:pt x="64" y="70"/>
                    <a:pt x="64" y="71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62" y="70"/>
                  </a:moveTo>
                  <a:cubicBezTo>
                    <a:pt x="62" y="70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lose/>
                  <a:moveTo>
                    <a:pt x="63" y="71"/>
                  </a:move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1"/>
                    <a:pt x="63" y="72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lose/>
                  <a:moveTo>
                    <a:pt x="62" y="72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lose/>
                  <a:moveTo>
                    <a:pt x="63" y="72"/>
                  </a:moveTo>
                  <a:cubicBezTo>
                    <a:pt x="64" y="73"/>
                    <a:pt x="64" y="72"/>
                    <a:pt x="64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2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8" y="70"/>
                    <a:pt x="58" y="70"/>
                  </a:cubicBezTo>
                  <a:close/>
                  <a:moveTo>
                    <a:pt x="60" y="71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1" y="72"/>
                    <a:pt x="61" y="72"/>
                  </a:cubicBezTo>
                  <a:cubicBezTo>
                    <a:pt x="61" y="72"/>
                    <a:pt x="61" y="72"/>
                    <a:pt x="62" y="72"/>
                  </a:cubicBezTo>
                  <a:close/>
                  <a:moveTo>
                    <a:pt x="60" y="71"/>
                  </a:move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2"/>
                    <a:pt x="59" y="72"/>
                    <a:pt x="60" y="71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4"/>
                    <a:pt x="65" y="74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4" y="76"/>
                  </a:moveTo>
                  <a:cubicBezTo>
                    <a:pt x="64" y="77"/>
                    <a:pt x="64" y="78"/>
                    <a:pt x="63" y="78"/>
                  </a:cubicBezTo>
                  <a:cubicBezTo>
                    <a:pt x="64" y="77"/>
                    <a:pt x="64" y="76"/>
                    <a:pt x="65" y="75"/>
                  </a:cubicBezTo>
                  <a:cubicBezTo>
                    <a:pt x="65" y="75"/>
                    <a:pt x="65" y="76"/>
                    <a:pt x="64" y="76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lose/>
                  <a:moveTo>
                    <a:pt x="62" y="75"/>
                  </a:moveTo>
                  <a:cubicBezTo>
                    <a:pt x="62" y="75"/>
                    <a:pt x="62" y="75"/>
                    <a:pt x="62" y="75"/>
                  </a:cubicBezTo>
                  <a:cubicBezTo>
                    <a:pt x="62" y="75"/>
                    <a:pt x="62" y="75"/>
                    <a:pt x="62" y="74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58" y="74"/>
                  </a:moveTo>
                  <a:cubicBezTo>
                    <a:pt x="58" y="73"/>
                    <a:pt x="58" y="73"/>
                    <a:pt x="58" y="73"/>
                  </a:cubicBezTo>
                  <a:cubicBezTo>
                    <a:pt x="58" y="73"/>
                    <a:pt x="58" y="74"/>
                    <a:pt x="58" y="75"/>
                  </a:cubicBezTo>
                  <a:cubicBezTo>
                    <a:pt x="57" y="74"/>
                    <a:pt x="58" y="74"/>
                    <a:pt x="58" y="74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63" y="80"/>
                  </a:moveTo>
                  <a:cubicBezTo>
                    <a:pt x="63" y="80"/>
                    <a:pt x="63" y="79"/>
                    <a:pt x="63" y="80"/>
                  </a:cubicBezTo>
                  <a:close/>
                  <a:moveTo>
                    <a:pt x="59" y="78"/>
                  </a:moveTo>
                  <a:cubicBezTo>
                    <a:pt x="59" y="78"/>
                    <a:pt x="59" y="78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8"/>
                    <a:pt x="59" y="78"/>
                    <a:pt x="59" y="78"/>
                  </a:cubicBezTo>
                  <a:close/>
                  <a:moveTo>
                    <a:pt x="57" y="77"/>
                  </a:moveTo>
                  <a:cubicBezTo>
                    <a:pt x="56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60" y="79"/>
                  </a:moveTo>
                  <a:cubicBezTo>
                    <a:pt x="60" y="79"/>
                    <a:pt x="60" y="80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lose/>
                  <a:moveTo>
                    <a:pt x="55" y="77"/>
                  </a:move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7"/>
                    <a:pt x="55" y="77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7" y="79"/>
                    <a:pt x="56" y="79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9"/>
                    <a:pt x="56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5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8" y="79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lose/>
                  <a:moveTo>
                    <a:pt x="58" y="80"/>
                  </a:moveTo>
                  <a:cubicBezTo>
                    <a:pt x="58" y="80"/>
                    <a:pt x="58" y="80"/>
                    <a:pt x="58" y="80"/>
                  </a:cubicBezTo>
                  <a:cubicBezTo>
                    <a:pt x="59" y="80"/>
                    <a:pt x="58" y="80"/>
                    <a:pt x="58" y="80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80"/>
                    <a:pt x="57" y="79"/>
                  </a:cubicBezTo>
                  <a:close/>
                  <a:moveTo>
                    <a:pt x="62" y="83"/>
                  </a:move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3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8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58" y="80"/>
                  </a:moveTo>
                  <a:cubicBezTo>
                    <a:pt x="58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1"/>
                    <a:pt x="57" y="80"/>
                    <a:pt x="57" y="80"/>
                  </a:cubicBezTo>
                  <a:cubicBezTo>
                    <a:pt x="57" y="80"/>
                    <a:pt x="57" y="80"/>
                    <a:pt x="58" y="80"/>
                  </a:cubicBezTo>
                  <a:close/>
                  <a:moveTo>
                    <a:pt x="53" y="79"/>
                  </a:moveTo>
                  <a:cubicBezTo>
                    <a:pt x="53" y="78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4" y="78"/>
                    <a:pt x="53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60" y="82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2"/>
                    <a:pt x="60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79"/>
                    <a:pt x="52" y="79"/>
                  </a:cubicBezTo>
                  <a:cubicBezTo>
                    <a:pt x="52" y="79"/>
                    <a:pt x="52" y="80"/>
                    <a:pt x="52" y="80"/>
                  </a:cubicBezTo>
                  <a:close/>
                  <a:moveTo>
                    <a:pt x="59" y="83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59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59" y="84"/>
                    <a:pt x="60" y="83"/>
                    <a:pt x="59" y="83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9"/>
                    <a:pt x="50" y="78"/>
                    <a:pt x="50" y="79"/>
                  </a:cubicBezTo>
                  <a:close/>
                  <a:moveTo>
                    <a:pt x="50" y="81"/>
                  </a:moveTo>
                  <a:cubicBezTo>
                    <a:pt x="49" y="81"/>
                    <a:pt x="49" y="82"/>
                    <a:pt x="48" y="83"/>
                  </a:cubicBezTo>
                  <a:cubicBezTo>
                    <a:pt x="49" y="82"/>
                    <a:pt x="49" y="81"/>
                    <a:pt x="50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3" y="82"/>
                    <a:pt x="53" y="82"/>
                  </a:cubicBezTo>
                  <a:cubicBezTo>
                    <a:pt x="53" y="81"/>
                    <a:pt x="54" y="81"/>
                    <a:pt x="54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1"/>
                    <a:pt x="54" y="81"/>
                    <a:pt x="54" y="81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80"/>
                  </a:cubicBezTo>
                  <a:cubicBezTo>
                    <a:pt x="50" y="80"/>
                    <a:pt x="50" y="79"/>
                    <a:pt x="50" y="79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2" y="81"/>
                    <a:pt x="52" y="80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0" y="81"/>
                  </a:move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1"/>
                    <a:pt x="50" y="81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0" y="80"/>
                    <a:pt x="51" y="80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3"/>
                  </a:moveTo>
                  <a:cubicBezTo>
                    <a:pt x="54" y="83"/>
                    <a:pt x="55" y="82"/>
                    <a:pt x="54" y="83"/>
                  </a:cubicBezTo>
                  <a:cubicBezTo>
                    <a:pt x="54" y="83"/>
                    <a:pt x="54" y="82"/>
                    <a:pt x="54" y="82"/>
                  </a:cubicBezTo>
                  <a:cubicBezTo>
                    <a:pt x="55" y="82"/>
                    <a:pt x="55" y="82"/>
                    <a:pt x="55" y="83"/>
                  </a:cubicBezTo>
                  <a:cubicBezTo>
                    <a:pt x="55" y="83"/>
                    <a:pt x="54" y="83"/>
                    <a:pt x="54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lose/>
                  <a:moveTo>
                    <a:pt x="55" y="84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5" y="84"/>
                    <a:pt x="55" y="84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3"/>
                    <a:pt x="53" y="82"/>
                    <a:pt x="53" y="83"/>
                  </a:cubicBezTo>
                  <a:cubicBezTo>
                    <a:pt x="53" y="83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5" y="83"/>
                  </a:move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3"/>
                  </a:cubicBezTo>
                  <a:close/>
                  <a:moveTo>
                    <a:pt x="55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4"/>
                  </a:cubicBezTo>
                  <a:close/>
                  <a:moveTo>
                    <a:pt x="50" y="82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53" y="84"/>
                  </a:moveTo>
                  <a:cubicBezTo>
                    <a:pt x="53" y="84"/>
                    <a:pt x="53" y="84"/>
                    <a:pt x="53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1" y="8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1" y="84"/>
                    <a:pt x="51" y="84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5"/>
                    <a:pt x="53" y="86"/>
                  </a:cubicBezTo>
                  <a:cubicBezTo>
                    <a:pt x="53" y="86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0" y="83"/>
                  </a:moveTo>
                  <a:cubicBezTo>
                    <a:pt x="50" y="83"/>
                    <a:pt x="49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7"/>
                    <a:pt x="56" y="87"/>
                    <a:pt x="56" y="86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7" y="85"/>
                    <a:pt x="57" y="85"/>
                  </a:cubicBezTo>
                  <a:cubicBezTo>
                    <a:pt x="57" y="85"/>
                    <a:pt x="57" y="84"/>
                    <a:pt x="57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5"/>
                    <a:pt x="57" y="86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50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48" y="84"/>
                  </a:moveTo>
                  <a:cubicBezTo>
                    <a:pt x="48" y="83"/>
                    <a:pt x="48" y="84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lose/>
                  <a:moveTo>
                    <a:pt x="49" y="84"/>
                  </a:moveTo>
                  <a:cubicBezTo>
                    <a:pt x="48" y="84"/>
                    <a:pt x="48" y="85"/>
                    <a:pt x="48" y="85"/>
                  </a:cubicBezTo>
                  <a:cubicBezTo>
                    <a:pt x="48" y="84"/>
                    <a:pt x="48" y="84"/>
                    <a:pt x="49" y="83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5"/>
                  </a:cubicBezTo>
                  <a:cubicBezTo>
                    <a:pt x="51" y="85"/>
                    <a:pt x="51" y="86"/>
                    <a:pt x="52" y="86"/>
                  </a:cubicBezTo>
                  <a:cubicBezTo>
                    <a:pt x="52" y="86"/>
                    <a:pt x="51" y="86"/>
                    <a:pt x="51" y="86"/>
                  </a:cubicBezTo>
                  <a:close/>
                  <a:moveTo>
                    <a:pt x="55" y="88"/>
                  </a:moveTo>
                  <a:cubicBezTo>
                    <a:pt x="54" y="88"/>
                    <a:pt x="54" y="88"/>
                    <a:pt x="55" y="88"/>
                  </a:cubicBezTo>
                  <a:cubicBezTo>
                    <a:pt x="55" y="88"/>
                    <a:pt x="54" y="88"/>
                    <a:pt x="54" y="88"/>
                  </a:cubicBezTo>
                  <a:cubicBezTo>
                    <a:pt x="54" y="88"/>
                    <a:pt x="55" y="87"/>
                    <a:pt x="55" y="87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9"/>
                    <a:pt x="54" y="89"/>
                  </a:cubicBezTo>
                  <a:cubicBezTo>
                    <a:pt x="54" y="88"/>
                    <a:pt x="54" y="88"/>
                    <a:pt x="55" y="88"/>
                  </a:cubicBezTo>
                  <a:close/>
                  <a:moveTo>
                    <a:pt x="52" y="87"/>
                  </a:moveTo>
                  <a:cubicBezTo>
                    <a:pt x="53" y="87"/>
                    <a:pt x="53" y="87"/>
                    <a:pt x="53" y="86"/>
                  </a:cubicBezTo>
                  <a:cubicBezTo>
                    <a:pt x="53" y="86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2" y="87"/>
                  </a:cubicBezTo>
                  <a:close/>
                  <a:moveTo>
                    <a:pt x="49" y="86"/>
                  </a:moveTo>
                  <a:cubicBezTo>
                    <a:pt x="49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lose/>
                  <a:moveTo>
                    <a:pt x="47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6"/>
                    <a:pt x="47" y="85"/>
                  </a:cubicBezTo>
                  <a:close/>
                  <a:moveTo>
                    <a:pt x="49" y="86"/>
                  </a:moveTo>
                  <a:cubicBezTo>
                    <a:pt x="50" y="86"/>
                    <a:pt x="50" y="86"/>
                    <a:pt x="50" y="86"/>
                  </a:cubicBezTo>
                  <a:cubicBezTo>
                    <a:pt x="49" y="87"/>
                    <a:pt x="49" y="87"/>
                    <a:pt x="49" y="86"/>
                  </a:cubicBezTo>
                  <a:close/>
                  <a:moveTo>
                    <a:pt x="51" y="89"/>
                  </a:moveTo>
                  <a:cubicBezTo>
                    <a:pt x="52" y="89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9"/>
                    <a:pt x="52" y="89"/>
                  </a:cubicBezTo>
                  <a:cubicBezTo>
                    <a:pt x="52" y="89"/>
                    <a:pt x="52" y="89"/>
                    <a:pt x="51" y="89"/>
                  </a:cubicBezTo>
                  <a:close/>
                  <a:moveTo>
                    <a:pt x="52" y="89"/>
                  </a:moveTo>
                  <a:cubicBezTo>
                    <a:pt x="52" y="89"/>
                    <a:pt x="53" y="89"/>
                    <a:pt x="53" y="88"/>
                  </a:cubicBezTo>
                  <a:cubicBezTo>
                    <a:pt x="53" y="89"/>
                    <a:pt x="52" y="89"/>
                    <a:pt x="52" y="89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7" y="86"/>
                    <a:pt x="47" y="86"/>
                    <a:pt x="48" y="86"/>
                  </a:cubicBezTo>
                  <a:close/>
                  <a:moveTo>
                    <a:pt x="53" y="89"/>
                  </a:moveTo>
                  <a:cubicBezTo>
                    <a:pt x="53" y="90"/>
                    <a:pt x="52" y="90"/>
                    <a:pt x="52" y="90"/>
                  </a:cubicBezTo>
                  <a:cubicBezTo>
                    <a:pt x="52" y="90"/>
                    <a:pt x="53" y="90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90"/>
                    <a:pt x="51" y="90"/>
                    <a:pt x="51" y="91"/>
                  </a:cubicBezTo>
                  <a:cubicBezTo>
                    <a:pt x="51" y="90"/>
                    <a:pt x="51" y="89"/>
                    <a:pt x="51" y="89"/>
                  </a:cubicBezTo>
                  <a:close/>
                  <a:moveTo>
                    <a:pt x="49" y="89"/>
                  </a:moveTo>
                  <a:cubicBezTo>
                    <a:pt x="48" y="89"/>
                    <a:pt x="48" y="88"/>
                    <a:pt x="49" y="88"/>
                  </a:cubicBezTo>
                  <a:cubicBezTo>
                    <a:pt x="49" y="88"/>
                    <a:pt x="49" y="88"/>
                    <a:pt x="49" y="89"/>
                  </a:cubicBezTo>
                  <a:close/>
                  <a:moveTo>
                    <a:pt x="52" y="91"/>
                  </a:moveTo>
                  <a:cubicBezTo>
                    <a:pt x="52" y="91"/>
                    <a:pt x="53" y="91"/>
                    <a:pt x="53" y="90"/>
                  </a:cubicBezTo>
                  <a:cubicBezTo>
                    <a:pt x="53" y="90"/>
                    <a:pt x="53" y="91"/>
                    <a:pt x="52" y="91"/>
                  </a:cubicBezTo>
                  <a:close/>
                  <a:moveTo>
                    <a:pt x="53" y="91"/>
                  </a:move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0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  <a:moveTo>
                    <a:pt x="47" y="88"/>
                  </a:move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51" y="91"/>
                    <a:pt x="51" y="91"/>
                  </a:cubicBezTo>
                  <a:close/>
                  <a:moveTo>
                    <a:pt x="46" y="89"/>
                  </a:moveTo>
                  <a:cubicBezTo>
                    <a:pt x="46" y="89"/>
                    <a:pt x="46" y="89"/>
                    <a:pt x="46" y="90"/>
                  </a:cubicBezTo>
                  <a:cubicBezTo>
                    <a:pt x="45" y="90"/>
                    <a:pt x="46" y="89"/>
                    <a:pt x="46" y="89"/>
                  </a:cubicBezTo>
                  <a:close/>
                  <a:moveTo>
                    <a:pt x="47" y="90"/>
                  </a:move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lose/>
                  <a:moveTo>
                    <a:pt x="50" y="92"/>
                  </a:moveTo>
                  <a:cubicBezTo>
                    <a:pt x="50" y="92"/>
                    <a:pt x="50" y="93"/>
                    <a:pt x="50" y="93"/>
                  </a:cubicBezTo>
                  <a:cubicBezTo>
                    <a:pt x="50" y="92"/>
                    <a:pt x="50" y="92"/>
                    <a:pt x="50" y="92"/>
                  </a:cubicBezTo>
                  <a:close/>
                  <a:moveTo>
                    <a:pt x="48" y="91"/>
                  </a:moveTo>
                  <a:cubicBezTo>
                    <a:pt x="48" y="91"/>
                    <a:pt x="48" y="91"/>
                    <a:pt x="47" y="91"/>
                  </a:cubicBezTo>
                  <a:cubicBezTo>
                    <a:pt x="47" y="91"/>
                    <a:pt x="48" y="91"/>
                    <a:pt x="48" y="91"/>
                  </a:cubicBezTo>
                  <a:close/>
                  <a:moveTo>
                    <a:pt x="49" y="92"/>
                  </a:moveTo>
                  <a:cubicBezTo>
                    <a:pt x="49" y="92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47" y="91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92"/>
                    <a:pt x="47" y="91"/>
                    <a:pt x="47" y="91"/>
                  </a:cubicBezTo>
                  <a:close/>
                  <a:moveTo>
                    <a:pt x="45" y="93"/>
                  </a:moveTo>
                  <a:cubicBezTo>
                    <a:pt x="45" y="92"/>
                    <a:pt x="45" y="92"/>
                    <a:pt x="45" y="92"/>
                  </a:cubicBezTo>
                  <a:cubicBezTo>
                    <a:pt x="46" y="92"/>
                    <a:pt x="45" y="92"/>
                    <a:pt x="45" y="93"/>
                  </a:cubicBezTo>
                  <a:close/>
                  <a:moveTo>
                    <a:pt x="46" y="93"/>
                  </a:move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2"/>
                    <a:pt x="46" y="92"/>
                  </a:cubicBezTo>
                  <a:cubicBezTo>
                    <a:pt x="46" y="92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lose/>
                  <a:moveTo>
                    <a:pt x="50" y="96"/>
                  </a:moveTo>
                  <a:cubicBezTo>
                    <a:pt x="50" y="96"/>
                    <a:pt x="51" y="95"/>
                    <a:pt x="51" y="95"/>
                  </a:cubicBezTo>
                  <a:cubicBezTo>
                    <a:pt x="51" y="96"/>
                    <a:pt x="50" y="96"/>
                    <a:pt x="50" y="96"/>
                  </a:cubicBezTo>
                  <a:close/>
                  <a:moveTo>
                    <a:pt x="47" y="94"/>
                  </a:move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3"/>
                    <a:pt x="47" y="93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lose/>
                  <a:moveTo>
                    <a:pt x="44" y="92"/>
                  </a:moveTo>
                  <a:cubicBezTo>
                    <a:pt x="44" y="92"/>
                    <a:pt x="44" y="93"/>
                    <a:pt x="44" y="93"/>
                  </a:cubicBezTo>
                  <a:cubicBezTo>
                    <a:pt x="44" y="93"/>
                    <a:pt x="44" y="92"/>
                    <a:pt x="44" y="92"/>
                  </a:cubicBezTo>
                  <a:close/>
                  <a:moveTo>
                    <a:pt x="45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3"/>
                    <a:pt x="45" y="94"/>
                    <a:pt x="45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5" y="94"/>
                    <a:pt x="45" y="93"/>
                    <a:pt x="45" y="93"/>
                  </a:cubicBezTo>
                  <a:close/>
                  <a:moveTo>
                    <a:pt x="49" y="96"/>
                  </a:moveTo>
                  <a:cubicBezTo>
                    <a:pt x="49" y="95"/>
                    <a:pt x="49" y="95"/>
                    <a:pt x="49" y="95"/>
                  </a:cubicBezTo>
                  <a:cubicBezTo>
                    <a:pt x="49" y="95"/>
                    <a:pt x="49" y="95"/>
                    <a:pt x="49" y="96"/>
                  </a:cubicBezTo>
                  <a:close/>
                  <a:moveTo>
                    <a:pt x="46" y="94"/>
                  </a:moveTo>
                  <a:cubicBezTo>
                    <a:pt x="46" y="94"/>
                    <a:pt x="45" y="95"/>
                    <a:pt x="45" y="95"/>
                  </a:cubicBezTo>
                  <a:cubicBezTo>
                    <a:pt x="45" y="95"/>
                    <a:pt x="46" y="94"/>
                    <a:pt x="46" y="94"/>
                  </a:cubicBezTo>
                  <a:cubicBezTo>
                    <a:pt x="46" y="94"/>
                    <a:pt x="46" y="94"/>
                    <a:pt x="46" y="94"/>
                  </a:cubicBezTo>
                  <a:close/>
                  <a:moveTo>
                    <a:pt x="46" y="96"/>
                  </a:moveTo>
                  <a:cubicBezTo>
                    <a:pt x="46" y="96"/>
                    <a:pt x="46" y="95"/>
                    <a:pt x="47" y="94"/>
                  </a:cubicBezTo>
                  <a:cubicBezTo>
                    <a:pt x="47" y="95"/>
                    <a:pt x="46" y="96"/>
                    <a:pt x="46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7"/>
                    <a:pt x="49" y="97"/>
                  </a:cubicBezTo>
                  <a:cubicBezTo>
                    <a:pt x="49" y="97"/>
                    <a:pt x="49" y="96"/>
                    <a:pt x="49" y="96"/>
                  </a:cubicBezTo>
                  <a:close/>
                  <a:moveTo>
                    <a:pt x="44" y="94"/>
                  </a:moveTo>
                  <a:cubicBezTo>
                    <a:pt x="44" y="94"/>
                    <a:pt x="44" y="94"/>
                    <a:pt x="44" y="94"/>
                  </a:cubicBezTo>
                  <a:cubicBezTo>
                    <a:pt x="43" y="94"/>
                    <a:pt x="44" y="94"/>
                    <a:pt x="43" y="94"/>
                  </a:cubicBezTo>
                  <a:cubicBezTo>
                    <a:pt x="43" y="94"/>
                    <a:pt x="44" y="93"/>
                    <a:pt x="44" y="94"/>
                  </a:cubicBezTo>
                  <a:close/>
                  <a:moveTo>
                    <a:pt x="46" y="95"/>
                  </a:move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5" y="95"/>
                  </a:cubicBezTo>
                  <a:cubicBezTo>
                    <a:pt x="45" y="95"/>
                    <a:pt x="45" y="95"/>
                    <a:pt x="46" y="95"/>
                  </a:cubicBezTo>
                  <a:close/>
                  <a:moveTo>
                    <a:pt x="48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lose/>
                  <a:moveTo>
                    <a:pt x="43" y="96"/>
                  </a:moveTo>
                  <a:cubicBezTo>
                    <a:pt x="43" y="96"/>
                    <a:pt x="43" y="95"/>
                    <a:pt x="44" y="95"/>
                  </a:cubicBezTo>
                  <a:cubicBezTo>
                    <a:pt x="44" y="95"/>
                    <a:pt x="43" y="96"/>
                    <a:pt x="43" y="96"/>
                  </a:cubicBezTo>
                  <a:close/>
                  <a:moveTo>
                    <a:pt x="53" y="100"/>
                  </a:moveTo>
                  <a:cubicBezTo>
                    <a:pt x="53" y="100"/>
                    <a:pt x="53" y="100"/>
                    <a:pt x="53" y="100"/>
                  </a:cubicBezTo>
                  <a:cubicBezTo>
                    <a:pt x="52" y="100"/>
                    <a:pt x="53" y="100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lose/>
                  <a:moveTo>
                    <a:pt x="49" y="98"/>
                  </a:moveTo>
                  <a:cubicBezTo>
                    <a:pt x="49" y="98"/>
                    <a:pt x="49" y="98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1" y="100"/>
                  </a:cubicBezTo>
                  <a:close/>
                  <a:moveTo>
                    <a:pt x="47" y="99"/>
                  </a:moveTo>
                  <a:cubicBezTo>
                    <a:pt x="47" y="99"/>
                    <a:pt x="47" y="99"/>
                    <a:pt x="47" y="99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7" y="98"/>
                    <a:pt x="47" y="98"/>
                    <a:pt x="47" y="99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1"/>
                    <a:pt x="51" y="101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45" y="98"/>
                  </a:moveTo>
                  <a:cubicBezTo>
                    <a:pt x="46" y="98"/>
                    <a:pt x="45" y="98"/>
                    <a:pt x="46" y="98"/>
                  </a:cubicBezTo>
                  <a:cubicBezTo>
                    <a:pt x="46" y="98"/>
                    <a:pt x="45" y="99"/>
                    <a:pt x="45" y="98"/>
                  </a:cubicBezTo>
                  <a:close/>
                  <a:moveTo>
                    <a:pt x="43" y="97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lose/>
                  <a:moveTo>
                    <a:pt x="51" y="102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51" y="101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lose/>
                  <a:moveTo>
                    <a:pt x="42" y="99"/>
                  </a:move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2" y="98"/>
                    <a:pt x="42" y="99"/>
                  </a:cubicBezTo>
                  <a:close/>
                  <a:moveTo>
                    <a:pt x="42" y="99"/>
                  </a:moveTo>
                  <a:cubicBezTo>
                    <a:pt x="42" y="99"/>
                    <a:pt x="42" y="100"/>
                    <a:pt x="42" y="100"/>
                  </a:cubicBezTo>
                  <a:cubicBezTo>
                    <a:pt x="42" y="100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3" y="99"/>
                  </a:move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100"/>
                    <a:pt x="43" y="100"/>
                  </a:cubicBezTo>
                  <a:cubicBezTo>
                    <a:pt x="42" y="100"/>
                    <a:pt x="43" y="99"/>
                    <a:pt x="43" y="99"/>
                  </a:cubicBezTo>
                  <a:close/>
                  <a:moveTo>
                    <a:pt x="42" y="100"/>
                  </a:moveTo>
                  <a:cubicBezTo>
                    <a:pt x="42" y="100"/>
                    <a:pt x="42" y="100"/>
                    <a:pt x="42" y="100"/>
                  </a:cubicBezTo>
                  <a:cubicBezTo>
                    <a:pt x="42" y="100"/>
                    <a:pt x="42" y="101"/>
                    <a:pt x="41" y="100"/>
                  </a:cubicBezTo>
                  <a:cubicBezTo>
                    <a:pt x="41" y="100"/>
                    <a:pt x="41" y="100"/>
                    <a:pt x="42" y="100"/>
                  </a:cubicBezTo>
                  <a:close/>
                  <a:moveTo>
                    <a:pt x="43" y="102"/>
                  </a:moveTo>
                  <a:cubicBezTo>
                    <a:pt x="43" y="102"/>
                    <a:pt x="44" y="102"/>
                    <a:pt x="44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102"/>
                    <a:pt x="43" y="102"/>
                    <a:pt x="43" y="102"/>
                  </a:cubicBezTo>
                  <a:close/>
                  <a:moveTo>
                    <a:pt x="41" y="101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2" y="101"/>
                    <a:pt x="41" y="101"/>
                    <a:pt x="41" y="101"/>
                  </a:cubicBezTo>
                  <a:close/>
                  <a:moveTo>
                    <a:pt x="45" y="103"/>
                  </a:moveTo>
                  <a:cubicBezTo>
                    <a:pt x="45" y="103"/>
                    <a:pt x="45" y="103"/>
                    <a:pt x="45" y="103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3"/>
                    <a:pt x="45" y="103"/>
                  </a:cubicBezTo>
                  <a:close/>
                  <a:moveTo>
                    <a:pt x="48" y="110"/>
                  </a:moveTo>
                  <a:cubicBezTo>
                    <a:pt x="48" y="110"/>
                    <a:pt x="48" y="110"/>
                    <a:pt x="47" y="110"/>
                  </a:cubicBezTo>
                  <a:cubicBezTo>
                    <a:pt x="48" y="109"/>
                    <a:pt x="49" y="107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49" y="107"/>
                    <a:pt x="49" y="109"/>
                    <a:pt x="48" y="110"/>
                  </a:cubicBezTo>
                  <a:cubicBezTo>
                    <a:pt x="48" y="110"/>
                    <a:pt x="48" y="109"/>
                    <a:pt x="48" y="110"/>
                  </a:cubicBezTo>
                  <a:close/>
                  <a:moveTo>
                    <a:pt x="41" y="104"/>
                  </a:moveTo>
                  <a:cubicBezTo>
                    <a:pt x="41" y="104"/>
                    <a:pt x="42" y="104"/>
                    <a:pt x="42" y="103"/>
                  </a:cubicBezTo>
                  <a:cubicBezTo>
                    <a:pt x="41" y="103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3"/>
                    <a:pt x="41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4"/>
                    <a:pt x="41" y="104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0" y="105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5"/>
                    <a:pt x="40" y="106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1" y="104"/>
                    <a:pt x="41" y="105"/>
                    <a:pt x="41" y="104"/>
                  </a:cubicBezTo>
                  <a:cubicBezTo>
                    <a:pt x="41" y="104"/>
                    <a:pt x="41" y="105"/>
                    <a:pt x="41" y="105"/>
                  </a:cubicBezTo>
                  <a:close/>
                  <a:moveTo>
                    <a:pt x="43" y="106"/>
                  </a:moveTo>
                  <a:cubicBezTo>
                    <a:pt x="44" y="106"/>
                    <a:pt x="43" y="106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07"/>
                    <a:pt x="43" y="106"/>
                    <a:pt x="43" y="106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lose/>
                  <a:moveTo>
                    <a:pt x="40" y="105"/>
                  </a:move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0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40" y="105"/>
                    <a:pt x="40" y="105"/>
                  </a:cubicBezTo>
                  <a:cubicBezTo>
                    <a:pt x="40" y="105"/>
                    <a:pt x="39" y="105"/>
                    <a:pt x="39" y="105"/>
                  </a:cubicBezTo>
                  <a:close/>
                  <a:moveTo>
                    <a:pt x="42" y="108"/>
                  </a:move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7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lose/>
                  <a:moveTo>
                    <a:pt x="38" y="107"/>
                  </a:moveTo>
                  <a:cubicBezTo>
                    <a:pt x="38" y="106"/>
                    <a:pt x="39" y="106"/>
                    <a:pt x="39" y="106"/>
                  </a:cubicBezTo>
                  <a:cubicBezTo>
                    <a:pt x="39" y="106"/>
                    <a:pt x="38" y="107"/>
                    <a:pt x="38" y="107"/>
                  </a:cubicBezTo>
                  <a:close/>
                  <a:moveTo>
                    <a:pt x="40" y="107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lose/>
                  <a:moveTo>
                    <a:pt x="38" y="107"/>
                  </a:moveTo>
                  <a:cubicBezTo>
                    <a:pt x="38" y="107"/>
                    <a:pt x="38" y="108"/>
                    <a:pt x="38" y="108"/>
                  </a:cubicBezTo>
                  <a:cubicBezTo>
                    <a:pt x="38" y="108"/>
                    <a:pt x="38" y="107"/>
                    <a:pt x="38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6"/>
                    <a:pt x="38" y="107"/>
                    <a:pt x="38" y="107"/>
                  </a:cubicBezTo>
                  <a:cubicBezTo>
                    <a:pt x="38" y="107"/>
                    <a:pt x="38" y="107"/>
                    <a:pt x="38" y="107"/>
                  </a:cubicBezTo>
                  <a:close/>
                  <a:moveTo>
                    <a:pt x="39" y="107"/>
                  </a:moveTo>
                  <a:cubicBezTo>
                    <a:pt x="39" y="107"/>
                    <a:pt x="39" y="107"/>
                    <a:pt x="39" y="107"/>
                  </a:cubicBezTo>
                  <a:cubicBezTo>
                    <a:pt x="39" y="107"/>
                    <a:pt x="39" y="107"/>
                    <a:pt x="39" y="107"/>
                  </a:cubicBezTo>
                  <a:close/>
                  <a:moveTo>
                    <a:pt x="42" y="109"/>
                  </a:moveTo>
                  <a:cubicBezTo>
                    <a:pt x="42" y="110"/>
                    <a:pt x="41" y="111"/>
                    <a:pt x="41" y="111"/>
                  </a:cubicBezTo>
                  <a:cubicBezTo>
                    <a:pt x="41" y="110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1" y="109"/>
                  </a:cubicBezTo>
                  <a:cubicBezTo>
                    <a:pt x="41" y="109"/>
                    <a:pt x="41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39" y="109"/>
                    <a:pt x="39" y="110"/>
                  </a:cubicBezTo>
                  <a:cubicBezTo>
                    <a:pt x="39" y="109"/>
                    <a:pt x="39" y="109"/>
                    <a:pt x="40" y="109"/>
                  </a:cubicBezTo>
                  <a:close/>
                  <a:moveTo>
                    <a:pt x="39" y="110"/>
                  </a:move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lose/>
                  <a:moveTo>
                    <a:pt x="40" y="111"/>
                  </a:move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2"/>
                    <a:pt x="39" y="112"/>
                    <a:pt x="39" y="113"/>
                  </a:cubicBezTo>
                  <a:cubicBezTo>
                    <a:pt x="39" y="113"/>
                    <a:pt x="38" y="114"/>
                    <a:pt x="38" y="114"/>
                  </a:cubicBezTo>
                  <a:cubicBezTo>
                    <a:pt x="39" y="113"/>
                    <a:pt x="39" y="112"/>
                    <a:pt x="40" y="110"/>
                  </a:cubicBezTo>
                  <a:cubicBezTo>
                    <a:pt x="40" y="110"/>
                    <a:pt x="40" y="111"/>
                    <a:pt x="40" y="111"/>
                  </a:cubicBezTo>
                  <a:close/>
                  <a:moveTo>
                    <a:pt x="37" y="109"/>
                  </a:moveTo>
                  <a:cubicBezTo>
                    <a:pt x="37" y="109"/>
                    <a:pt x="37" y="109"/>
                    <a:pt x="37" y="110"/>
                  </a:cubicBezTo>
                  <a:cubicBezTo>
                    <a:pt x="37" y="109"/>
                    <a:pt x="37" y="110"/>
                    <a:pt x="36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7" y="109"/>
                    <a:pt x="37" y="109"/>
                  </a:cubicBezTo>
                  <a:close/>
                  <a:moveTo>
                    <a:pt x="39" y="111"/>
                  </a:moveTo>
                  <a:cubicBezTo>
                    <a:pt x="39" y="111"/>
                    <a:pt x="39" y="110"/>
                    <a:pt x="39" y="110"/>
                  </a:cubicBezTo>
                  <a:cubicBezTo>
                    <a:pt x="40" y="110"/>
                    <a:pt x="39" y="111"/>
                    <a:pt x="39" y="111"/>
                  </a:cubicBezTo>
                  <a:close/>
                  <a:moveTo>
                    <a:pt x="38" y="110"/>
                  </a:moveTo>
                  <a:cubicBezTo>
                    <a:pt x="38" y="110"/>
                    <a:pt x="38" y="110"/>
                    <a:pt x="38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8" y="110"/>
                  </a:cubicBezTo>
                  <a:close/>
                  <a:moveTo>
                    <a:pt x="37" y="110"/>
                  </a:moveTo>
                  <a:cubicBezTo>
                    <a:pt x="37" y="110"/>
                    <a:pt x="37" y="110"/>
                    <a:pt x="37" y="109"/>
                  </a:cubicBezTo>
                  <a:cubicBezTo>
                    <a:pt x="37" y="109"/>
                    <a:pt x="37" y="110"/>
                    <a:pt x="37" y="110"/>
                  </a:cubicBezTo>
                  <a:close/>
                  <a:moveTo>
                    <a:pt x="42" y="112"/>
                  </a:moveTo>
                  <a:cubicBezTo>
                    <a:pt x="42" y="112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2"/>
                    <a:pt x="42" y="112"/>
                    <a:pt x="42" y="112"/>
                  </a:cubicBezTo>
                  <a:close/>
                  <a:moveTo>
                    <a:pt x="41" y="112"/>
                  </a:moveTo>
                  <a:cubicBezTo>
                    <a:pt x="41" y="112"/>
                    <a:pt x="41" y="112"/>
                    <a:pt x="41" y="112"/>
                  </a:cubicBezTo>
                  <a:cubicBezTo>
                    <a:pt x="40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lose/>
                  <a:moveTo>
                    <a:pt x="36" y="110"/>
                  </a:move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6" y="110"/>
                    <a:pt x="36" y="110"/>
                  </a:cubicBezTo>
                  <a:close/>
                  <a:moveTo>
                    <a:pt x="39" y="111"/>
                  </a:moveTo>
                  <a:cubicBezTo>
                    <a:pt x="39" y="111"/>
                    <a:pt x="38" y="112"/>
                    <a:pt x="38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112"/>
                    <a:pt x="38" y="111"/>
                    <a:pt x="39" y="111"/>
                  </a:cubicBezTo>
                  <a:close/>
                  <a:moveTo>
                    <a:pt x="37" y="112"/>
                  </a:moveTo>
                  <a:cubicBezTo>
                    <a:pt x="37" y="112"/>
                    <a:pt x="37" y="111"/>
                    <a:pt x="37" y="111"/>
                  </a:cubicBezTo>
                  <a:cubicBezTo>
                    <a:pt x="37" y="111"/>
                    <a:pt x="37" y="112"/>
                    <a:pt x="37" y="112"/>
                  </a:cubicBezTo>
                  <a:close/>
                  <a:moveTo>
                    <a:pt x="40" y="113"/>
                  </a:move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lose/>
                  <a:moveTo>
                    <a:pt x="41" y="114"/>
                  </a:moveTo>
                  <a:cubicBezTo>
                    <a:pt x="42" y="114"/>
                    <a:pt x="41" y="114"/>
                    <a:pt x="42" y="114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37" y="114"/>
                  </a:moveTo>
                  <a:cubicBezTo>
                    <a:pt x="36" y="114"/>
                    <a:pt x="36" y="114"/>
                    <a:pt x="37" y="114"/>
                  </a:cubicBezTo>
                  <a:cubicBezTo>
                    <a:pt x="37" y="114"/>
                    <a:pt x="37" y="114"/>
                    <a:pt x="37" y="114"/>
                  </a:cubicBezTo>
                  <a:close/>
                  <a:moveTo>
                    <a:pt x="41" y="116"/>
                  </a:moveTo>
                  <a:cubicBezTo>
                    <a:pt x="40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0" y="117"/>
                  </a:move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lose/>
                  <a:moveTo>
                    <a:pt x="39" y="118"/>
                  </a:moveTo>
                  <a:cubicBezTo>
                    <a:pt x="38" y="118"/>
                    <a:pt x="39" y="117"/>
                    <a:pt x="39" y="117"/>
                  </a:cubicBezTo>
                  <a:cubicBezTo>
                    <a:pt x="39" y="117"/>
                    <a:pt x="39" y="118"/>
                    <a:pt x="39" y="118"/>
                  </a:cubicBezTo>
                  <a:close/>
                  <a:moveTo>
                    <a:pt x="36" y="116"/>
                  </a:moveTo>
                  <a:cubicBezTo>
                    <a:pt x="36" y="116"/>
                    <a:pt x="36" y="117"/>
                    <a:pt x="36" y="117"/>
                  </a:cubicBezTo>
                  <a:cubicBezTo>
                    <a:pt x="36" y="117"/>
                    <a:pt x="36" y="117"/>
                    <a:pt x="36" y="116"/>
                  </a:cubicBezTo>
                  <a:close/>
                  <a:moveTo>
                    <a:pt x="39" y="121"/>
                  </a:moveTo>
                  <a:cubicBezTo>
                    <a:pt x="40" y="121"/>
                    <a:pt x="40" y="120"/>
                    <a:pt x="40" y="119"/>
                  </a:cubicBezTo>
                  <a:cubicBezTo>
                    <a:pt x="40" y="119"/>
                    <a:pt x="40" y="120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ubicBezTo>
                    <a:pt x="40" y="119"/>
                    <a:pt x="40" y="119"/>
                    <a:pt x="41" y="119"/>
                  </a:cubicBezTo>
                  <a:cubicBezTo>
                    <a:pt x="41" y="119"/>
                    <a:pt x="40" y="119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lose/>
                  <a:moveTo>
                    <a:pt x="38" y="118"/>
                  </a:moveTo>
                  <a:cubicBezTo>
                    <a:pt x="38" y="118"/>
                    <a:pt x="38" y="119"/>
                    <a:pt x="38" y="118"/>
                  </a:cubicBezTo>
                  <a:close/>
                  <a:moveTo>
                    <a:pt x="39" y="120"/>
                  </a:moveTo>
                  <a:cubicBezTo>
                    <a:pt x="38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20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39" y="120"/>
                  </a:cubicBezTo>
                  <a:cubicBezTo>
                    <a:pt x="39" y="119"/>
                    <a:pt x="40" y="119"/>
                    <a:pt x="40" y="119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lose/>
                  <a:moveTo>
                    <a:pt x="41" y="120"/>
                  </a:move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lose/>
                  <a:moveTo>
                    <a:pt x="42" y="120"/>
                  </a:moveTo>
                  <a:cubicBezTo>
                    <a:pt x="42" y="120"/>
                    <a:pt x="42" y="120"/>
                    <a:pt x="42" y="120"/>
                  </a:cubicBezTo>
                  <a:cubicBezTo>
                    <a:pt x="42" y="120"/>
                    <a:pt x="42" y="121"/>
                    <a:pt x="42" y="121"/>
                  </a:cubicBezTo>
                  <a:cubicBezTo>
                    <a:pt x="41" y="121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lose/>
                  <a:moveTo>
                    <a:pt x="35" y="119"/>
                  </a:moveTo>
                  <a:cubicBezTo>
                    <a:pt x="35" y="118"/>
                    <a:pt x="36" y="118"/>
                    <a:pt x="36" y="117"/>
                  </a:cubicBezTo>
                  <a:cubicBezTo>
                    <a:pt x="36" y="118"/>
                    <a:pt x="36" y="118"/>
                    <a:pt x="35" y="119"/>
                  </a:cubicBezTo>
                  <a:close/>
                  <a:moveTo>
                    <a:pt x="40" y="120"/>
                  </a:moveTo>
                  <a:cubicBezTo>
                    <a:pt x="40" y="120"/>
                    <a:pt x="40" y="120"/>
                    <a:pt x="39" y="120"/>
                  </a:cubicBezTo>
                  <a:cubicBezTo>
                    <a:pt x="39" y="120"/>
                    <a:pt x="39" y="120"/>
                    <a:pt x="40" y="120"/>
                  </a:cubicBezTo>
                  <a:close/>
                  <a:moveTo>
                    <a:pt x="39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9" y="119"/>
                  </a:cubicBezTo>
                  <a:close/>
                  <a:moveTo>
                    <a:pt x="32" y="117"/>
                  </a:moveTo>
                  <a:cubicBezTo>
                    <a:pt x="32" y="118"/>
                    <a:pt x="32" y="117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lose/>
                  <a:moveTo>
                    <a:pt x="35" y="119"/>
                  </a:move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5" y="119"/>
                  </a:cubicBezTo>
                  <a:close/>
                  <a:moveTo>
                    <a:pt x="32" y="118"/>
                  </a:moveTo>
                  <a:cubicBezTo>
                    <a:pt x="32" y="118"/>
                    <a:pt x="32" y="118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lose/>
                  <a:moveTo>
                    <a:pt x="37" y="121"/>
                  </a:move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2"/>
                  </a:cubicBezTo>
                  <a:cubicBezTo>
                    <a:pt x="37" y="121"/>
                    <a:pt x="37" y="121"/>
                    <a:pt x="37" y="121"/>
                  </a:cubicBezTo>
                  <a:close/>
                  <a:moveTo>
                    <a:pt x="40" y="122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2"/>
                    <a:pt x="40" y="122"/>
                  </a:cubicBezTo>
                  <a:close/>
                  <a:moveTo>
                    <a:pt x="36" y="121"/>
                  </a:move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lose/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4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4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40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123"/>
                  </a:move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35" y="122"/>
                  </a:moveTo>
                  <a:cubicBezTo>
                    <a:pt x="34" y="121"/>
                    <a:pt x="34" y="121"/>
                    <a:pt x="34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2"/>
                  </a:cubicBezTo>
                  <a:close/>
                  <a:moveTo>
                    <a:pt x="38" y="122"/>
                  </a:moveTo>
                  <a:cubicBezTo>
                    <a:pt x="38" y="123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38" y="123"/>
                  </a:moveTo>
                  <a:cubicBezTo>
                    <a:pt x="38" y="123"/>
                    <a:pt x="38" y="123"/>
                    <a:pt x="38" y="124"/>
                  </a:cubicBezTo>
                  <a:cubicBezTo>
                    <a:pt x="38" y="123"/>
                    <a:pt x="38" y="123"/>
                    <a:pt x="38" y="123"/>
                  </a:cubicBezTo>
                  <a:close/>
                  <a:moveTo>
                    <a:pt x="36" y="123"/>
                  </a:moveTo>
                  <a:cubicBezTo>
                    <a:pt x="36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6" y="122"/>
                    <a:pt x="36" y="122"/>
                  </a:cubicBezTo>
                  <a:cubicBezTo>
                    <a:pt x="36" y="122"/>
                    <a:pt x="35" y="123"/>
                    <a:pt x="36" y="123"/>
                  </a:cubicBezTo>
                  <a:close/>
                  <a:moveTo>
                    <a:pt x="37" y="125"/>
                  </a:moveTo>
                  <a:cubicBezTo>
                    <a:pt x="37" y="125"/>
                    <a:pt x="38" y="124"/>
                    <a:pt x="38" y="123"/>
                  </a:cubicBezTo>
                  <a:cubicBezTo>
                    <a:pt x="38" y="124"/>
                    <a:pt x="37" y="125"/>
                    <a:pt x="37" y="125"/>
                  </a:cubicBezTo>
                  <a:close/>
                  <a:moveTo>
                    <a:pt x="36" y="123"/>
                  </a:moveTo>
                  <a:cubicBezTo>
                    <a:pt x="36" y="123"/>
                    <a:pt x="36" y="123"/>
                    <a:pt x="36" y="123"/>
                  </a:cubicBezTo>
                  <a:cubicBezTo>
                    <a:pt x="36" y="123"/>
                    <a:pt x="36" y="123"/>
                    <a:pt x="36" y="123"/>
                  </a:cubicBezTo>
                  <a:close/>
                  <a:moveTo>
                    <a:pt x="39" y="126"/>
                  </a:moveTo>
                  <a:cubicBezTo>
                    <a:pt x="39" y="125"/>
                    <a:pt x="39" y="125"/>
                    <a:pt x="39" y="125"/>
                  </a:cubicBezTo>
                  <a:cubicBezTo>
                    <a:pt x="39" y="125"/>
                    <a:pt x="39" y="125"/>
                    <a:pt x="39" y="126"/>
                  </a:cubicBezTo>
                  <a:close/>
                  <a:moveTo>
                    <a:pt x="35" y="124"/>
                  </a:move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4"/>
                    <a:pt x="35" y="124"/>
                  </a:cubicBezTo>
                  <a:close/>
                  <a:moveTo>
                    <a:pt x="36" y="124"/>
                  </a:moveTo>
                  <a:cubicBezTo>
                    <a:pt x="36" y="124"/>
                    <a:pt x="36" y="124"/>
                    <a:pt x="36" y="125"/>
                  </a:cubicBezTo>
                  <a:cubicBezTo>
                    <a:pt x="36" y="125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ubicBezTo>
                    <a:pt x="36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9" y="126"/>
                  </a:move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lose/>
                  <a:moveTo>
                    <a:pt x="38" y="126"/>
                  </a:moveTo>
                  <a:cubicBezTo>
                    <a:pt x="39" y="127"/>
                    <a:pt x="38" y="127"/>
                    <a:pt x="38" y="127"/>
                  </a:cubicBezTo>
                  <a:cubicBezTo>
                    <a:pt x="38" y="126"/>
                    <a:pt x="38" y="127"/>
                    <a:pt x="38" y="126"/>
                  </a:cubicBezTo>
                  <a:close/>
                  <a:moveTo>
                    <a:pt x="39" y="127"/>
                  </a:move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lose/>
                  <a:moveTo>
                    <a:pt x="33" y="124"/>
                  </a:move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4" y="124"/>
                  </a:cubicBezTo>
                  <a:cubicBezTo>
                    <a:pt x="34" y="125"/>
                    <a:pt x="33" y="125"/>
                    <a:pt x="33" y="125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4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lose/>
                  <a:moveTo>
                    <a:pt x="34" y="125"/>
                  </a:moveTo>
                  <a:cubicBezTo>
                    <a:pt x="33" y="125"/>
                    <a:pt x="34" y="125"/>
                    <a:pt x="34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4" y="125"/>
                    <a:pt x="34" y="125"/>
                  </a:cubicBezTo>
                  <a:cubicBezTo>
                    <a:pt x="34" y="125"/>
                    <a:pt x="34" y="125"/>
                    <a:pt x="34" y="125"/>
                  </a:cubicBezTo>
                  <a:close/>
                  <a:moveTo>
                    <a:pt x="31" y="124"/>
                  </a:moveTo>
                  <a:cubicBezTo>
                    <a:pt x="31" y="124"/>
                    <a:pt x="31" y="124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37" y="127"/>
                  </a:move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7" y="127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9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8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7" y="127"/>
                  </a:moveTo>
                  <a:cubicBezTo>
                    <a:pt x="37" y="127"/>
                    <a:pt x="36" y="128"/>
                    <a:pt x="36" y="128"/>
                  </a:cubicBezTo>
                  <a:cubicBezTo>
                    <a:pt x="36" y="128"/>
                    <a:pt x="36" y="127"/>
                    <a:pt x="37" y="127"/>
                  </a:cubicBezTo>
                  <a:close/>
                  <a:moveTo>
                    <a:pt x="37" y="128"/>
                  </a:move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8" y="128"/>
                    <a:pt x="37" y="128"/>
                  </a:cubicBezTo>
                  <a:close/>
                  <a:moveTo>
                    <a:pt x="32" y="128"/>
                  </a:moveTo>
                  <a:cubicBezTo>
                    <a:pt x="32" y="127"/>
                    <a:pt x="32" y="128"/>
                    <a:pt x="32" y="128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8"/>
                  </a:cubicBezTo>
                  <a:close/>
                  <a:moveTo>
                    <a:pt x="32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lose/>
                  <a:moveTo>
                    <a:pt x="33" y="130"/>
                  </a:moveTo>
                  <a:cubicBezTo>
                    <a:pt x="33" y="130"/>
                    <a:pt x="34" y="130"/>
                    <a:pt x="34" y="129"/>
                  </a:cubicBezTo>
                  <a:cubicBezTo>
                    <a:pt x="34" y="130"/>
                    <a:pt x="33" y="130"/>
                    <a:pt x="33" y="130"/>
                  </a:cubicBezTo>
                  <a:close/>
                  <a:moveTo>
                    <a:pt x="28" y="128"/>
                  </a:moveTo>
                  <a:cubicBezTo>
                    <a:pt x="28" y="127"/>
                    <a:pt x="28" y="127"/>
                    <a:pt x="28" y="127"/>
                  </a:cubicBezTo>
                  <a:cubicBezTo>
                    <a:pt x="29" y="127"/>
                    <a:pt x="28" y="128"/>
                    <a:pt x="28" y="128"/>
                  </a:cubicBezTo>
                  <a:close/>
                  <a:moveTo>
                    <a:pt x="31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1" y="129"/>
                    <a:pt x="31" y="130"/>
                    <a:pt x="31" y="129"/>
                  </a:cubicBezTo>
                  <a:close/>
                  <a:moveTo>
                    <a:pt x="30" y="130"/>
                  </a:moveTo>
                  <a:cubicBezTo>
                    <a:pt x="30" y="130"/>
                    <a:pt x="31" y="130"/>
                    <a:pt x="31" y="129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31"/>
                    <a:pt x="31" y="130"/>
                    <a:pt x="30" y="130"/>
                  </a:cubicBezTo>
                  <a:close/>
                  <a:moveTo>
                    <a:pt x="27" y="130"/>
                  </a:moveTo>
                  <a:cubicBezTo>
                    <a:pt x="27" y="130"/>
                    <a:pt x="27" y="130"/>
                    <a:pt x="27" y="130"/>
                  </a:cubicBezTo>
                  <a:cubicBezTo>
                    <a:pt x="27" y="130"/>
                    <a:pt x="27" y="129"/>
                    <a:pt x="27" y="129"/>
                  </a:cubicBezTo>
                  <a:cubicBezTo>
                    <a:pt x="28" y="129"/>
                    <a:pt x="27" y="130"/>
                    <a:pt x="27" y="130"/>
                  </a:cubicBezTo>
                  <a:close/>
                  <a:moveTo>
                    <a:pt x="31" y="131"/>
                  </a:moveTo>
                  <a:cubicBezTo>
                    <a:pt x="31" y="131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lose/>
                  <a:moveTo>
                    <a:pt x="30" y="130"/>
                  </a:moveTo>
                  <a:cubicBezTo>
                    <a:pt x="30" y="131"/>
                    <a:pt x="30" y="131"/>
                    <a:pt x="30" y="131"/>
                  </a:cubicBezTo>
                  <a:cubicBezTo>
                    <a:pt x="30" y="131"/>
                    <a:pt x="30" y="131"/>
                    <a:pt x="30" y="130"/>
                  </a:cubicBezTo>
                  <a:close/>
                  <a:moveTo>
                    <a:pt x="30" y="131"/>
                  </a:moveTo>
                  <a:cubicBezTo>
                    <a:pt x="30" y="131"/>
                    <a:pt x="30" y="132"/>
                    <a:pt x="30" y="131"/>
                  </a:cubicBezTo>
                  <a:close/>
                  <a:moveTo>
                    <a:pt x="26" y="130"/>
                  </a:moveTo>
                  <a:cubicBezTo>
                    <a:pt x="26" y="130"/>
                    <a:pt x="26" y="130"/>
                    <a:pt x="26" y="130"/>
                  </a:cubicBezTo>
                  <a:cubicBezTo>
                    <a:pt x="26" y="130"/>
                    <a:pt x="26" y="131"/>
                    <a:pt x="26" y="130"/>
                  </a:cubicBezTo>
                  <a:close/>
                  <a:moveTo>
                    <a:pt x="31" y="133"/>
                  </a:moveTo>
                  <a:cubicBezTo>
                    <a:pt x="31" y="133"/>
                    <a:pt x="31" y="133"/>
                    <a:pt x="32" y="133"/>
                  </a:cubicBezTo>
                  <a:cubicBezTo>
                    <a:pt x="32" y="133"/>
                    <a:pt x="31" y="133"/>
                    <a:pt x="31" y="133"/>
                  </a:cubicBezTo>
                  <a:close/>
                  <a:moveTo>
                    <a:pt x="31" y="136"/>
                  </a:moveTo>
                  <a:cubicBezTo>
                    <a:pt x="31" y="136"/>
                    <a:pt x="32" y="135"/>
                    <a:pt x="31" y="135"/>
                  </a:cubicBezTo>
                  <a:cubicBezTo>
                    <a:pt x="32" y="135"/>
                    <a:pt x="31" y="136"/>
                    <a:pt x="31" y="136"/>
                  </a:cubicBezTo>
                  <a:close/>
                  <a:moveTo>
                    <a:pt x="27" y="134"/>
                  </a:moveTo>
                  <a:cubicBezTo>
                    <a:pt x="27" y="134"/>
                    <a:pt x="27" y="134"/>
                    <a:pt x="27" y="134"/>
                  </a:cubicBezTo>
                  <a:cubicBezTo>
                    <a:pt x="27" y="134"/>
                    <a:pt x="27" y="134"/>
                    <a:pt x="27" y="134"/>
                  </a:cubicBezTo>
                  <a:close/>
                  <a:moveTo>
                    <a:pt x="28" y="135"/>
                  </a:moveTo>
                  <a:cubicBezTo>
                    <a:pt x="28" y="135"/>
                    <a:pt x="28" y="135"/>
                    <a:pt x="28" y="135"/>
                  </a:cubicBezTo>
                  <a:cubicBezTo>
                    <a:pt x="28" y="135"/>
                    <a:pt x="28" y="135"/>
                    <a:pt x="28" y="135"/>
                  </a:cubicBezTo>
                  <a:close/>
                  <a:moveTo>
                    <a:pt x="32" y="137"/>
                  </a:move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lose/>
                  <a:moveTo>
                    <a:pt x="31" y="137"/>
                  </a:moveTo>
                  <a:cubicBezTo>
                    <a:pt x="31" y="137"/>
                    <a:pt x="31" y="137"/>
                    <a:pt x="31" y="137"/>
                  </a:cubicBezTo>
                  <a:cubicBezTo>
                    <a:pt x="30" y="137"/>
                    <a:pt x="31" y="137"/>
                    <a:pt x="31" y="137"/>
                  </a:cubicBezTo>
                  <a:close/>
                  <a:moveTo>
                    <a:pt x="32" y="138"/>
                  </a:move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lose/>
                  <a:moveTo>
                    <a:pt x="26" y="136"/>
                  </a:moveTo>
                  <a:cubicBezTo>
                    <a:pt x="26" y="136"/>
                    <a:pt x="26" y="136"/>
                    <a:pt x="26" y="136"/>
                  </a:cubicBezTo>
                  <a:cubicBezTo>
                    <a:pt x="26" y="135"/>
                    <a:pt x="26" y="136"/>
                    <a:pt x="26" y="136"/>
                  </a:cubicBezTo>
                  <a:close/>
                  <a:moveTo>
                    <a:pt x="32" y="140"/>
                  </a:moveTo>
                  <a:cubicBezTo>
                    <a:pt x="32" y="140"/>
                    <a:pt x="32" y="139"/>
                    <a:pt x="33" y="139"/>
                  </a:cubicBezTo>
                  <a:cubicBezTo>
                    <a:pt x="33" y="139"/>
                    <a:pt x="32" y="140"/>
                    <a:pt x="32" y="140"/>
                  </a:cubicBezTo>
                  <a:close/>
                  <a:moveTo>
                    <a:pt x="30" y="138"/>
                  </a:moveTo>
                  <a:cubicBezTo>
                    <a:pt x="30" y="138"/>
                    <a:pt x="30" y="139"/>
                    <a:pt x="30" y="139"/>
                  </a:cubicBezTo>
                  <a:cubicBezTo>
                    <a:pt x="30" y="139"/>
                    <a:pt x="30" y="138"/>
                    <a:pt x="30" y="138"/>
                  </a:cubicBezTo>
                  <a:close/>
                  <a:moveTo>
                    <a:pt x="24" y="141"/>
                  </a:moveTo>
                  <a:cubicBezTo>
                    <a:pt x="24" y="141"/>
                    <a:pt x="24" y="142"/>
                    <a:pt x="24" y="142"/>
                  </a:cubicBezTo>
                  <a:cubicBezTo>
                    <a:pt x="24" y="142"/>
                    <a:pt x="24" y="141"/>
                    <a:pt x="24" y="141"/>
                  </a:cubicBezTo>
                  <a:close/>
                  <a:moveTo>
                    <a:pt x="25" y="149"/>
                  </a:moveTo>
                  <a:cubicBezTo>
                    <a:pt x="25" y="149"/>
                    <a:pt x="25" y="150"/>
                    <a:pt x="25" y="150"/>
                  </a:cubicBezTo>
                  <a:cubicBezTo>
                    <a:pt x="25" y="150"/>
                    <a:pt x="25" y="150"/>
                    <a:pt x="25" y="149"/>
                  </a:cubicBezTo>
                  <a:close/>
                  <a:moveTo>
                    <a:pt x="21" y="149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149"/>
                    <a:pt x="21" y="149"/>
                    <a:pt x="21" y="149"/>
                  </a:cubicBezTo>
                  <a:close/>
                  <a:moveTo>
                    <a:pt x="24" y="152"/>
                  </a:move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1"/>
                  </a:cubicBezTo>
                  <a:cubicBezTo>
                    <a:pt x="24" y="152"/>
                    <a:pt x="25" y="152"/>
                    <a:pt x="24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7"/>
                    <a:pt x="21" y="157"/>
                  </a:cubicBezTo>
                  <a:cubicBezTo>
                    <a:pt x="21" y="156"/>
                    <a:pt x="22" y="156"/>
                    <a:pt x="22" y="156"/>
                  </a:cubicBezTo>
                  <a:close/>
                  <a:moveTo>
                    <a:pt x="22" y="159"/>
                  </a:moveTo>
                  <a:cubicBezTo>
                    <a:pt x="22" y="159"/>
                    <a:pt x="22" y="159"/>
                    <a:pt x="22" y="159"/>
                  </a:cubicBezTo>
                  <a:cubicBezTo>
                    <a:pt x="22" y="159"/>
                    <a:pt x="22" y="159"/>
                    <a:pt x="22" y="159"/>
                  </a:cubicBezTo>
                  <a:close/>
                  <a:moveTo>
                    <a:pt x="21" y="161"/>
                  </a:moveTo>
                  <a:cubicBezTo>
                    <a:pt x="21" y="161"/>
                    <a:pt x="21" y="161"/>
                    <a:pt x="21" y="161"/>
                  </a:cubicBezTo>
                  <a:cubicBezTo>
                    <a:pt x="21" y="161"/>
                    <a:pt x="21" y="161"/>
                    <a:pt x="21" y="161"/>
                  </a:cubicBezTo>
                  <a:close/>
                  <a:moveTo>
                    <a:pt x="21" y="161"/>
                  </a:moveTo>
                  <a:cubicBezTo>
                    <a:pt x="21" y="161"/>
                    <a:pt x="20" y="162"/>
                    <a:pt x="21" y="161"/>
                  </a:cubicBezTo>
                  <a:cubicBezTo>
                    <a:pt x="21" y="162"/>
                    <a:pt x="21" y="162"/>
                    <a:pt x="20" y="162"/>
                  </a:cubicBezTo>
                  <a:cubicBezTo>
                    <a:pt x="20" y="162"/>
                    <a:pt x="20" y="161"/>
                    <a:pt x="21" y="161"/>
                  </a:cubicBezTo>
                  <a:close/>
                  <a:moveTo>
                    <a:pt x="20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1"/>
                    <a:pt x="20" y="161"/>
                    <a:pt x="20" y="161"/>
                  </a:cubicBezTo>
                  <a:cubicBezTo>
                    <a:pt x="20" y="161"/>
                    <a:pt x="20" y="161"/>
                    <a:pt x="20" y="162"/>
                  </a:cubicBezTo>
                  <a:close/>
                  <a:moveTo>
                    <a:pt x="17" y="162"/>
                  </a:moveTo>
                  <a:cubicBezTo>
                    <a:pt x="17" y="162"/>
                    <a:pt x="17" y="162"/>
                    <a:pt x="17" y="161"/>
                  </a:cubicBezTo>
                  <a:cubicBezTo>
                    <a:pt x="17" y="162"/>
                    <a:pt x="17" y="162"/>
                    <a:pt x="17" y="162"/>
                  </a:cubicBezTo>
                  <a:close/>
                  <a:moveTo>
                    <a:pt x="18" y="166"/>
                  </a:moveTo>
                  <a:cubicBezTo>
                    <a:pt x="18" y="166"/>
                    <a:pt x="18" y="166"/>
                    <a:pt x="18" y="166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8" y="166"/>
                  </a:cubicBezTo>
                  <a:close/>
                  <a:moveTo>
                    <a:pt x="16" y="164"/>
                  </a:moveTo>
                  <a:cubicBezTo>
                    <a:pt x="16" y="163"/>
                    <a:pt x="16" y="163"/>
                    <a:pt x="16" y="163"/>
                  </a:cubicBezTo>
                  <a:cubicBezTo>
                    <a:pt x="16" y="163"/>
                    <a:pt x="16" y="164"/>
                    <a:pt x="16" y="164"/>
                  </a:cubicBezTo>
                  <a:close/>
                  <a:moveTo>
                    <a:pt x="18" y="166"/>
                  </a:moveTo>
                  <a:cubicBezTo>
                    <a:pt x="18" y="167"/>
                    <a:pt x="17" y="168"/>
                    <a:pt x="17" y="168"/>
                  </a:cubicBezTo>
                  <a:cubicBezTo>
                    <a:pt x="17" y="168"/>
                    <a:pt x="18" y="167"/>
                    <a:pt x="18" y="166"/>
                  </a:cubicBezTo>
                  <a:close/>
                  <a:moveTo>
                    <a:pt x="16" y="171"/>
                  </a:moveTo>
                  <a:cubicBezTo>
                    <a:pt x="16" y="171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1"/>
                    <a:pt x="16" y="171"/>
                  </a:cubicBezTo>
                  <a:close/>
                  <a:moveTo>
                    <a:pt x="16" y="171"/>
                  </a:move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lose/>
                  <a:moveTo>
                    <a:pt x="11" y="169"/>
                  </a:moveTo>
                  <a:cubicBezTo>
                    <a:pt x="11" y="169"/>
                    <a:pt x="11" y="169"/>
                    <a:pt x="11" y="168"/>
                  </a:cubicBezTo>
                  <a:cubicBezTo>
                    <a:pt x="11" y="169"/>
                    <a:pt x="11" y="169"/>
                    <a:pt x="11" y="169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1"/>
                    <a:pt x="14" y="171"/>
                  </a:cubicBezTo>
                  <a:cubicBezTo>
                    <a:pt x="14" y="171"/>
                    <a:pt x="14" y="171"/>
                    <a:pt x="14" y="172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2"/>
                    <a:pt x="15" y="172"/>
                  </a:cubicBezTo>
                  <a:cubicBezTo>
                    <a:pt x="15" y="172"/>
                    <a:pt x="15" y="171"/>
                    <a:pt x="15" y="171"/>
                  </a:cubicBezTo>
                  <a:close/>
                  <a:moveTo>
                    <a:pt x="15" y="172"/>
                  </a:moveTo>
                  <a:cubicBezTo>
                    <a:pt x="15" y="172"/>
                    <a:pt x="15" y="172"/>
                    <a:pt x="15" y="171"/>
                  </a:cubicBezTo>
                  <a:cubicBezTo>
                    <a:pt x="15" y="172"/>
                    <a:pt x="14" y="172"/>
                    <a:pt x="14" y="173"/>
                  </a:cubicBezTo>
                  <a:cubicBezTo>
                    <a:pt x="14" y="173"/>
                    <a:pt x="15" y="172"/>
                    <a:pt x="15" y="172"/>
                  </a:cubicBezTo>
                  <a:close/>
                  <a:moveTo>
                    <a:pt x="13" y="173"/>
                  </a:moveTo>
                  <a:cubicBezTo>
                    <a:pt x="13" y="173"/>
                    <a:pt x="13" y="172"/>
                    <a:pt x="13" y="172"/>
                  </a:cubicBezTo>
                  <a:cubicBezTo>
                    <a:pt x="14" y="172"/>
                    <a:pt x="13" y="173"/>
                    <a:pt x="13" y="173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3"/>
                    <a:pt x="14" y="173"/>
                  </a:cubicBezTo>
                  <a:cubicBezTo>
                    <a:pt x="13" y="173"/>
                    <a:pt x="14" y="173"/>
                    <a:pt x="14" y="172"/>
                  </a:cubicBezTo>
                  <a:close/>
                  <a:moveTo>
                    <a:pt x="14" y="173"/>
                  </a:moveTo>
                  <a:cubicBezTo>
                    <a:pt x="14" y="174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lose/>
                  <a:moveTo>
                    <a:pt x="14" y="175"/>
                  </a:moveTo>
                  <a:cubicBezTo>
                    <a:pt x="14" y="175"/>
                    <a:pt x="14" y="175"/>
                    <a:pt x="14" y="174"/>
                  </a:cubicBezTo>
                  <a:cubicBezTo>
                    <a:pt x="14" y="174"/>
                    <a:pt x="14" y="175"/>
                    <a:pt x="14" y="175"/>
                  </a:cubicBezTo>
                  <a:close/>
                  <a:moveTo>
                    <a:pt x="9" y="173"/>
                  </a:moveTo>
                  <a:cubicBezTo>
                    <a:pt x="9" y="173"/>
                    <a:pt x="9" y="172"/>
                    <a:pt x="9" y="172"/>
                  </a:cubicBezTo>
                  <a:cubicBezTo>
                    <a:pt x="9" y="172"/>
                    <a:pt x="9" y="172"/>
                    <a:pt x="9" y="173"/>
                  </a:cubicBezTo>
                  <a:close/>
                  <a:moveTo>
                    <a:pt x="8" y="174"/>
                  </a:moveTo>
                  <a:cubicBezTo>
                    <a:pt x="8" y="174"/>
                    <a:pt x="8" y="174"/>
                    <a:pt x="8" y="174"/>
                  </a:cubicBezTo>
                  <a:cubicBezTo>
                    <a:pt x="8" y="174"/>
                    <a:pt x="8" y="174"/>
                    <a:pt x="8" y="174"/>
                  </a:cubicBezTo>
                  <a:close/>
                  <a:moveTo>
                    <a:pt x="12" y="177"/>
                  </a:moveTo>
                  <a:cubicBezTo>
                    <a:pt x="12" y="178"/>
                    <a:pt x="11" y="179"/>
                    <a:pt x="11" y="180"/>
                  </a:cubicBezTo>
                  <a:cubicBezTo>
                    <a:pt x="10" y="181"/>
                    <a:pt x="10" y="182"/>
                    <a:pt x="9" y="183"/>
                  </a:cubicBezTo>
                  <a:cubicBezTo>
                    <a:pt x="10" y="181"/>
                    <a:pt x="11" y="179"/>
                    <a:pt x="12" y="177"/>
                  </a:cubicBezTo>
                  <a:close/>
                  <a:moveTo>
                    <a:pt x="13" y="179"/>
                  </a:moveTo>
                  <a:cubicBezTo>
                    <a:pt x="13" y="179"/>
                    <a:pt x="13" y="179"/>
                    <a:pt x="13" y="179"/>
                  </a:cubicBezTo>
                  <a:cubicBezTo>
                    <a:pt x="13" y="179"/>
                    <a:pt x="13" y="178"/>
                    <a:pt x="13" y="179"/>
                  </a:cubicBezTo>
                  <a:close/>
                  <a:moveTo>
                    <a:pt x="10" y="178"/>
                  </a:moveTo>
                  <a:cubicBezTo>
                    <a:pt x="10" y="178"/>
                    <a:pt x="10" y="178"/>
                    <a:pt x="10" y="178"/>
                  </a:cubicBezTo>
                  <a:cubicBezTo>
                    <a:pt x="10" y="178"/>
                    <a:pt x="10" y="178"/>
                    <a:pt x="10" y="179"/>
                  </a:cubicBezTo>
                  <a:cubicBezTo>
                    <a:pt x="10" y="178"/>
                    <a:pt x="10" y="178"/>
                    <a:pt x="10" y="178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3" y="179"/>
                    <a:pt x="13" y="179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2" y="179"/>
                    <a:pt x="12" y="180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81"/>
                    <a:pt x="12" y="181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181"/>
                    <a:pt x="12" y="180"/>
                    <a:pt x="12" y="180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5" y="178"/>
                  </a:moveTo>
                  <a:cubicBezTo>
                    <a:pt x="5" y="179"/>
                    <a:pt x="5" y="179"/>
                    <a:pt x="4" y="179"/>
                  </a:cubicBezTo>
                  <a:cubicBezTo>
                    <a:pt x="4" y="179"/>
                    <a:pt x="5" y="179"/>
                    <a:pt x="5" y="178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1"/>
                  </a:cubicBezTo>
                  <a:cubicBezTo>
                    <a:pt x="9" y="181"/>
                    <a:pt x="8" y="182"/>
                    <a:pt x="8" y="182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3"/>
                  </a:cubicBezTo>
                  <a:cubicBezTo>
                    <a:pt x="8" y="182"/>
                    <a:pt x="8" y="182"/>
                    <a:pt x="8" y="182"/>
                  </a:cubicBezTo>
                  <a:close/>
                  <a:moveTo>
                    <a:pt x="8" y="183"/>
                  </a:move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lose/>
                  <a:moveTo>
                    <a:pt x="10" y="185"/>
                  </a:moveTo>
                  <a:cubicBezTo>
                    <a:pt x="10" y="185"/>
                    <a:pt x="10" y="184"/>
                    <a:pt x="10" y="184"/>
                  </a:cubicBezTo>
                  <a:cubicBezTo>
                    <a:pt x="10" y="184"/>
                    <a:pt x="10" y="184"/>
                    <a:pt x="10" y="185"/>
                  </a:cubicBezTo>
                  <a:close/>
                  <a:moveTo>
                    <a:pt x="3" y="182"/>
                  </a:moveTo>
                  <a:cubicBezTo>
                    <a:pt x="3" y="182"/>
                    <a:pt x="3" y="181"/>
                    <a:pt x="3" y="181"/>
                  </a:cubicBezTo>
                  <a:cubicBezTo>
                    <a:pt x="3" y="182"/>
                    <a:pt x="3" y="182"/>
                    <a:pt x="3" y="182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4"/>
                    <a:pt x="7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7" y="184"/>
                    <a:pt x="8" y="184"/>
                    <a:pt x="8" y="184"/>
                  </a:cubicBezTo>
                  <a:cubicBezTo>
                    <a:pt x="8" y="184"/>
                    <a:pt x="8" y="184"/>
                    <a:pt x="8" y="184"/>
                  </a:cubicBezTo>
                  <a:close/>
                  <a:moveTo>
                    <a:pt x="10" y="185"/>
                  </a:moveTo>
                  <a:cubicBezTo>
                    <a:pt x="10" y="185"/>
                    <a:pt x="9" y="186"/>
                    <a:pt x="9" y="186"/>
                  </a:cubicBezTo>
                  <a:cubicBezTo>
                    <a:pt x="9" y="186"/>
                    <a:pt x="9" y="185"/>
                    <a:pt x="10" y="185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5"/>
                    <a:pt x="8" y="185"/>
                  </a:cubicBezTo>
                  <a:cubicBezTo>
                    <a:pt x="8" y="185"/>
                    <a:pt x="8" y="185"/>
                    <a:pt x="8" y="184"/>
                  </a:cubicBezTo>
                  <a:close/>
                  <a:moveTo>
                    <a:pt x="3" y="182"/>
                  </a:moveTo>
                  <a:cubicBezTo>
                    <a:pt x="3" y="183"/>
                    <a:pt x="3" y="183"/>
                    <a:pt x="3" y="183"/>
                  </a:cubicBezTo>
                  <a:cubicBezTo>
                    <a:pt x="3" y="183"/>
                    <a:pt x="3" y="183"/>
                    <a:pt x="3" y="182"/>
                  </a:cubicBezTo>
                  <a:close/>
                  <a:moveTo>
                    <a:pt x="5" y="184"/>
                  </a:moveTo>
                  <a:cubicBezTo>
                    <a:pt x="5" y="184"/>
                    <a:pt x="5" y="184"/>
                    <a:pt x="5" y="184"/>
                  </a:cubicBezTo>
                  <a:cubicBezTo>
                    <a:pt x="6" y="184"/>
                    <a:pt x="5" y="184"/>
                    <a:pt x="5" y="184"/>
                  </a:cubicBezTo>
                  <a:close/>
                  <a:moveTo>
                    <a:pt x="7" y="185"/>
                  </a:moveTo>
                  <a:cubicBezTo>
                    <a:pt x="7" y="185"/>
                    <a:pt x="7" y="185"/>
                    <a:pt x="7" y="186"/>
                  </a:cubicBezTo>
                  <a:cubicBezTo>
                    <a:pt x="6" y="185"/>
                    <a:pt x="7" y="185"/>
                    <a:pt x="7" y="185"/>
                  </a:cubicBezTo>
                  <a:close/>
                  <a:moveTo>
                    <a:pt x="9" y="187"/>
                  </a:moveTo>
                  <a:cubicBezTo>
                    <a:pt x="8" y="187"/>
                    <a:pt x="9" y="187"/>
                    <a:pt x="9" y="186"/>
                  </a:cubicBezTo>
                  <a:cubicBezTo>
                    <a:pt x="9" y="186"/>
                    <a:pt x="9" y="187"/>
                    <a:pt x="9" y="187"/>
                  </a:cubicBezTo>
                  <a:close/>
                  <a:moveTo>
                    <a:pt x="4" y="186"/>
                  </a:moveTo>
                  <a:cubicBezTo>
                    <a:pt x="4" y="185"/>
                    <a:pt x="5" y="185"/>
                    <a:pt x="5" y="185"/>
                  </a:cubicBezTo>
                  <a:cubicBezTo>
                    <a:pt x="5" y="185"/>
                    <a:pt x="4" y="185"/>
                    <a:pt x="4" y="186"/>
                  </a:cubicBezTo>
                  <a:close/>
                  <a:moveTo>
                    <a:pt x="2" y="184"/>
                  </a:moveTo>
                  <a:cubicBezTo>
                    <a:pt x="2" y="184"/>
                    <a:pt x="2" y="183"/>
                    <a:pt x="2" y="183"/>
                  </a:cubicBezTo>
                  <a:cubicBezTo>
                    <a:pt x="2" y="183"/>
                    <a:pt x="2" y="184"/>
                    <a:pt x="2" y="184"/>
                  </a:cubicBezTo>
                  <a:close/>
                  <a:moveTo>
                    <a:pt x="8" y="189"/>
                  </a:moveTo>
                  <a:cubicBezTo>
                    <a:pt x="7" y="189"/>
                    <a:pt x="8" y="188"/>
                    <a:pt x="8" y="188"/>
                  </a:cubicBezTo>
                  <a:cubicBezTo>
                    <a:pt x="8" y="188"/>
                    <a:pt x="8" y="188"/>
                    <a:pt x="7" y="188"/>
                  </a:cubicBezTo>
                  <a:cubicBezTo>
                    <a:pt x="8" y="188"/>
                    <a:pt x="8" y="188"/>
                    <a:pt x="8" y="188"/>
                  </a:cubicBezTo>
                  <a:cubicBezTo>
                    <a:pt x="8" y="188"/>
                    <a:pt x="8" y="187"/>
                    <a:pt x="9" y="187"/>
                  </a:cubicBezTo>
                  <a:cubicBezTo>
                    <a:pt x="8" y="188"/>
                    <a:pt x="8" y="188"/>
                    <a:pt x="8" y="189"/>
                  </a:cubicBezTo>
                  <a:close/>
                  <a:moveTo>
                    <a:pt x="1" y="185"/>
                  </a:moveTo>
                  <a:cubicBezTo>
                    <a:pt x="1" y="185"/>
                    <a:pt x="1" y="185"/>
                    <a:pt x="1" y="185"/>
                  </a:cubicBezTo>
                  <a:cubicBezTo>
                    <a:pt x="1" y="184"/>
                    <a:pt x="1" y="184"/>
                    <a:pt x="1" y="184"/>
                  </a:cubicBezTo>
                  <a:cubicBezTo>
                    <a:pt x="1" y="184"/>
                    <a:pt x="1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lose/>
                  <a:moveTo>
                    <a:pt x="6" y="187"/>
                  </a:move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lose/>
                  <a:moveTo>
                    <a:pt x="5" y="187"/>
                  </a:moveTo>
                  <a:cubicBezTo>
                    <a:pt x="5" y="187"/>
                    <a:pt x="6" y="187"/>
                    <a:pt x="6" y="187"/>
                  </a:cubicBezTo>
                  <a:cubicBezTo>
                    <a:pt x="6" y="187"/>
                    <a:pt x="6" y="187"/>
                    <a:pt x="5" y="187"/>
                  </a:cubicBezTo>
                  <a:close/>
                  <a:moveTo>
                    <a:pt x="1" y="186"/>
                  </a:moveTo>
                  <a:cubicBezTo>
                    <a:pt x="1" y="186"/>
                    <a:pt x="1" y="185"/>
                    <a:pt x="1" y="185"/>
                  </a:cubicBezTo>
                  <a:cubicBezTo>
                    <a:pt x="1" y="185"/>
                    <a:pt x="1" y="186"/>
                    <a:pt x="1" y="186"/>
                  </a:cubicBezTo>
                  <a:close/>
                  <a:moveTo>
                    <a:pt x="0" y="186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1" y="186"/>
                    <a:pt x="1" y="185"/>
                  </a:cubicBezTo>
                  <a:cubicBezTo>
                    <a:pt x="1" y="186"/>
                    <a:pt x="0" y="186"/>
                    <a:pt x="0" y="186"/>
                  </a:cubicBezTo>
                  <a:close/>
                  <a:moveTo>
                    <a:pt x="3" y="188"/>
                  </a:move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lose/>
                  <a:moveTo>
                    <a:pt x="0" y="187"/>
                  </a:moveTo>
                  <a:cubicBezTo>
                    <a:pt x="0" y="187"/>
                    <a:pt x="0" y="187"/>
                    <a:pt x="0" y="188"/>
                  </a:cubicBezTo>
                  <a:cubicBezTo>
                    <a:pt x="0" y="187"/>
                    <a:pt x="0" y="187"/>
                    <a:pt x="0" y="187"/>
                  </a:cubicBezTo>
                  <a:close/>
                  <a:moveTo>
                    <a:pt x="6" y="191"/>
                  </a:moveTo>
                  <a:cubicBezTo>
                    <a:pt x="6" y="190"/>
                    <a:pt x="6" y="190"/>
                    <a:pt x="6" y="190"/>
                  </a:cubicBezTo>
                  <a:cubicBezTo>
                    <a:pt x="7" y="190"/>
                    <a:pt x="6" y="191"/>
                    <a:pt x="6" y="190"/>
                  </a:cubicBezTo>
                  <a:cubicBezTo>
                    <a:pt x="7" y="191"/>
                    <a:pt x="6" y="191"/>
                    <a:pt x="6" y="191"/>
                  </a:cubicBezTo>
                  <a:close/>
                  <a:moveTo>
                    <a:pt x="4" y="192"/>
                  </a:moveTo>
                  <a:cubicBezTo>
                    <a:pt x="4" y="192"/>
                    <a:pt x="5" y="191"/>
                    <a:pt x="5" y="191"/>
                  </a:cubicBezTo>
                  <a:cubicBezTo>
                    <a:pt x="5" y="191"/>
                    <a:pt x="5" y="192"/>
                    <a:pt x="4" y="192"/>
                  </a:cubicBezTo>
                  <a:close/>
                  <a:moveTo>
                    <a:pt x="70" y="56"/>
                  </a:move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lose/>
                  <a:moveTo>
                    <a:pt x="94" y="24"/>
                  </a:moveTo>
                  <a:cubicBezTo>
                    <a:pt x="93" y="25"/>
                    <a:pt x="93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7"/>
                    <a:pt x="92" y="27"/>
                  </a:cubicBezTo>
                  <a:cubicBezTo>
                    <a:pt x="92" y="28"/>
                    <a:pt x="91" y="29"/>
                    <a:pt x="91" y="30"/>
                  </a:cubicBezTo>
                  <a:cubicBezTo>
                    <a:pt x="91" y="30"/>
                    <a:pt x="90" y="29"/>
                    <a:pt x="91" y="29"/>
                  </a:cubicBezTo>
                  <a:cubicBezTo>
                    <a:pt x="90" y="30"/>
                    <a:pt x="90" y="31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2"/>
                    <a:pt x="88" y="33"/>
                    <a:pt x="88" y="33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3"/>
                  </a:cubicBezTo>
                  <a:cubicBezTo>
                    <a:pt x="88" y="33"/>
                    <a:pt x="88" y="34"/>
                    <a:pt x="88" y="34"/>
                  </a:cubicBezTo>
                  <a:cubicBezTo>
                    <a:pt x="87" y="34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6" y="35"/>
                    <a:pt x="87" y="36"/>
                  </a:cubicBezTo>
                  <a:cubicBezTo>
                    <a:pt x="87" y="36"/>
                    <a:pt x="86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5"/>
                  </a:cubicBezTo>
                  <a:cubicBezTo>
                    <a:pt x="86" y="36"/>
                    <a:pt x="85" y="37"/>
                    <a:pt x="85" y="37"/>
                  </a:cubicBezTo>
                  <a:cubicBezTo>
                    <a:pt x="85" y="37"/>
                    <a:pt x="85" y="38"/>
                    <a:pt x="85" y="37"/>
                  </a:cubicBezTo>
                  <a:cubicBezTo>
                    <a:pt x="85" y="38"/>
                    <a:pt x="84" y="38"/>
                    <a:pt x="85" y="38"/>
                  </a:cubicBezTo>
                  <a:cubicBezTo>
                    <a:pt x="84" y="38"/>
                    <a:pt x="84" y="39"/>
                    <a:pt x="84" y="40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2" y="42"/>
                  </a:cubicBezTo>
                  <a:cubicBezTo>
                    <a:pt x="82" y="42"/>
                    <a:pt x="82" y="41"/>
                    <a:pt x="82" y="41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3"/>
                    <a:pt x="82" y="42"/>
                    <a:pt x="82" y="43"/>
                  </a:cubicBezTo>
                  <a:cubicBezTo>
                    <a:pt x="82" y="43"/>
                    <a:pt x="82" y="42"/>
                    <a:pt x="82" y="42"/>
                  </a:cubicBezTo>
                  <a:cubicBezTo>
                    <a:pt x="82" y="42"/>
                    <a:pt x="82" y="43"/>
                    <a:pt x="82" y="43"/>
                  </a:cubicBezTo>
                  <a:cubicBezTo>
                    <a:pt x="81" y="44"/>
                    <a:pt x="81" y="45"/>
                    <a:pt x="80" y="45"/>
                  </a:cubicBezTo>
                  <a:cubicBezTo>
                    <a:pt x="80" y="45"/>
                    <a:pt x="80" y="45"/>
                    <a:pt x="81" y="44"/>
                  </a:cubicBezTo>
                  <a:cubicBezTo>
                    <a:pt x="80" y="44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7"/>
                    <a:pt x="79" y="47"/>
                  </a:cubicBezTo>
                  <a:cubicBezTo>
                    <a:pt x="79" y="47"/>
                    <a:pt x="79" y="46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ubicBezTo>
                    <a:pt x="78" y="49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49"/>
                    <a:pt x="78" y="48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8" y="47"/>
                    <a:pt x="79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8" y="48"/>
                    <a:pt x="77" y="4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1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2"/>
                    <a:pt x="75" y="52"/>
                    <a:pt x="76" y="52"/>
                  </a:cubicBezTo>
                  <a:cubicBezTo>
                    <a:pt x="76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1"/>
                    <a:pt x="77" y="51"/>
                  </a:cubicBezTo>
                  <a:cubicBezTo>
                    <a:pt x="76" y="52"/>
                    <a:pt x="76" y="53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4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5"/>
                  </a:cubicBezTo>
                  <a:cubicBezTo>
                    <a:pt x="75" y="55"/>
                    <a:pt x="75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6"/>
                    <a:pt x="74" y="56"/>
                  </a:cubicBezTo>
                  <a:cubicBezTo>
                    <a:pt x="74" y="56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4" y="56"/>
                    <a:pt x="74" y="56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7"/>
                    <a:pt x="73" y="57"/>
                  </a:cubicBezTo>
                  <a:cubicBezTo>
                    <a:pt x="73" y="57"/>
                    <a:pt x="72" y="57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1"/>
                    <a:pt x="71" y="60"/>
                  </a:cubicBezTo>
                  <a:cubicBezTo>
                    <a:pt x="70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4"/>
                    <a:pt x="69" y="63"/>
                  </a:cubicBezTo>
                  <a:cubicBezTo>
                    <a:pt x="69" y="64"/>
                    <a:pt x="70" y="63"/>
                    <a:pt x="70" y="64"/>
                  </a:cubicBezTo>
                  <a:cubicBezTo>
                    <a:pt x="69" y="64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6"/>
                    <a:pt x="68" y="67"/>
                  </a:cubicBezTo>
                  <a:cubicBezTo>
                    <a:pt x="67" y="67"/>
                    <a:pt x="68" y="66"/>
                    <a:pt x="68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9" y="63"/>
                    <a:pt x="70" y="62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7"/>
                  </a:cubicBezTo>
                  <a:cubicBezTo>
                    <a:pt x="72" y="57"/>
                    <a:pt x="72" y="58"/>
                    <a:pt x="72" y="58"/>
                  </a:cubicBezTo>
                  <a:cubicBezTo>
                    <a:pt x="73" y="57"/>
                    <a:pt x="72" y="57"/>
                    <a:pt x="73" y="57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7"/>
                    <a:pt x="72" y="56"/>
                    <a:pt x="72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1" y="58"/>
                  </a:cubicBezTo>
                  <a:cubicBezTo>
                    <a:pt x="71" y="58"/>
                    <a:pt x="72" y="58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0" y="59"/>
                  </a:cubicBezTo>
                  <a:cubicBezTo>
                    <a:pt x="70" y="59"/>
                    <a:pt x="70" y="60"/>
                    <a:pt x="69" y="60"/>
                  </a:cubicBezTo>
                  <a:cubicBezTo>
                    <a:pt x="69" y="60"/>
                    <a:pt x="69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59"/>
                    <a:pt x="70" y="58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7"/>
                    <a:pt x="71" y="57"/>
                  </a:cubicBezTo>
                  <a:cubicBezTo>
                    <a:pt x="71" y="57"/>
                    <a:pt x="71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6"/>
                    <a:pt x="72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6"/>
                    <a:pt x="73" y="56"/>
                  </a:cubicBezTo>
                  <a:cubicBezTo>
                    <a:pt x="73" y="56"/>
                    <a:pt x="73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4" y="54"/>
                    <a:pt x="74" y="55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2"/>
                    <a:pt x="75" y="51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50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6" y="49"/>
                    <a:pt x="76" y="49"/>
                  </a:cubicBezTo>
                  <a:cubicBezTo>
                    <a:pt x="76" y="49"/>
                    <a:pt x="77" y="48"/>
                    <a:pt x="76" y="49"/>
                  </a:cubicBezTo>
                  <a:cubicBezTo>
                    <a:pt x="77" y="48"/>
                    <a:pt x="77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77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6"/>
                    <a:pt x="77" y="47"/>
                  </a:cubicBezTo>
                  <a:cubicBezTo>
                    <a:pt x="77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2"/>
                    <a:pt x="80" y="41"/>
                  </a:cubicBezTo>
                  <a:cubicBezTo>
                    <a:pt x="80" y="41"/>
                    <a:pt x="81" y="41"/>
                    <a:pt x="81" y="41"/>
                  </a:cubicBezTo>
                  <a:cubicBezTo>
                    <a:pt x="81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3"/>
                  </a:cubicBezTo>
                  <a:cubicBezTo>
                    <a:pt x="79" y="43"/>
                    <a:pt x="79" y="43"/>
                    <a:pt x="79" y="44"/>
                  </a:cubicBezTo>
                  <a:cubicBezTo>
                    <a:pt x="79" y="44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5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9"/>
                    <a:pt x="76" y="48"/>
                  </a:cubicBezTo>
                  <a:cubicBezTo>
                    <a:pt x="76" y="48"/>
                    <a:pt x="76" y="49"/>
                    <a:pt x="76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50"/>
                  </a:cubicBezTo>
                  <a:cubicBezTo>
                    <a:pt x="75" y="49"/>
                    <a:pt x="75" y="50"/>
                    <a:pt x="74" y="50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4" y="49"/>
                    <a:pt x="75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50"/>
                    <a:pt x="74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2" y="51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2" y="53"/>
                    <a:pt x="72" y="53"/>
                  </a:cubicBezTo>
                  <a:cubicBezTo>
                    <a:pt x="72" y="53"/>
                    <a:pt x="71" y="53"/>
                    <a:pt x="71" y="53"/>
                  </a:cubicBezTo>
                  <a:cubicBezTo>
                    <a:pt x="71" y="53"/>
                    <a:pt x="71" y="52"/>
                    <a:pt x="72" y="52"/>
                  </a:cubicBezTo>
                  <a:cubicBezTo>
                    <a:pt x="71" y="52"/>
                    <a:pt x="71" y="53"/>
                    <a:pt x="71" y="53"/>
                  </a:cubicBezTo>
                  <a:cubicBezTo>
                    <a:pt x="71" y="53"/>
                    <a:pt x="71" y="53"/>
                    <a:pt x="71" y="54"/>
                  </a:cubicBezTo>
                  <a:cubicBezTo>
                    <a:pt x="71" y="54"/>
                    <a:pt x="71" y="53"/>
                    <a:pt x="71" y="53"/>
                  </a:cubicBezTo>
                  <a:cubicBezTo>
                    <a:pt x="71" y="53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5"/>
                  </a:cubicBezTo>
                  <a:cubicBezTo>
                    <a:pt x="70" y="54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2" y="55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7"/>
                    <a:pt x="70" y="57"/>
                  </a:cubicBezTo>
                  <a:cubicBezTo>
                    <a:pt x="70" y="57"/>
                    <a:pt x="70" y="58"/>
                    <a:pt x="70" y="57"/>
                  </a:cubicBezTo>
                  <a:cubicBezTo>
                    <a:pt x="70" y="58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60"/>
                  </a:cubicBezTo>
                  <a:cubicBezTo>
                    <a:pt x="69" y="60"/>
                    <a:pt x="69" y="59"/>
                    <a:pt x="69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2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60"/>
                    <a:pt x="68" y="59"/>
                  </a:cubicBezTo>
                  <a:cubicBezTo>
                    <a:pt x="68" y="59"/>
                    <a:pt x="68" y="59"/>
                    <a:pt x="69" y="59"/>
                  </a:cubicBezTo>
                  <a:cubicBezTo>
                    <a:pt x="69" y="59"/>
                    <a:pt x="69" y="58"/>
                    <a:pt x="69" y="59"/>
                  </a:cubicBezTo>
                  <a:cubicBezTo>
                    <a:pt x="68" y="59"/>
                    <a:pt x="69" y="59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8" y="58"/>
                  </a:cubicBezTo>
                  <a:cubicBezTo>
                    <a:pt x="69" y="58"/>
                    <a:pt x="69" y="58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70" y="57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1" y="55"/>
                    <a:pt x="71" y="55"/>
                  </a:cubicBezTo>
                  <a:cubicBezTo>
                    <a:pt x="71" y="55"/>
                    <a:pt x="71" y="55"/>
                    <a:pt x="70" y="55"/>
                  </a:cubicBezTo>
                  <a:cubicBezTo>
                    <a:pt x="70" y="55"/>
                    <a:pt x="70" y="55"/>
                    <a:pt x="70" y="56"/>
                  </a:cubicBezTo>
                  <a:cubicBezTo>
                    <a:pt x="70" y="55"/>
                    <a:pt x="70" y="56"/>
                    <a:pt x="70" y="56"/>
                  </a:cubicBezTo>
                  <a:cubicBezTo>
                    <a:pt x="70" y="56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5"/>
                    <a:pt x="69" y="55"/>
                  </a:cubicBezTo>
                  <a:cubicBezTo>
                    <a:pt x="70" y="55"/>
                    <a:pt x="69" y="55"/>
                    <a:pt x="69" y="55"/>
                  </a:cubicBezTo>
                  <a:cubicBezTo>
                    <a:pt x="69" y="55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3"/>
                    <a:pt x="70" y="53"/>
                  </a:cubicBezTo>
                  <a:cubicBezTo>
                    <a:pt x="70" y="53"/>
                    <a:pt x="71" y="53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1"/>
                    <a:pt x="71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1" y="52"/>
                    <a:pt x="71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2" y="50"/>
                    <a:pt x="72" y="50"/>
                    <a:pt x="72" y="51"/>
                  </a:cubicBezTo>
                  <a:cubicBezTo>
                    <a:pt x="72" y="51"/>
                    <a:pt x="72" y="51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6"/>
                    <a:pt x="74" y="46"/>
                    <a:pt x="74" y="45"/>
                  </a:cubicBezTo>
                  <a:cubicBezTo>
                    <a:pt x="75" y="46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4" y="43"/>
                    <a:pt x="75" y="43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3"/>
                    <a:pt x="74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2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1"/>
                    <a:pt x="76" y="40"/>
                  </a:cubicBezTo>
                  <a:cubicBezTo>
                    <a:pt x="76" y="40"/>
                    <a:pt x="76" y="41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1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0"/>
                    <a:pt x="76" y="40"/>
                  </a:cubicBezTo>
                  <a:cubicBezTo>
                    <a:pt x="77" y="40"/>
                    <a:pt x="76" y="40"/>
                    <a:pt x="77" y="40"/>
                  </a:cubicBezTo>
                  <a:cubicBezTo>
                    <a:pt x="76" y="39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5" y="41"/>
                    <a:pt x="76" y="41"/>
                    <a:pt x="76" y="40"/>
                  </a:cubicBezTo>
                  <a:cubicBezTo>
                    <a:pt x="75" y="40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4" y="41"/>
                    <a:pt x="74" y="41"/>
                  </a:cubicBezTo>
                  <a:cubicBezTo>
                    <a:pt x="75" y="41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0"/>
                  </a:cubicBezTo>
                  <a:cubicBezTo>
                    <a:pt x="74" y="40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ubicBezTo>
                    <a:pt x="73" y="44"/>
                    <a:pt x="74" y="43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ubicBezTo>
                    <a:pt x="71" y="48"/>
                    <a:pt x="71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ubicBezTo>
                    <a:pt x="72" y="47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1" y="49"/>
                    <a:pt x="71" y="49"/>
                    <a:pt x="71" y="48"/>
                  </a:cubicBezTo>
                  <a:cubicBezTo>
                    <a:pt x="71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50"/>
                    <a:pt x="70" y="50"/>
                    <a:pt x="69" y="50"/>
                  </a:cubicBezTo>
                  <a:cubicBezTo>
                    <a:pt x="69" y="50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2"/>
                    <a:pt x="68" y="52"/>
                  </a:cubicBezTo>
                  <a:cubicBezTo>
                    <a:pt x="68" y="51"/>
                    <a:pt x="69" y="51"/>
                    <a:pt x="68" y="51"/>
                  </a:cubicBezTo>
                  <a:cubicBezTo>
                    <a:pt x="69" y="50"/>
                    <a:pt x="70" y="48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2"/>
                    <a:pt x="73" y="42"/>
                  </a:cubicBezTo>
                  <a:cubicBezTo>
                    <a:pt x="73" y="42"/>
                    <a:pt x="73" y="42"/>
                    <a:pt x="73" y="43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3" y="42"/>
                    <a:pt x="72" y="42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3"/>
                    <a:pt x="71" y="43"/>
                  </a:cubicBezTo>
                  <a:cubicBezTo>
                    <a:pt x="71" y="43"/>
                    <a:pt x="72" y="43"/>
                    <a:pt x="71" y="43"/>
                  </a:cubicBezTo>
                  <a:cubicBezTo>
                    <a:pt x="71" y="42"/>
                    <a:pt x="72" y="42"/>
                    <a:pt x="72" y="41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3" y="40"/>
                    <a:pt x="72" y="40"/>
                  </a:cubicBezTo>
                  <a:cubicBezTo>
                    <a:pt x="73" y="39"/>
                    <a:pt x="73" y="40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2" y="38"/>
                    <a:pt x="72" y="39"/>
                    <a:pt x="72" y="39"/>
                  </a:cubicBezTo>
                  <a:cubicBezTo>
                    <a:pt x="72" y="39"/>
                    <a:pt x="72" y="38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9"/>
                    <a:pt x="73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3" y="37"/>
                    <a:pt x="72" y="37"/>
                    <a:pt x="72" y="38"/>
                  </a:cubicBezTo>
                  <a:cubicBezTo>
                    <a:pt x="73" y="38"/>
                    <a:pt x="73" y="37"/>
                    <a:pt x="73" y="37"/>
                  </a:cubicBezTo>
                  <a:cubicBezTo>
                    <a:pt x="73" y="37"/>
                    <a:pt x="73" y="37"/>
                    <a:pt x="73" y="36"/>
                  </a:cubicBezTo>
                  <a:cubicBezTo>
                    <a:pt x="73" y="36"/>
                    <a:pt x="73" y="37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5"/>
                    <a:pt x="73" y="35"/>
                  </a:cubicBezTo>
                  <a:cubicBezTo>
                    <a:pt x="74" y="35"/>
                    <a:pt x="73" y="35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5"/>
                  </a:cubicBezTo>
                  <a:cubicBezTo>
                    <a:pt x="74" y="35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4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4" y="33"/>
                    <a:pt x="74" y="33"/>
                    <a:pt x="75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0"/>
                  </a:cubicBezTo>
                  <a:cubicBezTo>
                    <a:pt x="75" y="30"/>
                    <a:pt x="74" y="30"/>
                    <a:pt x="74" y="30"/>
                  </a:cubicBezTo>
                  <a:cubicBezTo>
                    <a:pt x="74" y="30"/>
                    <a:pt x="74" y="31"/>
                    <a:pt x="74" y="31"/>
                  </a:cubicBezTo>
                  <a:cubicBezTo>
                    <a:pt x="74" y="31"/>
                    <a:pt x="74" y="31"/>
                    <a:pt x="75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2"/>
                    <a:pt x="74" y="31"/>
                    <a:pt x="74" y="31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3" y="33"/>
                  </a:cubicBezTo>
                  <a:cubicBezTo>
                    <a:pt x="73" y="33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3" y="32"/>
                    <a:pt x="73" y="31"/>
                    <a:pt x="73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0"/>
                    <a:pt x="74" y="30"/>
                    <a:pt x="74" y="29"/>
                  </a:cubicBezTo>
                  <a:cubicBezTo>
                    <a:pt x="74" y="29"/>
                    <a:pt x="74" y="30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5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7"/>
                  </a:cubicBezTo>
                  <a:cubicBezTo>
                    <a:pt x="75" y="27"/>
                    <a:pt x="75" y="28"/>
                    <a:pt x="75" y="28"/>
                  </a:cubicBezTo>
                  <a:cubicBezTo>
                    <a:pt x="75" y="28"/>
                    <a:pt x="75" y="27"/>
                    <a:pt x="75" y="27"/>
                  </a:cubicBezTo>
                  <a:cubicBezTo>
                    <a:pt x="75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6" y="24"/>
                  </a:cubicBezTo>
                  <a:cubicBezTo>
                    <a:pt x="75" y="24"/>
                    <a:pt x="75" y="25"/>
                    <a:pt x="75" y="25"/>
                  </a:cubicBezTo>
                  <a:cubicBezTo>
                    <a:pt x="75" y="25"/>
                    <a:pt x="75" y="24"/>
                    <a:pt x="75" y="24"/>
                  </a:cubicBezTo>
                  <a:cubicBezTo>
                    <a:pt x="75" y="24"/>
                    <a:pt x="75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3"/>
                  </a:cubicBezTo>
                  <a:cubicBezTo>
                    <a:pt x="77" y="24"/>
                    <a:pt x="76" y="22"/>
                    <a:pt x="77" y="22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9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7"/>
                    <a:pt x="81" y="17"/>
                  </a:cubicBezTo>
                  <a:cubicBezTo>
                    <a:pt x="81" y="18"/>
                    <a:pt x="80" y="18"/>
                    <a:pt x="80" y="18"/>
                  </a:cubicBezTo>
                  <a:cubicBezTo>
                    <a:pt x="80" y="18"/>
                    <a:pt x="80" y="19"/>
                    <a:pt x="80" y="1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9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80" y="18"/>
                    <a:pt x="79" y="18"/>
                    <a:pt x="80" y="18"/>
                  </a:cubicBezTo>
                  <a:cubicBezTo>
                    <a:pt x="80" y="18"/>
                    <a:pt x="80" y="17"/>
                    <a:pt x="80" y="17"/>
                  </a:cubicBezTo>
                  <a:cubicBezTo>
                    <a:pt x="80" y="17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5"/>
                    <a:pt x="81" y="15"/>
                  </a:cubicBezTo>
                  <a:cubicBezTo>
                    <a:pt x="82" y="14"/>
                    <a:pt x="82" y="13"/>
                    <a:pt x="83" y="14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2" y="13"/>
                    <a:pt x="82" y="13"/>
                  </a:cubicBezTo>
                  <a:cubicBezTo>
                    <a:pt x="82" y="13"/>
                    <a:pt x="83" y="13"/>
                    <a:pt x="83" y="12"/>
                  </a:cubicBezTo>
                  <a:cubicBezTo>
                    <a:pt x="83" y="12"/>
                    <a:pt x="83" y="12"/>
                    <a:pt x="82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4" y="12"/>
                    <a:pt x="84" y="11"/>
                  </a:cubicBezTo>
                  <a:cubicBezTo>
                    <a:pt x="84" y="11"/>
                    <a:pt x="84" y="11"/>
                    <a:pt x="83" y="11"/>
                  </a:cubicBezTo>
                  <a:cubicBezTo>
                    <a:pt x="83" y="11"/>
                    <a:pt x="83" y="11"/>
                    <a:pt x="8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1"/>
                    <a:pt x="83" y="10"/>
                    <a:pt x="84" y="11"/>
                  </a:cubicBezTo>
                  <a:cubicBezTo>
                    <a:pt x="84" y="10"/>
                    <a:pt x="84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9"/>
                    <a:pt x="84" y="10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8"/>
                    <a:pt x="85" y="8"/>
                  </a:cubicBezTo>
                  <a:cubicBezTo>
                    <a:pt x="85" y="8"/>
                    <a:pt x="86" y="7"/>
                    <a:pt x="86" y="7"/>
                  </a:cubicBezTo>
                  <a:cubicBezTo>
                    <a:pt x="86" y="7"/>
                    <a:pt x="86" y="6"/>
                    <a:pt x="86" y="6"/>
                  </a:cubicBezTo>
                  <a:cubicBezTo>
                    <a:pt x="87" y="6"/>
                    <a:pt x="87" y="6"/>
                    <a:pt x="87" y="5"/>
                  </a:cubicBezTo>
                  <a:cubicBezTo>
                    <a:pt x="88" y="5"/>
                    <a:pt x="88" y="4"/>
                    <a:pt x="89" y="4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91" y="2"/>
                    <a:pt x="92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0"/>
                    <a:pt x="95" y="0"/>
                    <a:pt x="95" y="1"/>
                  </a:cubicBezTo>
                  <a:cubicBezTo>
                    <a:pt x="96" y="1"/>
                    <a:pt x="97" y="1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3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9" y="5"/>
                    <a:pt x="98" y="7"/>
                    <a:pt x="99" y="8"/>
                  </a:cubicBezTo>
                  <a:cubicBezTo>
                    <a:pt x="99" y="8"/>
                    <a:pt x="99" y="7"/>
                    <a:pt x="99" y="7"/>
                  </a:cubicBezTo>
                  <a:cubicBezTo>
                    <a:pt x="99" y="7"/>
                    <a:pt x="99" y="8"/>
                    <a:pt x="99" y="8"/>
                  </a:cubicBezTo>
                  <a:cubicBezTo>
                    <a:pt x="99" y="8"/>
                    <a:pt x="99" y="9"/>
                    <a:pt x="99" y="9"/>
                  </a:cubicBezTo>
                  <a:cubicBezTo>
                    <a:pt x="98" y="11"/>
                    <a:pt x="99" y="12"/>
                    <a:pt x="98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5"/>
                    <a:pt x="97" y="15"/>
                    <a:pt x="97" y="16"/>
                  </a:cubicBezTo>
                  <a:cubicBezTo>
                    <a:pt x="97" y="17"/>
                    <a:pt x="97" y="17"/>
                    <a:pt x="96" y="18"/>
                  </a:cubicBezTo>
                  <a:cubicBezTo>
                    <a:pt x="96" y="18"/>
                    <a:pt x="96" y="19"/>
                    <a:pt x="96" y="19"/>
                  </a:cubicBezTo>
                  <a:cubicBezTo>
                    <a:pt x="96" y="19"/>
                    <a:pt x="96" y="19"/>
                    <a:pt x="95" y="20"/>
                  </a:cubicBezTo>
                  <a:cubicBezTo>
                    <a:pt x="95" y="21"/>
                    <a:pt x="95" y="22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75" y="27"/>
                  </a:move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4" y="32"/>
                  </a:move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2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75" y="29"/>
                  </a:moveTo>
                  <a:cubicBezTo>
                    <a:pt x="76" y="29"/>
                    <a:pt x="75" y="29"/>
                    <a:pt x="75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29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1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0"/>
                    <a:pt x="75" y="30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9"/>
                    <a:pt x="76" y="29"/>
                  </a:cubicBezTo>
                  <a:cubicBezTo>
                    <a:pt x="76" y="29"/>
                    <a:pt x="76" y="28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1"/>
                  </a:move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3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3"/>
                  </a:cubicBezTo>
                  <a:close/>
                  <a:moveTo>
                    <a:pt x="75" y="34"/>
                  </a:moveTo>
                  <a:cubicBezTo>
                    <a:pt x="75" y="33"/>
                    <a:pt x="74" y="33"/>
                    <a:pt x="74" y="34"/>
                  </a:cubicBezTo>
                  <a:cubicBezTo>
                    <a:pt x="74" y="34"/>
                    <a:pt x="74" y="34"/>
                    <a:pt x="75" y="34"/>
                  </a:cubicBezTo>
                  <a:close/>
                  <a:moveTo>
                    <a:pt x="74" y="35"/>
                  </a:moveTo>
                  <a:cubicBezTo>
                    <a:pt x="74" y="35"/>
                    <a:pt x="75" y="34"/>
                    <a:pt x="74" y="34"/>
                  </a:cubicBezTo>
                  <a:cubicBezTo>
                    <a:pt x="74" y="34"/>
                    <a:pt x="74" y="34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lose/>
                  <a:moveTo>
                    <a:pt x="73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lose/>
                  <a:moveTo>
                    <a:pt x="75" y="35"/>
                  </a:move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lose/>
                  <a:moveTo>
                    <a:pt x="75" y="35"/>
                  </a:moveTo>
                  <a:cubicBezTo>
                    <a:pt x="75" y="35"/>
                    <a:pt x="74" y="35"/>
                    <a:pt x="74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4" y="35"/>
                    <a:pt x="75" y="35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6"/>
                    <a:pt x="74" y="36"/>
                  </a:cubicBezTo>
                  <a:close/>
                  <a:moveTo>
                    <a:pt x="74" y="38"/>
                  </a:moveTo>
                  <a:cubicBezTo>
                    <a:pt x="74" y="38"/>
                    <a:pt x="74" y="38"/>
                    <a:pt x="74" y="37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1"/>
                  </a:cubicBezTo>
                  <a:close/>
                  <a:moveTo>
                    <a:pt x="73" y="41"/>
                  </a:moveTo>
                  <a:cubicBezTo>
                    <a:pt x="74" y="41"/>
                    <a:pt x="73" y="41"/>
                    <a:pt x="74" y="40"/>
                  </a:cubicBezTo>
                  <a:cubicBezTo>
                    <a:pt x="73" y="40"/>
                    <a:pt x="73" y="40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4"/>
                    <a:pt x="72" y="44"/>
                  </a:cubicBezTo>
                  <a:cubicBezTo>
                    <a:pt x="72" y="44"/>
                    <a:pt x="73" y="44"/>
                    <a:pt x="73" y="44"/>
                  </a:cubicBezTo>
                  <a:close/>
                  <a:moveTo>
                    <a:pt x="72" y="45"/>
                  </a:moveTo>
                  <a:cubicBezTo>
                    <a:pt x="72" y="45"/>
                    <a:pt x="73" y="44"/>
                    <a:pt x="72" y="44"/>
                  </a:cubicBezTo>
                  <a:cubicBezTo>
                    <a:pt x="72" y="44"/>
                    <a:pt x="72" y="45"/>
                    <a:pt x="72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3" y="44"/>
                  </a:moveTo>
                  <a:cubicBezTo>
                    <a:pt x="73" y="43"/>
                    <a:pt x="73" y="44"/>
                    <a:pt x="73" y="43"/>
                  </a:cubicBezTo>
                  <a:cubicBezTo>
                    <a:pt x="73" y="43"/>
                    <a:pt x="73" y="43"/>
                    <a:pt x="73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3" y="43"/>
                    <a:pt x="73" y="43"/>
                  </a:cubicBezTo>
                  <a:cubicBezTo>
                    <a:pt x="73" y="43"/>
                    <a:pt x="73" y="44"/>
                    <a:pt x="72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lose/>
                  <a:moveTo>
                    <a:pt x="75" y="38"/>
                  </a:move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5" y="38"/>
                    <a:pt x="75" y="38"/>
                  </a:cubicBezTo>
                  <a:close/>
                  <a:moveTo>
                    <a:pt x="82" y="27"/>
                  </a:moveTo>
                  <a:cubicBezTo>
                    <a:pt x="82" y="27"/>
                    <a:pt x="81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77" y="38"/>
                  </a:move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7" y="37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8" y="37"/>
                    <a:pt x="78" y="37"/>
                  </a:cubicBezTo>
                  <a:cubicBezTo>
                    <a:pt x="77" y="37"/>
                    <a:pt x="78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lose/>
                  <a:moveTo>
                    <a:pt x="77" y="38"/>
                  </a:moveTo>
                  <a:cubicBezTo>
                    <a:pt x="76" y="38"/>
                    <a:pt x="76" y="38"/>
                    <a:pt x="76" y="39"/>
                  </a:cubicBezTo>
                  <a:cubicBezTo>
                    <a:pt x="76" y="39"/>
                    <a:pt x="77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lose/>
                  <a:moveTo>
                    <a:pt x="77" y="35"/>
                  </a:moveTo>
                  <a:cubicBezTo>
                    <a:pt x="78" y="35"/>
                    <a:pt x="77" y="36"/>
                    <a:pt x="78" y="36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5"/>
                    <a:pt x="77" y="35"/>
                  </a:cubicBezTo>
                  <a:close/>
                  <a:moveTo>
                    <a:pt x="76" y="40"/>
                  </a:moveTo>
                  <a:cubicBezTo>
                    <a:pt x="76" y="40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5" y="39"/>
                    <a:pt x="76" y="39"/>
                    <a:pt x="76" y="39"/>
                  </a:cubicBezTo>
                  <a:cubicBezTo>
                    <a:pt x="75" y="39"/>
                    <a:pt x="76" y="39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39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7" y="39"/>
                    <a:pt x="76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9"/>
                    <a:pt x="77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8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39"/>
                    <a:pt x="77" y="39"/>
                    <a:pt x="78" y="38"/>
                  </a:cubicBezTo>
                  <a:close/>
                  <a:moveTo>
                    <a:pt x="79" y="36"/>
                  </a:move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lose/>
                  <a:moveTo>
                    <a:pt x="76" y="41"/>
                  </a:move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7" y="40"/>
                    <a:pt x="76" y="41"/>
                  </a:cubicBezTo>
                  <a:close/>
                  <a:moveTo>
                    <a:pt x="76" y="43"/>
                  </a:moveTo>
                  <a:cubicBezTo>
                    <a:pt x="76" y="43"/>
                    <a:pt x="75" y="43"/>
                    <a:pt x="75" y="43"/>
                  </a:cubicBezTo>
                  <a:cubicBezTo>
                    <a:pt x="76" y="43"/>
                    <a:pt x="75" y="43"/>
                    <a:pt x="75" y="43"/>
                  </a:cubicBezTo>
                  <a:cubicBezTo>
                    <a:pt x="75" y="43"/>
                    <a:pt x="75" y="43"/>
                    <a:pt x="76" y="43"/>
                  </a:cubicBezTo>
                  <a:close/>
                  <a:moveTo>
                    <a:pt x="75" y="44"/>
                  </a:move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8" y="60"/>
                  </a:moveTo>
                  <a:cubicBezTo>
                    <a:pt x="68" y="60"/>
                    <a:pt x="69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lose/>
                  <a:moveTo>
                    <a:pt x="70" y="57"/>
                  </a:moveTo>
                  <a:cubicBezTo>
                    <a:pt x="70" y="56"/>
                    <a:pt x="71" y="56"/>
                    <a:pt x="70" y="56"/>
                  </a:cubicBezTo>
                  <a:cubicBezTo>
                    <a:pt x="70" y="56"/>
                    <a:pt x="70" y="57"/>
                    <a:pt x="70" y="57"/>
                  </a:cubicBezTo>
                  <a:close/>
                  <a:moveTo>
                    <a:pt x="71" y="54"/>
                  </a:moveTo>
                  <a:cubicBezTo>
                    <a:pt x="70" y="54"/>
                    <a:pt x="71" y="53"/>
                    <a:pt x="70" y="53"/>
                  </a:cubicBezTo>
                  <a:cubicBezTo>
                    <a:pt x="71" y="54"/>
                    <a:pt x="70" y="54"/>
                    <a:pt x="70" y="54"/>
                  </a:cubicBezTo>
                  <a:cubicBezTo>
                    <a:pt x="70" y="54"/>
                    <a:pt x="70" y="54"/>
                    <a:pt x="71" y="5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4" y="47"/>
                  </a:moveTo>
                  <a:cubicBezTo>
                    <a:pt x="74" y="47"/>
                    <a:pt x="73" y="48"/>
                    <a:pt x="73" y="48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50"/>
                    <a:pt x="72" y="50"/>
                  </a:cubicBezTo>
                  <a:cubicBezTo>
                    <a:pt x="73" y="50"/>
                    <a:pt x="73" y="49"/>
                    <a:pt x="73" y="49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3" y="49"/>
                    <a:pt x="74" y="49"/>
                  </a:cubicBezTo>
                  <a:cubicBezTo>
                    <a:pt x="74" y="49"/>
                    <a:pt x="74" y="48"/>
                    <a:pt x="74" y="48"/>
                  </a:cubicBezTo>
                  <a:cubicBezTo>
                    <a:pt x="74" y="48"/>
                    <a:pt x="74" y="48"/>
                    <a:pt x="74" y="49"/>
                  </a:cubicBezTo>
                  <a:cubicBezTo>
                    <a:pt x="73" y="48"/>
                    <a:pt x="73" y="49"/>
                    <a:pt x="73" y="48"/>
                  </a:cubicBez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6" y="45"/>
                  </a:move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5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82" y="38"/>
                  </a:moveTo>
                  <a:cubicBezTo>
                    <a:pt x="81" y="38"/>
                    <a:pt x="82" y="38"/>
                    <a:pt x="82" y="38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80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lose/>
                  <a:moveTo>
                    <a:pt x="81" y="39"/>
                  </a:move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lose/>
                  <a:moveTo>
                    <a:pt x="80" y="40"/>
                  </a:moveTo>
                  <a:cubicBezTo>
                    <a:pt x="80" y="40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lose/>
                  <a:moveTo>
                    <a:pt x="80" y="40"/>
                  </a:moveTo>
                  <a:cubicBezTo>
                    <a:pt x="80" y="40"/>
                    <a:pt x="80" y="41"/>
                    <a:pt x="80" y="41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7" y="45"/>
                    <a:pt x="78" y="45"/>
                  </a:cubicBezTo>
                  <a:close/>
                  <a:moveTo>
                    <a:pt x="76" y="47"/>
                  </a:moveTo>
                  <a:cubicBezTo>
                    <a:pt x="77" y="47"/>
                    <a:pt x="77" y="46"/>
                    <a:pt x="77" y="46"/>
                  </a:cubicBezTo>
                  <a:cubicBezTo>
                    <a:pt x="77" y="46"/>
                    <a:pt x="77" y="47"/>
                    <a:pt x="76" y="47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6" y="48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80" y="41"/>
                  </a:moveTo>
                  <a:cubicBezTo>
                    <a:pt x="80" y="41"/>
                    <a:pt x="79" y="42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79" y="41"/>
                  </a:cubicBezTo>
                  <a:cubicBezTo>
                    <a:pt x="79" y="41"/>
                    <a:pt x="80" y="41"/>
                    <a:pt x="80" y="41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82" y="37"/>
                  </a:move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lose/>
                  <a:moveTo>
                    <a:pt x="82" y="38"/>
                  </a:move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1" y="40"/>
                  </a:move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lose/>
                  <a:moveTo>
                    <a:pt x="71" y="58"/>
                  </a:moveTo>
                  <a:cubicBezTo>
                    <a:pt x="71" y="58"/>
                    <a:pt x="72" y="57"/>
                    <a:pt x="72" y="57"/>
                  </a:cubicBezTo>
                  <a:cubicBezTo>
                    <a:pt x="72" y="57"/>
                    <a:pt x="71" y="57"/>
                    <a:pt x="71" y="57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lose/>
                  <a:moveTo>
                    <a:pt x="75" y="53"/>
                  </a:moveTo>
                  <a:cubicBezTo>
                    <a:pt x="74" y="53"/>
                    <a:pt x="74" y="53"/>
                    <a:pt x="74" y="53"/>
                  </a:cubicBezTo>
                  <a:cubicBezTo>
                    <a:pt x="75" y="53"/>
                    <a:pt x="75" y="53"/>
                    <a:pt x="75" y="53"/>
                  </a:cubicBezTo>
                  <a:close/>
                  <a:moveTo>
                    <a:pt x="74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lose/>
                  <a:moveTo>
                    <a:pt x="75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3"/>
                    <a:pt x="75" y="53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4"/>
                    <a:pt x="75" y="53"/>
                  </a:cubicBezTo>
                  <a:cubicBezTo>
                    <a:pt x="75" y="53"/>
                    <a:pt x="75" y="53"/>
                    <a:pt x="75" y="54"/>
                  </a:cubicBezTo>
                  <a:close/>
                  <a:moveTo>
                    <a:pt x="75" y="52"/>
                  </a:moveTo>
                  <a:cubicBezTo>
                    <a:pt x="75" y="52"/>
                    <a:pt x="75" y="52"/>
                    <a:pt x="75" y="5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80" y="43"/>
                  </a:move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lose/>
                  <a:moveTo>
                    <a:pt x="80" y="44"/>
                  </a:moveTo>
                  <a:cubicBezTo>
                    <a:pt x="80" y="44"/>
                    <a:pt x="79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3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7"/>
                  </a:cubicBezTo>
                  <a:cubicBezTo>
                    <a:pt x="78" y="46"/>
                    <a:pt x="79" y="46"/>
                    <a:pt x="78" y="46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5"/>
                    <a:pt x="79" y="45"/>
                  </a:cubicBezTo>
                  <a:cubicBezTo>
                    <a:pt x="79" y="45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lose/>
                  <a:moveTo>
                    <a:pt x="81" y="42"/>
                  </a:move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1"/>
                  </a:cubicBezTo>
                  <a:cubicBezTo>
                    <a:pt x="81" y="41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2"/>
                    <a:pt x="81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1" y="42"/>
                    <a:pt x="80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0" y="43"/>
                  </a:cubicBezTo>
                  <a:cubicBezTo>
                    <a:pt x="80" y="43"/>
                    <a:pt x="80" y="43"/>
                    <a:pt x="81" y="43"/>
                  </a:cubicBezTo>
                  <a:cubicBezTo>
                    <a:pt x="81" y="43"/>
                    <a:pt x="81" y="42"/>
                    <a:pt x="81" y="42"/>
                  </a:cubicBezTo>
                  <a:close/>
                  <a:moveTo>
                    <a:pt x="80" y="45"/>
                  </a:moveTo>
                  <a:cubicBezTo>
                    <a:pt x="79" y="45"/>
                    <a:pt x="80" y="45"/>
                    <a:pt x="79" y="45"/>
                  </a:cubicBezTo>
                  <a:cubicBezTo>
                    <a:pt x="80" y="46"/>
                    <a:pt x="80" y="45"/>
                    <a:pt x="80" y="45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0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83" y="39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39"/>
                    <a:pt x="83" y="39"/>
                  </a:cubicBezTo>
                  <a:close/>
                  <a:moveTo>
                    <a:pt x="87" y="34"/>
                  </a:moveTo>
                  <a:cubicBezTo>
                    <a:pt x="87" y="34"/>
                    <a:pt x="88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7" y="34"/>
                    <a:pt x="87" y="35"/>
                    <a:pt x="87" y="34"/>
                  </a:cubicBezTo>
                  <a:close/>
                  <a:moveTo>
                    <a:pt x="89" y="32"/>
                  </a:move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8" y="32"/>
                    <a:pt x="88" y="31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72" y="41"/>
                  </a:moveTo>
                  <a:cubicBezTo>
                    <a:pt x="72" y="41"/>
                    <a:pt x="72" y="41"/>
                    <a:pt x="72" y="42"/>
                  </a:cubicBezTo>
                  <a:cubicBezTo>
                    <a:pt x="72" y="41"/>
                    <a:pt x="72" y="42"/>
                    <a:pt x="72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1"/>
                    <a:pt x="72" y="41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7"/>
                    <a:pt x="77" y="48"/>
                    <a:pt x="77" y="48"/>
                  </a:cubicBezTo>
                  <a:cubicBezTo>
                    <a:pt x="77" y="48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lose/>
                  <a:moveTo>
                    <a:pt x="99" y="4"/>
                  </a:moveTo>
                  <a:cubicBezTo>
                    <a:pt x="99" y="4"/>
                    <a:pt x="99" y="4"/>
                    <a:pt x="98" y="4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  <a:moveTo>
                    <a:pt x="70" y="37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69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71" y="42"/>
                  </a:move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lose/>
                  <a:moveTo>
                    <a:pt x="71" y="44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0" y="45"/>
                    <a:pt x="70" y="46"/>
                    <a:pt x="70" y="46"/>
                  </a:cubicBezTo>
                  <a:cubicBezTo>
                    <a:pt x="69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4"/>
                    <a:pt x="70" y="44"/>
                  </a:cubicBezTo>
                  <a:cubicBezTo>
                    <a:pt x="71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0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70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ubicBezTo>
                    <a:pt x="70" y="46"/>
                    <a:pt x="70" y="46"/>
                    <a:pt x="70" y="47"/>
                  </a:cubicBezTo>
                  <a:cubicBezTo>
                    <a:pt x="70" y="47"/>
                    <a:pt x="70" y="46"/>
                    <a:pt x="70" y="46"/>
                  </a:cubicBezTo>
                  <a:close/>
                  <a:moveTo>
                    <a:pt x="71" y="49"/>
                  </a:moveTo>
                  <a:cubicBezTo>
                    <a:pt x="71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ubicBezTo>
                    <a:pt x="72" y="48"/>
                    <a:pt x="72" y="49"/>
                    <a:pt x="72" y="48"/>
                  </a:cubicBezTo>
                  <a:cubicBezTo>
                    <a:pt x="72" y="49"/>
                    <a:pt x="71" y="49"/>
                    <a:pt x="71" y="50"/>
                  </a:cubicBezTo>
                  <a:cubicBezTo>
                    <a:pt x="71" y="50"/>
                    <a:pt x="71" y="49"/>
                    <a:pt x="71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lose/>
                  <a:moveTo>
                    <a:pt x="70" y="47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7"/>
                    <a:pt x="70" y="47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4" y="52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3" y="52"/>
                    <a:pt x="74" y="52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0"/>
                  </a:cubicBezTo>
                  <a:cubicBezTo>
                    <a:pt x="74" y="51"/>
                    <a:pt x="74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2" y="49"/>
                    <a:pt x="72" y="49"/>
                  </a:cubicBezTo>
                  <a:close/>
                  <a:moveTo>
                    <a:pt x="69" y="49"/>
                  </a:moveTo>
                  <a:cubicBezTo>
                    <a:pt x="68" y="50"/>
                    <a:pt x="68" y="51"/>
                    <a:pt x="67" y="53"/>
                  </a:cubicBezTo>
                  <a:cubicBezTo>
                    <a:pt x="67" y="52"/>
                    <a:pt x="67" y="51"/>
                    <a:pt x="68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2" y="53"/>
                  </a:moveTo>
                  <a:cubicBezTo>
                    <a:pt x="72" y="53"/>
                    <a:pt x="72" y="53"/>
                    <a:pt x="72" y="52"/>
                  </a:cubicBezTo>
                  <a:cubicBezTo>
                    <a:pt x="72" y="53"/>
                    <a:pt x="73" y="52"/>
                    <a:pt x="73" y="53"/>
                  </a:cubicBezTo>
                  <a:cubicBezTo>
                    <a:pt x="73" y="52"/>
                    <a:pt x="73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2"/>
                    <a:pt x="73" y="52"/>
                  </a:cubicBezTo>
                  <a:cubicBezTo>
                    <a:pt x="73" y="52"/>
                    <a:pt x="74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3"/>
                    <a:pt x="73" y="53"/>
                    <a:pt x="72" y="54"/>
                  </a:cubicBezTo>
                  <a:cubicBezTo>
                    <a:pt x="72" y="54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lose/>
                  <a:moveTo>
                    <a:pt x="66" y="49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8"/>
                  </a:cubicBezTo>
                  <a:cubicBezTo>
                    <a:pt x="67" y="48"/>
                    <a:pt x="67" y="49"/>
                    <a:pt x="67" y="49"/>
                  </a:cubicBezTo>
                  <a:close/>
                  <a:moveTo>
                    <a:pt x="69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8" y="54"/>
                  </a:cubicBezTo>
                  <a:cubicBezTo>
                    <a:pt x="68" y="54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7" y="55"/>
                  </a:cubicBezTo>
                  <a:cubicBezTo>
                    <a:pt x="67" y="55"/>
                    <a:pt x="67" y="54"/>
                    <a:pt x="67" y="54"/>
                  </a:cubicBezTo>
                  <a:cubicBezTo>
                    <a:pt x="68" y="53"/>
                    <a:pt x="68" y="53"/>
                    <a:pt x="68" y="52"/>
                  </a:cubicBezTo>
                  <a:cubicBezTo>
                    <a:pt x="69" y="52"/>
                    <a:pt x="68" y="52"/>
                    <a:pt x="69" y="52"/>
                  </a:cubicBezTo>
                  <a:close/>
                  <a:moveTo>
                    <a:pt x="67" y="56"/>
                  </a:move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7" y="56"/>
                    <a:pt x="67" y="56"/>
                  </a:cubicBezTo>
                  <a:close/>
                  <a:moveTo>
                    <a:pt x="6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6"/>
                    <a:pt x="65" y="56"/>
                  </a:cubicBezTo>
                  <a:cubicBezTo>
                    <a:pt x="66" y="56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lose/>
                  <a:moveTo>
                    <a:pt x="64" y="58"/>
                  </a:moveTo>
                  <a:cubicBezTo>
                    <a:pt x="63" y="59"/>
                    <a:pt x="63" y="60"/>
                    <a:pt x="62" y="60"/>
                  </a:cubicBezTo>
                  <a:cubicBezTo>
                    <a:pt x="63" y="60"/>
                    <a:pt x="62" y="60"/>
                    <a:pt x="62" y="60"/>
                  </a:cubicBezTo>
                  <a:cubicBezTo>
                    <a:pt x="62" y="60"/>
                    <a:pt x="63" y="60"/>
                    <a:pt x="63" y="59"/>
                  </a:cubicBezTo>
                  <a:cubicBezTo>
                    <a:pt x="63" y="58"/>
                    <a:pt x="64" y="57"/>
                    <a:pt x="64" y="56"/>
                  </a:cubicBezTo>
                  <a:cubicBezTo>
                    <a:pt x="64" y="57"/>
                    <a:pt x="63" y="57"/>
                    <a:pt x="64" y="58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59"/>
                    <a:pt x="64" y="59"/>
                  </a:cubicBezTo>
                  <a:cubicBezTo>
                    <a:pt x="64" y="59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8"/>
                    <a:pt x="64" y="59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1"/>
                  </a:cubicBezTo>
                  <a:cubicBezTo>
                    <a:pt x="65" y="61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4"/>
                    <a:pt x="70" y="64"/>
                  </a:cubicBezTo>
                  <a:cubicBezTo>
                    <a:pt x="70" y="64"/>
                    <a:pt x="70" y="65"/>
                    <a:pt x="70" y="66"/>
                  </a:cubicBezTo>
                  <a:cubicBezTo>
                    <a:pt x="69" y="65"/>
                    <a:pt x="70" y="65"/>
                    <a:pt x="70" y="65"/>
                  </a:cubicBezTo>
                  <a:cubicBezTo>
                    <a:pt x="70" y="65"/>
                    <a:pt x="70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68" y="65"/>
                  </a:moveTo>
                  <a:cubicBezTo>
                    <a:pt x="67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6" y="66"/>
                    <a:pt x="67" y="65"/>
                    <a:pt x="68" y="65"/>
                  </a:cubicBezTo>
                  <a:close/>
                  <a:moveTo>
                    <a:pt x="62" y="63"/>
                  </a:move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3" y="62"/>
                  </a:cubicBezTo>
                  <a:cubicBezTo>
                    <a:pt x="62" y="63"/>
                    <a:pt x="63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lose/>
                  <a:moveTo>
                    <a:pt x="65" y="71"/>
                  </a:moveTo>
                  <a:cubicBezTo>
                    <a:pt x="65" y="71"/>
                    <a:pt x="65" y="71"/>
                    <a:pt x="65" y="71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1"/>
                    <a:pt x="65" y="70"/>
                    <a:pt x="66" y="69"/>
                  </a:cubicBezTo>
                  <a:cubicBezTo>
                    <a:pt x="66" y="68"/>
                    <a:pt x="66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9"/>
                    <a:pt x="66" y="69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5" y="71"/>
                  </a:moveTo>
                  <a:cubicBezTo>
                    <a:pt x="64" y="71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8" y="69"/>
                  </a:move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8" y="69"/>
                  </a:cubicBezTo>
                  <a:cubicBezTo>
                    <a:pt x="68" y="69"/>
                    <a:pt x="67" y="69"/>
                    <a:pt x="68" y="69"/>
                  </a:cubicBezTo>
                  <a:close/>
                  <a:moveTo>
                    <a:pt x="68" y="69"/>
                  </a:moveTo>
                  <a:cubicBezTo>
                    <a:pt x="68" y="69"/>
                    <a:pt x="68" y="70"/>
                    <a:pt x="68" y="70"/>
                  </a:cubicBezTo>
                  <a:cubicBezTo>
                    <a:pt x="68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6" y="70"/>
                    <a:pt x="67" y="70"/>
                    <a:pt x="67" y="69"/>
                  </a:cubicBezTo>
                  <a:cubicBezTo>
                    <a:pt x="67" y="69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7" y="69"/>
                    <a:pt x="67" y="69"/>
                  </a:cubicBezTo>
                  <a:cubicBezTo>
                    <a:pt x="67" y="70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lose/>
                  <a:moveTo>
                    <a:pt x="66" y="71"/>
                  </a:moveTo>
                  <a:cubicBezTo>
                    <a:pt x="67" y="71"/>
                    <a:pt x="66" y="71"/>
                    <a:pt x="66" y="71"/>
                  </a:cubicBezTo>
                  <a:cubicBezTo>
                    <a:pt x="66" y="71"/>
                    <a:pt x="67" y="71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6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6" y="71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69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3" y="71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0"/>
                    <a:pt x="62" y="71"/>
                    <a:pt x="62" y="70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69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1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4" y="69"/>
                  </a:moveTo>
                  <a:cubicBezTo>
                    <a:pt x="64" y="69"/>
                    <a:pt x="64" y="70"/>
                    <a:pt x="64" y="70"/>
                  </a:cubicBezTo>
                  <a:cubicBezTo>
                    <a:pt x="64" y="70"/>
                    <a:pt x="64" y="69"/>
                    <a:pt x="64" y="69"/>
                  </a:cubicBezTo>
                  <a:close/>
                  <a:moveTo>
                    <a:pt x="62" y="71"/>
                  </a:moveTo>
                  <a:cubicBezTo>
                    <a:pt x="62" y="71"/>
                    <a:pt x="63" y="71"/>
                    <a:pt x="62" y="72"/>
                  </a:cubicBezTo>
                  <a:cubicBezTo>
                    <a:pt x="63" y="72"/>
                    <a:pt x="62" y="72"/>
                    <a:pt x="62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3" y="72"/>
                    <a:pt x="62" y="73"/>
                  </a:cubicBezTo>
                  <a:cubicBezTo>
                    <a:pt x="63" y="73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3"/>
                    <a:pt x="62" y="73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63" y="72"/>
                    <a:pt x="62" y="72"/>
                    <a:pt x="62" y="72"/>
                  </a:cubicBezTo>
                  <a:close/>
                  <a:moveTo>
                    <a:pt x="61" y="76"/>
                  </a:moveTo>
                  <a:cubicBezTo>
                    <a:pt x="62" y="76"/>
                    <a:pt x="62" y="75"/>
                    <a:pt x="62" y="75"/>
                  </a:cubicBezTo>
                  <a:cubicBezTo>
                    <a:pt x="62" y="75"/>
                    <a:pt x="62" y="74"/>
                    <a:pt x="62" y="74"/>
                  </a:cubicBezTo>
                  <a:cubicBezTo>
                    <a:pt x="62" y="74"/>
                    <a:pt x="62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4"/>
                    <a:pt x="64" y="73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4"/>
                    <a:pt x="64" y="74"/>
                    <a:pt x="63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2" y="77"/>
                    <a:pt x="62" y="77"/>
                    <a:pt x="62" y="78"/>
                  </a:cubicBezTo>
                  <a:cubicBezTo>
                    <a:pt x="62" y="78"/>
                    <a:pt x="63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8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6"/>
                    <a:pt x="63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6"/>
                    <a:pt x="63" y="77"/>
                    <a:pt x="64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8"/>
                    <a:pt x="62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2" y="78"/>
                    <a:pt x="62" y="79"/>
                  </a:cubicBezTo>
                  <a:cubicBezTo>
                    <a:pt x="63" y="79"/>
                    <a:pt x="62" y="79"/>
                    <a:pt x="62" y="79"/>
                  </a:cubicBezTo>
                  <a:cubicBezTo>
                    <a:pt x="62" y="80"/>
                    <a:pt x="62" y="79"/>
                    <a:pt x="62" y="79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3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80"/>
                    <a:pt x="63" y="80"/>
                  </a:cubicBezTo>
                  <a:cubicBezTo>
                    <a:pt x="62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2"/>
                    <a:pt x="61" y="82"/>
                    <a:pt x="60" y="82"/>
                  </a:cubicBezTo>
                  <a:cubicBezTo>
                    <a:pt x="60" y="82"/>
                    <a:pt x="60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1" y="81"/>
                    <a:pt x="60" y="81"/>
                    <a:pt x="61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3"/>
                  </a:cubicBezTo>
                  <a:cubicBezTo>
                    <a:pt x="60" y="83"/>
                    <a:pt x="60" y="82"/>
                    <a:pt x="60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3"/>
                    <a:pt x="60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9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9" y="83"/>
                  </a:cubicBezTo>
                  <a:cubicBezTo>
                    <a:pt x="59" y="83"/>
                    <a:pt x="58" y="83"/>
                    <a:pt x="58" y="84"/>
                  </a:cubicBezTo>
                  <a:cubicBezTo>
                    <a:pt x="59" y="84"/>
                    <a:pt x="59" y="83"/>
                    <a:pt x="59" y="8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8" y="83"/>
                    <a:pt x="58" y="83"/>
                  </a:cubicBezTo>
                  <a:cubicBezTo>
                    <a:pt x="58" y="83"/>
                    <a:pt x="59" y="82"/>
                    <a:pt x="59" y="82"/>
                  </a:cubicBezTo>
                  <a:cubicBezTo>
                    <a:pt x="59" y="82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81"/>
                    <a:pt x="60" y="81"/>
                    <a:pt x="60" y="81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79"/>
                  </a:cubicBezTo>
                  <a:cubicBezTo>
                    <a:pt x="60" y="80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0" y="79"/>
                    <a:pt x="60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1" y="79"/>
                  </a:cubicBezTo>
                  <a:cubicBezTo>
                    <a:pt x="61" y="79"/>
                    <a:pt x="60" y="79"/>
                    <a:pt x="61" y="79"/>
                  </a:cubicBezTo>
                  <a:cubicBezTo>
                    <a:pt x="61" y="79"/>
                    <a:pt x="61" y="78"/>
                    <a:pt x="61" y="79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0" y="78"/>
                  </a:cubicBezTo>
                  <a:cubicBezTo>
                    <a:pt x="60" y="79"/>
                    <a:pt x="61" y="78"/>
                    <a:pt x="61" y="79"/>
                  </a:cubicBezTo>
                  <a:cubicBezTo>
                    <a:pt x="61" y="79"/>
                    <a:pt x="60" y="78"/>
                    <a:pt x="60" y="79"/>
                  </a:cubicBezTo>
                  <a:cubicBezTo>
                    <a:pt x="60" y="79"/>
                    <a:pt x="60" y="79"/>
                    <a:pt x="60" y="78"/>
                  </a:cubicBezTo>
                  <a:cubicBezTo>
                    <a:pt x="60" y="78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80"/>
                    <a:pt x="59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9" y="80"/>
                    <a:pt x="60" y="78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7"/>
                    <a:pt x="59" y="77"/>
                    <a:pt x="59" y="78"/>
                  </a:cubicBezTo>
                  <a:cubicBezTo>
                    <a:pt x="59" y="78"/>
                    <a:pt x="58" y="79"/>
                    <a:pt x="59" y="78"/>
                  </a:cubicBezTo>
                  <a:cubicBezTo>
                    <a:pt x="59" y="78"/>
                    <a:pt x="58" y="78"/>
                    <a:pt x="58" y="78"/>
                  </a:cubicBezTo>
                  <a:cubicBezTo>
                    <a:pt x="58" y="79"/>
                    <a:pt x="59" y="78"/>
                    <a:pt x="59" y="78"/>
                  </a:cubicBezTo>
                  <a:cubicBezTo>
                    <a:pt x="59" y="78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6"/>
                    <a:pt x="60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59" y="75"/>
                    <a:pt x="59" y="75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59" y="75"/>
                    <a:pt x="59" y="76"/>
                    <a:pt x="59" y="76"/>
                  </a:cubicBezTo>
                  <a:cubicBezTo>
                    <a:pt x="59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7"/>
                  </a:cubicBez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3"/>
                    <a:pt x="59" y="74"/>
                    <a:pt x="59" y="73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60" y="73"/>
                  </a:cubicBezTo>
                  <a:cubicBezTo>
                    <a:pt x="60" y="74"/>
                    <a:pt x="60" y="73"/>
                    <a:pt x="60" y="73"/>
                  </a:cubicBezTo>
                  <a:cubicBezTo>
                    <a:pt x="60" y="73"/>
                    <a:pt x="60" y="73"/>
                    <a:pt x="60" y="74"/>
                  </a:cubicBezTo>
                  <a:cubicBezTo>
                    <a:pt x="60" y="74"/>
                    <a:pt x="60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2"/>
                    <a:pt x="61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2" y="74"/>
                    <a:pt x="61" y="74"/>
                  </a:cubicBezTo>
                  <a:cubicBezTo>
                    <a:pt x="62" y="74"/>
                    <a:pt x="62" y="73"/>
                    <a:pt x="62" y="73"/>
                  </a:cubicBezTo>
                  <a:cubicBezTo>
                    <a:pt x="62" y="73"/>
                    <a:pt x="62" y="73"/>
                    <a:pt x="62" y="74"/>
                  </a:cubicBezTo>
                  <a:cubicBezTo>
                    <a:pt x="62" y="73"/>
                    <a:pt x="61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4"/>
                    <a:pt x="62" y="74"/>
                  </a:cubicBezTo>
                  <a:cubicBezTo>
                    <a:pt x="62" y="74"/>
                    <a:pt x="62" y="74"/>
                    <a:pt x="61" y="75"/>
                  </a:cubicBezTo>
                  <a:cubicBezTo>
                    <a:pt x="61" y="74"/>
                    <a:pt x="61" y="74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1" y="76"/>
                    <a:pt x="61" y="76"/>
                  </a:cubicBezTo>
                  <a:cubicBezTo>
                    <a:pt x="61" y="76"/>
                    <a:pt x="62" y="76"/>
                    <a:pt x="61" y="76"/>
                  </a:cubicBezTo>
                  <a:close/>
                  <a:moveTo>
                    <a:pt x="58" y="74"/>
                  </a:moveTo>
                  <a:cubicBezTo>
                    <a:pt x="59" y="74"/>
                    <a:pt x="59" y="74"/>
                    <a:pt x="59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lose/>
                  <a:moveTo>
                    <a:pt x="59" y="74"/>
                  </a:moveTo>
                  <a:cubicBezTo>
                    <a:pt x="59" y="75"/>
                    <a:pt x="59" y="74"/>
                    <a:pt x="59" y="74"/>
                  </a:cubicBezTo>
                  <a:cubicBezTo>
                    <a:pt x="59" y="74"/>
                    <a:pt x="59" y="75"/>
                    <a:pt x="58" y="75"/>
                  </a:cubicBezTo>
                  <a:cubicBezTo>
                    <a:pt x="58" y="75"/>
                    <a:pt x="58" y="75"/>
                    <a:pt x="58" y="76"/>
                  </a:cubicBezTo>
                  <a:cubicBezTo>
                    <a:pt x="58" y="76"/>
                    <a:pt x="58" y="75"/>
                    <a:pt x="58" y="76"/>
                  </a:cubicBezTo>
                  <a:cubicBezTo>
                    <a:pt x="58" y="75"/>
                    <a:pt x="59" y="75"/>
                    <a:pt x="59" y="75"/>
                  </a:cubicBezTo>
                  <a:cubicBezTo>
                    <a:pt x="59" y="75"/>
                    <a:pt x="59" y="74"/>
                    <a:pt x="59" y="75"/>
                  </a:cubicBezTo>
                  <a:cubicBezTo>
                    <a:pt x="59" y="74"/>
                    <a:pt x="59" y="74"/>
                    <a:pt x="59" y="74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0" y="76"/>
                  </a:moveTo>
                  <a:cubicBezTo>
                    <a:pt x="61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6"/>
                  </a:cubicBezTo>
                  <a:close/>
                  <a:moveTo>
                    <a:pt x="59" y="82"/>
                  </a:moveTo>
                  <a:cubicBezTo>
                    <a:pt x="59" y="83"/>
                    <a:pt x="59" y="83"/>
                    <a:pt x="59" y="84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2"/>
                    <a:pt x="59" y="82"/>
                  </a:cubicBezTo>
                  <a:close/>
                  <a:moveTo>
                    <a:pt x="60" y="80"/>
                  </a:moveTo>
                  <a:cubicBezTo>
                    <a:pt x="60" y="80"/>
                    <a:pt x="60" y="80"/>
                    <a:pt x="60" y="80"/>
                  </a:cubicBezTo>
                  <a:cubicBezTo>
                    <a:pt x="61" y="80"/>
                    <a:pt x="61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0"/>
                    <a:pt x="60" y="80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3" y="77"/>
                  </a:moveTo>
                  <a:cubicBezTo>
                    <a:pt x="63" y="77"/>
                    <a:pt x="64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lose/>
                  <a:moveTo>
                    <a:pt x="61" y="81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lose/>
                  <a:moveTo>
                    <a:pt x="61" y="80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1"/>
                  </a:cubicBezTo>
                  <a:cubicBezTo>
                    <a:pt x="61" y="81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79"/>
                  </a:cubicBezTo>
                  <a:cubicBezTo>
                    <a:pt x="62" y="79"/>
                    <a:pt x="62" y="79"/>
                    <a:pt x="62" y="80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0"/>
                    <a:pt x="61" y="79"/>
                    <a:pt x="61" y="79"/>
                  </a:cubicBezTo>
                  <a:cubicBezTo>
                    <a:pt x="61" y="80"/>
                    <a:pt x="61" y="79"/>
                    <a:pt x="61" y="80"/>
                  </a:cubicBezTo>
                  <a:close/>
                  <a:moveTo>
                    <a:pt x="62" y="77"/>
                  </a:moveTo>
                  <a:cubicBezTo>
                    <a:pt x="62" y="77"/>
                    <a:pt x="63" y="76"/>
                    <a:pt x="63" y="76"/>
                  </a:cubicBezTo>
                  <a:cubicBezTo>
                    <a:pt x="62" y="76"/>
                    <a:pt x="62" y="77"/>
                    <a:pt x="62" y="77"/>
                  </a:cubicBezTo>
                  <a:close/>
                  <a:moveTo>
                    <a:pt x="60" y="78"/>
                  </a:move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lose/>
                  <a:moveTo>
                    <a:pt x="61" y="78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0" y="77"/>
                  </a:cubicBezTo>
                  <a:cubicBezTo>
                    <a:pt x="61" y="77"/>
                    <a:pt x="60" y="78"/>
                    <a:pt x="60" y="78"/>
                  </a:cubicBezTo>
                  <a:cubicBezTo>
                    <a:pt x="60" y="78"/>
                    <a:pt x="61" y="77"/>
                    <a:pt x="61" y="77"/>
                  </a:cubicBezTo>
                  <a:cubicBezTo>
                    <a:pt x="61" y="78"/>
                    <a:pt x="60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5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1" y="76"/>
                    <a:pt x="61" y="77"/>
                    <a:pt x="61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3" y="76"/>
                  </a:cubicBezTo>
                  <a:cubicBezTo>
                    <a:pt x="63" y="76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2" y="75"/>
                    <a:pt x="62" y="75"/>
                    <a:pt x="62" y="76"/>
                  </a:cubicBezTo>
                  <a:close/>
                  <a:moveTo>
                    <a:pt x="62" y="75"/>
                  </a:moveTo>
                  <a:cubicBezTo>
                    <a:pt x="62" y="76"/>
                    <a:pt x="63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6"/>
                    <a:pt x="61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81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8" y="82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lose/>
                  <a:moveTo>
                    <a:pt x="62" y="79"/>
                  </a:move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1" y="73"/>
                    <a:pt x="62" y="71"/>
                  </a:cubicBezTo>
                  <a:close/>
                  <a:moveTo>
                    <a:pt x="61" y="70"/>
                  </a:moveTo>
                  <a:cubicBezTo>
                    <a:pt x="61" y="71"/>
                    <a:pt x="60" y="71"/>
                    <a:pt x="60" y="71"/>
                  </a:cubicBezTo>
                  <a:cubicBezTo>
                    <a:pt x="60" y="71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1" y="70"/>
                  </a:cubicBezTo>
                  <a:close/>
                  <a:moveTo>
                    <a:pt x="61" y="72"/>
                  </a:move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0" y="72"/>
                    <a:pt x="61" y="72"/>
                  </a:cubicBezTo>
                  <a:close/>
                  <a:moveTo>
                    <a:pt x="55" y="70"/>
                  </a:moveTo>
                  <a:cubicBezTo>
                    <a:pt x="56" y="70"/>
                    <a:pt x="55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1"/>
                    <a:pt x="56" y="70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1"/>
                    <a:pt x="56" y="70"/>
                    <a:pt x="55" y="70"/>
                  </a:cubicBezTo>
                  <a:close/>
                  <a:moveTo>
                    <a:pt x="58" y="71"/>
                  </a:moveTo>
                  <a:cubicBezTo>
                    <a:pt x="58" y="72"/>
                    <a:pt x="58" y="72"/>
                    <a:pt x="58" y="73"/>
                  </a:cubicBezTo>
                  <a:cubicBezTo>
                    <a:pt x="58" y="73"/>
                    <a:pt x="58" y="72"/>
                    <a:pt x="58" y="72"/>
                  </a:cubicBezTo>
                  <a:cubicBezTo>
                    <a:pt x="58" y="72"/>
                    <a:pt x="58" y="73"/>
                    <a:pt x="58" y="73"/>
                  </a:cubicBezTo>
                  <a:cubicBezTo>
                    <a:pt x="58" y="73"/>
                    <a:pt x="58" y="73"/>
                    <a:pt x="57" y="73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7" y="74"/>
                    <a:pt x="58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6"/>
                    <a:pt x="56" y="75"/>
                    <a:pt x="56" y="75"/>
                  </a:cubicBezTo>
                  <a:cubicBezTo>
                    <a:pt x="56" y="75"/>
                    <a:pt x="57" y="74"/>
                    <a:pt x="56" y="74"/>
                  </a:cubicBezTo>
                  <a:cubicBezTo>
                    <a:pt x="56" y="74"/>
                    <a:pt x="56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5" y="76"/>
                    <a:pt x="55" y="76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6"/>
                    <a:pt x="56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5"/>
                    <a:pt x="56" y="75"/>
                    <a:pt x="56" y="75"/>
                  </a:cubicBezTo>
                  <a:cubicBezTo>
                    <a:pt x="56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6"/>
                  </a:cubicBezTo>
                  <a:cubicBezTo>
                    <a:pt x="55" y="75"/>
                    <a:pt x="55" y="76"/>
                    <a:pt x="55" y="76"/>
                  </a:cubicBezTo>
                  <a:cubicBezTo>
                    <a:pt x="55" y="76"/>
                    <a:pt x="55" y="76"/>
                    <a:pt x="55" y="75"/>
                  </a:cubicBezTo>
                  <a:cubicBezTo>
                    <a:pt x="55" y="76"/>
                    <a:pt x="55" y="75"/>
                    <a:pt x="54" y="76"/>
                  </a:cubicBezTo>
                  <a:cubicBezTo>
                    <a:pt x="55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2" y="77"/>
                  </a:cubicBezTo>
                  <a:cubicBezTo>
                    <a:pt x="52" y="77"/>
                    <a:pt x="52" y="77"/>
                    <a:pt x="53" y="77"/>
                  </a:cubicBezTo>
                  <a:cubicBezTo>
                    <a:pt x="52" y="77"/>
                    <a:pt x="52" y="77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7"/>
                    <a:pt x="52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4" y="75"/>
                    <a:pt x="54" y="75"/>
                    <a:pt x="54" y="76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5" y="75"/>
                    <a:pt x="54" y="75"/>
                    <a:pt x="55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5"/>
                    <a:pt x="55" y="75"/>
                  </a:cubicBezTo>
                  <a:cubicBezTo>
                    <a:pt x="55" y="75"/>
                    <a:pt x="55" y="74"/>
                    <a:pt x="55" y="74"/>
                  </a:cubicBezTo>
                  <a:cubicBezTo>
                    <a:pt x="55" y="74"/>
                    <a:pt x="56" y="74"/>
                    <a:pt x="55" y="74"/>
                  </a:cubicBezTo>
                  <a:cubicBezTo>
                    <a:pt x="56" y="74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4"/>
                  </a:cubicBezTo>
                  <a:cubicBezTo>
                    <a:pt x="56" y="74"/>
                    <a:pt x="56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8" y="72"/>
                    <a:pt x="58" y="72"/>
                  </a:cubicBezTo>
                  <a:cubicBezTo>
                    <a:pt x="58" y="72"/>
                    <a:pt x="58" y="72"/>
                    <a:pt x="58" y="71"/>
                  </a:cubicBezTo>
                  <a:close/>
                  <a:moveTo>
                    <a:pt x="55" y="75"/>
                  </a:moveTo>
                  <a:cubicBezTo>
                    <a:pt x="55" y="75"/>
                    <a:pt x="54" y="75"/>
                    <a:pt x="54" y="75"/>
                  </a:cubicBezTo>
                  <a:cubicBezTo>
                    <a:pt x="54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7" y="73"/>
                  </a:moveTo>
                  <a:cubicBezTo>
                    <a:pt x="57" y="73"/>
                    <a:pt x="56" y="74"/>
                    <a:pt x="57" y="74"/>
                  </a:cubicBezTo>
                  <a:cubicBezTo>
                    <a:pt x="57" y="74"/>
                    <a:pt x="57" y="74"/>
                    <a:pt x="57" y="73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3"/>
                    <a:pt x="57" y="73"/>
                  </a:cubicBezTo>
                  <a:cubicBezTo>
                    <a:pt x="57" y="73"/>
                    <a:pt x="57" y="74"/>
                    <a:pt x="57" y="74"/>
                  </a:cubicBezTo>
                  <a:close/>
                  <a:moveTo>
                    <a:pt x="61" y="73"/>
                  </a:moveTo>
                  <a:cubicBezTo>
                    <a:pt x="62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3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1"/>
                  </a:cubicBezTo>
                  <a:cubicBezTo>
                    <a:pt x="54" y="71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7" y="78"/>
                  </a:moveTo>
                  <a:cubicBezTo>
                    <a:pt x="58" y="78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8" y="77"/>
                    <a:pt x="58" y="78"/>
                  </a:cubicBezTo>
                  <a:cubicBezTo>
                    <a:pt x="58" y="77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7" y="78"/>
                    <a:pt x="58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8"/>
                  </a:cubicBezTo>
                  <a:close/>
                  <a:moveTo>
                    <a:pt x="59" y="79"/>
                  </a:move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8"/>
                    <a:pt x="59" y="78"/>
                  </a:cubicBezTo>
                  <a:cubicBezTo>
                    <a:pt x="60" y="78"/>
                    <a:pt x="59" y="79"/>
                    <a:pt x="59" y="79"/>
                  </a:cubicBezTo>
                  <a:close/>
                  <a:moveTo>
                    <a:pt x="40" y="115"/>
                  </a:moveTo>
                  <a:cubicBezTo>
                    <a:pt x="39" y="115"/>
                    <a:pt x="39" y="116"/>
                    <a:pt x="39" y="117"/>
                  </a:cubicBezTo>
                  <a:cubicBezTo>
                    <a:pt x="39" y="117"/>
                    <a:pt x="39" y="116"/>
                    <a:pt x="39" y="116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9"/>
                    <a:pt x="37" y="120"/>
                    <a:pt x="36" y="121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8"/>
                    <a:pt x="36" y="120"/>
                    <a:pt x="37" y="120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8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7" y="119"/>
                    <a:pt x="37" y="119"/>
                  </a:cubicBezTo>
                  <a:cubicBezTo>
                    <a:pt x="37" y="119"/>
                    <a:pt x="37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7" y="120"/>
                  </a:cubicBezTo>
                  <a:cubicBezTo>
                    <a:pt x="37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1"/>
                  </a:cubicBezTo>
                  <a:cubicBezTo>
                    <a:pt x="35" y="120"/>
                    <a:pt x="36" y="120"/>
                    <a:pt x="36" y="120"/>
                  </a:cubicBezTo>
                  <a:cubicBezTo>
                    <a:pt x="37" y="119"/>
                    <a:pt x="37" y="118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7" y="116"/>
                    <a:pt x="38" y="116"/>
                  </a:cubicBezTo>
                  <a:cubicBezTo>
                    <a:pt x="38" y="116"/>
                    <a:pt x="37" y="117"/>
                    <a:pt x="37" y="118"/>
                  </a:cubicBezTo>
                  <a:cubicBezTo>
                    <a:pt x="37" y="118"/>
                    <a:pt x="37" y="117"/>
                    <a:pt x="38" y="117"/>
                  </a:cubicBezTo>
                  <a:cubicBezTo>
                    <a:pt x="38" y="117"/>
                    <a:pt x="38" y="117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6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7" y="117"/>
                    <a:pt x="37" y="117"/>
                  </a:cubicBezTo>
                  <a:cubicBezTo>
                    <a:pt x="37" y="117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5"/>
                  </a:cubicBezTo>
                  <a:cubicBezTo>
                    <a:pt x="37" y="116"/>
                    <a:pt x="37" y="117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6" y="118"/>
                    <a:pt x="3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6" y="117"/>
                    <a:pt x="37" y="117"/>
                    <a:pt x="37" y="116"/>
                  </a:cubicBezTo>
                  <a:cubicBezTo>
                    <a:pt x="38" y="115"/>
                    <a:pt x="38" y="115"/>
                    <a:pt x="38" y="114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6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9" y="115"/>
                    <a:pt x="39" y="115"/>
                  </a:cubicBezTo>
                  <a:cubicBezTo>
                    <a:pt x="39" y="114"/>
                    <a:pt x="39" y="115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9" y="116"/>
                  </a:cubicBezTo>
                  <a:cubicBezTo>
                    <a:pt x="38" y="116"/>
                    <a:pt x="38" y="116"/>
                    <a:pt x="38" y="117"/>
                  </a:cubicBezTo>
                  <a:cubicBezTo>
                    <a:pt x="39" y="117"/>
                    <a:pt x="38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6"/>
                    <a:pt x="39" y="115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40" y="113"/>
                  </a:cubicBezTo>
                  <a:cubicBezTo>
                    <a:pt x="40" y="114"/>
                    <a:pt x="40" y="113"/>
                    <a:pt x="41" y="112"/>
                  </a:cubicBezTo>
                  <a:cubicBezTo>
                    <a:pt x="41" y="112"/>
                    <a:pt x="40" y="112"/>
                    <a:pt x="40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1" y="111"/>
                  </a:cubicBezTo>
                  <a:cubicBezTo>
                    <a:pt x="41" y="111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1"/>
                  </a:cubicBezTo>
                  <a:cubicBezTo>
                    <a:pt x="42" y="110"/>
                    <a:pt x="42" y="109"/>
                    <a:pt x="43" y="109"/>
                  </a:cubicBezTo>
                  <a:cubicBezTo>
                    <a:pt x="43" y="109"/>
                    <a:pt x="43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7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4" y="107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5" y="105"/>
                    <a:pt x="45" y="104"/>
                    <a:pt x="46" y="103"/>
                  </a:cubicBezTo>
                  <a:cubicBezTo>
                    <a:pt x="46" y="103"/>
                    <a:pt x="45" y="104"/>
                    <a:pt x="45" y="104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6" y="104"/>
                  </a:cubicBezTo>
                  <a:cubicBezTo>
                    <a:pt x="46" y="104"/>
                    <a:pt x="45" y="104"/>
                    <a:pt x="45" y="105"/>
                  </a:cubicBezTo>
                  <a:cubicBezTo>
                    <a:pt x="45" y="105"/>
                    <a:pt x="44" y="106"/>
                    <a:pt x="44" y="107"/>
                  </a:cubicBezTo>
                  <a:cubicBezTo>
                    <a:pt x="44" y="107"/>
                    <a:pt x="44" y="107"/>
                    <a:pt x="44" y="106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5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6" y="105"/>
                    <a:pt x="45" y="105"/>
                    <a:pt x="45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3"/>
                    <a:pt x="47" y="102"/>
                  </a:cubicBezTo>
                  <a:cubicBezTo>
                    <a:pt x="47" y="102"/>
                    <a:pt x="46" y="103"/>
                    <a:pt x="46" y="102"/>
                  </a:cubicBezTo>
                  <a:cubicBezTo>
                    <a:pt x="46" y="102"/>
                    <a:pt x="46" y="103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3"/>
                    <a:pt x="46" y="103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5" y="103"/>
                    <a:pt x="45" y="103"/>
                  </a:cubicBezTo>
                  <a:cubicBezTo>
                    <a:pt x="45" y="103"/>
                    <a:pt x="46" y="102"/>
                    <a:pt x="46" y="102"/>
                  </a:cubicBezTo>
                  <a:cubicBezTo>
                    <a:pt x="45" y="102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4" y="105"/>
                    <a:pt x="45" y="104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6"/>
                    <a:pt x="44" y="106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2" y="106"/>
                  </a:cubicBezTo>
                  <a:cubicBezTo>
                    <a:pt x="42" y="106"/>
                    <a:pt x="43" y="106"/>
                    <a:pt x="43" y="106"/>
                  </a:cubicBezTo>
                  <a:cubicBezTo>
                    <a:pt x="42" y="106"/>
                    <a:pt x="42" y="106"/>
                    <a:pt x="42" y="107"/>
                  </a:cubicBezTo>
                  <a:cubicBezTo>
                    <a:pt x="42" y="107"/>
                    <a:pt x="43" y="106"/>
                    <a:pt x="42" y="106"/>
                  </a:cubicBezTo>
                  <a:cubicBezTo>
                    <a:pt x="43" y="106"/>
                    <a:pt x="43" y="107"/>
                    <a:pt x="43" y="106"/>
                  </a:cubicBezTo>
                  <a:cubicBezTo>
                    <a:pt x="43" y="107"/>
                    <a:pt x="42" y="107"/>
                    <a:pt x="43" y="107"/>
                  </a:cubicBezTo>
                  <a:cubicBezTo>
                    <a:pt x="43" y="107"/>
                    <a:pt x="43" y="107"/>
                    <a:pt x="42" y="107"/>
                  </a:cubicBezTo>
                  <a:cubicBezTo>
                    <a:pt x="42" y="106"/>
                    <a:pt x="42" y="107"/>
                    <a:pt x="42" y="108"/>
                  </a:cubicBezTo>
                  <a:cubicBezTo>
                    <a:pt x="41" y="108"/>
                    <a:pt x="41" y="109"/>
                    <a:pt x="41" y="109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40" y="110"/>
                    <a:pt x="40" y="110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8"/>
                    <a:pt x="41" y="109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2" y="107"/>
                    <a:pt x="41" y="108"/>
                    <a:pt x="41" y="108"/>
                  </a:cubicBezTo>
                  <a:cubicBezTo>
                    <a:pt x="42" y="108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6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0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0" y="108"/>
                  </a:cubicBezTo>
                  <a:cubicBezTo>
                    <a:pt x="41" y="109"/>
                    <a:pt x="41" y="108"/>
                    <a:pt x="41" y="108"/>
                  </a:cubicBezTo>
                  <a:cubicBezTo>
                    <a:pt x="41" y="109"/>
                    <a:pt x="40" y="109"/>
                    <a:pt x="40" y="108"/>
                  </a:cubicBezTo>
                  <a:cubicBezTo>
                    <a:pt x="40" y="108"/>
                    <a:pt x="40" y="109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9"/>
                  </a:cubicBezTo>
                  <a:cubicBezTo>
                    <a:pt x="40" y="108"/>
                    <a:pt x="40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6"/>
                    <a:pt x="41" y="106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6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4"/>
                    <a:pt x="42" y="104"/>
                    <a:pt x="43" y="104"/>
                  </a:cubicBezTo>
                  <a:cubicBezTo>
                    <a:pt x="43" y="104"/>
                    <a:pt x="43" y="104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2"/>
                  </a:cubicBezTo>
                  <a:cubicBezTo>
                    <a:pt x="44" y="102"/>
                    <a:pt x="43" y="103"/>
                    <a:pt x="43" y="103"/>
                  </a:cubicBezTo>
                  <a:cubicBezTo>
                    <a:pt x="43" y="103"/>
                    <a:pt x="43" y="104"/>
                    <a:pt x="43" y="104"/>
                  </a:cubicBezTo>
                  <a:cubicBezTo>
                    <a:pt x="43" y="104"/>
                    <a:pt x="43" y="105"/>
                    <a:pt x="43" y="105"/>
                  </a:cubicBezTo>
                  <a:cubicBezTo>
                    <a:pt x="43" y="105"/>
                    <a:pt x="43" y="104"/>
                    <a:pt x="43" y="104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3"/>
                    <a:pt x="44" y="104"/>
                    <a:pt x="43" y="104"/>
                  </a:cubicBezTo>
                  <a:cubicBezTo>
                    <a:pt x="43" y="104"/>
                    <a:pt x="43" y="103"/>
                    <a:pt x="43" y="104"/>
                  </a:cubicBezTo>
                  <a:cubicBezTo>
                    <a:pt x="43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2"/>
                    <a:pt x="44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1"/>
                    <a:pt x="45" y="102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2"/>
                    <a:pt x="44" y="102"/>
                  </a:cubicBezTo>
                  <a:cubicBezTo>
                    <a:pt x="44" y="102"/>
                    <a:pt x="44" y="102"/>
                    <a:pt x="45" y="102"/>
                  </a:cubicBezTo>
                  <a:cubicBezTo>
                    <a:pt x="45" y="102"/>
                    <a:pt x="45" y="102"/>
                    <a:pt x="44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6" y="100"/>
                  </a:cubicBezTo>
                  <a:cubicBezTo>
                    <a:pt x="46" y="100"/>
                    <a:pt x="46" y="101"/>
                    <a:pt x="46" y="101"/>
                  </a:cubicBezTo>
                  <a:cubicBezTo>
                    <a:pt x="46" y="101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99"/>
                  </a:cubicBezTo>
                  <a:cubicBezTo>
                    <a:pt x="46" y="100"/>
                    <a:pt x="46" y="101"/>
                    <a:pt x="46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3"/>
                  </a:cubicBezTo>
                  <a:cubicBezTo>
                    <a:pt x="45" y="102"/>
                    <a:pt x="46" y="101"/>
                    <a:pt x="46" y="100"/>
                  </a:cubicBezTo>
                  <a:cubicBezTo>
                    <a:pt x="46" y="100"/>
                    <a:pt x="46" y="101"/>
                    <a:pt x="46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8"/>
                  </a:cubicBezTo>
                  <a:cubicBezTo>
                    <a:pt x="48" y="99"/>
                    <a:pt x="48" y="98"/>
                    <a:pt x="48" y="99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7"/>
                    <a:pt x="48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49" y="97"/>
                    <a:pt x="48" y="97"/>
                    <a:pt x="48" y="98"/>
                  </a:cubicBezTo>
                  <a:cubicBezTo>
                    <a:pt x="48" y="98"/>
                    <a:pt x="48" y="98"/>
                    <a:pt x="49" y="98"/>
                  </a:cubicBezTo>
                  <a:cubicBezTo>
                    <a:pt x="48" y="98"/>
                    <a:pt x="48" y="98"/>
                    <a:pt x="48" y="99"/>
                  </a:cubicBezTo>
                  <a:cubicBezTo>
                    <a:pt x="48" y="99"/>
                    <a:pt x="48" y="98"/>
                    <a:pt x="49" y="98"/>
                  </a:cubicBezTo>
                  <a:cubicBezTo>
                    <a:pt x="49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8" y="99"/>
                    <a:pt x="48" y="100"/>
                  </a:cubicBezTo>
                  <a:cubicBezTo>
                    <a:pt x="48" y="99"/>
                    <a:pt x="48" y="99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ubicBezTo>
                    <a:pt x="49" y="98"/>
                    <a:pt x="49" y="98"/>
                    <a:pt x="50" y="98"/>
                  </a:cubicBezTo>
                  <a:cubicBezTo>
                    <a:pt x="50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9"/>
                  </a:cubicBezTo>
                  <a:cubicBezTo>
                    <a:pt x="49" y="98"/>
                    <a:pt x="50" y="99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1" y="97"/>
                    <a:pt x="51" y="96"/>
                  </a:cubicBezTo>
                  <a:cubicBezTo>
                    <a:pt x="51" y="96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5"/>
                  </a:cubicBezTo>
                  <a:cubicBezTo>
                    <a:pt x="51" y="95"/>
                    <a:pt x="51" y="96"/>
                    <a:pt x="51" y="96"/>
                  </a:cubicBezTo>
                  <a:cubicBezTo>
                    <a:pt x="51" y="96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2" y="93"/>
                    <a:pt x="51" y="93"/>
                  </a:cubicBezTo>
                  <a:cubicBezTo>
                    <a:pt x="52" y="93"/>
                    <a:pt x="52" y="92"/>
                    <a:pt x="52" y="92"/>
                  </a:cubicBezTo>
                  <a:cubicBezTo>
                    <a:pt x="52" y="92"/>
                    <a:pt x="52" y="92"/>
                    <a:pt x="53" y="92"/>
                  </a:cubicBezTo>
                  <a:cubicBezTo>
                    <a:pt x="53" y="92"/>
                    <a:pt x="53" y="92"/>
                    <a:pt x="52" y="93"/>
                  </a:cubicBezTo>
                  <a:cubicBezTo>
                    <a:pt x="52" y="92"/>
                    <a:pt x="52" y="92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4"/>
                    <a:pt x="52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5"/>
                    <a:pt x="52" y="95"/>
                    <a:pt x="52" y="95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4"/>
                    <a:pt x="52" y="95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4"/>
                    <a:pt x="52" y="94"/>
                    <a:pt x="52" y="94"/>
                  </a:cubicBezTo>
                  <a:cubicBezTo>
                    <a:pt x="52" y="93"/>
                    <a:pt x="53" y="93"/>
                    <a:pt x="53" y="93"/>
                  </a:cubicBezTo>
                  <a:cubicBezTo>
                    <a:pt x="53" y="93"/>
                    <a:pt x="53" y="92"/>
                    <a:pt x="53" y="92"/>
                  </a:cubicBezTo>
                  <a:cubicBezTo>
                    <a:pt x="53" y="92"/>
                    <a:pt x="53" y="93"/>
                    <a:pt x="53" y="92"/>
                  </a:cubicBezTo>
                  <a:cubicBezTo>
                    <a:pt x="53" y="92"/>
                    <a:pt x="53" y="92"/>
                    <a:pt x="53" y="93"/>
                  </a:cubicBezTo>
                  <a:cubicBezTo>
                    <a:pt x="53" y="93"/>
                    <a:pt x="53" y="92"/>
                    <a:pt x="54" y="92"/>
                  </a:cubicBezTo>
                  <a:cubicBezTo>
                    <a:pt x="53" y="92"/>
                    <a:pt x="54" y="91"/>
                    <a:pt x="53" y="91"/>
                  </a:cubicBezTo>
                  <a:cubicBezTo>
                    <a:pt x="54" y="91"/>
                    <a:pt x="54" y="91"/>
                    <a:pt x="54" y="90"/>
                  </a:cubicBezTo>
                  <a:cubicBezTo>
                    <a:pt x="54" y="90"/>
                    <a:pt x="54" y="91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0"/>
                    <a:pt x="53" y="90"/>
                    <a:pt x="54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89"/>
                    <a:pt x="54" y="89"/>
                  </a:cubicBezTo>
                  <a:cubicBezTo>
                    <a:pt x="54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89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5" y="89"/>
                    <a:pt x="54" y="89"/>
                    <a:pt x="54" y="90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8"/>
                  </a:cubicBezTo>
                  <a:cubicBezTo>
                    <a:pt x="55" y="88"/>
                    <a:pt x="55" y="89"/>
                    <a:pt x="55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6" y="88"/>
                    <a:pt x="56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5" y="89"/>
                    <a:pt x="56" y="89"/>
                  </a:cubicBezTo>
                  <a:cubicBezTo>
                    <a:pt x="55" y="90"/>
                    <a:pt x="55" y="90"/>
                    <a:pt x="55" y="91"/>
                  </a:cubicBezTo>
                  <a:cubicBezTo>
                    <a:pt x="55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3" y="93"/>
                    <a:pt x="53" y="93"/>
                  </a:cubicBezTo>
                  <a:cubicBezTo>
                    <a:pt x="53" y="93"/>
                    <a:pt x="54" y="92"/>
                    <a:pt x="54" y="92"/>
                  </a:cubicBezTo>
                  <a:cubicBezTo>
                    <a:pt x="54" y="92"/>
                    <a:pt x="54" y="93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5" y="90"/>
                    <a:pt x="56" y="90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8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8"/>
                    <a:pt x="57" y="88"/>
                  </a:cubicBezTo>
                  <a:cubicBezTo>
                    <a:pt x="57" y="88"/>
                    <a:pt x="57" y="88"/>
                    <a:pt x="56" y="88"/>
                  </a:cubicBezTo>
                  <a:cubicBezTo>
                    <a:pt x="56" y="88"/>
                    <a:pt x="57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7"/>
                    <a:pt x="57" y="87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8" y="85"/>
                    <a:pt x="57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9" y="86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9" y="84"/>
                  </a:cubicBezTo>
                  <a:cubicBezTo>
                    <a:pt x="59" y="85"/>
                    <a:pt x="58" y="85"/>
                    <a:pt x="59" y="85"/>
                  </a:cubicBezTo>
                  <a:cubicBezTo>
                    <a:pt x="59" y="85"/>
                    <a:pt x="59" y="85"/>
                    <a:pt x="58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60" y="84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60" y="84"/>
                    <a:pt x="60" y="83"/>
                    <a:pt x="61" y="84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2"/>
                    <a:pt x="61" y="82"/>
                    <a:pt x="62" y="81"/>
                  </a:cubicBezTo>
                  <a:cubicBezTo>
                    <a:pt x="62" y="81"/>
                    <a:pt x="61" y="82"/>
                    <a:pt x="62" y="8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4"/>
                    <a:pt x="61" y="83"/>
                    <a:pt x="61" y="83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6"/>
                    <a:pt x="60" y="86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9"/>
                    <a:pt x="59" y="89"/>
                    <a:pt x="58" y="89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5" y="96"/>
                    <a:pt x="54" y="97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3" y="98"/>
                  </a:cubicBezTo>
                  <a:cubicBezTo>
                    <a:pt x="53" y="98"/>
                    <a:pt x="54" y="98"/>
                    <a:pt x="54" y="98"/>
                  </a:cubicBezTo>
                  <a:cubicBezTo>
                    <a:pt x="54" y="98"/>
                    <a:pt x="54" y="99"/>
                    <a:pt x="54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3" y="100"/>
                    <a:pt x="52" y="100"/>
                    <a:pt x="52" y="100"/>
                  </a:cubicBezTo>
                  <a:cubicBezTo>
                    <a:pt x="52" y="101"/>
                    <a:pt x="52" y="100"/>
                    <a:pt x="52" y="101"/>
                  </a:cubicBezTo>
                  <a:cubicBezTo>
                    <a:pt x="52" y="101"/>
                    <a:pt x="52" y="100"/>
                    <a:pt x="53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5"/>
                    <a:pt x="50" y="105"/>
                  </a:cubicBezTo>
                  <a:cubicBezTo>
                    <a:pt x="50" y="105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1" y="103"/>
                    <a:pt x="51" y="102"/>
                    <a:pt x="52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0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5" y="95"/>
                    <a:pt x="55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4"/>
                    <a:pt x="55" y="95"/>
                    <a:pt x="54" y="95"/>
                  </a:cubicBezTo>
                  <a:cubicBezTo>
                    <a:pt x="54" y="95"/>
                    <a:pt x="55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3" y="97"/>
                    <a:pt x="54" y="96"/>
                  </a:cubicBezTo>
                  <a:cubicBezTo>
                    <a:pt x="54" y="97"/>
                    <a:pt x="53" y="97"/>
                    <a:pt x="53" y="96"/>
                  </a:cubicBezTo>
                  <a:cubicBezTo>
                    <a:pt x="53" y="96"/>
                    <a:pt x="53" y="97"/>
                    <a:pt x="53" y="97"/>
                  </a:cubicBezTo>
                  <a:cubicBezTo>
                    <a:pt x="53" y="97"/>
                    <a:pt x="53" y="97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5"/>
                    <a:pt x="54" y="96"/>
                    <a:pt x="54" y="95"/>
                  </a:cubicBezTo>
                  <a:cubicBezTo>
                    <a:pt x="54" y="95"/>
                    <a:pt x="54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5"/>
                    <a:pt x="53" y="96"/>
                  </a:cubicBezTo>
                  <a:cubicBezTo>
                    <a:pt x="53" y="96"/>
                    <a:pt x="53" y="96"/>
                    <a:pt x="53" y="95"/>
                  </a:cubicBezTo>
                  <a:cubicBezTo>
                    <a:pt x="53" y="95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2" y="96"/>
                    <a:pt x="53" y="96"/>
                    <a:pt x="53" y="96"/>
                  </a:cubicBezTo>
                  <a:cubicBezTo>
                    <a:pt x="53" y="95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8"/>
                    <a:pt x="52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0" y="100"/>
                    <a:pt x="50" y="101"/>
                    <a:pt x="49" y="101"/>
                  </a:cubicBezTo>
                  <a:cubicBezTo>
                    <a:pt x="49" y="101"/>
                    <a:pt x="50" y="101"/>
                    <a:pt x="50" y="101"/>
                  </a:cubicBezTo>
                  <a:cubicBezTo>
                    <a:pt x="50" y="101"/>
                    <a:pt x="50" y="100"/>
                    <a:pt x="51" y="100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100"/>
                    <a:pt x="50" y="100"/>
                  </a:cubicBezTo>
                  <a:cubicBezTo>
                    <a:pt x="50" y="100"/>
                    <a:pt x="50" y="100"/>
                    <a:pt x="50" y="101"/>
                  </a:cubicBezTo>
                  <a:cubicBezTo>
                    <a:pt x="50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0" y="100"/>
                    <a:pt x="51" y="100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49" y="103"/>
                    <a:pt x="49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49" y="103"/>
                    <a:pt x="49" y="104"/>
                  </a:cubicBezTo>
                  <a:cubicBezTo>
                    <a:pt x="49" y="103"/>
                    <a:pt x="49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5"/>
                  </a:cubicBezTo>
                  <a:cubicBezTo>
                    <a:pt x="49" y="105"/>
                    <a:pt x="49" y="104"/>
                    <a:pt x="49" y="104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8" y="107"/>
                  </a:cubicBezTo>
                  <a:cubicBezTo>
                    <a:pt x="48" y="108"/>
                    <a:pt x="47" y="108"/>
                    <a:pt x="47" y="110"/>
                  </a:cubicBezTo>
                  <a:cubicBezTo>
                    <a:pt x="47" y="109"/>
                    <a:pt x="47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8" y="108"/>
                    <a:pt x="47" y="107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8"/>
                  </a:cubicBezTo>
                  <a:cubicBezTo>
                    <a:pt x="47" y="108"/>
                    <a:pt x="47" y="109"/>
                    <a:pt x="47" y="109"/>
                  </a:cubicBezTo>
                  <a:cubicBezTo>
                    <a:pt x="47" y="109"/>
                    <a:pt x="47" y="109"/>
                    <a:pt x="46" y="109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11"/>
                    <a:pt x="46" y="110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2"/>
                    <a:pt x="45" y="111"/>
                    <a:pt x="46" y="111"/>
                  </a:cubicBezTo>
                  <a:cubicBezTo>
                    <a:pt x="46" y="111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2"/>
                  </a:cubicBezTo>
                  <a:cubicBezTo>
                    <a:pt x="46" y="113"/>
                    <a:pt x="45" y="113"/>
                    <a:pt x="45" y="114"/>
                  </a:cubicBezTo>
                  <a:cubicBezTo>
                    <a:pt x="44" y="114"/>
                    <a:pt x="44" y="114"/>
                    <a:pt x="44" y="115"/>
                  </a:cubicBezTo>
                  <a:cubicBezTo>
                    <a:pt x="44" y="115"/>
                    <a:pt x="44" y="116"/>
                    <a:pt x="43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7"/>
                    <a:pt x="43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7"/>
                    <a:pt x="43" y="117"/>
                  </a:cubicBezTo>
                  <a:cubicBezTo>
                    <a:pt x="44" y="117"/>
                    <a:pt x="44" y="116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4"/>
                    <a:pt x="45" y="114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7" y="111"/>
                    <a:pt x="48" y="108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50" y="106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8" y="107"/>
                  </a:cubicBezTo>
                  <a:cubicBezTo>
                    <a:pt x="49" y="108"/>
                    <a:pt x="48" y="108"/>
                    <a:pt x="48" y="108"/>
                  </a:cubicBezTo>
                  <a:cubicBezTo>
                    <a:pt x="48" y="108"/>
                    <a:pt x="49" y="107"/>
                    <a:pt x="49" y="107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9"/>
                    <a:pt x="48" y="109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09"/>
                    <a:pt x="48" y="109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7" y="111"/>
                    <a:pt x="46" y="112"/>
                    <a:pt x="46" y="112"/>
                  </a:cubicBezTo>
                  <a:cubicBezTo>
                    <a:pt x="45" y="113"/>
                    <a:pt x="44" y="116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ubicBezTo>
                    <a:pt x="42" y="119"/>
                    <a:pt x="43" y="119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3" y="118"/>
                    <a:pt x="42" y="118"/>
                  </a:cubicBezTo>
                  <a:cubicBezTo>
                    <a:pt x="42" y="118"/>
                    <a:pt x="43" y="118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19"/>
                    <a:pt x="41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1"/>
                    <a:pt x="41" y="121"/>
                    <a:pt x="40" y="122"/>
                  </a:cubicBezTo>
                  <a:cubicBezTo>
                    <a:pt x="40" y="121"/>
                    <a:pt x="40" y="121"/>
                    <a:pt x="40" y="122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1"/>
                    <a:pt x="40" y="121"/>
                    <a:pt x="41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2"/>
                  </a:cubicBezTo>
                  <a:cubicBezTo>
                    <a:pt x="40" y="121"/>
                    <a:pt x="40" y="121"/>
                    <a:pt x="40" y="120"/>
                  </a:cubicBezTo>
                  <a:cubicBezTo>
                    <a:pt x="40" y="120"/>
                    <a:pt x="40" y="121"/>
                    <a:pt x="41" y="120"/>
                  </a:cubicBezTo>
                  <a:cubicBezTo>
                    <a:pt x="40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19"/>
                    <a:pt x="42" y="118"/>
                  </a:cubicBezTo>
                  <a:cubicBezTo>
                    <a:pt x="42" y="118"/>
                    <a:pt x="41" y="118"/>
                    <a:pt x="41" y="118"/>
                  </a:cubicBezTo>
                  <a:cubicBezTo>
                    <a:pt x="41" y="119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7"/>
                    <a:pt x="42" y="117"/>
                    <a:pt x="43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6"/>
                    <a:pt x="43" y="116"/>
                    <a:pt x="43" y="115"/>
                  </a:cubicBezTo>
                  <a:cubicBezTo>
                    <a:pt x="43" y="115"/>
                    <a:pt x="43" y="115"/>
                    <a:pt x="42" y="115"/>
                  </a:cubicBezTo>
                  <a:cubicBezTo>
                    <a:pt x="42" y="116"/>
                    <a:pt x="43" y="115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6"/>
                    <a:pt x="41" y="117"/>
                  </a:cubicBezTo>
                  <a:cubicBezTo>
                    <a:pt x="41" y="117"/>
                    <a:pt x="41" y="117"/>
                    <a:pt x="42" y="117"/>
                  </a:cubicBezTo>
                  <a:cubicBezTo>
                    <a:pt x="42" y="117"/>
                    <a:pt x="41" y="117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0" y="117"/>
                    <a:pt x="41" y="117"/>
                    <a:pt x="41" y="117"/>
                  </a:cubicBezTo>
                  <a:cubicBezTo>
                    <a:pt x="40" y="117"/>
                    <a:pt x="40" y="118"/>
                    <a:pt x="40" y="118"/>
                  </a:cubicBezTo>
                  <a:cubicBezTo>
                    <a:pt x="40" y="118"/>
                    <a:pt x="40" y="117"/>
                    <a:pt x="40" y="117"/>
                  </a:cubicBezTo>
                  <a:cubicBezTo>
                    <a:pt x="40" y="117"/>
                    <a:pt x="39" y="118"/>
                    <a:pt x="39" y="118"/>
                  </a:cubicBezTo>
                  <a:cubicBezTo>
                    <a:pt x="39" y="118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1" y="116"/>
                    <a:pt x="41" y="117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6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3" y="111"/>
                    <a:pt x="43" y="111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3" y="110"/>
                    <a:pt x="43" y="111"/>
                    <a:pt x="43" y="111"/>
                  </a:cubicBezTo>
                  <a:cubicBezTo>
                    <a:pt x="43" y="111"/>
                    <a:pt x="43" y="112"/>
                    <a:pt x="43" y="112"/>
                  </a:cubicBezTo>
                  <a:cubicBezTo>
                    <a:pt x="43" y="112"/>
                    <a:pt x="43" y="112"/>
                    <a:pt x="42" y="112"/>
                  </a:cubicBezTo>
                  <a:cubicBezTo>
                    <a:pt x="42" y="112"/>
                    <a:pt x="43" y="112"/>
                    <a:pt x="43" y="111"/>
                  </a:cubicBezTo>
                  <a:cubicBezTo>
                    <a:pt x="42" y="112"/>
                    <a:pt x="42" y="113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0" y="115"/>
                  </a:cubicBezTo>
                  <a:cubicBezTo>
                    <a:pt x="40" y="115"/>
                    <a:pt x="40" y="115"/>
                    <a:pt x="40" y="116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1" y="114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0" y="113"/>
                    <a:pt x="40" y="113"/>
                  </a:cubicBezTo>
                  <a:cubicBezTo>
                    <a:pt x="40" y="113"/>
                    <a:pt x="40" y="114"/>
                    <a:pt x="40" y="114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5"/>
                    <a:pt x="40" y="114"/>
                    <a:pt x="40" y="113"/>
                  </a:cubicBezTo>
                  <a:cubicBezTo>
                    <a:pt x="41" y="114"/>
                    <a:pt x="39" y="115"/>
                    <a:pt x="39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40" y="115"/>
                  </a:cubicBezTo>
                  <a:close/>
                  <a:moveTo>
                    <a:pt x="58" y="89"/>
                  </a:moveTo>
                  <a:cubicBezTo>
                    <a:pt x="58" y="90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3" y="100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lose/>
                  <a:moveTo>
                    <a:pt x="53" y="96"/>
                  </a:moveTo>
                  <a:cubicBezTo>
                    <a:pt x="53" y="95"/>
                    <a:pt x="53" y="95"/>
                    <a:pt x="53" y="95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lose/>
                  <a:moveTo>
                    <a:pt x="55" y="93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4" y="93"/>
                    <a:pt x="55" y="94"/>
                    <a:pt x="54" y="94"/>
                  </a:cubicBezTo>
                  <a:cubicBezTo>
                    <a:pt x="55" y="94"/>
                    <a:pt x="55" y="94"/>
                    <a:pt x="55" y="93"/>
                  </a:cubicBezTo>
                  <a:close/>
                  <a:moveTo>
                    <a:pt x="55" y="94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2"/>
                    <a:pt x="56" y="92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9" y="87"/>
                  </a:move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58" y="89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9"/>
                  </a:cubicBezTo>
                  <a:close/>
                  <a:moveTo>
                    <a:pt x="56" y="91"/>
                  </a:moveTo>
                  <a:cubicBezTo>
                    <a:pt x="56" y="92"/>
                    <a:pt x="56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6" y="93"/>
                    <a:pt x="56" y="93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7" y="91"/>
                    <a:pt x="57" y="90"/>
                    <a:pt x="58" y="89"/>
                  </a:cubicBezTo>
                  <a:cubicBezTo>
                    <a:pt x="57" y="90"/>
                    <a:pt x="57" y="91"/>
                    <a:pt x="56" y="92"/>
                  </a:cubicBezTo>
                  <a:cubicBezTo>
                    <a:pt x="56" y="91"/>
                    <a:pt x="56" y="92"/>
                    <a:pt x="56" y="91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6"/>
                    <a:pt x="59" y="87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8" y="87"/>
                    <a:pt x="58" y="87"/>
                  </a:cubicBezTo>
                  <a:cubicBezTo>
                    <a:pt x="58" y="87"/>
                    <a:pt x="59" y="86"/>
                    <a:pt x="59" y="86"/>
                  </a:cubicBezTo>
                  <a:close/>
                  <a:moveTo>
                    <a:pt x="56" y="90"/>
                  </a:moveTo>
                  <a:cubicBezTo>
                    <a:pt x="56" y="90"/>
                    <a:pt x="57" y="89"/>
                    <a:pt x="57" y="89"/>
                  </a:cubicBezTo>
                  <a:cubicBezTo>
                    <a:pt x="56" y="89"/>
                    <a:pt x="56" y="89"/>
                    <a:pt x="56" y="90"/>
                  </a:cubicBezTo>
                  <a:close/>
                  <a:moveTo>
                    <a:pt x="58" y="86"/>
                  </a:moveTo>
                  <a:cubicBezTo>
                    <a:pt x="58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6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8" y="86"/>
                    <a:pt x="58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6"/>
                    <a:pt x="57" y="86"/>
                  </a:cubicBezTo>
                  <a:close/>
                  <a:moveTo>
                    <a:pt x="57" y="87"/>
                  </a:move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6" y="88"/>
                  </a:cubicBezTo>
                  <a:cubicBezTo>
                    <a:pt x="57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7"/>
                  </a:cubicBezTo>
                  <a:close/>
                  <a:moveTo>
                    <a:pt x="57" y="87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lose/>
                  <a:moveTo>
                    <a:pt x="54" y="93"/>
                  </a:moveTo>
                  <a:cubicBezTo>
                    <a:pt x="53" y="94"/>
                    <a:pt x="53" y="94"/>
                    <a:pt x="53" y="95"/>
                  </a:cubicBezTo>
                  <a:cubicBezTo>
                    <a:pt x="53" y="95"/>
                    <a:pt x="53" y="95"/>
                    <a:pt x="54" y="9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2"/>
                    <a:pt x="55" y="92"/>
                  </a:cubicBezTo>
                  <a:cubicBezTo>
                    <a:pt x="55" y="92"/>
                    <a:pt x="56" y="92"/>
                    <a:pt x="55" y="92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3"/>
                    <a:pt x="55" y="93"/>
                  </a:cubicBezTo>
                  <a:cubicBezTo>
                    <a:pt x="55" y="92"/>
                    <a:pt x="55" y="92"/>
                    <a:pt x="56" y="92"/>
                  </a:cubicBezTo>
                  <a:cubicBezTo>
                    <a:pt x="55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5" y="91"/>
                  </a:cubicBezTo>
                  <a:cubicBezTo>
                    <a:pt x="55" y="91"/>
                    <a:pt x="56" y="91"/>
                    <a:pt x="56" y="91"/>
                  </a:cubicBezTo>
                  <a:cubicBezTo>
                    <a:pt x="56" y="91"/>
                    <a:pt x="55" y="91"/>
                    <a:pt x="55" y="92"/>
                  </a:cubicBezTo>
                  <a:cubicBezTo>
                    <a:pt x="55" y="92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5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54" y="93"/>
                  </a:move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42" y="106"/>
                  </a:moveTo>
                  <a:cubicBezTo>
                    <a:pt x="42" y="106"/>
                    <a:pt x="42" y="106"/>
                    <a:pt x="42" y="105"/>
                  </a:cubicBezTo>
                  <a:cubicBezTo>
                    <a:pt x="42" y="106"/>
                    <a:pt x="42" y="106"/>
                    <a:pt x="41" y="106"/>
                  </a:cubicBezTo>
                  <a:cubicBezTo>
                    <a:pt x="42" y="106"/>
                    <a:pt x="42" y="106"/>
                    <a:pt x="42" y="106"/>
                  </a:cubicBezTo>
                  <a:close/>
                  <a:moveTo>
                    <a:pt x="41" y="107"/>
                  </a:moveTo>
                  <a:cubicBezTo>
                    <a:pt x="41" y="107"/>
                    <a:pt x="41" y="108"/>
                    <a:pt x="41" y="108"/>
                  </a:cubicBezTo>
                  <a:cubicBezTo>
                    <a:pt x="41" y="108"/>
                    <a:pt x="41" y="107"/>
                    <a:pt x="41" y="107"/>
                  </a:cubicBezTo>
                  <a:close/>
                  <a:moveTo>
                    <a:pt x="42" y="105"/>
                  </a:move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42" y="105"/>
                    <a:pt x="43" y="105"/>
                    <a:pt x="42" y="105"/>
                  </a:cubicBezTo>
                  <a:close/>
                  <a:moveTo>
                    <a:pt x="42" y="105"/>
                  </a:moveTo>
                  <a:cubicBezTo>
                    <a:pt x="42" y="106"/>
                    <a:pt x="42" y="106"/>
                    <a:pt x="42" y="106"/>
                  </a:cubicBezTo>
                  <a:cubicBezTo>
                    <a:pt x="42" y="106"/>
                    <a:pt x="42" y="106"/>
                    <a:pt x="42" y="105"/>
                  </a:cubicBezTo>
                  <a:close/>
                  <a:moveTo>
                    <a:pt x="44" y="104"/>
                  </a:moveTo>
                  <a:cubicBezTo>
                    <a:pt x="44" y="104"/>
                    <a:pt x="44" y="103"/>
                    <a:pt x="44" y="104"/>
                  </a:cubicBezTo>
                  <a:cubicBezTo>
                    <a:pt x="44" y="104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3"/>
                    <a:pt x="45" y="103"/>
                    <a:pt x="45" y="103"/>
                  </a:cubicBezTo>
                  <a:cubicBezTo>
                    <a:pt x="45" y="103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4" y="105"/>
                    <a:pt x="44" y="104"/>
                    <a:pt x="44" y="104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lose/>
                  <a:moveTo>
                    <a:pt x="48" y="99"/>
                  </a:moveTo>
                  <a:cubicBezTo>
                    <a:pt x="48" y="99"/>
                    <a:pt x="47" y="100"/>
                    <a:pt x="48" y="100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6" y="101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0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2"/>
                    <a:pt x="46" y="102"/>
                  </a:cubicBezTo>
                  <a:cubicBezTo>
                    <a:pt x="47" y="102"/>
                    <a:pt x="47" y="102"/>
                    <a:pt x="47" y="101"/>
                  </a:cubicBezTo>
                  <a:cubicBezTo>
                    <a:pt x="47" y="101"/>
                    <a:pt x="47" y="102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0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100"/>
                    <a:pt x="47" y="101"/>
                    <a:pt x="47" y="101"/>
                  </a:cubicBezTo>
                  <a:close/>
                  <a:moveTo>
                    <a:pt x="41" y="114"/>
                  </a:move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0" y="114"/>
                    <a:pt x="41" y="115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42" y="111"/>
                  </a:moveTo>
                  <a:cubicBezTo>
                    <a:pt x="42" y="111"/>
                    <a:pt x="43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lose/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2" y="110"/>
                    <a:pt x="42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0"/>
                    <a:pt x="43" y="110"/>
                    <a:pt x="43" y="110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4" y="109"/>
                  </a:cubicBezTo>
                  <a:cubicBezTo>
                    <a:pt x="44" y="109"/>
                    <a:pt x="43" y="109"/>
                    <a:pt x="44" y="109"/>
                  </a:cubicBezTo>
                  <a:cubicBezTo>
                    <a:pt x="44" y="109"/>
                    <a:pt x="44" y="108"/>
                    <a:pt x="44" y="108"/>
                  </a:cubicBezTo>
                  <a:close/>
                  <a:moveTo>
                    <a:pt x="46" y="105"/>
                  </a:move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7" y="104"/>
                  </a:cubicBezTo>
                  <a:cubicBezTo>
                    <a:pt x="47" y="105"/>
                    <a:pt x="46" y="104"/>
                    <a:pt x="46" y="104"/>
                  </a:cubicBezTo>
                  <a:cubicBezTo>
                    <a:pt x="46" y="104"/>
                    <a:pt x="47" y="104"/>
                    <a:pt x="47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6" y="104"/>
                    <a:pt x="46" y="105"/>
                    <a:pt x="46" y="105"/>
                  </a:cubicBezTo>
                  <a:close/>
                  <a:moveTo>
                    <a:pt x="45" y="106"/>
                  </a:moveTo>
                  <a:cubicBezTo>
                    <a:pt x="45" y="106"/>
                    <a:pt x="46" y="105"/>
                    <a:pt x="46" y="105"/>
                  </a:cubicBezTo>
                  <a:cubicBezTo>
                    <a:pt x="46" y="106"/>
                    <a:pt x="45" y="106"/>
                    <a:pt x="45" y="106"/>
                  </a:cubicBezTo>
                  <a:close/>
                  <a:moveTo>
                    <a:pt x="45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4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3" y="110"/>
                  </a:cubicBezTo>
                  <a:cubicBezTo>
                    <a:pt x="43" y="110"/>
                    <a:pt x="44" y="110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10"/>
                    <a:pt x="44" y="110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3" y="110"/>
                    <a:pt x="43" y="110"/>
                  </a:cubicBezTo>
                  <a:cubicBezTo>
                    <a:pt x="43" y="110"/>
                    <a:pt x="44" y="110"/>
                    <a:pt x="44" y="110"/>
                  </a:cubicBezTo>
                  <a:close/>
                  <a:moveTo>
                    <a:pt x="45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5" y="108"/>
                  </a:cubicBezTo>
                  <a:close/>
                  <a:moveTo>
                    <a:pt x="44" y="109"/>
                  </a:move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lose/>
                  <a:moveTo>
                    <a:pt x="45" y="107"/>
                  </a:moveTo>
                  <a:cubicBezTo>
                    <a:pt x="45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6"/>
                    <a:pt x="46" y="106"/>
                  </a:cubicBezTo>
                  <a:cubicBezTo>
                    <a:pt x="46" y="106"/>
                    <a:pt x="45" y="107"/>
                    <a:pt x="45" y="107"/>
                  </a:cubicBezTo>
                  <a:cubicBezTo>
                    <a:pt x="45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4" y="107"/>
                    <a:pt x="44" y="108"/>
                  </a:cubicBezTo>
                  <a:cubicBezTo>
                    <a:pt x="44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6" y="105"/>
                  </a:move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6" y="105"/>
                    <a:pt x="47" y="104"/>
                    <a:pt x="47" y="104"/>
                  </a:cubicBezTo>
                  <a:cubicBezTo>
                    <a:pt x="47" y="104"/>
                    <a:pt x="47" y="105"/>
                    <a:pt x="47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lose/>
                  <a:moveTo>
                    <a:pt x="48" y="103"/>
                  </a:moveTo>
                  <a:cubicBezTo>
                    <a:pt x="47" y="103"/>
                    <a:pt x="47" y="104"/>
                    <a:pt x="47" y="104"/>
                  </a:cubicBezTo>
                  <a:cubicBezTo>
                    <a:pt x="48" y="103"/>
                    <a:pt x="48" y="103"/>
                    <a:pt x="48" y="103"/>
                  </a:cubicBezTo>
                  <a:close/>
                  <a:moveTo>
                    <a:pt x="48" y="102"/>
                  </a:move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1"/>
                    <a:pt x="48" y="101"/>
                  </a:cubicBezTo>
                  <a:cubicBezTo>
                    <a:pt x="48" y="102"/>
                    <a:pt x="48" y="102"/>
                    <a:pt x="48" y="102"/>
                  </a:cubicBezTo>
                  <a:close/>
                  <a:moveTo>
                    <a:pt x="49" y="101"/>
                  </a:moveTo>
                  <a:cubicBezTo>
                    <a:pt x="49" y="101"/>
                    <a:pt x="49" y="100"/>
                    <a:pt x="49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0"/>
                    <a:pt x="49" y="101"/>
                    <a:pt x="49" y="101"/>
                  </a:cubicBezTo>
                  <a:close/>
                  <a:moveTo>
                    <a:pt x="45" y="109"/>
                  </a:moveTo>
                  <a:cubicBezTo>
                    <a:pt x="45" y="109"/>
                    <a:pt x="46" y="108"/>
                    <a:pt x="46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4" y="109"/>
                    <a:pt x="44" y="109"/>
                  </a:cubicBezTo>
                  <a:cubicBezTo>
                    <a:pt x="45" y="109"/>
                    <a:pt x="45" y="108"/>
                    <a:pt x="45" y="109"/>
                  </a:cubicBezTo>
                  <a:close/>
                  <a:moveTo>
                    <a:pt x="46" y="106"/>
                  </a:moveTo>
                  <a:cubicBezTo>
                    <a:pt x="46" y="106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6" y="107"/>
                    <a:pt x="46" y="107"/>
                  </a:cubicBezTo>
                  <a:cubicBezTo>
                    <a:pt x="46" y="107"/>
                    <a:pt x="47" y="107"/>
                    <a:pt x="47" y="107"/>
                  </a:cubicBezTo>
                  <a:cubicBezTo>
                    <a:pt x="47" y="107"/>
                    <a:pt x="46" y="107"/>
                    <a:pt x="46" y="107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lose/>
                  <a:moveTo>
                    <a:pt x="44" y="112"/>
                  </a:moveTo>
                  <a:cubicBezTo>
                    <a:pt x="43" y="112"/>
                    <a:pt x="44" y="113"/>
                    <a:pt x="43" y="113"/>
                  </a:cubicBezTo>
                  <a:cubicBezTo>
                    <a:pt x="43" y="113"/>
                    <a:pt x="44" y="113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lose/>
                  <a:moveTo>
                    <a:pt x="43" y="112"/>
                  </a:moveTo>
                  <a:cubicBezTo>
                    <a:pt x="43" y="112"/>
                    <a:pt x="43" y="112"/>
                    <a:pt x="43" y="112"/>
                  </a:cubicBezTo>
                  <a:cubicBezTo>
                    <a:pt x="43" y="112"/>
                    <a:pt x="43" y="112"/>
                    <a:pt x="43" y="112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5"/>
                  </a:cubicBezTo>
                  <a:cubicBezTo>
                    <a:pt x="42" y="115"/>
                    <a:pt x="42" y="114"/>
                    <a:pt x="42" y="114"/>
                  </a:cubicBezTo>
                  <a:close/>
                  <a:moveTo>
                    <a:pt x="41" y="116"/>
                  </a:moveTo>
                  <a:cubicBezTo>
                    <a:pt x="41" y="116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1" y="115"/>
                    <a:pt x="42" y="115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1" y="117"/>
                  </a:move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4"/>
                    <a:pt x="43" y="114"/>
                  </a:cubicBezTo>
                  <a:cubicBezTo>
                    <a:pt x="43" y="114"/>
                    <a:pt x="42" y="114"/>
                    <a:pt x="42" y="114"/>
                  </a:cubicBezTo>
                  <a:cubicBezTo>
                    <a:pt x="43" y="114"/>
                    <a:pt x="43" y="113"/>
                    <a:pt x="43" y="113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4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6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6"/>
                    <a:pt x="43" y="115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1" y="119"/>
                    <a:pt x="41" y="119"/>
                  </a:cubicBezTo>
                  <a:cubicBezTo>
                    <a:pt x="42" y="118"/>
                    <a:pt x="42" y="119"/>
                    <a:pt x="42" y="118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7"/>
                    <a:pt x="42" y="117"/>
                  </a:cubicBezTo>
                  <a:cubicBezTo>
                    <a:pt x="42" y="117"/>
                    <a:pt x="42" y="118"/>
                    <a:pt x="42" y="118"/>
                  </a:cubicBezTo>
                  <a:close/>
                  <a:moveTo>
                    <a:pt x="43" y="117"/>
                  </a:moveTo>
                  <a:cubicBezTo>
                    <a:pt x="43" y="117"/>
                    <a:pt x="42" y="117"/>
                    <a:pt x="42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3" y="117"/>
                    <a:pt x="43" y="117"/>
                  </a:cubicBezTo>
                  <a:cubicBezTo>
                    <a:pt x="43" y="117"/>
                    <a:pt x="43" y="117"/>
                    <a:pt x="42" y="117"/>
                  </a:cubicBezTo>
                  <a:cubicBezTo>
                    <a:pt x="43" y="117"/>
                    <a:pt x="43" y="117"/>
                    <a:pt x="43" y="117"/>
                  </a:cubicBezTo>
                  <a:close/>
                  <a:moveTo>
                    <a:pt x="44" y="114"/>
                  </a:moveTo>
                  <a:cubicBezTo>
                    <a:pt x="44" y="114"/>
                    <a:pt x="44" y="114"/>
                    <a:pt x="43" y="115"/>
                  </a:cubicBezTo>
                  <a:cubicBezTo>
                    <a:pt x="44" y="115"/>
                    <a:pt x="44" y="114"/>
                    <a:pt x="44" y="114"/>
                  </a:cubicBezTo>
                  <a:cubicBezTo>
                    <a:pt x="44" y="114"/>
                    <a:pt x="44" y="114"/>
                    <a:pt x="44" y="114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3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3" y="113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5"/>
                  </a:cubicBezTo>
                  <a:cubicBezTo>
                    <a:pt x="43" y="114"/>
                    <a:pt x="44" y="114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1"/>
                  </a:moveTo>
                  <a:cubicBezTo>
                    <a:pt x="45" y="111"/>
                    <a:pt x="44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2"/>
                    <a:pt x="44" y="112"/>
                  </a:cubicBezTo>
                  <a:cubicBezTo>
                    <a:pt x="44" y="112"/>
                    <a:pt x="44" y="111"/>
                    <a:pt x="45" y="111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1"/>
                    <a:pt x="45" y="111"/>
                    <a:pt x="45" y="111"/>
                  </a:cubicBezTo>
                  <a:close/>
                  <a:moveTo>
                    <a:pt x="45" y="110"/>
                  </a:moveTo>
                  <a:cubicBezTo>
                    <a:pt x="45" y="110"/>
                    <a:pt x="45" y="110"/>
                    <a:pt x="45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6" y="110"/>
                  </a:moveTo>
                  <a:cubicBezTo>
                    <a:pt x="45" y="111"/>
                    <a:pt x="45" y="110"/>
                    <a:pt x="45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0"/>
                    <a:pt x="46" y="110"/>
                    <a:pt x="46" y="110"/>
                  </a:cubicBezTo>
                  <a:close/>
                  <a:moveTo>
                    <a:pt x="47" y="107"/>
                  </a:move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7" y="107"/>
                    <a:pt x="47" y="107"/>
                  </a:cubicBezTo>
                  <a:close/>
                  <a:moveTo>
                    <a:pt x="48" y="107"/>
                  </a:move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6"/>
                  </a:cubicBezTo>
                  <a:cubicBezTo>
                    <a:pt x="47" y="107"/>
                    <a:pt x="48" y="106"/>
                    <a:pt x="48" y="106"/>
                  </a:cubicBezTo>
                  <a:cubicBezTo>
                    <a:pt x="48" y="106"/>
                    <a:pt x="47" y="106"/>
                    <a:pt x="47" y="107"/>
                  </a:cubicBezTo>
                  <a:cubicBezTo>
                    <a:pt x="48" y="106"/>
                    <a:pt x="47" y="107"/>
                    <a:pt x="48" y="107"/>
                  </a:cubicBezTo>
                  <a:close/>
                  <a:moveTo>
                    <a:pt x="48" y="105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7"/>
                  </a:cubicBezTo>
                  <a:cubicBezTo>
                    <a:pt x="48" y="107"/>
                    <a:pt x="48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8" y="107"/>
                    <a:pt x="48" y="107"/>
                  </a:cubicBezTo>
                  <a:cubicBezTo>
                    <a:pt x="47" y="107"/>
                    <a:pt x="48" y="107"/>
                    <a:pt x="48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7"/>
                    <a:pt x="48" y="107"/>
                  </a:cubicBezTo>
                  <a:cubicBezTo>
                    <a:pt x="48" y="106"/>
                    <a:pt x="49" y="106"/>
                    <a:pt x="48" y="105"/>
                  </a:cubicBezTo>
                  <a:close/>
                  <a:moveTo>
                    <a:pt x="48" y="106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lose/>
                  <a:moveTo>
                    <a:pt x="48" y="106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6"/>
                  </a:cubicBezTo>
                  <a:close/>
                  <a:moveTo>
                    <a:pt x="48" y="105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8" y="105"/>
                    <a:pt x="48" y="104"/>
                    <a:pt x="48" y="104"/>
                  </a:cubicBezTo>
                  <a:cubicBezTo>
                    <a:pt x="48" y="103"/>
                    <a:pt x="48" y="104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7" y="104"/>
                  </a:cubicBezTo>
                  <a:cubicBezTo>
                    <a:pt x="47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7" y="105"/>
                    <a:pt x="48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7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7" y="107"/>
                    <a:pt x="47" y="107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8" y="105"/>
                    <a:pt x="48" y="105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9" y="104"/>
                    <a:pt x="49" y="104"/>
                  </a:cubicBezTo>
                  <a:cubicBezTo>
                    <a:pt x="49" y="104"/>
                    <a:pt x="49" y="103"/>
                    <a:pt x="49" y="103"/>
                  </a:cubicBezTo>
                  <a:cubicBezTo>
                    <a:pt x="48" y="104"/>
                    <a:pt x="48" y="104"/>
                    <a:pt x="48" y="105"/>
                  </a:cubicBezTo>
                  <a:close/>
                  <a:moveTo>
                    <a:pt x="50" y="99"/>
                  </a:move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49" y="100"/>
                    <a:pt x="50" y="100"/>
                  </a:cubicBezTo>
                  <a:cubicBezTo>
                    <a:pt x="50" y="99"/>
                    <a:pt x="50" y="99"/>
                    <a:pt x="50" y="99"/>
                  </a:cubicBezTo>
                  <a:close/>
                  <a:moveTo>
                    <a:pt x="49" y="101"/>
                  </a:moveTo>
                  <a:cubicBezTo>
                    <a:pt x="49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49" y="101"/>
                    <a:pt x="49" y="101"/>
                  </a:cubicBezTo>
                  <a:close/>
                  <a:moveTo>
                    <a:pt x="49" y="103"/>
                  </a:moveTo>
                  <a:cubicBezTo>
                    <a:pt x="49" y="102"/>
                    <a:pt x="49" y="102"/>
                    <a:pt x="49" y="101"/>
                  </a:cubicBezTo>
                  <a:cubicBezTo>
                    <a:pt x="49" y="102"/>
                    <a:pt x="49" y="101"/>
                    <a:pt x="49" y="102"/>
                  </a:cubicBezTo>
                  <a:cubicBezTo>
                    <a:pt x="49" y="102"/>
                    <a:pt x="49" y="102"/>
                    <a:pt x="49" y="103"/>
                  </a:cubicBezTo>
                  <a:close/>
                  <a:moveTo>
                    <a:pt x="50" y="101"/>
                  </a:moveTo>
                  <a:cubicBezTo>
                    <a:pt x="50" y="100"/>
                    <a:pt x="50" y="99"/>
                    <a:pt x="51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49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lose/>
                  <a:moveTo>
                    <a:pt x="51" y="99"/>
                  </a:moveTo>
                  <a:cubicBezTo>
                    <a:pt x="51" y="99"/>
                    <a:pt x="51" y="98"/>
                    <a:pt x="51" y="98"/>
                  </a:cubicBezTo>
                  <a:cubicBezTo>
                    <a:pt x="51" y="98"/>
                    <a:pt x="51" y="98"/>
                    <a:pt x="51" y="99"/>
                  </a:cubicBezTo>
                  <a:close/>
                  <a:moveTo>
                    <a:pt x="53" y="94"/>
                  </a:move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3" y="93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4" y="90"/>
                    <a:pt x="55" y="90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5" y="91"/>
                    <a:pt x="54" y="91"/>
                    <a:pt x="55" y="90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4"/>
                    <a:pt x="53" y="94"/>
                  </a:cubicBezTo>
                  <a:cubicBezTo>
                    <a:pt x="53" y="94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4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5" y="90"/>
                  </a:move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2" y="95"/>
                  </a:moveTo>
                  <a:cubicBezTo>
                    <a:pt x="52" y="95"/>
                    <a:pt x="52" y="94"/>
                    <a:pt x="52" y="94"/>
                  </a:cubicBezTo>
                  <a:cubicBezTo>
                    <a:pt x="52" y="94"/>
                    <a:pt x="52" y="95"/>
                    <a:pt x="52" y="95"/>
                  </a:cubicBezTo>
                  <a:close/>
                  <a:moveTo>
                    <a:pt x="50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50" y="99"/>
                    <a:pt x="50" y="99"/>
                    <a:pt x="50" y="98"/>
                  </a:cubicBezTo>
                  <a:cubicBezTo>
                    <a:pt x="50" y="98"/>
                    <a:pt x="50" y="99"/>
                    <a:pt x="50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1" y="98"/>
                    <a:pt x="51" y="98"/>
                    <a:pt x="51" y="97"/>
                  </a:cubicBezTo>
                  <a:cubicBezTo>
                    <a:pt x="51" y="97"/>
                    <a:pt x="51" y="98"/>
                    <a:pt x="51" y="97"/>
                  </a:cubicBezTo>
                  <a:cubicBezTo>
                    <a:pt x="51" y="97"/>
                    <a:pt x="51" y="97"/>
                    <a:pt x="51" y="96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0" y="97"/>
                    <a:pt x="50" y="98"/>
                  </a:cubicBezTo>
                  <a:close/>
                  <a:moveTo>
                    <a:pt x="49" y="100"/>
                  </a:moveTo>
                  <a:cubicBezTo>
                    <a:pt x="49" y="100"/>
                    <a:pt x="49" y="100"/>
                    <a:pt x="49" y="100"/>
                  </a:cubicBezTo>
                  <a:cubicBezTo>
                    <a:pt x="49" y="99"/>
                    <a:pt x="50" y="99"/>
                    <a:pt x="50" y="99"/>
                  </a:cubicBezTo>
                  <a:cubicBezTo>
                    <a:pt x="49" y="99"/>
                    <a:pt x="49" y="99"/>
                    <a:pt x="49" y="100"/>
                  </a:cubicBezTo>
                  <a:cubicBezTo>
                    <a:pt x="49" y="100"/>
                    <a:pt x="49" y="99"/>
                    <a:pt x="49" y="99"/>
                  </a:cubicBezTo>
                  <a:lnTo>
                    <a:pt x="49" y="100"/>
                  </a:lnTo>
                  <a:close/>
                  <a:moveTo>
                    <a:pt x="48" y="101"/>
                  </a:moveTo>
                  <a:cubicBezTo>
                    <a:pt x="49" y="101"/>
                    <a:pt x="49" y="101"/>
                    <a:pt x="49" y="101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1"/>
                    <a:pt x="48" y="101"/>
                    <a:pt x="48" y="101"/>
                  </a:cubicBezTo>
                  <a:close/>
                  <a:moveTo>
                    <a:pt x="47" y="104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lose/>
                  <a:moveTo>
                    <a:pt x="47" y="103"/>
                  </a:move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2"/>
                    <a:pt x="47" y="102"/>
                  </a:cubicBezTo>
                  <a:cubicBezTo>
                    <a:pt x="47" y="103"/>
                    <a:pt x="47" y="103"/>
                    <a:pt x="46" y="103"/>
                  </a:cubicBezTo>
                  <a:cubicBezTo>
                    <a:pt x="46" y="104"/>
                    <a:pt x="46" y="104"/>
                    <a:pt x="47" y="104"/>
                  </a:cubicBezTo>
                  <a:cubicBezTo>
                    <a:pt x="47" y="104"/>
                    <a:pt x="47" y="104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lose/>
                  <a:moveTo>
                    <a:pt x="49" y="99"/>
                  </a:move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8" y="101"/>
                  </a:move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8" y="101"/>
                    <a:pt x="48" y="101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5" y="106"/>
                  </a:move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3" y="108"/>
                    <a:pt x="44" y="108"/>
                    <a:pt x="44" y="108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4" y="108"/>
                    <a:pt x="43" y="108"/>
                  </a:cubicBezTo>
                  <a:cubicBezTo>
                    <a:pt x="43" y="109"/>
                    <a:pt x="43" y="109"/>
                    <a:pt x="43" y="108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10"/>
                    <a:pt x="43" y="110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7"/>
                    <a:pt x="44" y="107"/>
                  </a:cubicBezTo>
                  <a:cubicBezTo>
                    <a:pt x="44" y="107"/>
                    <a:pt x="43" y="108"/>
                    <a:pt x="44" y="108"/>
                  </a:cubicBezTo>
                  <a:close/>
                  <a:moveTo>
                    <a:pt x="41" y="113"/>
                  </a:move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4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2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2" y="112"/>
                    <a:pt x="42" y="112"/>
                    <a:pt x="42" y="111"/>
                  </a:cubicBezTo>
                  <a:cubicBezTo>
                    <a:pt x="42" y="111"/>
                    <a:pt x="42" y="112"/>
                    <a:pt x="42" y="111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1" y="112"/>
                    <a:pt x="41" y="113"/>
                  </a:cubicBezTo>
                  <a:cubicBezTo>
                    <a:pt x="41" y="112"/>
                    <a:pt x="41" y="113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lose/>
                  <a:moveTo>
                    <a:pt x="38" y="117"/>
                  </a:moveTo>
                  <a:cubicBezTo>
                    <a:pt x="38" y="117"/>
                    <a:pt x="38" y="117"/>
                    <a:pt x="38" y="117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6"/>
                    <a:pt x="38" y="117"/>
                  </a:cubicBezTo>
                  <a:close/>
                  <a:moveTo>
                    <a:pt x="47" y="99"/>
                  </a:moveTo>
                  <a:cubicBezTo>
                    <a:pt x="47" y="98"/>
                    <a:pt x="48" y="98"/>
                    <a:pt x="48" y="98"/>
                  </a:cubicBezTo>
                  <a:cubicBezTo>
                    <a:pt x="48" y="98"/>
                    <a:pt x="47" y="99"/>
                    <a:pt x="47" y="99"/>
                  </a:cubicBezTo>
                  <a:close/>
                  <a:moveTo>
                    <a:pt x="56" y="79"/>
                  </a:moveTo>
                  <a:cubicBezTo>
                    <a:pt x="56" y="79"/>
                    <a:pt x="55" y="80"/>
                    <a:pt x="55" y="80"/>
                  </a:cubicBezTo>
                  <a:cubicBezTo>
                    <a:pt x="55" y="80"/>
                    <a:pt x="55" y="79"/>
                    <a:pt x="55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51" y="78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7"/>
                  </a:cubicBezTo>
                  <a:cubicBezTo>
                    <a:pt x="52" y="77"/>
                    <a:pt x="52" y="78"/>
                    <a:pt x="51" y="78"/>
                  </a:cubicBezTo>
                  <a:close/>
                  <a:moveTo>
                    <a:pt x="57" y="81"/>
                  </a:moveTo>
                  <a:cubicBezTo>
                    <a:pt x="56" y="81"/>
                    <a:pt x="57" y="81"/>
                    <a:pt x="56" y="81"/>
                  </a:cubicBezTo>
                  <a:cubicBezTo>
                    <a:pt x="56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1"/>
                  </a:cubicBezTo>
                  <a:close/>
                  <a:moveTo>
                    <a:pt x="55" y="81"/>
                  </a:move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1"/>
                    <a:pt x="56" y="81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ubicBezTo>
                    <a:pt x="55" y="81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4" y="86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7"/>
                    <a:pt x="54" y="87"/>
                    <a:pt x="54" y="86"/>
                  </a:cubicBezTo>
                  <a:cubicBezTo>
                    <a:pt x="54" y="86"/>
                    <a:pt x="54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8" y="81"/>
                    <a:pt x="58" y="81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3"/>
                  </a:cubicBezTo>
                  <a:cubicBezTo>
                    <a:pt x="57" y="82"/>
                    <a:pt x="57" y="82"/>
                    <a:pt x="58" y="82"/>
                  </a:cubicBezTo>
                  <a:cubicBezTo>
                    <a:pt x="58" y="82"/>
                    <a:pt x="57" y="83"/>
                    <a:pt x="57" y="83"/>
                  </a:cubicBezTo>
                  <a:cubicBezTo>
                    <a:pt x="57" y="83"/>
                    <a:pt x="56" y="83"/>
                    <a:pt x="56" y="84"/>
                  </a:cubicBezTo>
                  <a:cubicBezTo>
                    <a:pt x="56" y="84"/>
                    <a:pt x="56" y="84"/>
                    <a:pt x="57" y="83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6"/>
                    <a:pt x="56" y="86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7"/>
                    <a:pt x="55" y="87"/>
                  </a:cubicBezTo>
                  <a:cubicBezTo>
                    <a:pt x="55" y="87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4"/>
                  </a:cubicBezTo>
                  <a:cubicBezTo>
                    <a:pt x="56" y="85"/>
                    <a:pt x="56" y="84"/>
                    <a:pt x="56" y="84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1"/>
                    <a:pt x="53" y="80"/>
                  </a:cubicBezTo>
                  <a:cubicBezTo>
                    <a:pt x="53" y="80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lose/>
                  <a:moveTo>
                    <a:pt x="51" y="80"/>
                  </a:moveTo>
                  <a:cubicBezTo>
                    <a:pt x="51" y="80"/>
                    <a:pt x="51" y="80"/>
                    <a:pt x="51" y="79"/>
                  </a:cubicBezTo>
                  <a:cubicBezTo>
                    <a:pt x="51" y="79"/>
                    <a:pt x="51" y="80"/>
                    <a:pt x="51" y="79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2"/>
                    <a:pt x="52" y="82"/>
                  </a:cubicBezTo>
                  <a:cubicBezTo>
                    <a:pt x="52" y="82"/>
                    <a:pt x="52" y="81"/>
                    <a:pt x="52" y="81"/>
                  </a:cubicBezTo>
                  <a:cubicBezTo>
                    <a:pt x="52" y="82"/>
                    <a:pt x="51" y="82"/>
                    <a:pt x="51" y="83"/>
                  </a:cubicBezTo>
                  <a:cubicBezTo>
                    <a:pt x="51" y="83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2" y="82"/>
                    <a:pt x="52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0" y="83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1" y="82"/>
                    <a:pt x="51" y="81"/>
                  </a:cubicBezTo>
                  <a:cubicBezTo>
                    <a:pt x="51" y="81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2"/>
                    <a:pt x="53" y="82"/>
                  </a:cubicBezTo>
                  <a:close/>
                  <a:moveTo>
                    <a:pt x="53" y="83"/>
                  </a:move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4" y="82"/>
                    <a:pt x="53" y="82"/>
                    <a:pt x="54" y="82"/>
                  </a:cubicBezTo>
                  <a:cubicBezTo>
                    <a:pt x="54" y="82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3"/>
                    <a:pt x="52" y="83"/>
                  </a:cubicBezTo>
                  <a:close/>
                  <a:moveTo>
                    <a:pt x="57" y="87"/>
                  </a:moveTo>
                  <a:cubicBezTo>
                    <a:pt x="56" y="87"/>
                    <a:pt x="57" y="87"/>
                    <a:pt x="57" y="87"/>
                  </a:cubicBezTo>
                  <a:cubicBezTo>
                    <a:pt x="56" y="87"/>
                    <a:pt x="57" y="86"/>
                    <a:pt x="56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3" y="85"/>
                  </a:moveTo>
                  <a:cubicBezTo>
                    <a:pt x="52" y="85"/>
                    <a:pt x="52" y="85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6"/>
                    <a:pt x="52" y="86"/>
                    <a:pt x="52" y="87"/>
                  </a:cubicBezTo>
                  <a:cubicBezTo>
                    <a:pt x="52" y="87"/>
                    <a:pt x="52" y="86"/>
                    <a:pt x="52" y="86"/>
                  </a:cubicBezTo>
                  <a:cubicBezTo>
                    <a:pt x="52" y="86"/>
                    <a:pt x="52" y="86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2" y="85"/>
                    <a:pt x="53" y="85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4"/>
                  </a:cubicBezTo>
                  <a:cubicBezTo>
                    <a:pt x="51" y="85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7" y="87"/>
                  </a:moveTo>
                  <a:cubicBezTo>
                    <a:pt x="47" y="87"/>
                    <a:pt x="47" y="87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4"/>
                  </a:cubicBezTo>
                  <a:cubicBezTo>
                    <a:pt x="49" y="85"/>
                    <a:pt x="48" y="85"/>
                    <a:pt x="49" y="85"/>
                  </a:cubicBezTo>
                  <a:cubicBezTo>
                    <a:pt x="49" y="85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7"/>
                    <a:pt x="48" y="87"/>
                  </a:cubicBezTo>
                  <a:cubicBezTo>
                    <a:pt x="48" y="87"/>
                    <a:pt x="47" y="87"/>
                    <a:pt x="47" y="87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5"/>
                    <a:pt x="48" y="85"/>
                  </a:cubicBezTo>
                  <a:cubicBezTo>
                    <a:pt x="48" y="86"/>
                    <a:pt x="48" y="86"/>
                    <a:pt x="48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0" y="87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1" y="86"/>
                    <a:pt x="50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7"/>
                    <a:pt x="50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8"/>
                    <a:pt x="51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89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0" y="89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50" y="84"/>
                    <a:pt x="50" y="84"/>
                  </a:cubicBezTo>
                  <a:cubicBezTo>
                    <a:pt x="50" y="84"/>
                    <a:pt x="49" y="85"/>
                    <a:pt x="49" y="85"/>
                  </a:cubicBezTo>
                  <a:cubicBezTo>
                    <a:pt x="49" y="85"/>
                    <a:pt x="49" y="85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7"/>
                  </a:cubicBezTo>
                  <a:cubicBezTo>
                    <a:pt x="49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9" y="86"/>
                    <a:pt x="48" y="86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8"/>
                    <a:pt x="53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4" y="88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88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8"/>
                    <a:pt x="52" y="88"/>
                    <a:pt x="51" y="89"/>
                  </a:cubicBezTo>
                  <a:cubicBezTo>
                    <a:pt x="52" y="88"/>
                    <a:pt x="51" y="90"/>
                    <a:pt x="51" y="90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2" y="89"/>
                    <a:pt x="52" y="89"/>
                  </a:cubicBezTo>
                  <a:cubicBezTo>
                    <a:pt x="52" y="89"/>
                    <a:pt x="52" y="89"/>
                    <a:pt x="53" y="89"/>
                  </a:cubicBezTo>
                  <a:close/>
                  <a:moveTo>
                    <a:pt x="55" y="89"/>
                  </a:moveTo>
                  <a:cubicBezTo>
                    <a:pt x="55" y="89"/>
                    <a:pt x="54" y="89"/>
                    <a:pt x="54" y="89"/>
                  </a:cubicBezTo>
                  <a:cubicBezTo>
                    <a:pt x="54" y="89"/>
                    <a:pt x="55" y="89"/>
                    <a:pt x="55" y="89"/>
                  </a:cubicBezTo>
                  <a:cubicBezTo>
                    <a:pt x="55" y="89"/>
                    <a:pt x="54" y="89"/>
                    <a:pt x="55" y="89"/>
                  </a:cubicBezTo>
                  <a:close/>
                  <a:moveTo>
                    <a:pt x="49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lose/>
                  <a:moveTo>
                    <a:pt x="51" y="92"/>
                  </a:move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2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89"/>
                  </a:cubicBezTo>
                  <a:cubicBezTo>
                    <a:pt x="53" y="90"/>
                    <a:pt x="51" y="91"/>
                    <a:pt x="52" y="92"/>
                  </a:cubicBezTo>
                  <a:cubicBezTo>
                    <a:pt x="51" y="92"/>
                    <a:pt x="51" y="92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7" y="89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1"/>
                    <a:pt x="46" y="91"/>
                    <a:pt x="46" y="92"/>
                  </a:cubicBezTo>
                  <a:cubicBezTo>
                    <a:pt x="46" y="92"/>
                    <a:pt x="47" y="91"/>
                    <a:pt x="46" y="91"/>
                  </a:cubicBezTo>
                  <a:cubicBezTo>
                    <a:pt x="47" y="90"/>
                    <a:pt x="47" y="89"/>
                    <a:pt x="48" y="88"/>
                  </a:cubicBezTo>
                  <a:cubicBezTo>
                    <a:pt x="48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7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1" y="92"/>
                    <a:pt x="50" y="92"/>
                  </a:cubicBezTo>
                  <a:cubicBezTo>
                    <a:pt x="51" y="91"/>
                    <a:pt x="51" y="90"/>
                    <a:pt x="52" y="90"/>
                  </a:cubicBezTo>
                  <a:cubicBezTo>
                    <a:pt x="52" y="90"/>
                    <a:pt x="51" y="91"/>
                    <a:pt x="51" y="91"/>
                  </a:cubicBezTo>
                  <a:close/>
                  <a:moveTo>
                    <a:pt x="47" y="89"/>
                  </a:moveTo>
                  <a:cubicBezTo>
                    <a:pt x="47" y="89"/>
                    <a:pt x="47" y="88"/>
                    <a:pt x="47" y="88"/>
                  </a:cubicBezTo>
                  <a:cubicBezTo>
                    <a:pt x="47" y="88"/>
                    <a:pt x="47" y="89"/>
                    <a:pt x="47" y="89"/>
                  </a:cubicBezTo>
                  <a:close/>
                  <a:moveTo>
                    <a:pt x="53" y="93"/>
                  </a:moveTo>
                  <a:cubicBezTo>
                    <a:pt x="53" y="93"/>
                    <a:pt x="52" y="93"/>
                    <a:pt x="53" y="93"/>
                  </a:cubicBezTo>
                  <a:cubicBezTo>
                    <a:pt x="52" y="93"/>
                    <a:pt x="52" y="93"/>
                    <a:pt x="53" y="93"/>
                  </a:cubicBezTo>
                  <a:close/>
                  <a:moveTo>
                    <a:pt x="49" y="92"/>
                  </a:moveTo>
                  <a:cubicBezTo>
                    <a:pt x="48" y="92"/>
                    <a:pt x="48" y="92"/>
                    <a:pt x="48" y="92"/>
                  </a:cubicBezTo>
                  <a:cubicBezTo>
                    <a:pt x="48" y="92"/>
                    <a:pt x="48" y="93"/>
                    <a:pt x="47" y="93"/>
                  </a:cubicBezTo>
                  <a:cubicBezTo>
                    <a:pt x="48" y="93"/>
                    <a:pt x="48" y="92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1"/>
                    <a:pt x="48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53" y="95"/>
                  </a:move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3" y="95"/>
                    <a:pt x="53" y="95"/>
                  </a:cubicBezTo>
                  <a:close/>
                  <a:moveTo>
                    <a:pt x="45" y="91"/>
                  </a:move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5" y="91"/>
                    <a:pt x="45" y="91"/>
                  </a:cubicBezTo>
                  <a:close/>
                  <a:moveTo>
                    <a:pt x="48" y="92"/>
                  </a:moveTo>
                  <a:cubicBezTo>
                    <a:pt x="48" y="93"/>
                    <a:pt x="48" y="93"/>
                    <a:pt x="47" y="93"/>
                  </a:cubicBezTo>
                  <a:cubicBezTo>
                    <a:pt x="47" y="93"/>
                    <a:pt x="48" y="92"/>
                    <a:pt x="48" y="92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8"/>
                    <a:pt x="52" y="98"/>
                  </a:cubicBezTo>
                  <a:cubicBezTo>
                    <a:pt x="52" y="98"/>
                    <a:pt x="53" y="98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7"/>
                    <a:pt x="53" y="97"/>
                  </a:cubicBezTo>
                  <a:cubicBezTo>
                    <a:pt x="53" y="98"/>
                    <a:pt x="52" y="98"/>
                    <a:pt x="52" y="98"/>
                  </a:cubicBezTo>
                  <a:cubicBezTo>
                    <a:pt x="52" y="98"/>
                    <a:pt x="52" y="99"/>
                    <a:pt x="51" y="99"/>
                  </a:cubicBezTo>
                  <a:cubicBezTo>
                    <a:pt x="52" y="99"/>
                    <a:pt x="52" y="98"/>
                    <a:pt x="52" y="98"/>
                  </a:cubicBezTo>
                  <a:cubicBezTo>
                    <a:pt x="52" y="98"/>
                    <a:pt x="52" y="98"/>
                    <a:pt x="52" y="97"/>
                  </a:cubicBezTo>
                  <a:cubicBezTo>
                    <a:pt x="53" y="97"/>
                    <a:pt x="52" y="97"/>
                    <a:pt x="52" y="97"/>
                  </a:cubicBezTo>
                  <a:cubicBezTo>
                    <a:pt x="52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5" y="95"/>
                    <a:pt x="44" y="96"/>
                  </a:cubicBezTo>
                  <a:close/>
                  <a:moveTo>
                    <a:pt x="43" y="94"/>
                  </a:move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lose/>
                  <a:moveTo>
                    <a:pt x="42" y="97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8"/>
                  </a:cubicBezTo>
                  <a:cubicBezTo>
                    <a:pt x="42" y="97"/>
                    <a:pt x="42" y="96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6"/>
                  </a:cubicBezTo>
                  <a:cubicBezTo>
                    <a:pt x="43" y="96"/>
                    <a:pt x="43" y="95"/>
                    <a:pt x="43" y="95"/>
                  </a:cubicBezTo>
                  <a:cubicBezTo>
                    <a:pt x="43" y="96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6"/>
                    <a:pt x="44" y="96"/>
                  </a:cubicBezTo>
                  <a:cubicBezTo>
                    <a:pt x="44" y="96"/>
                    <a:pt x="44" y="96"/>
                    <a:pt x="44" y="95"/>
                  </a:cubicBezTo>
                  <a:cubicBezTo>
                    <a:pt x="44" y="95"/>
                    <a:pt x="44" y="96"/>
                    <a:pt x="44" y="96"/>
                  </a:cubicBezTo>
                  <a:close/>
                  <a:moveTo>
                    <a:pt x="43" y="100"/>
                  </a:moveTo>
                  <a:cubicBezTo>
                    <a:pt x="43" y="99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5" y="97"/>
                    <a:pt x="45" y="96"/>
                  </a:cubicBezTo>
                  <a:cubicBezTo>
                    <a:pt x="45" y="96"/>
                    <a:pt x="45" y="97"/>
                    <a:pt x="45" y="97"/>
                  </a:cubicBezTo>
                  <a:cubicBezTo>
                    <a:pt x="44" y="97"/>
                    <a:pt x="45" y="97"/>
                    <a:pt x="44" y="98"/>
                  </a:cubicBezTo>
                  <a:cubicBezTo>
                    <a:pt x="45" y="98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6"/>
                  </a:cubicBezTo>
                  <a:cubicBezTo>
                    <a:pt x="46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5" y="98"/>
                    <a:pt x="45" y="99"/>
                  </a:cubicBezTo>
                  <a:cubicBezTo>
                    <a:pt x="45" y="99"/>
                    <a:pt x="45" y="98"/>
                    <a:pt x="45" y="98"/>
                  </a:cubicBezTo>
                  <a:cubicBezTo>
                    <a:pt x="45" y="98"/>
                    <a:pt x="44" y="99"/>
                    <a:pt x="44" y="98"/>
                  </a:cubicBezTo>
                  <a:cubicBezTo>
                    <a:pt x="44" y="99"/>
                    <a:pt x="44" y="99"/>
                    <a:pt x="45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100"/>
                  </a:cubicBezTo>
                  <a:cubicBezTo>
                    <a:pt x="44" y="100"/>
                    <a:pt x="44" y="99"/>
                    <a:pt x="44" y="99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3" y="101"/>
                    <a:pt x="43" y="101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3" y="100"/>
                    <a:pt x="43" y="100"/>
                  </a:cubicBezTo>
                  <a:cubicBezTo>
                    <a:pt x="43" y="100"/>
                    <a:pt x="43" y="99"/>
                    <a:pt x="44" y="99"/>
                  </a:cubicBezTo>
                  <a:cubicBezTo>
                    <a:pt x="44" y="99"/>
                    <a:pt x="44" y="99"/>
                    <a:pt x="44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3" y="99"/>
                    <a:pt x="43" y="99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lose/>
                  <a:moveTo>
                    <a:pt x="44" y="97"/>
                  </a:moveTo>
                  <a:cubicBezTo>
                    <a:pt x="44" y="97"/>
                    <a:pt x="43" y="97"/>
                    <a:pt x="44" y="97"/>
                  </a:cubicBezTo>
                  <a:cubicBezTo>
                    <a:pt x="44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6"/>
                    <a:pt x="43" y="96"/>
                  </a:cubicBezTo>
                  <a:cubicBezTo>
                    <a:pt x="43" y="96"/>
                    <a:pt x="43" y="96"/>
                    <a:pt x="44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97"/>
                    <a:pt x="44" y="96"/>
                    <a:pt x="44" y="96"/>
                  </a:cubicBezTo>
                  <a:cubicBezTo>
                    <a:pt x="44" y="97"/>
                    <a:pt x="44" y="97"/>
                    <a:pt x="44" y="97"/>
                  </a:cubicBezTo>
                  <a:close/>
                  <a:moveTo>
                    <a:pt x="44" y="99"/>
                  </a:moveTo>
                  <a:cubicBezTo>
                    <a:pt x="44" y="99"/>
                    <a:pt x="44" y="99"/>
                    <a:pt x="44" y="99"/>
                  </a:cubicBezTo>
                  <a:cubicBezTo>
                    <a:pt x="45" y="99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1"/>
                  </a:cubicBezTo>
                  <a:cubicBezTo>
                    <a:pt x="44" y="100"/>
                    <a:pt x="44" y="100"/>
                    <a:pt x="44" y="99"/>
                  </a:cubicBezTo>
                  <a:close/>
                  <a:moveTo>
                    <a:pt x="45" y="105"/>
                  </a:moveTo>
                  <a:cubicBezTo>
                    <a:pt x="45" y="105"/>
                    <a:pt x="45" y="105"/>
                    <a:pt x="45" y="106"/>
                  </a:cubicBezTo>
                  <a:cubicBezTo>
                    <a:pt x="45" y="106"/>
                    <a:pt x="45" y="105"/>
                    <a:pt x="45" y="106"/>
                  </a:cubicBezTo>
                  <a:cubicBezTo>
                    <a:pt x="45" y="105"/>
                    <a:pt x="45" y="105"/>
                    <a:pt x="45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5"/>
                    <a:pt x="40" y="104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6"/>
                    <a:pt x="38" y="106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40" y="104"/>
                    <a:pt x="40" y="103"/>
                  </a:cubicBezTo>
                  <a:cubicBezTo>
                    <a:pt x="40" y="103"/>
                    <a:pt x="40" y="104"/>
                    <a:pt x="40" y="104"/>
                  </a:cubicBezTo>
                  <a:cubicBezTo>
                    <a:pt x="40" y="104"/>
                    <a:pt x="40" y="105"/>
                    <a:pt x="39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4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lose/>
                  <a:moveTo>
                    <a:pt x="47" y="110"/>
                  </a:moveTo>
                  <a:cubicBezTo>
                    <a:pt x="47" y="110"/>
                    <a:pt x="47" y="109"/>
                    <a:pt x="47" y="109"/>
                  </a:cubicBezTo>
                  <a:cubicBezTo>
                    <a:pt x="47" y="109"/>
                    <a:pt x="47" y="110"/>
                    <a:pt x="47" y="110"/>
                  </a:cubicBezTo>
                  <a:close/>
                  <a:moveTo>
                    <a:pt x="41" y="109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2" y="109"/>
                    <a:pt x="42" y="108"/>
                  </a:cubicBezTo>
                  <a:cubicBezTo>
                    <a:pt x="42" y="108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0" y="111"/>
                    <a:pt x="40" y="111"/>
                  </a:cubicBezTo>
                  <a:cubicBezTo>
                    <a:pt x="40" y="111"/>
                    <a:pt x="40" y="111"/>
                    <a:pt x="41" y="110"/>
                  </a:cubicBezTo>
                  <a:cubicBezTo>
                    <a:pt x="40" y="110"/>
                    <a:pt x="41" y="110"/>
                    <a:pt x="41" y="109"/>
                  </a:cubicBezTo>
                  <a:close/>
                  <a:moveTo>
                    <a:pt x="43" y="107"/>
                  </a:moveTo>
                  <a:cubicBezTo>
                    <a:pt x="43" y="107"/>
                    <a:pt x="43" y="108"/>
                    <a:pt x="42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7"/>
                    <a:pt x="43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3" y="107"/>
                  </a:cubicBezTo>
                  <a:close/>
                  <a:moveTo>
                    <a:pt x="46" y="111"/>
                  </a:move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0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2"/>
                    <a:pt x="46" y="112"/>
                    <a:pt x="45" y="112"/>
                  </a:cubicBezTo>
                  <a:cubicBezTo>
                    <a:pt x="45" y="112"/>
                    <a:pt x="46" y="111"/>
                    <a:pt x="46" y="111"/>
                  </a:cubicBezTo>
                  <a:close/>
                  <a:moveTo>
                    <a:pt x="38" y="107"/>
                  </a:moveTo>
                  <a:cubicBezTo>
                    <a:pt x="38" y="107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9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8" y="107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07"/>
                    <a:pt x="38" y="107"/>
                    <a:pt x="38" y="107"/>
                  </a:cubicBezTo>
                  <a:cubicBezTo>
                    <a:pt x="38" y="107"/>
                    <a:pt x="38" y="107"/>
                    <a:pt x="37" y="108"/>
                  </a:cubicBezTo>
                  <a:cubicBezTo>
                    <a:pt x="38" y="108"/>
                    <a:pt x="38" y="107"/>
                    <a:pt x="38" y="107"/>
                  </a:cubicBezTo>
                  <a:close/>
                  <a:moveTo>
                    <a:pt x="46" y="112"/>
                  </a:move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6" y="112"/>
                  </a:cubicBezTo>
                  <a:close/>
                  <a:moveTo>
                    <a:pt x="41" y="118"/>
                  </a:moveTo>
                  <a:cubicBezTo>
                    <a:pt x="41" y="118"/>
                    <a:pt x="41" y="118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1" y="117"/>
                    <a:pt x="42" y="117"/>
                    <a:pt x="42" y="117"/>
                  </a:cubicBezTo>
                  <a:cubicBezTo>
                    <a:pt x="42" y="117"/>
                    <a:pt x="41" y="117"/>
                    <a:pt x="41" y="118"/>
                  </a:cubicBezTo>
                  <a:close/>
                  <a:moveTo>
                    <a:pt x="38" y="122"/>
                  </a:moveTo>
                  <a:cubicBezTo>
                    <a:pt x="38" y="122"/>
                    <a:pt x="38" y="122"/>
                    <a:pt x="39" y="122"/>
                  </a:cubicBezTo>
                  <a:cubicBezTo>
                    <a:pt x="38" y="122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1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7" y="121"/>
                  </a:moveTo>
                  <a:cubicBezTo>
                    <a:pt x="37" y="121"/>
                    <a:pt x="38" y="121"/>
                    <a:pt x="38" y="120"/>
                  </a:cubicBezTo>
                  <a:cubicBezTo>
                    <a:pt x="38" y="120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7" y="121"/>
                  </a:cubicBezTo>
                  <a:close/>
                  <a:moveTo>
                    <a:pt x="37" y="124"/>
                  </a:move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3"/>
                    <a:pt x="37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6" y="124"/>
                    <a:pt x="36" y="124"/>
                    <a:pt x="37" y="123"/>
                  </a:cubicBezTo>
                  <a:cubicBezTo>
                    <a:pt x="36" y="123"/>
                    <a:pt x="36" y="124"/>
                    <a:pt x="36" y="124"/>
                  </a:cubicBezTo>
                  <a:cubicBezTo>
                    <a:pt x="36" y="124"/>
                    <a:pt x="37" y="123"/>
                    <a:pt x="37" y="123"/>
                  </a:cubicBezTo>
                  <a:cubicBezTo>
                    <a:pt x="37" y="122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2"/>
                    <a:pt x="37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7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1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1"/>
                  </a:cubicBezTo>
                  <a:cubicBezTo>
                    <a:pt x="37" y="122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9" y="120"/>
                    <a:pt x="39" y="120"/>
                  </a:cubicBezTo>
                  <a:cubicBezTo>
                    <a:pt x="39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8"/>
                    <a:pt x="39" y="118"/>
                    <a:pt x="40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40" y="119"/>
                  </a:cubicBezTo>
                  <a:cubicBezTo>
                    <a:pt x="39" y="119"/>
                    <a:pt x="39" y="119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1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3"/>
                    <a:pt x="37" y="123"/>
                  </a:cubicBezTo>
                  <a:cubicBezTo>
                    <a:pt x="37" y="123"/>
                    <a:pt x="37" y="123"/>
                    <a:pt x="37" y="124"/>
                  </a:cubicBezTo>
                  <a:close/>
                  <a:moveTo>
                    <a:pt x="38" y="121"/>
                  </a:moveTo>
                  <a:cubicBezTo>
                    <a:pt x="39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8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7" y="120"/>
                    <a:pt x="38" y="120"/>
                    <a:pt x="38" y="120"/>
                  </a:cubicBezTo>
                  <a:cubicBezTo>
                    <a:pt x="38" y="119"/>
                    <a:pt x="38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8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35" y="119"/>
                  </a:moveTo>
                  <a:cubicBezTo>
                    <a:pt x="35" y="119"/>
                    <a:pt x="35" y="119"/>
                    <a:pt x="35" y="119"/>
                  </a:cubicBezTo>
                  <a:cubicBezTo>
                    <a:pt x="35" y="119"/>
                    <a:pt x="35" y="119"/>
                    <a:pt x="36" y="118"/>
                  </a:cubicBezTo>
                  <a:cubicBezTo>
                    <a:pt x="36" y="119"/>
                    <a:pt x="35" y="120"/>
                    <a:pt x="35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40" y="122"/>
                  </a:move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39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9" y="124"/>
                    <a:pt x="39" y="124"/>
                  </a:cubicBezTo>
                  <a:cubicBezTo>
                    <a:pt x="39" y="124"/>
                    <a:pt x="40" y="123"/>
                    <a:pt x="40" y="123"/>
                  </a:cubicBezTo>
                  <a:cubicBezTo>
                    <a:pt x="40" y="123"/>
                    <a:pt x="40" y="123"/>
                    <a:pt x="39" y="123"/>
                  </a:cubicBezTo>
                  <a:cubicBezTo>
                    <a:pt x="39" y="124"/>
                    <a:pt x="39" y="124"/>
                    <a:pt x="39" y="125"/>
                  </a:cubicBezTo>
                  <a:cubicBezTo>
                    <a:pt x="39" y="125"/>
                    <a:pt x="39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9" y="125"/>
                  </a:cubicBezTo>
                  <a:cubicBezTo>
                    <a:pt x="39" y="126"/>
                    <a:pt x="38" y="126"/>
                    <a:pt x="38" y="126"/>
                  </a:cubicBezTo>
                  <a:cubicBezTo>
                    <a:pt x="38" y="126"/>
                    <a:pt x="37" y="127"/>
                    <a:pt x="38" y="127"/>
                  </a:cubicBezTo>
                  <a:cubicBezTo>
                    <a:pt x="38" y="127"/>
                    <a:pt x="37" y="127"/>
                    <a:pt x="37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7" y="126"/>
                    <a:pt x="37" y="127"/>
                  </a:cubicBezTo>
                  <a:cubicBezTo>
                    <a:pt x="37" y="126"/>
                    <a:pt x="38" y="126"/>
                    <a:pt x="38" y="125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5"/>
                  </a:cubicBezTo>
                  <a:close/>
                  <a:moveTo>
                    <a:pt x="38" y="124"/>
                  </a:moveTo>
                  <a:cubicBezTo>
                    <a:pt x="38" y="123"/>
                    <a:pt x="38" y="124"/>
                    <a:pt x="38" y="124"/>
                  </a:cubicBezTo>
                  <a:cubicBezTo>
                    <a:pt x="38" y="124"/>
                    <a:pt x="38" y="124"/>
                    <a:pt x="38" y="124"/>
                  </a:cubicBezTo>
                  <a:cubicBezTo>
                    <a:pt x="37" y="124"/>
                    <a:pt x="38" y="124"/>
                    <a:pt x="38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7" y="124"/>
                  </a:move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5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lose/>
                  <a:moveTo>
                    <a:pt x="36" y="126"/>
                  </a:moveTo>
                  <a:cubicBezTo>
                    <a:pt x="36" y="126"/>
                    <a:pt x="36" y="127"/>
                    <a:pt x="36" y="127"/>
                  </a:cubicBezTo>
                  <a:cubicBezTo>
                    <a:pt x="35" y="127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5"/>
                    <a:pt x="36" y="126"/>
                    <a:pt x="36" y="126"/>
                  </a:cubicBezTo>
                  <a:close/>
                  <a:moveTo>
                    <a:pt x="37" y="129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9"/>
                    <a:pt x="37" y="129"/>
                    <a:pt x="37" y="129"/>
                  </a:cubicBezTo>
                  <a:close/>
                  <a:moveTo>
                    <a:pt x="37" y="130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30"/>
                    <a:pt x="37" y="129"/>
                    <a:pt x="37" y="130"/>
                  </a:cubicBezTo>
                  <a:close/>
                  <a:moveTo>
                    <a:pt x="33" y="131"/>
                  </a:moveTo>
                  <a:cubicBezTo>
                    <a:pt x="33" y="131"/>
                    <a:pt x="33" y="132"/>
                    <a:pt x="32" y="132"/>
                  </a:cubicBezTo>
                  <a:cubicBezTo>
                    <a:pt x="32" y="131"/>
                    <a:pt x="32" y="132"/>
                    <a:pt x="32" y="132"/>
                  </a:cubicBezTo>
                  <a:cubicBezTo>
                    <a:pt x="32" y="131"/>
                    <a:pt x="33" y="131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lose/>
                  <a:moveTo>
                    <a:pt x="32" y="132"/>
                  </a:moveTo>
                  <a:cubicBezTo>
                    <a:pt x="33" y="132"/>
                    <a:pt x="32" y="132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lose/>
                  <a:moveTo>
                    <a:pt x="32" y="138"/>
                  </a:moveTo>
                  <a:cubicBezTo>
                    <a:pt x="32" y="138"/>
                    <a:pt x="31" y="138"/>
                    <a:pt x="31" y="138"/>
                  </a:cubicBezTo>
                  <a:cubicBezTo>
                    <a:pt x="31" y="139"/>
                    <a:pt x="30" y="140"/>
                    <a:pt x="31" y="139"/>
                  </a:cubicBezTo>
                  <a:cubicBezTo>
                    <a:pt x="31" y="139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ubicBezTo>
                    <a:pt x="32" y="138"/>
                    <a:pt x="31" y="138"/>
                    <a:pt x="31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1" y="138"/>
                    <a:pt x="32" y="138"/>
                  </a:cubicBezTo>
                  <a:close/>
                  <a:moveTo>
                    <a:pt x="31" y="138"/>
                  </a:moveTo>
                  <a:cubicBezTo>
                    <a:pt x="31" y="138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lose/>
                  <a:moveTo>
                    <a:pt x="32" y="139"/>
                  </a:moveTo>
                  <a:cubicBezTo>
                    <a:pt x="32" y="139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9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lose/>
                  <a:moveTo>
                    <a:pt x="31" y="140"/>
                  </a:moveTo>
                  <a:cubicBezTo>
                    <a:pt x="31" y="140"/>
                    <a:pt x="31" y="140"/>
                    <a:pt x="31" y="139"/>
                  </a:cubicBezTo>
                  <a:cubicBezTo>
                    <a:pt x="31" y="140"/>
                    <a:pt x="31" y="140"/>
                    <a:pt x="31" y="140"/>
                  </a:cubicBezTo>
                  <a:cubicBezTo>
                    <a:pt x="31" y="141"/>
                    <a:pt x="31" y="140"/>
                    <a:pt x="31" y="141"/>
                  </a:cubicBezTo>
                  <a:cubicBezTo>
                    <a:pt x="31" y="140"/>
                    <a:pt x="31" y="140"/>
                    <a:pt x="31" y="140"/>
                  </a:cubicBezTo>
                  <a:close/>
                  <a:moveTo>
                    <a:pt x="28" y="145"/>
                  </a:moveTo>
                  <a:cubicBezTo>
                    <a:pt x="28" y="144"/>
                    <a:pt x="28" y="145"/>
                    <a:pt x="28" y="145"/>
                  </a:cubicBezTo>
                  <a:cubicBezTo>
                    <a:pt x="28" y="145"/>
                    <a:pt x="28" y="145"/>
                    <a:pt x="28" y="145"/>
                  </a:cubicBezTo>
                  <a:cubicBezTo>
                    <a:pt x="27" y="146"/>
                    <a:pt x="27" y="147"/>
                    <a:pt x="27" y="148"/>
                  </a:cubicBezTo>
                  <a:cubicBezTo>
                    <a:pt x="27" y="148"/>
                    <a:pt x="26" y="148"/>
                    <a:pt x="26" y="148"/>
                  </a:cubicBezTo>
                  <a:cubicBezTo>
                    <a:pt x="26" y="148"/>
                    <a:pt x="26" y="148"/>
                    <a:pt x="26" y="149"/>
                  </a:cubicBezTo>
                  <a:cubicBezTo>
                    <a:pt x="26" y="149"/>
                    <a:pt x="26" y="148"/>
                    <a:pt x="26" y="148"/>
                  </a:cubicBezTo>
                  <a:cubicBezTo>
                    <a:pt x="26" y="148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50"/>
                    <a:pt x="25" y="150"/>
                    <a:pt x="25" y="150"/>
                  </a:cubicBezTo>
                  <a:cubicBezTo>
                    <a:pt x="25" y="150"/>
                    <a:pt x="25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8"/>
                    <a:pt x="26" y="148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6" y="147"/>
                    <a:pt x="27" y="147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7"/>
                    <a:pt x="27" y="146"/>
                    <a:pt x="27" y="146"/>
                  </a:cubicBezTo>
                  <a:cubicBezTo>
                    <a:pt x="28" y="145"/>
                    <a:pt x="28" y="144"/>
                    <a:pt x="28" y="143"/>
                  </a:cubicBezTo>
                  <a:cubicBezTo>
                    <a:pt x="29" y="143"/>
                    <a:pt x="29" y="143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30" y="141"/>
                    <a:pt x="30" y="140"/>
                    <a:pt x="31" y="139"/>
                  </a:cubicBezTo>
                  <a:cubicBezTo>
                    <a:pt x="31" y="141"/>
                    <a:pt x="29" y="143"/>
                    <a:pt x="29" y="144"/>
                  </a:cubicBezTo>
                  <a:cubicBezTo>
                    <a:pt x="28" y="144"/>
                    <a:pt x="28" y="144"/>
                    <a:pt x="28" y="145"/>
                  </a:cubicBezTo>
                  <a:close/>
                  <a:moveTo>
                    <a:pt x="30" y="139"/>
                  </a:moveTo>
                  <a:cubicBezTo>
                    <a:pt x="30" y="139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39"/>
                  </a:cubicBezTo>
                  <a:cubicBezTo>
                    <a:pt x="30" y="139"/>
                    <a:pt x="30" y="140"/>
                    <a:pt x="30" y="139"/>
                  </a:cubicBezTo>
                  <a:close/>
                  <a:moveTo>
                    <a:pt x="25" y="152"/>
                  </a:moveTo>
                  <a:cubicBezTo>
                    <a:pt x="26" y="150"/>
                    <a:pt x="27" y="149"/>
                    <a:pt x="27" y="148"/>
                  </a:cubicBezTo>
                  <a:cubicBezTo>
                    <a:pt x="27" y="149"/>
                    <a:pt x="26" y="151"/>
                    <a:pt x="25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lose/>
                  <a:moveTo>
                    <a:pt x="20" y="163"/>
                  </a:moveTo>
                  <a:cubicBezTo>
                    <a:pt x="20" y="163"/>
                    <a:pt x="20" y="163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4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0" y="162"/>
                    <a:pt x="20" y="163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lose/>
                  <a:moveTo>
                    <a:pt x="14" y="174"/>
                  </a:moveTo>
                  <a:cubicBezTo>
                    <a:pt x="15" y="173"/>
                    <a:pt x="15" y="173"/>
                    <a:pt x="16" y="172"/>
                  </a:cubicBezTo>
                  <a:cubicBezTo>
                    <a:pt x="16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2"/>
                    <a:pt x="16" y="172"/>
                  </a:cubicBezTo>
                  <a:cubicBezTo>
                    <a:pt x="16" y="171"/>
                    <a:pt x="16" y="170"/>
                    <a:pt x="17" y="169"/>
                  </a:cubicBezTo>
                  <a:cubicBezTo>
                    <a:pt x="17" y="169"/>
                    <a:pt x="17" y="169"/>
                    <a:pt x="16" y="169"/>
                  </a:cubicBezTo>
                  <a:cubicBezTo>
                    <a:pt x="16" y="169"/>
                    <a:pt x="17" y="169"/>
                    <a:pt x="16" y="169"/>
                  </a:cubicBezTo>
                  <a:cubicBezTo>
                    <a:pt x="17" y="169"/>
                    <a:pt x="17" y="169"/>
                    <a:pt x="17" y="168"/>
                  </a:cubicBezTo>
                  <a:cubicBezTo>
                    <a:pt x="18" y="168"/>
                    <a:pt x="17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7" y="168"/>
                    <a:pt x="18" y="169"/>
                  </a:cubicBezTo>
                  <a:cubicBezTo>
                    <a:pt x="17" y="169"/>
                    <a:pt x="17" y="168"/>
                    <a:pt x="17" y="168"/>
                  </a:cubicBezTo>
                  <a:cubicBezTo>
                    <a:pt x="17" y="169"/>
                    <a:pt x="17" y="169"/>
                    <a:pt x="17" y="169"/>
                  </a:cubicBezTo>
                  <a:cubicBezTo>
                    <a:pt x="17" y="169"/>
                    <a:pt x="17" y="170"/>
                    <a:pt x="17" y="169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6" y="171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3"/>
                  </a:cubicBezTo>
                  <a:cubicBezTo>
                    <a:pt x="16" y="172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3"/>
                    <a:pt x="15" y="173"/>
                    <a:pt x="15" y="173"/>
                  </a:cubicBezTo>
                  <a:cubicBezTo>
                    <a:pt x="15" y="174"/>
                    <a:pt x="15" y="173"/>
                    <a:pt x="16" y="173"/>
                  </a:cubicBezTo>
                  <a:cubicBezTo>
                    <a:pt x="15" y="174"/>
                    <a:pt x="15" y="175"/>
                    <a:pt x="14" y="175"/>
                  </a:cubicBezTo>
                  <a:cubicBezTo>
                    <a:pt x="14" y="175"/>
                    <a:pt x="15" y="175"/>
                    <a:pt x="14" y="175"/>
                  </a:cubicBezTo>
                  <a:cubicBezTo>
                    <a:pt x="15" y="175"/>
                    <a:pt x="15" y="174"/>
                    <a:pt x="15" y="174"/>
                  </a:cubicBezTo>
                  <a:cubicBezTo>
                    <a:pt x="15" y="174"/>
                    <a:pt x="15" y="174"/>
                    <a:pt x="15" y="175"/>
                  </a:cubicBezTo>
                  <a:cubicBezTo>
                    <a:pt x="15" y="174"/>
                    <a:pt x="15" y="174"/>
                    <a:pt x="14" y="174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15" y="174"/>
                    <a:pt x="15" y="174"/>
                    <a:pt x="14" y="174"/>
                  </a:cubicBezTo>
                  <a:close/>
                  <a:moveTo>
                    <a:pt x="17" y="168"/>
                  </a:moveTo>
                  <a:cubicBezTo>
                    <a:pt x="17" y="168"/>
                    <a:pt x="16" y="168"/>
                    <a:pt x="16" y="168"/>
                  </a:cubicBezTo>
                  <a:cubicBezTo>
                    <a:pt x="16" y="168"/>
                    <a:pt x="17" y="168"/>
                    <a:pt x="17" y="168"/>
                  </a:cubicBezTo>
                  <a:close/>
                  <a:moveTo>
                    <a:pt x="16" y="169"/>
                  </a:moveTo>
                  <a:cubicBezTo>
                    <a:pt x="16" y="169"/>
                    <a:pt x="16" y="169"/>
                    <a:pt x="16" y="170"/>
                  </a:cubicBezTo>
                  <a:cubicBezTo>
                    <a:pt x="16" y="169"/>
                    <a:pt x="16" y="169"/>
                    <a:pt x="16" y="169"/>
                  </a:cubicBezTo>
                  <a:close/>
                  <a:moveTo>
                    <a:pt x="16" y="169"/>
                  </a:moveTo>
                  <a:cubicBezTo>
                    <a:pt x="15" y="170"/>
                    <a:pt x="15" y="170"/>
                    <a:pt x="15" y="170"/>
                  </a:cubicBezTo>
                  <a:cubicBezTo>
                    <a:pt x="15" y="170"/>
                    <a:pt x="15" y="169"/>
                    <a:pt x="16" y="169"/>
                  </a:cubicBezTo>
                  <a:close/>
                  <a:moveTo>
                    <a:pt x="13" y="178"/>
                  </a:move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3" y="178"/>
                    <a:pt x="13" y="178"/>
                  </a:cubicBezTo>
                  <a:close/>
                  <a:moveTo>
                    <a:pt x="10" y="179"/>
                  </a:moveTo>
                  <a:cubicBezTo>
                    <a:pt x="10" y="179"/>
                    <a:pt x="10" y="179"/>
                    <a:pt x="10" y="179"/>
                  </a:cubicBezTo>
                  <a:cubicBezTo>
                    <a:pt x="10" y="179"/>
                    <a:pt x="10" y="179"/>
                    <a:pt x="11" y="178"/>
                  </a:cubicBezTo>
                  <a:cubicBezTo>
                    <a:pt x="11" y="179"/>
                    <a:pt x="11" y="178"/>
                    <a:pt x="11" y="178"/>
                  </a:cubicBezTo>
                  <a:cubicBezTo>
                    <a:pt x="11" y="178"/>
                    <a:pt x="10" y="179"/>
                    <a:pt x="10" y="179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80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4" y="186"/>
                  </a:moveTo>
                  <a:cubicBezTo>
                    <a:pt x="4" y="186"/>
                    <a:pt x="4" y="186"/>
                    <a:pt x="4" y="186"/>
                  </a:cubicBezTo>
                  <a:cubicBezTo>
                    <a:pt x="4" y="187"/>
                    <a:pt x="4" y="187"/>
                    <a:pt x="3" y="187"/>
                  </a:cubicBezTo>
                  <a:cubicBezTo>
                    <a:pt x="3" y="187"/>
                    <a:pt x="4" y="187"/>
                    <a:pt x="4" y="186"/>
                  </a:cubicBezTo>
                  <a:close/>
                  <a:moveTo>
                    <a:pt x="6" y="190"/>
                  </a:moveTo>
                  <a:cubicBezTo>
                    <a:pt x="6" y="190"/>
                    <a:pt x="5" y="190"/>
                    <a:pt x="5" y="191"/>
                  </a:cubicBezTo>
                  <a:cubicBezTo>
                    <a:pt x="5" y="190"/>
                    <a:pt x="6" y="190"/>
                    <a:pt x="6" y="190"/>
                  </a:cubicBezTo>
                  <a:close/>
                  <a:moveTo>
                    <a:pt x="80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0" y="15"/>
                    <a:pt x="80" y="15"/>
                  </a:cubicBezTo>
                  <a:close/>
                  <a:moveTo>
                    <a:pt x="71" y="41"/>
                  </a:moveTo>
                  <a:cubicBezTo>
                    <a:pt x="71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41"/>
                    <a:pt x="71" y="41"/>
                    <a:pt x="71" y="41"/>
                  </a:cubicBezTo>
                  <a:close/>
                  <a:moveTo>
                    <a:pt x="72" y="41"/>
                  </a:moveTo>
                  <a:cubicBezTo>
                    <a:pt x="72" y="42"/>
                    <a:pt x="73" y="42"/>
                    <a:pt x="73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1"/>
                  </a:cubicBezTo>
                  <a:close/>
                  <a:moveTo>
                    <a:pt x="71" y="43"/>
                  </a:move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4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3" y="55"/>
                  </a:move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5"/>
                    <a:pt x="73" y="55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6"/>
                    <a:pt x="65" y="56"/>
                  </a:cubicBezTo>
                  <a:cubicBezTo>
                    <a:pt x="65" y="55"/>
                    <a:pt x="66" y="55"/>
                    <a:pt x="66" y="54"/>
                  </a:cubicBezTo>
                  <a:cubicBezTo>
                    <a:pt x="66" y="54"/>
                    <a:pt x="66" y="55"/>
                    <a:pt x="66" y="55"/>
                  </a:cubicBezTo>
                  <a:close/>
                  <a:moveTo>
                    <a:pt x="67" y="68"/>
                  </a:move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7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4" y="75"/>
                    <a:pt x="64" y="76"/>
                  </a:cubicBezTo>
                  <a:cubicBezTo>
                    <a:pt x="64" y="75"/>
                    <a:pt x="64" y="74"/>
                    <a:pt x="65" y="74"/>
                  </a:cubicBezTo>
                  <a:close/>
                  <a:moveTo>
                    <a:pt x="59" y="73"/>
                  </a:move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8" y="79"/>
                    <a:pt x="57" y="80"/>
                    <a:pt x="57" y="79"/>
                  </a:cubicBezTo>
                  <a:close/>
                  <a:moveTo>
                    <a:pt x="51" y="82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0"/>
                  </a:cubicBezTo>
                  <a:cubicBezTo>
                    <a:pt x="51" y="81"/>
                    <a:pt x="51" y="81"/>
                    <a:pt x="51" y="82"/>
                  </a:cubicBezTo>
                  <a:close/>
                  <a:moveTo>
                    <a:pt x="53" y="87"/>
                  </a:moveTo>
                  <a:cubicBezTo>
                    <a:pt x="53" y="87"/>
                    <a:pt x="54" y="86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5" y="83"/>
                    <a:pt x="54" y="84"/>
                    <a:pt x="55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7"/>
                    <a:pt x="53" y="87"/>
                    <a:pt x="53" y="87"/>
                  </a:cubicBezTo>
                  <a:close/>
                  <a:moveTo>
                    <a:pt x="52" y="88"/>
                  </a:move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3" y="87"/>
                  </a:cubicBezTo>
                  <a:cubicBezTo>
                    <a:pt x="53" y="87"/>
                    <a:pt x="52" y="87"/>
                    <a:pt x="53" y="87"/>
                  </a:cubicBezTo>
                  <a:cubicBezTo>
                    <a:pt x="53" y="88"/>
                    <a:pt x="52" y="88"/>
                    <a:pt x="52" y="88"/>
                  </a:cubicBezTo>
                  <a:close/>
                  <a:moveTo>
                    <a:pt x="49" y="91"/>
                  </a:moveTo>
                  <a:cubicBezTo>
                    <a:pt x="49" y="91"/>
                    <a:pt x="49" y="91"/>
                    <a:pt x="49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1" y="89"/>
                    <a:pt x="51" y="89"/>
                  </a:cubicBezTo>
                  <a:cubicBezTo>
                    <a:pt x="51" y="89"/>
                    <a:pt x="51" y="89"/>
                    <a:pt x="50" y="90"/>
                  </a:cubicBezTo>
                  <a:cubicBezTo>
                    <a:pt x="50" y="89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lose/>
                  <a:moveTo>
                    <a:pt x="45" y="91"/>
                  </a:moveTo>
                  <a:cubicBezTo>
                    <a:pt x="46" y="90"/>
                    <a:pt x="46" y="90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90"/>
                    <a:pt x="47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1"/>
                    <a:pt x="46" y="91"/>
                    <a:pt x="45" y="91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lose/>
                  <a:moveTo>
                    <a:pt x="39" y="118"/>
                  </a:moveTo>
                  <a:cubicBezTo>
                    <a:pt x="39" y="118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8"/>
                  </a:cubicBezTo>
                  <a:cubicBezTo>
                    <a:pt x="39" y="117"/>
                    <a:pt x="39" y="117"/>
                    <a:pt x="40" y="117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9"/>
                    <a:pt x="39" y="119"/>
                  </a:cubicBezTo>
                  <a:cubicBezTo>
                    <a:pt x="39" y="119"/>
                    <a:pt x="39" y="118"/>
                    <a:pt x="39" y="119"/>
                  </a:cubicBezTo>
                  <a:cubicBezTo>
                    <a:pt x="39" y="118"/>
                    <a:pt x="39" y="118"/>
                    <a:pt x="39" y="118"/>
                  </a:cubicBezTo>
                  <a:close/>
                  <a:moveTo>
                    <a:pt x="36" y="127"/>
                  </a:moveTo>
                  <a:cubicBezTo>
                    <a:pt x="36" y="127"/>
                    <a:pt x="36" y="126"/>
                    <a:pt x="36" y="126"/>
                  </a:cubicBezTo>
                  <a:cubicBezTo>
                    <a:pt x="36" y="126"/>
                    <a:pt x="36" y="126"/>
                    <a:pt x="37" y="126"/>
                  </a:cubicBezTo>
                  <a:cubicBezTo>
                    <a:pt x="37" y="126"/>
                    <a:pt x="36" y="126"/>
                    <a:pt x="36" y="127"/>
                  </a:cubicBezTo>
                  <a:cubicBezTo>
                    <a:pt x="37" y="127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6" y="128"/>
                  </a:cubicBezTo>
                  <a:cubicBezTo>
                    <a:pt x="36" y="127"/>
                    <a:pt x="36" y="127"/>
                    <a:pt x="36" y="127"/>
                  </a:cubicBezTo>
                  <a:cubicBezTo>
                    <a:pt x="36" y="127"/>
                    <a:pt x="36" y="127"/>
                    <a:pt x="36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0B9F933-A834-4D76-A54F-43A42C178CE9}"/>
                </a:ext>
              </a:extLst>
            </p:cNvPr>
            <p:cNvSpPr/>
            <p:nvPr/>
          </p:nvSpPr>
          <p:spPr bwMode="auto">
            <a:xfrm>
              <a:off x="8161338" y="3481388"/>
              <a:ext cx="620713" cy="165100"/>
            </a:xfrm>
            <a:custGeom>
              <a:avLst/>
              <a:gdLst>
                <a:gd name="T0" fmla="*/ 190 w 251"/>
                <a:gd name="T1" fmla="*/ 13 h 67"/>
                <a:gd name="T2" fmla="*/ 184 w 251"/>
                <a:gd name="T3" fmla="*/ 18 h 67"/>
                <a:gd name="T4" fmla="*/ 176 w 251"/>
                <a:gd name="T5" fmla="*/ 18 h 67"/>
                <a:gd name="T6" fmla="*/ 171 w 251"/>
                <a:gd name="T7" fmla="*/ 19 h 67"/>
                <a:gd name="T8" fmla="*/ 161 w 251"/>
                <a:gd name="T9" fmla="*/ 21 h 67"/>
                <a:gd name="T10" fmla="*/ 156 w 251"/>
                <a:gd name="T11" fmla="*/ 31 h 67"/>
                <a:gd name="T12" fmla="*/ 145 w 251"/>
                <a:gd name="T13" fmla="*/ 33 h 67"/>
                <a:gd name="T14" fmla="*/ 138 w 251"/>
                <a:gd name="T15" fmla="*/ 26 h 67"/>
                <a:gd name="T16" fmla="*/ 134 w 251"/>
                <a:gd name="T17" fmla="*/ 32 h 67"/>
                <a:gd name="T18" fmla="*/ 123 w 251"/>
                <a:gd name="T19" fmla="*/ 30 h 67"/>
                <a:gd name="T20" fmla="*/ 110 w 251"/>
                <a:gd name="T21" fmla="*/ 33 h 67"/>
                <a:gd name="T22" fmla="*/ 102 w 251"/>
                <a:gd name="T23" fmla="*/ 36 h 67"/>
                <a:gd name="T24" fmla="*/ 92 w 251"/>
                <a:gd name="T25" fmla="*/ 45 h 67"/>
                <a:gd name="T26" fmla="*/ 86 w 251"/>
                <a:gd name="T27" fmla="*/ 42 h 67"/>
                <a:gd name="T28" fmla="*/ 71 w 251"/>
                <a:gd name="T29" fmla="*/ 48 h 67"/>
                <a:gd name="T30" fmla="*/ 25 w 251"/>
                <a:gd name="T31" fmla="*/ 61 h 67"/>
                <a:gd name="T32" fmla="*/ 6 w 251"/>
                <a:gd name="T33" fmla="*/ 66 h 67"/>
                <a:gd name="T34" fmla="*/ 190 w 251"/>
                <a:gd name="T35" fmla="*/ 23 h 67"/>
                <a:gd name="T36" fmla="*/ 178 w 251"/>
                <a:gd name="T37" fmla="*/ 24 h 67"/>
                <a:gd name="T38" fmla="*/ 186 w 251"/>
                <a:gd name="T39" fmla="*/ 21 h 67"/>
                <a:gd name="T40" fmla="*/ 179 w 251"/>
                <a:gd name="T41" fmla="*/ 22 h 67"/>
                <a:gd name="T42" fmla="*/ 198 w 251"/>
                <a:gd name="T43" fmla="*/ 15 h 67"/>
                <a:gd name="T44" fmla="*/ 196 w 251"/>
                <a:gd name="T45" fmla="*/ 12 h 67"/>
                <a:gd name="T46" fmla="*/ 213 w 251"/>
                <a:gd name="T47" fmla="*/ 4 h 67"/>
                <a:gd name="T48" fmla="*/ 207 w 251"/>
                <a:gd name="T49" fmla="*/ 7 h 67"/>
                <a:gd name="T50" fmla="*/ 191 w 251"/>
                <a:gd name="T51" fmla="*/ 15 h 67"/>
                <a:gd name="T52" fmla="*/ 178 w 251"/>
                <a:gd name="T53" fmla="*/ 22 h 67"/>
                <a:gd name="T54" fmla="*/ 199 w 251"/>
                <a:gd name="T55" fmla="*/ 19 h 67"/>
                <a:gd name="T56" fmla="*/ 200 w 251"/>
                <a:gd name="T57" fmla="*/ 20 h 67"/>
                <a:gd name="T58" fmla="*/ 187 w 251"/>
                <a:gd name="T59" fmla="*/ 15 h 67"/>
                <a:gd name="T60" fmla="*/ 180 w 251"/>
                <a:gd name="T61" fmla="*/ 18 h 67"/>
                <a:gd name="T62" fmla="*/ 164 w 251"/>
                <a:gd name="T63" fmla="*/ 29 h 67"/>
                <a:gd name="T64" fmla="*/ 153 w 251"/>
                <a:gd name="T65" fmla="*/ 31 h 67"/>
                <a:gd name="T66" fmla="*/ 149 w 251"/>
                <a:gd name="T67" fmla="*/ 31 h 67"/>
                <a:gd name="T68" fmla="*/ 156 w 251"/>
                <a:gd name="T69" fmla="*/ 28 h 67"/>
                <a:gd name="T70" fmla="*/ 152 w 251"/>
                <a:gd name="T71" fmla="*/ 30 h 67"/>
                <a:gd name="T72" fmla="*/ 147 w 251"/>
                <a:gd name="T73" fmla="*/ 23 h 67"/>
                <a:gd name="T74" fmla="*/ 95 w 251"/>
                <a:gd name="T75" fmla="*/ 40 h 67"/>
                <a:gd name="T76" fmla="*/ 107 w 251"/>
                <a:gd name="T77" fmla="*/ 38 h 67"/>
                <a:gd name="T78" fmla="*/ 108 w 251"/>
                <a:gd name="T79" fmla="*/ 36 h 67"/>
                <a:gd name="T80" fmla="*/ 120 w 251"/>
                <a:gd name="T81" fmla="*/ 35 h 67"/>
                <a:gd name="T82" fmla="*/ 137 w 251"/>
                <a:gd name="T83" fmla="*/ 33 h 67"/>
                <a:gd name="T84" fmla="*/ 142 w 251"/>
                <a:gd name="T85" fmla="*/ 35 h 67"/>
                <a:gd name="T86" fmla="*/ 119 w 251"/>
                <a:gd name="T87" fmla="*/ 39 h 67"/>
                <a:gd name="T88" fmla="*/ 98 w 251"/>
                <a:gd name="T89" fmla="*/ 44 h 67"/>
                <a:gd name="T90" fmla="*/ 101 w 251"/>
                <a:gd name="T91" fmla="*/ 40 h 67"/>
                <a:gd name="T92" fmla="*/ 138 w 251"/>
                <a:gd name="T93" fmla="*/ 34 h 67"/>
                <a:gd name="T94" fmla="*/ 119 w 251"/>
                <a:gd name="T95" fmla="*/ 36 h 67"/>
                <a:gd name="T96" fmla="*/ 113 w 251"/>
                <a:gd name="T97" fmla="*/ 38 h 67"/>
                <a:gd name="T98" fmla="*/ 98 w 251"/>
                <a:gd name="T99" fmla="*/ 44 h 67"/>
                <a:gd name="T100" fmla="*/ 114 w 251"/>
                <a:gd name="T101" fmla="*/ 38 h 67"/>
                <a:gd name="T102" fmla="*/ 128 w 251"/>
                <a:gd name="T103" fmla="*/ 35 h 67"/>
                <a:gd name="T104" fmla="*/ 102 w 251"/>
                <a:gd name="T105" fmla="*/ 40 h 67"/>
                <a:gd name="T106" fmla="*/ 140 w 251"/>
                <a:gd name="T107" fmla="*/ 31 h 67"/>
                <a:gd name="T108" fmla="*/ 137 w 251"/>
                <a:gd name="T109" fmla="*/ 29 h 67"/>
                <a:gd name="T110" fmla="*/ 134 w 251"/>
                <a:gd name="T111" fmla="*/ 27 h 67"/>
                <a:gd name="T112" fmla="*/ 126 w 251"/>
                <a:gd name="T113" fmla="*/ 27 h 67"/>
                <a:gd name="T114" fmla="*/ 120 w 251"/>
                <a:gd name="T115" fmla="*/ 30 h 67"/>
                <a:gd name="T116" fmla="*/ 96 w 251"/>
                <a:gd name="T117" fmla="*/ 44 h 67"/>
                <a:gd name="T118" fmla="*/ 93 w 251"/>
                <a:gd name="T119" fmla="*/ 45 h 67"/>
                <a:gd name="T120" fmla="*/ 71 w 251"/>
                <a:gd name="T121" fmla="*/ 51 h 67"/>
                <a:gd name="T122" fmla="*/ 25 w 251"/>
                <a:gd name="T123" fmla="*/ 62 h 67"/>
                <a:gd name="T124" fmla="*/ 140 w 251"/>
                <a:gd name="T125" fmla="*/ 2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67">
                  <a:moveTo>
                    <a:pt x="249" y="8"/>
                  </a:moveTo>
                  <a:cubicBezTo>
                    <a:pt x="249" y="8"/>
                    <a:pt x="249" y="8"/>
                    <a:pt x="249" y="8"/>
                  </a:cubicBezTo>
                  <a:cubicBezTo>
                    <a:pt x="248" y="8"/>
                    <a:pt x="249" y="8"/>
                    <a:pt x="248" y="9"/>
                  </a:cubicBezTo>
                  <a:cubicBezTo>
                    <a:pt x="248" y="8"/>
                    <a:pt x="248" y="8"/>
                    <a:pt x="249" y="8"/>
                  </a:cubicBezTo>
                  <a:close/>
                  <a:moveTo>
                    <a:pt x="227" y="1"/>
                  </a:moveTo>
                  <a:cubicBezTo>
                    <a:pt x="227" y="1"/>
                    <a:pt x="227" y="1"/>
                    <a:pt x="228" y="1"/>
                  </a:cubicBezTo>
                  <a:cubicBezTo>
                    <a:pt x="227" y="1"/>
                    <a:pt x="228" y="1"/>
                    <a:pt x="228" y="2"/>
                  </a:cubicBezTo>
                  <a:cubicBezTo>
                    <a:pt x="227" y="2"/>
                    <a:pt x="227" y="1"/>
                    <a:pt x="227" y="1"/>
                  </a:cubicBezTo>
                  <a:close/>
                  <a:moveTo>
                    <a:pt x="223" y="2"/>
                  </a:move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lose/>
                  <a:moveTo>
                    <a:pt x="221" y="2"/>
                  </a:moveTo>
                  <a:cubicBezTo>
                    <a:pt x="222" y="2"/>
                    <a:pt x="221" y="3"/>
                    <a:pt x="222" y="2"/>
                  </a:cubicBezTo>
                  <a:cubicBezTo>
                    <a:pt x="222" y="2"/>
                    <a:pt x="221" y="2"/>
                    <a:pt x="221" y="3"/>
                  </a:cubicBezTo>
                  <a:cubicBezTo>
                    <a:pt x="221" y="3"/>
                    <a:pt x="221" y="2"/>
                    <a:pt x="221" y="2"/>
                  </a:cubicBezTo>
                  <a:close/>
                  <a:moveTo>
                    <a:pt x="217" y="3"/>
                  </a:moveTo>
                  <a:cubicBezTo>
                    <a:pt x="217" y="3"/>
                    <a:pt x="217" y="3"/>
                    <a:pt x="217" y="3"/>
                  </a:cubicBezTo>
                  <a:cubicBezTo>
                    <a:pt x="216" y="3"/>
                    <a:pt x="216" y="4"/>
                    <a:pt x="216" y="3"/>
                  </a:cubicBezTo>
                  <a:cubicBezTo>
                    <a:pt x="216" y="3"/>
                    <a:pt x="216" y="3"/>
                    <a:pt x="217" y="3"/>
                  </a:cubicBezTo>
                  <a:close/>
                  <a:moveTo>
                    <a:pt x="210" y="5"/>
                  </a:moveTo>
                  <a:cubicBezTo>
                    <a:pt x="210" y="5"/>
                    <a:pt x="210" y="5"/>
                    <a:pt x="209" y="5"/>
                  </a:cubicBezTo>
                  <a:cubicBezTo>
                    <a:pt x="209" y="5"/>
                    <a:pt x="210" y="5"/>
                    <a:pt x="210" y="4"/>
                  </a:cubicBezTo>
                  <a:cubicBezTo>
                    <a:pt x="210" y="5"/>
                    <a:pt x="210" y="4"/>
                    <a:pt x="210" y="5"/>
                  </a:cubicBezTo>
                  <a:close/>
                  <a:moveTo>
                    <a:pt x="209" y="4"/>
                  </a:moveTo>
                  <a:cubicBezTo>
                    <a:pt x="209" y="4"/>
                    <a:pt x="209" y="4"/>
                    <a:pt x="209" y="4"/>
                  </a:cubicBezTo>
                  <a:cubicBezTo>
                    <a:pt x="210" y="5"/>
                    <a:pt x="209" y="5"/>
                    <a:pt x="209" y="4"/>
                  </a:cubicBezTo>
                  <a:close/>
                  <a:moveTo>
                    <a:pt x="207" y="6"/>
                  </a:move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7" y="6"/>
                  </a:cubicBezTo>
                  <a:close/>
                  <a:moveTo>
                    <a:pt x="203" y="9"/>
                  </a:moveTo>
                  <a:cubicBezTo>
                    <a:pt x="203" y="9"/>
                    <a:pt x="203" y="9"/>
                    <a:pt x="204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8"/>
                    <a:pt x="204" y="8"/>
                    <a:pt x="205" y="8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3" y="9"/>
                    <a:pt x="203" y="9"/>
                    <a:pt x="203" y="9"/>
                  </a:cubicBezTo>
                  <a:close/>
                  <a:moveTo>
                    <a:pt x="202" y="8"/>
                  </a:moveTo>
                  <a:cubicBezTo>
                    <a:pt x="202" y="8"/>
                    <a:pt x="202" y="8"/>
                    <a:pt x="202" y="8"/>
                  </a:cubicBezTo>
                  <a:cubicBezTo>
                    <a:pt x="202" y="8"/>
                    <a:pt x="202" y="8"/>
                    <a:pt x="202" y="8"/>
                  </a:cubicBezTo>
                  <a:cubicBezTo>
                    <a:pt x="203" y="8"/>
                    <a:pt x="202" y="8"/>
                    <a:pt x="202" y="8"/>
                  </a:cubicBezTo>
                  <a:close/>
                  <a:moveTo>
                    <a:pt x="200" y="9"/>
                  </a:moveTo>
                  <a:cubicBezTo>
                    <a:pt x="200" y="9"/>
                    <a:pt x="199" y="9"/>
                    <a:pt x="199" y="9"/>
                  </a:cubicBezTo>
                  <a:cubicBezTo>
                    <a:pt x="199" y="9"/>
                    <a:pt x="200" y="9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lose/>
                  <a:moveTo>
                    <a:pt x="198" y="10"/>
                  </a:moveTo>
                  <a:cubicBezTo>
                    <a:pt x="197" y="10"/>
                    <a:pt x="197" y="10"/>
                    <a:pt x="197" y="9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198" y="9"/>
                    <a:pt x="197" y="9"/>
                    <a:pt x="198" y="10"/>
                  </a:cubicBezTo>
                  <a:close/>
                  <a:moveTo>
                    <a:pt x="196" y="9"/>
                  </a:moveTo>
                  <a:cubicBezTo>
                    <a:pt x="196" y="9"/>
                    <a:pt x="197" y="9"/>
                    <a:pt x="198" y="8"/>
                  </a:cubicBezTo>
                  <a:cubicBezTo>
                    <a:pt x="198" y="9"/>
                    <a:pt x="197" y="9"/>
                    <a:pt x="196" y="9"/>
                  </a:cubicBezTo>
                  <a:close/>
                  <a:moveTo>
                    <a:pt x="195" y="9"/>
                  </a:move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5" y="9"/>
                    <a:pt x="195" y="9"/>
                  </a:cubicBezTo>
                  <a:close/>
                  <a:moveTo>
                    <a:pt x="196" y="15"/>
                  </a:move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lose/>
                  <a:moveTo>
                    <a:pt x="194" y="12"/>
                  </a:moveTo>
                  <a:cubicBezTo>
                    <a:pt x="195" y="12"/>
                    <a:pt x="194" y="12"/>
                    <a:pt x="195" y="12"/>
                  </a:cubicBezTo>
                  <a:cubicBezTo>
                    <a:pt x="195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lose/>
                  <a:moveTo>
                    <a:pt x="195" y="14"/>
                  </a:moveTo>
                  <a:cubicBezTo>
                    <a:pt x="196" y="15"/>
                    <a:pt x="195" y="15"/>
                    <a:pt x="196" y="15"/>
                  </a:cubicBezTo>
                  <a:cubicBezTo>
                    <a:pt x="196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4"/>
                  </a:cubicBezTo>
                  <a:close/>
                  <a:moveTo>
                    <a:pt x="196" y="20"/>
                  </a:moveTo>
                  <a:cubicBezTo>
                    <a:pt x="197" y="20"/>
                    <a:pt x="197" y="20"/>
                    <a:pt x="197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193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4" y="16"/>
                  </a:cubicBezTo>
                  <a:cubicBezTo>
                    <a:pt x="193" y="16"/>
                    <a:pt x="193" y="16"/>
                    <a:pt x="193" y="16"/>
                  </a:cubicBezTo>
                  <a:close/>
                  <a:moveTo>
                    <a:pt x="192" y="13"/>
                  </a:move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3" y="13"/>
                    <a:pt x="192" y="13"/>
                  </a:cubicBezTo>
                  <a:cubicBezTo>
                    <a:pt x="192" y="13"/>
                    <a:pt x="191" y="13"/>
                    <a:pt x="191" y="14"/>
                  </a:cubicBez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ubicBezTo>
                    <a:pt x="191" y="13"/>
                    <a:pt x="191" y="13"/>
                    <a:pt x="192" y="13"/>
                  </a:cubicBezTo>
                  <a:close/>
                  <a:moveTo>
                    <a:pt x="193" y="17"/>
                  </a:moveTo>
                  <a:cubicBezTo>
                    <a:pt x="193" y="17"/>
                    <a:pt x="193" y="17"/>
                    <a:pt x="192" y="17"/>
                  </a:cubicBezTo>
                  <a:cubicBezTo>
                    <a:pt x="192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lose/>
                  <a:moveTo>
                    <a:pt x="191" y="12"/>
                  </a:moveTo>
                  <a:cubicBezTo>
                    <a:pt x="191" y="12"/>
                    <a:pt x="191" y="12"/>
                    <a:pt x="191" y="12"/>
                  </a:cubicBezTo>
                  <a:cubicBezTo>
                    <a:pt x="191" y="13"/>
                    <a:pt x="191" y="12"/>
                    <a:pt x="191" y="12"/>
                  </a:cubicBezTo>
                  <a:cubicBezTo>
                    <a:pt x="191" y="12"/>
                    <a:pt x="191" y="12"/>
                    <a:pt x="191" y="12"/>
                  </a:cubicBezTo>
                  <a:close/>
                  <a:moveTo>
                    <a:pt x="192" y="16"/>
                  </a:move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lose/>
                  <a:moveTo>
                    <a:pt x="190" y="13"/>
                  </a:moveTo>
                  <a:cubicBezTo>
                    <a:pt x="190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lose/>
                  <a:moveTo>
                    <a:pt x="193" y="22"/>
                  </a:move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3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2" y="23"/>
                    <a:pt x="193" y="22"/>
                  </a:cubicBezTo>
                  <a:close/>
                  <a:moveTo>
                    <a:pt x="190" y="17"/>
                  </a:moveTo>
                  <a:cubicBezTo>
                    <a:pt x="190" y="17"/>
                    <a:pt x="189" y="17"/>
                    <a:pt x="189" y="17"/>
                  </a:cubicBezTo>
                  <a:cubicBezTo>
                    <a:pt x="189" y="17"/>
                    <a:pt x="190" y="17"/>
                    <a:pt x="190" y="17"/>
                  </a:cubicBezTo>
                  <a:close/>
                  <a:moveTo>
                    <a:pt x="189" y="13"/>
                  </a:moveTo>
                  <a:cubicBezTo>
                    <a:pt x="189" y="13"/>
                    <a:pt x="189" y="13"/>
                    <a:pt x="190" y="13"/>
                  </a:cubicBezTo>
                  <a:cubicBezTo>
                    <a:pt x="190" y="13"/>
                    <a:pt x="190" y="13"/>
                    <a:pt x="190" y="13"/>
                  </a:cubicBezTo>
                  <a:lnTo>
                    <a:pt x="189" y="13"/>
                  </a:lnTo>
                  <a:close/>
                  <a:moveTo>
                    <a:pt x="189" y="11"/>
                  </a:moveTo>
                  <a:cubicBezTo>
                    <a:pt x="189" y="11"/>
                    <a:pt x="189" y="11"/>
                    <a:pt x="189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1"/>
                    <a:pt x="189" y="10"/>
                    <a:pt x="189" y="11"/>
                  </a:cubicBezTo>
                  <a:close/>
                  <a:moveTo>
                    <a:pt x="191" y="23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23"/>
                    <a:pt x="191" y="22"/>
                    <a:pt x="192" y="23"/>
                  </a:cubicBezTo>
                  <a:cubicBezTo>
                    <a:pt x="191" y="23"/>
                    <a:pt x="191" y="22"/>
                    <a:pt x="191" y="23"/>
                  </a:cubicBezTo>
                  <a:close/>
                  <a:moveTo>
                    <a:pt x="190" y="18"/>
                  </a:move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5"/>
                    <a:pt x="189" y="15"/>
                    <a:pt x="189" y="15"/>
                  </a:cubicBezTo>
                  <a:close/>
                  <a:moveTo>
                    <a:pt x="189" y="17"/>
                  </a:moveTo>
                  <a:cubicBezTo>
                    <a:pt x="188" y="18"/>
                    <a:pt x="189" y="17"/>
                    <a:pt x="189" y="17"/>
                  </a:cubicBezTo>
                  <a:cubicBezTo>
                    <a:pt x="189" y="17"/>
                    <a:pt x="188" y="17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7"/>
                    <a:pt x="188" y="18"/>
                    <a:pt x="188" y="17"/>
                  </a:cubicBezTo>
                  <a:cubicBezTo>
                    <a:pt x="188" y="18"/>
                    <a:pt x="188" y="17"/>
                    <a:pt x="189" y="17"/>
                  </a:cubicBezTo>
                  <a:close/>
                  <a:moveTo>
                    <a:pt x="188" y="13"/>
                  </a:moveTo>
                  <a:cubicBezTo>
                    <a:pt x="188" y="13"/>
                    <a:pt x="187" y="14"/>
                    <a:pt x="187" y="13"/>
                  </a:cubicBezTo>
                  <a:cubicBezTo>
                    <a:pt x="187" y="13"/>
                    <a:pt x="187" y="13"/>
                    <a:pt x="188" y="13"/>
                  </a:cubicBezTo>
                  <a:close/>
                  <a:moveTo>
                    <a:pt x="188" y="16"/>
                  </a:moveTo>
                  <a:cubicBezTo>
                    <a:pt x="187" y="15"/>
                    <a:pt x="188" y="15"/>
                    <a:pt x="188" y="15"/>
                  </a:cubicBezTo>
                  <a:cubicBezTo>
                    <a:pt x="188" y="15"/>
                    <a:pt x="188" y="15"/>
                    <a:pt x="188" y="16"/>
                  </a:cubicBezTo>
                  <a:cubicBezTo>
                    <a:pt x="188" y="15"/>
                    <a:pt x="188" y="15"/>
                    <a:pt x="188" y="15"/>
                  </a:cubicBezTo>
                  <a:cubicBezTo>
                    <a:pt x="188" y="16"/>
                    <a:pt x="188" y="16"/>
                    <a:pt x="188" y="16"/>
                  </a:cubicBezTo>
                  <a:close/>
                  <a:moveTo>
                    <a:pt x="187" y="15"/>
                  </a:move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5"/>
                    <a:pt x="187" y="16"/>
                    <a:pt x="187" y="15"/>
                  </a:cubicBezTo>
                  <a:close/>
                  <a:moveTo>
                    <a:pt x="186" y="19"/>
                  </a:moveTo>
                  <a:cubicBezTo>
                    <a:pt x="187" y="18"/>
                    <a:pt x="186" y="18"/>
                    <a:pt x="187" y="18"/>
                  </a:cubicBezTo>
                  <a:cubicBezTo>
                    <a:pt x="187" y="19"/>
                    <a:pt x="187" y="18"/>
                    <a:pt x="188" y="18"/>
                  </a:cubicBezTo>
                  <a:cubicBezTo>
                    <a:pt x="187" y="19"/>
                    <a:pt x="187" y="18"/>
                    <a:pt x="186" y="19"/>
                  </a:cubicBezTo>
                  <a:close/>
                  <a:moveTo>
                    <a:pt x="184" y="12"/>
                  </a:move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1"/>
                    <a:pt x="184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4" y="11"/>
                    <a:pt x="184" y="11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lose/>
                  <a:moveTo>
                    <a:pt x="186" y="19"/>
                  </a:move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5" y="19"/>
                  </a:cubicBezTo>
                  <a:cubicBezTo>
                    <a:pt x="185" y="19"/>
                    <a:pt x="186" y="19"/>
                    <a:pt x="186" y="19"/>
                  </a:cubicBezTo>
                  <a:close/>
                  <a:moveTo>
                    <a:pt x="186" y="22"/>
                  </a:moveTo>
                  <a:cubicBezTo>
                    <a:pt x="186" y="22"/>
                    <a:pt x="186" y="22"/>
                    <a:pt x="185" y="22"/>
                  </a:cubicBezTo>
                  <a:cubicBezTo>
                    <a:pt x="185" y="22"/>
                    <a:pt x="186" y="22"/>
                    <a:pt x="186" y="22"/>
                  </a:cubicBezTo>
                  <a:close/>
                  <a:moveTo>
                    <a:pt x="185" y="19"/>
                  </a:moveTo>
                  <a:cubicBezTo>
                    <a:pt x="185" y="19"/>
                    <a:pt x="184" y="19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9"/>
                    <a:pt x="185" y="19"/>
                    <a:pt x="185" y="19"/>
                  </a:cubicBezTo>
                  <a:cubicBezTo>
                    <a:pt x="185" y="19"/>
                    <a:pt x="185" y="19"/>
                    <a:pt x="185" y="19"/>
                  </a:cubicBezTo>
                  <a:close/>
                  <a:moveTo>
                    <a:pt x="183" y="17"/>
                  </a:moveTo>
                  <a:cubicBezTo>
                    <a:pt x="183" y="16"/>
                    <a:pt x="184" y="16"/>
                    <a:pt x="184" y="16"/>
                  </a:cubicBezTo>
                  <a:cubicBezTo>
                    <a:pt x="184" y="16"/>
                    <a:pt x="183" y="16"/>
                    <a:pt x="184" y="17"/>
                  </a:cubicBezTo>
                  <a:cubicBezTo>
                    <a:pt x="183" y="17"/>
                    <a:pt x="183" y="16"/>
                    <a:pt x="183" y="17"/>
                  </a:cubicBezTo>
                  <a:close/>
                  <a:moveTo>
                    <a:pt x="183" y="14"/>
                  </a:move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4"/>
                    <a:pt x="183" y="14"/>
                  </a:cubicBezTo>
                  <a:close/>
                  <a:moveTo>
                    <a:pt x="183" y="19"/>
                  </a:moveTo>
                  <a:cubicBezTo>
                    <a:pt x="183" y="18"/>
                    <a:pt x="184" y="18"/>
                    <a:pt x="184" y="18"/>
                  </a:cubicBezTo>
                  <a:cubicBezTo>
                    <a:pt x="184" y="19"/>
                    <a:pt x="183" y="19"/>
                    <a:pt x="183" y="19"/>
                  </a:cubicBezTo>
                  <a:close/>
                  <a:moveTo>
                    <a:pt x="184" y="19"/>
                  </a:moveTo>
                  <a:cubicBezTo>
                    <a:pt x="184" y="19"/>
                    <a:pt x="184" y="19"/>
                    <a:pt x="185" y="19"/>
                  </a:cubicBezTo>
                  <a:cubicBezTo>
                    <a:pt x="185" y="19"/>
                    <a:pt x="184" y="20"/>
                    <a:pt x="184" y="20"/>
                  </a:cubicBezTo>
                  <a:cubicBezTo>
                    <a:pt x="184" y="19"/>
                    <a:pt x="184" y="19"/>
                    <a:pt x="184" y="19"/>
                  </a:cubicBezTo>
                  <a:close/>
                  <a:moveTo>
                    <a:pt x="184" y="18"/>
                  </a:move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3" y="18"/>
                    <a:pt x="183" y="18"/>
                    <a:pt x="183" y="18"/>
                  </a:cubicBezTo>
                  <a:cubicBezTo>
                    <a:pt x="183" y="18"/>
                    <a:pt x="184" y="18"/>
                    <a:pt x="184" y="18"/>
                  </a:cubicBezTo>
                  <a:close/>
                  <a:moveTo>
                    <a:pt x="184" y="21"/>
                  </a:moveTo>
                  <a:cubicBezTo>
                    <a:pt x="184" y="21"/>
                    <a:pt x="184" y="21"/>
                    <a:pt x="184" y="21"/>
                  </a:cubicBezTo>
                  <a:cubicBezTo>
                    <a:pt x="185" y="21"/>
                    <a:pt x="184" y="21"/>
                    <a:pt x="184" y="21"/>
                  </a:cubicBezTo>
                  <a:close/>
                  <a:moveTo>
                    <a:pt x="183" y="17"/>
                  </a:moveTo>
                  <a:cubicBezTo>
                    <a:pt x="183" y="17"/>
                    <a:pt x="183" y="17"/>
                    <a:pt x="182" y="17"/>
                  </a:cubicBezTo>
                  <a:cubicBezTo>
                    <a:pt x="182" y="17"/>
                    <a:pt x="182" y="17"/>
                    <a:pt x="182" y="17"/>
                  </a:cubicBezTo>
                  <a:cubicBezTo>
                    <a:pt x="182" y="17"/>
                    <a:pt x="183" y="17"/>
                    <a:pt x="183" y="17"/>
                  </a:cubicBezTo>
                  <a:close/>
                  <a:moveTo>
                    <a:pt x="181" y="20"/>
                  </a:moveTo>
                  <a:cubicBezTo>
                    <a:pt x="181" y="20"/>
                    <a:pt x="183" y="19"/>
                    <a:pt x="183" y="19"/>
                  </a:cubicBezTo>
                  <a:cubicBezTo>
                    <a:pt x="183" y="20"/>
                    <a:pt x="182" y="20"/>
                    <a:pt x="183" y="20"/>
                  </a:cubicBezTo>
                  <a:cubicBezTo>
                    <a:pt x="183" y="20"/>
                    <a:pt x="182" y="20"/>
                    <a:pt x="181" y="20"/>
                  </a:cubicBezTo>
                  <a:close/>
                  <a:moveTo>
                    <a:pt x="182" y="14"/>
                  </a:moveTo>
                  <a:cubicBezTo>
                    <a:pt x="182" y="14"/>
                    <a:pt x="182" y="15"/>
                    <a:pt x="182" y="15"/>
                  </a:cubicBezTo>
                  <a:cubicBezTo>
                    <a:pt x="182" y="15"/>
                    <a:pt x="182" y="15"/>
                    <a:pt x="182" y="15"/>
                  </a:cubicBezTo>
                  <a:cubicBezTo>
                    <a:pt x="181" y="15"/>
                    <a:pt x="182" y="15"/>
                    <a:pt x="182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1" y="15"/>
                    <a:pt x="182" y="14"/>
                    <a:pt x="182" y="14"/>
                  </a:cubicBezTo>
                  <a:close/>
                  <a:moveTo>
                    <a:pt x="182" y="19"/>
                  </a:moveTo>
                  <a:cubicBezTo>
                    <a:pt x="182" y="19"/>
                    <a:pt x="182" y="19"/>
                    <a:pt x="182" y="19"/>
                  </a:cubicBezTo>
                  <a:cubicBezTo>
                    <a:pt x="182" y="19"/>
                    <a:pt x="182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2" y="19"/>
                    <a:pt x="182" y="18"/>
                    <a:pt x="182" y="18"/>
                  </a:cubicBezTo>
                  <a:cubicBezTo>
                    <a:pt x="182" y="18"/>
                    <a:pt x="182" y="19"/>
                    <a:pt x="182" y="19"/>
                  </a:cubicBezTo>
                  <a:close/>
                  <a:moveTo>
                    <a:pt x="181" y="19"/>
                  </a:moveTo>
                  <a:cubicBezTo>
                    <a:pt x="181" y="19"/>
                    <a:pt x="181" y="19"/>
                    <a:pt x="180" y="19"/>
                  </a:cubicBezTo>
                  <a:cubicBezTo>
                    <a:pt x="180" y="19"/>
                    <a:pt x="181" y="19"/>
                    <a:pt x="181" y="19"/>
                  </a:cubicBezTo>
                  <a:close/>
                  <a:moveTo>
                    <a:pt x="180" y="13"/>
                  </a:moveTo>
                  <a:cubicBezTo>
                    <a:pt x="180" y="13"/>
                    <a:pt x="180" y="13"/>
                    <a:pt x="180" y="14"/>
                  </a:cubicBezTo>
                  <a:cubicBezTo>
                    <a:pt x="179" y="14"/>
                    <a:pt x="179" y="14"/>
                    <a:pt x="179" y="13"/>
                  </a:cubicBezTo>
                  <a:cubicBezTo>
                    <a:pt x="179" y="13"/>
                    <a:pt x="180" y="13"/>
                    <a:pt x="180" y="13"/>
                  </a:cubicBezTo>
                  <a:close/>
                  <a:moveTo>
                    <a:pt x="180" y="17"/>
                  </a:moveTo>
                  <a:cubicBezTo>
                    <a:pt x="180" y="17"/>
                    <a:pt x="180" y="17"/>
                    <a:pt x="181" y="17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0" y="17"/>
                    <a:pt x="180" y="17"/>
                    <a:pt x="180" y="17"/>
                  </a:cubicBezTo>
                  <a:close/>
                  <a:moveTo>
                    <a:pt x="180" y="20"/>
                  </a:move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1" y="20"/>
                    <a:pt x="180" y="20"/>
                  </a:cubicBezTo>
                  <a:close/>
                  <a:moveTo>
                    <a:pt x="180" y="15"/>
                  </a:moveTo>
                  <a:cubicBezTo>
                    <a:pt x="180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80" y="15"/>
                  </a:cubicBezTo>
                  <a:close/>
                  <a:moveTo>
                    <a:pt x="179" y="17"/>
                  </a:move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79" y="17"/>
                    <a:pt x="179" y="17"/>
                  </a:cubicBezTo>
                  <a:close/>
                  <a:moveTo>
                    <a:pt x="180" y="19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79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9" y="19"/>
                  </a:cubicBezTo>
                  <a:cubicBezTo>
                    <a:pt x="179" y="19"/>
                    <a:pt x="178" y="19"/>
                    <a:pt x="179" y="19"/>
                  </a:cubicBezTo>
                  <a:cubicBezTo>
                    <a:pt x="179" y="19"/>
                    <a:pt x="180" y="19"/>
                    <a:pt x="180" y="19"/>
                  </a:cubicBezTo>
                  <a:close/>
                  <a:moveTo>
                    <a:pt x="180" y="22"/>
                  </a:move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3"/>
                  </a:cubicBezTo>
                  <a:cubicBezTo>
                    <a:pt x="180" y="23"/>
                    <a:pt x="180" y="22"/>
                    <a:pt x="180" y="22"/>
                  </a:cubicBezTo>
                  <a:close/>
                  <a:moveTo>
                    <a:pt x="178" y="16"/>
                  </a:move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lose/>
                  <a:moveTo>
                    <a:pt x="180" y="25"/>
                  </a:moveTo>
                  <a:cubicBezTo>
                    <a:pt x="180" y="25"/>
                    <a:pt x="180" y="25"/>
                    <a:pt x="179" y="25"/>
                  </a:cubicBezTo>
                  <a:cubicBezTo>
                    <a:pt x="179" y="25"/>
                    <a:pt x="179" y="25"/>
                    <a:pt x="180" y="25"/>
                  </a:cubicBezTo>
                  <a:cubicBezTo>
                    <a:pt x="180" y="25"/>
                    <a:pt x="179" y="25"/>
                    <a:pt x="179" y="25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80" y="24"/>
                    <a:pt x="180" y="25"/>
                    <a:pt x="180" y="25"/>
                  </a:cubicBezTo>
                  <a:close/>
                  <a:moveTo>
                    <a:pt x="178" y="18"/>
                  </a:moveTo>
                  <a:cubicBezTo>
                    <a:pt x="177" y="18"/>
                    <a:pt x="177" y="18"/>
                    <a:pt x="177" y="18"/>
                  </a:cubicBezTo>
                  <a:cubicBezTo>
                    <a:pt x="177" y="18"/>
                    <a:pt x="178" y="18"/>
                    <a:pt x="178" y="18"/>
                  </a:cubicBezTo>
                  <a:cubicBezTo>
                    <a:pt x="178" y="18"/>
                    <a:pt x="177" y="18"/>
                    <a:pt x="178" y="18"/>
                  </a:cubicBezTo>
                  <a:close/>
                  <a:moveTo>
                    <a:pt x="178" y="17"/>
                  </a:moveTo>
                  <a:cubicBezTo>
                    <a:pt x="178" y="17"/>
                    <a:pt x="178" y="17"/>
                    <a:pt x="178" y="17"/>
                  </a:cubicBezTo>
                  <a:cubicBezTo>
                    <a:pt x="178" y="17"/>
                    <a:pt x="177" y="18"/>
                    <a:pt x="177" y="18"/>
                  </a:cubicBezTo>
                  <a:cubicBezTo>
                    <a:pt x="177" y="18"/>
                    <a:pt x="177" y="18"/>
                    <a:pt x="177" y="18"/>
                  </a:cubicBezTo>
                  <a:cubicBezTo>
                    <a:pt x="177" y="17"/>
                    <a:pt x="177" y="17"/>
                    <a:pt x="178" y="17"/>
                  </a:cubicBezTo>
                  <a:close/>
                  <a:moveTo>
                    <a:pt x="177" y="17"/>
                  </a:move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6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lose/>
                  <a:moveTo>
                    <a:pt x="178" y="20"/>
                  </a:moveTo>
                  <a:cubicBezTo>
                    <a:pt x="177" y="20"/>
                    <a:pt x="177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7" y="19"/>
                    <a:pt x="177" y="19"/>
                  </a:cubicBezTo>
                  <a:cubicBezTo>
                    <a:pt x="177" y="19"/>
                    <a:pt x="178" y="19"/>
                    <a:pt x="178" y="19"/>
                  </a:cubicBezTo>
                  <a:cubicBezTo>
                    <a:pt x="178" y="20"/>
                    <a:pt x="178" y="20"/>
                    <a:pt x="178" y="20"/>
                  </a:cubicBezTo>
                  <a:close/>
                  <a:moveTo>
                    <a:pt x="178" y="26"/>
                  </a:moveTo>
                  <a:cubicBezTo>
                    <a:pt x="178" y="26"/>
                    <a:pt x="179" y="25"/>
                    <a:pt x="179" y="26"/>
                  </a:cubicBezTo>
                  <a:cubicBezTo>
                    <a:pt x="179" y="26"/>
                    <a:pt x="178" y="26"/>
                    <a:pt x="178" y="26"/>
                  </a:cubicBezTo>
                  <a:close/>
                  <a:moveTo>
                    <a:pt x="176" y="18"/>
                  </a:moveTo>
                  <a:cubicBezTo>
                    <a:pt x="176" y="18"/>
                    <a:pt x="176" y="18"/>
                    <a:pt x="176" y="18"/>
                  </a:cubicBezTo>
                  <a:cubicBezTo>
                    <a:pt x="175" y="18"/>
                    <a:pt x="176" y="18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lose/>
                  <a:moveTo>
                    <a:pt x="175" y="19"/>
                  </a:moveTo>
                  <a:cubicBezTo>
                    <a:pt x="175" y="19"/>
                    <a:pt x="176" y="19"/>
                    <a:pt x="176" y="19"/>
                  </a:cubicBezTo>
                  <a:cubicBezTo>
                    <a:pt x="176" y="19"/>
                    <a:pt x="175" y="19"/>
                    <a:pt x="175" y="19"/>
                  </a:cubicBezTo>
                  <a:close/>
                  <a:moveTo>
                    <a:pt x="176" y="22"/>
                  </a:moveTo>
                  <a:cubicBezTo>
                    <a:pt x="176" y="22"/>
                    <a:pt x="176" y="21"/>
                    <a:pt x="176" y="21"/>
                  </a:cubicBezTo>
                  <a:cubicBezTo>
                    <a:pt x="177" y="22"/>
                    <a:pt x="176" y="22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5" y="22"/>
                    <a:pt x="176" y="21"/>
                    <a:pt x="176" y="22"/>
                  </a:cubicBezTo>
                  <a:close/>
                  <a:moveTo>
                    <a:pt x="177" y="25"/>
                  </a:move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5"/>
                    <a:pt x="176" y="25"/>
                    <a:pt x="177" y="25"/>
                  </a:cubicBezTo>
                  <a:close/>
                  <a:moveTo>
                    <a:pt x="175" y="18"/>
                  </a:moveTo>
                  <a:cubicBezTo>
                    <a:pt x="175" y="18"/>
                    <a:pt x="174" y="18"/>
                    <a:pt x="173" y="18"/>
                  </a:cubicBezTo>
                  <a:cubicBezTo>
                    <a:pt x="173" y="18"/>
                    <a:pt x="174" y="18"/>
                    <a:pt x="175" y="18"/>
                  </a:cubicBezTo>
                  <a:close/>
                  <a:moveTo>
                    <a:pt x="173" y="14"/>
                  </a:moveTo>
                  <a:cubicBezTo>
                    <a:pt x="173" y="14"/>
                    <a:pt x="173" y="14"/>
                    <a:pt x="174" y="14"/>
                  </a:cubicBezTo>
                  <a:cubicBezTo>
                    <a:pt x="174" y="14"/>
                    <a:pt x="173" y="14"/>
                    <a:pt x="173" y="14"/>
                  </a:cubicBezTo>
                  <a:close/>
                  <a:moveTo>
                    <a:pt x="175" y="21"/>
                  </a:moveTo>
                  <a:cubicBezTo>
                    <a:pt x="175" y="21"/>
                    <a:pt x="175" y="21"/>
                    <a:pt x="175" y="21"/>
                  </a:cubicBezTo>
                  <a:cubicBezTo>
                    <a:pt x="176" y="21"/>
                    <a:pt x="175" y="22"/>
                    <a:pt x="175" y="21"/>
                  </a:cubicBezTo>
                  <a:close/>
                  <a:moveTo>
                    <a:pt x="176" y="26"/>
                  </a:move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lose/>
                  <a:moveTo>
                    <a:pt x="175" y="26"/>
                  </a:move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4" y="26"/>
                    <a:pt x="174" y="26"/>
                  </a:cubicBezTo>
                  <a:cubicBezTo>
                    <a:pt x="174" y="26"/>
                    <a:pt x="175" y="26"/>
                    <a:pt x="175" y="26"/>
                  </a:cubicBezTo>
                  <a:close/>
                  <a:moveTo>
                    <a:pt x="172" y="19"/>
                  </a:moveTo>
                  <a:cubicBezTo>
                    <a:pt x="173" y="19"/>
                    <a:pt x="173" y="18"/>
                    <a:pt x="174" y="18"/>
                  </a:cubicBezTo>
                  <a:cubicBezTo>
                    <a:pt x="173" y="19"/>
                    <a:pt x="173" y="19"/>
                    <a:pt x="172" y="19"/>
                  </a:cubicBezTo>
                  <a:close/>
                  <a:moveTo>
                    <a:pt x="176" y="26"/>
                  </a:move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6" y="26"/>
                  </a:cubicBezTo>
                  <a:close/>
                  <a:moveTo>
                    <a:pt x="172" y="19"/>
                  </a:moveTo>
                  <a:cubicBezTo>
                    <a:pt x="172" y="19"/>
                    <a:pt x="172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2" y="19"/>
                    <a:pt x="172" y="19"/>
                    <a:pt x="172" y="19"/>
                  </a:cubicBezTo>
                  <a:close/>
                  <a:moveTo>
                    <a:pt x="172" y="20"/>
                  </a:moveTo>
                  <a:cubicBezTo>
                    <a:pt x="172" y="20"/>
                    <a:pt x="172" y="20"/>
                    <a:pt x="172" y="21"/>
                  </a:cubicBezTo>
                  <a:cubicBezTo>
                    <a:pt x="172" y="21"/>
                    <a:pt x="172" y="20"/>
                    <a:pt x="173" y="20"/>
                  </a:cubicBezTo>
                  <a:cubicBezTo>
                    <a:pt x="172" y="21"/>
                    <a:pt x="173" y="20"/>
                    <a:pt x="173" y="20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2" y="21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2" y="20"/>
                    <a:pt x="172" y="20"/>
                    <a:pt x="172" y="20"/>
                  </a:cubicBezTo>
                  <a:close/>
                  <a:moveTo>
                    <a:pt x="174" y="26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3" y="27"/>
                    <a:pt x="174" y="26"/>
                    <a:pt x="174" y="26"/>
                  </a:cubicBezTo>
                  <a:close/>
                  <a:moveTo>
                    <a:pt x="172" y="25"/>
                  </a:move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6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1" y="26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4"/>
                    <a:pt x="174" y="25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lose/>
                  <a:moveTo>
                    <a:pt x="173" y="26"/>
                  </a:move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4" y="26"/>
                  </a:cubicBezTo>
                  <a:cubicBezTo>
                    <a:pt x="173" y="26"/>
                    <a:pt x="174" y="26"/>
                    <a:pt x="174" y="26"/>
                  </a:cubicBezTo>
                  <a:cubicBezTo>
                    <a:pt x="174" y="26"/>
                    <a:pt x="173" y="26"/>
                    <a:pt x="173" y="26"/>
                  </a:cubicBezTo>
                  <a:cubicBezTo>
                    <a:pt x="173" y="27"/>
                    <a:pt x="172" y="26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3" y="26"/>
                    <a:pt x="173" y="26"/>
                    <a:pt x="173" y="26"/>
                  </a:cubicBezTo>
                  <a:close/>
                  <a:moveTo>
                    <a:pt x="173" y="27"/>
                  </a:moveTo>
                  <a:cubicBezTo>
                    <a:pt x="173" y="27"/>
                    <a:pt x="173" y="27"/>
                    <a:pt x="172" y="27"/>
                  </a:cubicBezTo>
                  <a:cubicBezTo>
                    <a:pt x="172" y="27"/>
                    <a:pt x="173" y="27"/>
                    <a:pt x="173" y="27"/>
                  </a:cubicBezTo>
                  <a:cubicBezTo>
                    <a:pt x="173" y="27"/>
                    <a:pt x="173" y="27"/>
                    <a:pt x="173" y="27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lose/>
                  <a:moveTo>
                    <a:pt x="169" y="15"/>
                  </a:moveTo>
                  <a:cubicBezTo>
                    <a:pt x="169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69" y="15"/>
                  </a:cubicBezTo>
                  <a:close/>
                  <a:moveTo>
                    <a:pt x="169" y="20"/>
                  </a:moveTo>
                  <a:cubicBezTo>
                    <a:pt x="169" y="20"/>
                    <a:pt x="170" y="19"/>
                    <a:pt x="169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lose/>
                  <a:moveTo>
                    <a:pt x="172" y="25"/>
                  </a:moveTo>
                  <a:cubicBezTo>
                    <a:pt x="171" y="25"/>
                    <a:pt x="171" y="25"/>
                    <a:pt x="172" y="25"/>
                  </a:cubicBezTo>
                  <a:cubicBezTo>
                    <a:pt x="171" y="25"/>
                    <a:pt x="170" y="26"/>
                    <a:pt x="169" y="26"/>
                  </a:cubicBezTo>
                  <a:cubicBezTo>
                    <a:pt x="169" y="26"/>
                    <a:pt x="170" y="26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5"/>
                    <a:pt x="171" y="25"/>
                    <a:pt x="172" y="25"/>
                  </a:cubicBezTo>
                  <a:close/>
                  <a:moveTo>
                    <a:pt x="171" y="26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2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lose/>
                  <a:moveTo>
                    <a:pt x="170" y="21"/>
                  </a:move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lose/>
                  <a:moveTo>
                    <a:pt x="169" y="19"/>
                  </a:move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lose/>
                  <a:moveTo>
                    <a:pt x="171" y="26"/>
                  </a:move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70" y="26"/>
                    <a:pt x="171" y="26"/>
                  </a:cubicBezTo>
                  <a:close/>
                  <a:moveTo>
                    <a:pt x="167" y="20"/>
                  </a:moveTo>
                  <a:cubicBezTo>
                    <a:pt x="168" y="20"/>
                    <a:pt x="170" y="19"/>
                    <a:pt x="168" y="20"/>
                  </a:cubicBezTo>
                  <a:cubicBezTo>
                    <a:pt x="169" y="20"/>
                    <a:pt x="168" y="20"/>
                    <a:pt x="168" y="20"/>
                  </a:cubicBezTo>
                  <a:cubicBezTo>
                    <a:pt x="168" y="20"/>
                    <a:pt x="167" y="20"/>
                    <a:pt x="167" y="20"/>
                  </a:cubicBezTo>
                  <a:close/>
                  <a:moveTo>
                    <a:pt x="167" y="19"/>
                  </a:moveTo>
                  <a:cubicBezTo>
                    <a:pt x="167" y="19"/>
                    <a:pt x="167" y="19"/>
                    <a:pt x="168" y="19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8" y="19"/>
                    <a:pt x="168" y="19"/>
                    <a:pt x="167" y="19"/>
                  </a:cubicBezTo>
                  <a:close/>
                  <a:moveTo>
                    <a:pt x="169" y="24"/>
                  </a:move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lose/>
                  <a:moveTo>
                    <a:pt x="168" y="20"/>
                  </a:moveTo>
                  <a:cubicBezTo>
                    <a:pt x="168" y="20"/>
                    <a:pt x="168" y="20"/>
                    <a:pt x="168" y="21"/>
                  </a:cubicBezTo>
                  <a:cubicBezTo>
                    <a:pt x="168" y="21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lose/>
                  <a:moveTo>
                    <a:pt x="166" y="20"/>
                  </a:moveTo>
                  <a:cubicBezTo>
                    <a:pt x="166" y="19"/>
                    <a:pt x="165" y="20"/>
                    <a:pt x="166" y="20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4" y="20"/>
                    <a:pt x="164" y="20"/>
                    <a:pt x="164" y="20"/>
                  </a:cubicBezTo>
                  <a:cubicBezTo>
                    <a:pt x="164" y="20"/>
                    <a:pt x="163" y="20"/>
                    <a:pt x="163" y="20"/>
                  </a:cubicBezTo>
                  <a:cubicBezTo>
                    <a:pt x="162" y="20"/>
                    <a:pt x="163" y="20"/>
                    <a:pt x="163" y="20"/>
                  </a:cubicBezTo>
                  <a:cubicBezTo>
                    <a:pt x="163" y="20"/>
                    <a:pt x="164" y="20"/>
                    <a:pt x="165" y="20"/>
                  </a:cubicBezTo>
                  <a:cubicBezTo>
                    <a:pt x="165" y="20"/>
                    <a:pt x="166" y="19"/>
                    <a:pt x="166" y="20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7" y="19"/>
                    <a:pt x="167" y="19"/>
                  </a:cubicBezTo>
                  <a:cubicBezTo>
                    <a:pt x="167" y="19"/>
                    <a:pt x="166" y="20"/>
                    <a:pt x="166" y="20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7"/>
                    <a:pt x="168" y="27"/>
                  </a:cubicBezTo>
                  <a:cubicBezTo>
                    <a:pt x="168" y="27"/>
                    <a:pt x="168" y="28"/>
                    <a:pt x="168" y="28"/>
                  </a:cubicBezTo>
                  <a:close/>
                  <a:moveTo>
                    <a:pt x="167" y="22"/>
                  </a:moveTo>
                  <a:cubicBezTo>
                    <a:pt x="167" y="22"/>
                    <a:pt x="166" y="23"/>
                    <a:pt x="166" y="22"/>
                  </a:cubicBezTo>
                  <a:cubicBezTo>
                    <a:pt x="166" y="22"/>
                    <a:pt x="166" y="22"/>
                    <a:pt x="167" y="22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8"/>
                    <a:pt x="167" y="28"/>
                  </a:cubicBezTo>
                  <a:cubicBezTo>
                    <a:pt x="167" y="28"/>
                    <a:pt x="168" y="28"/>
                    <a:pt x="168" y="28"/>
                  </a:cubicBezTo>
                  <a:cubicBezTo>
                    <a:pt x="168" y="28"/>
                    <a:pt x="168" y="28"/>
                    <a:pt x="168" y="28"/>
                  </a:cubicBezTo>
                  <a:close/>
                  <a:moveTo>
                    <a:pt x="166" y="25"/>
                  </a:moveTo>
                  <a:cubicBezTo>
                    <a:pt x="166" y="25"/>
                    <a:pt x="166" y="25"/>
                    <a:pt x="167" y="25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66" y="25"/>
                    <a:pt x="166" y="25"/>
                    <a:pt x="166" y="25"/>
                  </a:cubicBezTo>
                  <a:close/>
                  <a:moveTo>
                    <a:pt x="167" y="28"/>
                  </a:moveTo>
                  <a:cubicBezTo>
                    <a:pt x="167" y="28"/>
                    <a:pt x="167" y="29"/>
                    <a:pt x="167" y="29"/>
                  </a:cubicBezTo>
                  <a:cubicBezTo>
                    <a:pt x="167" y="29"/>
                    <a:pt x="167" y="28"/>
                    <a:pt x="167" y="28"/>
                  </a:cubicBezTo>
                  <a:close/>
                  <a:moveTo>
                    <a:pt x="165" y="24"/>
                  </a:moveTo>
                  <a:cubicBezTo>
                    <a:pt x="165" y="24"/>
                    <a:pt x="165" y="24"/>
                    <a:pt x="166" y="24"/>
                  </a:cubicBezTo>
                  <a:cubicBezTo>
                    <a:pt x="166" y="24"/>
                    <a:pt x="166" y="24"/>
                    <a:pt x="165" y="24"/>
                  </a:cubicBezTo>
                  <a:close/>
                  <a:moveTo>
                    <a:pt x="165" y="29"/>
                  </a:moveTo>
                  <a:cubicBezTo>
                    <a:pt x="165" y="29"/>
                    <a:pt x="165" y="29"/>
                    <a:pt x="165" y="29"/>
                  </a:cubicBezTo>
                  <a:cubicBezTo>
                    <a:pt x="166" y="28"/>
                    <a:pt x="166" y="29"/>
                    <a:pt x="166" y="29"/>
                  </a:cubicBezTo>
                  <a:cubicBezTo>
                    <a:pt x="166" y="29"/>
                    <a:pt x="165" y="29"/>
                    <a:pt x="165" y="29"/>
                  </a:cubicBezTo>
                  <a:close/>
                  <a:moveTo>
                    <a:pt x="163" y="17"/>
                  </a:moveTo>
                  <a:cubicBezTo>
                    <a:pt x="163" y="17"/>
                    <a:pt x="162" y="17"/>
                    <a:pt x="162" y="17"/>
                  </a:cubicBezTo>
                  <a:cubicBezTo>
                    <a:pt x="162" y="17"/>
                    <a:pt x="163" y="17"/>
                    <a:pt x="163" y="17"/>
                  </a:cubicBezTo>
                  <a:close/>
                  <a:moveTo>
                    <a:pt x="162" y="21"/>
                  </a:moveTo>
                  <a:cubicBezTo>
                    <a:pt x="163" y="21"/>
                    <a:pt x="163" y="21"/>
                    <a:pt x="163" y="21"/>
                  </a:cubicBezTo>
                  <a:cubicBezTo>
                    <a:pt x="163" y="21"/>
                    <a:pt x="162" y="21"/>
                    <a:pt x="162" y="21"/>
                  </a:cubicBezTo>
                  <a:close/>
                  <a:moveTo>
                    <a:pt x="162" y="20"/>
                  </a:move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1" y="20"/>
                    <a:pt x="161" y="20"/>
                  </a:cubicBezTo>
                  <a:cubicBezTo>
                    <a:pt x="161" y="21"/>
                    <a:pt x="160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ubicBezTo>
                    <a:pt x="160" y="21"/>
                    <a:pt x="160" y="21"/>
                    <a:pt x="159" y="21"/>
                  </a:cubicBezTo>
                  <a:cubicBezTo>
                    <a:pt x="160" y="21"/>
                    <a:pt x="161" y="20"/>
                    <a:pt x="162" y="20"/>
                  </a:cubicBezTo>
                  <a:close/>
                  <a:moveTo>
                    <a:pt x="163" y="26"/>
                  </a:moveTo>
                  <a:cubicBezTo>
                    <a:pt x="163" y="26"/>
                    <a:pt x="163" y="26"/>
                    <a:pt x="163" y="26"/>
                  </a:cubicBezTo>
                  <a:cubicBezTo>
                    <a:pt x="162" y="26"/>
                    <a:pt x="162" y="26"/>
                    <a:pt x="162" y="26"/>
                  </a:cubicBezTo>
                  <a:cubicBezTo>
                    <a:pt x="162" y="26"/>
                    <a:pt x="163" y="25"/>
                    <a:pt x="163" y="26"/>
                  </a:cubicBezTo>
                  <a:close/>
                  <a:moveTo>
                    <a:pt x="161" y="24"/>
                  </a:moveTo>
                  <a:cubicBezTo>
                    <a:pt x="161" y="24"/>
                    <a:pt x="162" y="24"/>
                    <a:pt x="161" y="24"/>
                  </a:cubicBezTo>
                  <a:cubicBezTo>
                    <a:pt x="161" y="24"/>
                    <a:pt x="162" y="24"/>
                    <a:pt x="162" y="24"/>
                  </a:cubicBezTo>
                  <a:cubicBezTo>
                    <a:pt x="162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lose/>
                  <a:moveTo>
                    <a:pt x="160" y="21"/>
                  </a:moveTo>
                  <a:cubicBezTo>
                    <a:pt x="160" y="21"/>
                    <a:pt x="161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6"/>
                    <a:pt x="162" y="26"/>
                  </a:cubicBezTo>
                  <a:cubicBezTo>
                    <a:pt x="162" y="26"/>
                    <a:pt x="161" y="26"/>
                    <a:pt x="161" y="26"/>
                  </a:cubicBezTo>
                  <a:close/>
                  <a:moveTo>
                    <a:pt x="160" y="20"/>
                  </a:moveTo>
                  <a:cubicBezTo>
                    <a:pt x="160" y="21"/>
                    <a:pt x="159" y="21"/>
                    <a:pt x="159" y="21"/>
                  </a:cubicBezTo>
                  <a:cubicBezTo>
                    <a:pt x="159" y="20"/>
                    <a:pt x="159" y="21"/>
                    <a:pt x="160" y="20"/>
                  </a:cubicBezTo>
                  <a:close/>
                  <a:moveTo>
                    <a:pt x="161" y="25"/>
                  </a:moveTo>
                  <a:cubicBezTo>
                    <a:pt x="161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1" y="25"/>
                  </a:cubicBezTo>
                  <a:close/>
                  <a:moveTo>
                    <a:pt x="160" y="23"/>
                  </a:moveTo>
                  <a:cubicBezTo>
                    <a:pt x="160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60" y="23"/>
                  </a:cubicBezTo>
                  <a:close/>
                  <a:moveTo>
                    <a:pt x="158" y="22"/>
                  </a:moveTo>
                  <a:cubicBezTo>
                    <a:pt x="158" y="22"/>
                    <a:pt x="159" y="22"/>
                    <a:pt x="159" y="22"/>
                  </a:cubicBezTo>
                  <a:cubicBezTo>
                    <a:pt x="159" y="22"/>
                    <a:pt x="159" y="22"/>
                    <a:pt x="158" y="22"/>
                  </a:cubicBezTo>
                  <a:close/>
                  <a:moveTo>
                    <a:pt x="157" y="20"/>
                  </a:moveTo>
                  <a:cubicBezTo>
                    <a:pt x="157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7" y="20"/>
                  </a:cubicBezTo>
                  <a:close/>
                  <a:moveTo>
                    <a:pt x="159" y="27"/>
                  </a:moveTo>
                  <a:cubicBezTo>
                    <a:pt x="159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59" y="27"/>
                  </a:cubicBezTo>
                  <a:close/>
                  <a:moveTo>
                    <a:pt x="160" y="30"/>
                  </a:move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lose/>
                  <a:moveTo>
                    <a:pt x="159" y="25"/>
                  </a:moveTo>
                  <a:cubicBezTo>
                    <a:pt x="158" y="25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6" y="26"/>
                    <a:pt x="156" y="26"/>
                  </a:cubicBezTo>
                  <a:cubicBezTo>
                    <a:pt x="156" y="25"/>
                    <a:pt x="157" y="26"/>
                    <a:pt x="157" y="25"/>
                  </a:cubicBezTo>
                  <a:cubicBezTo>
                    <a:pt x="157" y="25"/>
                    <a:pt x="158" y="25"/>
                    <a:pt x="157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9" y="25"/>
                  </a:cubicBezTo>
                  <a:close/>
                  <a:moveTo>
                    <a:pt x="159" y="27"/>
                  </a:moveTo>
                  <a:cubicBezTo>
                    <a:pt x="159" y="27"/>
                    <a:pt x="159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8"/>
                  </a:cubicBezTo>
                  <a:cubicBezTo>
                    <a:pt x="157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9" y="27"/>
                    <a:pt x="158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lose/>
                  <a:moveTo>
                    <a:pt x="157" y="26"/>
                  </a:moveTo>
                  <a:cubicBezTo>
                    <a:pt x="157" y="26"/>
                    <a:pt x="158" y="26"/>
                    <a:pt x="158" y="26"/>
                  </a:cubicBezTo>
                  <a:cubicBezTo>
                    <a:pt x="158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lose/>
                  <a:moveTo>
                    <a:pt x="158" y="28"/>
                  </a:moveTo>
                  <a:cubicBezTo>
                    <a:pt x="158" y="29"/>
                    <a:pt x="158" y="28"/>
                    <a:pt x="158" y="29"/>
                  </a:cubicBezTo>
                  <a:cubicBezTo>
                    <a:pt x="158" y="29"/>
                    <a:pt x="157" y="29"/>
                    <a:pt x="158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8"/>
                    <a:pt x="157" y="28"/>
                    <a:pt x="156" y="29"/>
                  </a:cubicBezTo>
                  <a:cubicBezTo>
                    <a:pt x="157" y="28"/>
                    <a:pt x="157" y="28"/>
                    <a:pt x="158" y="28"/>
                  </a:cubicBezTo>
                  <a:close/>
                  <a:moveTo>
                    <a:pt x="156" y="22"/>
                  </a:moveTo>
                  <a:cubicBezTo>
                    <a:pt x="156" y="22"/>
                    <a:pt x="156" y="22"/>
                    <a:pt x="155" y="22"/>
                  </a:cubicBezTo>
                  <a:cubicBezTo>
                    <a:pt x="155" y="22"/>
                    <a:pt x="156" y="22"/>
                    <a:pt x="156" y="22"/>
                  </a:cubicBezTo>
                  <a:close/>
                  <a:moveTo>
                    <a:pt x="156" y="25"/>
                  </a:move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lose/>
                  <a:moveTo>
                    <a:pt x="157" y="27"/>
                  </a:moveTo>
                  <a:cubicBezTo>
                    <a:pt x="157" y="27"/>
                    <a:pt x="156" y="27"/>
                    <a:pt x="156" y="27"/>
                  </a:cubicBezTo>
                  <a:cubicBezTo>
                    <a:pt x="156" y="26"/>
                    <a:pt x="156" y="27"/>
                    <a:pt x="157" y="27"/>
                  </a:cubicBezTo>
                  <a:close/>
                  <a:moveTo>
                    <a:pt x="156" y="25"/>
                  </a:moveTo>
                  <a:cubicBezTo>
                    <a:pt x="155" y="25"/>
                    <a:pt x="155" y="25"/>
                    <a:pt x="155" y="25"/>
                  </a:cubicBezTo>
                  <a:cubicBezTo>
                    <a:pt x="155" y="25"/>
                    <a:pt x="154" y="26"/>
                    <a:pt x="154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3" y="26"/>
                    <a:pt x="153" y="25"/>
                  </a:cubicBezTo>
                  <a:cubicBezTo>
                    <a:pt x="154" y="25"/>
                    <a:pt x="155" y="25"/>
                    <a:pt x="156" y="25"/>
                  </a:cubicBezTo>
                  <a:close/>
                  <a:moveTo>
                    <a:pt x="157" y="31"/>
                  </a:moveTo>
                  <a:cubicBezTo>
                    <a:pt x="157" y="31"/>
                    <a:pt x="156" y="31"/>
                    <a:pt x="156" y="31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6" y="31"/>
                    <a:pt x="157" y="30"/>
                    <a:pt x="157" y="31"/>
                  </a:cubicBezTo>
                  <a:close/>
                  <a:moveTo>
                    <a:pt x="156" y="29"/>
                  </a:move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lose/>
                  <a:moveTo>
                    <a:pt x="155" y="32"/>
                  </a:moveTo>
                  <a:cubicBezTo>
                    <a:pt x="154" y="32"/>
                    <a:pt x="153" y="32"/>
                    <a:pt x="152" y="32"/>
                  </a:cubicBezTo>
                  <a:cubicBezTo>
                    <a:pt x="153" y="32"/>
                    <a:pt x="155" y="31"/>
                    <a:pt x="156" y="31"/>
                  </a:cubicBezTo>
                  <a:cubicBezTo>
                    <a:pt x="156" y="31"/>
                    <a:pt x="155" y="32"/>
                    <a:pt x="155" y="32"/>
                  </a:cubicBezTo>
                  <a:close/>
                  <a:moveTo>
                    <a:pt x="152" y="23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23"/>
                    <a:pt x="153" y="23"/>
                    <a:pt x="152" y="23"/>
                  </a:cubicBezTo>
                  <a:close/>
                  <a:moveTo>
                    <a:pt x="154" y="29"/>
                  </a:moveTo>
                  <a:cubicBezTo>
                    <a:pt x="154" y="29"/>
                    <a:pt x="154" y="29"/>
                    <a:pt x="154" y="29"/>
                  </a:cubicBezTo>
                  <a:cubicBezTo>
                    <a:pt x="154" y="28"/>
                    <a:pt x="154" y="29"/>
                    <a:pt x="155" y="28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5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5"/>
                    <a:pt x="151" y="25"/>
                  </a:cubicBezTo>
                  <a:cubicBezTo>
                    <a:pt x="151" y="25"/>
                    <a:pt x="152" y="25"/>
                    <a:pt x="152" y="25"/>
                  </a:cubicBezTo>
                  <a:close/>
                  <a:moveTo>
                    <a:pt x="151" y="25"/>
                  </a:move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lose/>
                  <a:moveTo>
                    <a:pt x="149" y="33"/>
                  </a:moveTo>
                  <a:cubicBezTo>
                    <a:pt x="150" y="33"/>
                    <a:pt x="151" y="33"/>
                    <a:pt x="149" y="33"/>
                  </a:cubicBezTo>
                  <a:close/>
                  <a:moveTo>
                    <a:pt x="149" y="29"/>
                  </a:moveTo>
                  <a:cubicBezTo>
                    <a:pt x="149" y="29"/>
                    <a:pt x="149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lose/>
                  <a:moveTo>
                    <a:pt x="148" y="27"/>
                  </a:moveTo>
                  <a:cubicBezTo>
                    <a:pt x="148" y="26"/>
                    <a:pt x="148" y="27"/>
                    <a:pt x="148" y="26"/>
                  </a:cubicBezTo>
                  <a:cubicBezTo>
                    <a:pt x="148" y="27"/>
                    <a:pt x="148" y="27"/>
                    <a:pt x="148" y="27"/>
                  </a:cubicBezTo>
                  <a:close/>
                  <a:moveTo>
                    <a:pt x="149" y="30"/>
                  </a:moveTo>
                  <a:cubicBezTo>
                    <a:pt x="149" y="30"/>
                    <a:pt x="148" y="31"/>
                    <a:pt x="148" y="30"/>
                  </a:cubicBezTo>
                  <a:cubicBezTo>
                    <a:pt x="148" y="30"/>
                    <a:pt x="149" y="30"/>
                    <a:pt x="149" y="30"/>
                  </a:cubicBezTo>
                  <a:close/>
                  <a:moveTo>
                    <a:pt x="147" y="25"/>
                  </a:moveTo>
                  <a:cubicBezTo>
                    <a:pt x="147" y="25"/>
                    <a:pt x="147" y="25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6" y="27"/>
                    <a:pt x="146" y="27"/>
                    <a:pt x="146" y="27"/>
                  </a:cubicBezTo>
                  <a:cubicBezTo>
                    <a:pt x="147" y="27"/>
                    <a:pt x="147" y="27"/>
                    <a:pt x="148" y="27"/>
                  </a:cubicBezTo>
                  <a:cubicBezTo>
                    <a:pt x="147" y="27"/>
                    <a:pt x="146" y="27"/>
                    <a:pt x="146" y="28"/>
                  </a:cubicBezTo>
                  <a:close/>
                  <a:moveTo>
                    <a:pt x="146" y="26"/>
                  </a:moveTo>
                  <a:cubicBezTo>
                    <a:pt x="146" y="26"/>
                    <a:pt x="146" y="26"/>
                    <a:pt x="146" y="26"/>
                  </a:cubicBezTo>
                  <a:cubicBezTo>
                    <a:pt x="147" y="26"/>
                    <a:pt x="147" y="26"/>
                    <a:pt x="146" y="26"/>
                  </a:cubicBezTo>
                  <a:close/>
                  <a:moveTo>
                    <a:pt x="147" y="29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lose/>
                  <a:moveTo>
                    <a:pt x="146" y="30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30"/>
                    <a:pt x="146" y="30"/>
                    <a:pt x="146" y="30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7" y="28"/>
                    <a:pt x="146" y="28"/>
                    <a:pt x="146" y="28"/>
                  </a:cubicBezTo>
                  <a:close/>
                  <a:moveTo>
                    <a:pt x="146" y="34"/>
                  </a:move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7" y="34"/>
                    <a:pt x="146" y="34"/>
                  </a:cubicBezTo>
                  <a:close/>
                  <a:moveTo>
                    <a:pt x="144" y="23"/>
                  </a:move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lose/>
                  <a:moveTo>
                    <a:pt x="146" y="29"/>
                  </a:move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5" y="29"/>
                  </a:cubicBezTo>
                  <a:cubicBezTo>
                    <a:pt x="145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lose/>
                  <a:moveTo>
                    <a:pt x="144" y="25"/>
                  </a:moveTo>
                  <a:cubicBezTo>
                    <a:pt x="144" y="25"/>
                    <a:pt x="144" y="25"/>
                    <a:pt x="144" y="25"/>
                  </a:cubicBezTo>
                  <a:cubicBezTo>
                    <a:pt x="144" y="25"/>
                    <a:pt x="144" y="25"/>
                    <a:pt x="145" y="25"/>
                  </a:cubicBezTo>
                  <a:cubicBezTo>
                    <a:pt x="145" y="25"/>
                    <a:pt x="145" y="25"/>
                    <a:pt x="144" y="25"/>
                  </a:cubicBezTo>
                  <a:close/>
                  <a:moveTo>
                    <a:pt x="145" y="27"/>
                  </a:moveTo>
                  <a:cubicBezTo>
                    <a:pt x="144" y="27"/>
                    <a:pt x="144" y="27"/>
                    <a:pt x="144" y="27"/>
                  </a:cubicBezTo>
                  <a:cubicBezTo>
                    <a:pt x="144" y="26"/>
                    <a:pt x="145" y="26"/>
                    <a:pt x="145" y="27"/>
                  </a:cubicBezTo>
                  <a:close/>
                  <a:moveTo>
                    <a:pt x="145" y="33"/>
                  </a:moveTo>
                  <a:cubicBezTo>
                    <a:pt x="145" y="33"/>
                    <a:pt x="145" y="33"/>
                    <a:pt x="145" y="33"/>
                  </a:cubicBezTo>
                  <a:cubicBezTo>
                    <a:pt x="145" y="33"/>
                    <a:pt x="145" y="32"/>
                    <a:pt x="145" y="33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8"/>
                    <a:pt x="144" y="28"/>
                    <a:pt x="144" y="29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9"/>
                    <a:pt x="144" y="29"/>
                    <a:pt x="144" y="29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4"/>
                    <a:pt x="143" y="24"/>
                  </a:cubicBezTo>
                  <a:cubicBezTo>
                    <a:pt x="143" y="25"/>
                    <a:pt x="142" y="25"/>
                    <a:pt x="142" y="25"/>
                  </a:cubicBezTo>
                  <a:close/>
                  <a:moveTo>
                    <a:pt x="144" y="33"/>
                  </a:moveTo>
                  <a:cubicBezTo>
                    <a:pt x="144" y="33"/>
                    <a:pt x="144" y="33"/>
                    <a:pt x="143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lose/>
                  <a:moveTo>
                    <a:pt x="143" y="26"/>
                  </a:move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6"/>
                    <a:pt x="143" y="26"/>
                  </a:cubicBezTo>
                  <a:cubicBezTo>
                    <a:pt x="143" y="26"/>
                    <a:pt x="142" y="26"/>
                    <a:pt x="143" y="26"/>
                  </a:cubicBezTo>
                  <a:close/>
                  <a:moveTo>
                    <a:pt x="142" y="23"/>
                  </a:move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2"/>
                    <a:pt x="142" y="22"/>
                  </a:cubicBezTo>
                  <a:cubicBezTo>
                    <a:pt x="142" y="22"/>
                    <a:pt x="142" y="22"/>
                    <a:pt x="142" y="23"/>
                  </a:cubicBezTo>
                  <a:close/>
                  <a:moveTo>
                    <a:pt x="140" y="24"/>
                  </a:moveTo>
                  <a:cubicBezTo>
                    <a:pt x="139" y="24"/>
                    <a:pt x="137" y="24"/>
                    <a:pt x="136" y="24"/>
                  </a:cubicBezTo>
                  <a:cubicBezTo>
                    <a:pt x="138" y="24"/>
                    <a:pt x="139" y="24"/>
                    <a:pt x="141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1" y="24"/>
                    <a:pt x="140" y="23"/>
                    <a:pt x="140" y="24"/>
                  </a:cubicBezTo>
                  <a:close/>
                  <a:moveTo>
                    <a:pt x="142" y="27"/>
                  </a:moveTo>
                  <a:cubicBezTo>
                    <a:pt x="142" y="27"/>
                    <a:pt x="141" y="27"/>
                    <a:pt x="141" y="27"/>
                  </a:cubicBezTo>
                  <a:cubicBezTo>
                    <a:pt x="141" y="27"/>
                    <a:pt x="142" y="27"/>
                    <a:pt x="142" y="27"/>
                  </a:cubicBezTo>
                  <a:close/>
                  <a:moveTo>
                    <a:pt x="142" y="27"/>
                  </a:moveTo>
                  <a:cubicBezTo>
                    <a:pt x="142" y="27"/>
                    <a:pt x="142" y="28"/>
                    <a:pt x="141" y="28"/>
                  </a:cubicBezTo>
                  <a:cubicBezTo>
                    <a:pt x="141" y="28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lose/>
                  <a:moveTo>
                    <a:pt x="141" y="23"/>
                  </a:moveTo>
                  <a:cubicBezTo>
                    <a:pt x="141" y="23"/>
                    <a:pt x="141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lose/>
                  <a:moveTo>
                    <a:pt x="141" y="26"/>
                  </a:moveTo>
                  <a:cubicBezTo>
                    <a:pt x="141" y="26"/>
                    <a:pt x="141" y="25"/>
                    <a:pt x="141" y="25"/>
                  </a:cubicBezTo>
                  <a:cubicBezTo>
                    <a:pt x="142" y="25"/>
                    <a:pt x="141" y="26"/>
                    <a:pt x="142" y="26"/>
                  </a:cubicBezTo>
                  <a:cubicBezTo>
                    <a:pt x="142" y="26"/>
                    <a:pt x="141" y="25"/>
                    <a:pt x="141" y="26"/>
                  </a:cubicBezTo>
                  <a:close/>
                  <a:moveTo>
                    <a:pt x="141" y="26"/>
                  </a:moveTo>
                  <a:cubicBezTo>
                    <a:pt x="141" y="26"/>
                    <a:pt x="142" y="26"/>
                    <a:pt x="141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1" y="26"/>
                    <a:pt x="142" y="26"/>
                  </a:cubicBezTo>
                  <a:cubicBezTo>
                    <a:pt x="142" y="26"/>
                    <a:pt x="142" y="26"/>
                    <a:pt x="142" y="26"/>
                  </a:cubicBezTo>
                  <a:lnTo>
                    <a:pt x="141" y="26"/>
                  </a:lnTo>
                  <a:close/>
                  <a:moveTo>
                    <a:pt x="139" y="24"/>
                  </a:moveTo>
                  <a:cubicBezTo>
                    <a:pt x="140" y="24"/>
                    <a:pt x="140" y="24"/>
                    <a:pt x="141" y="24"/>
                  </a:cubicBezTo>
                  <a:cubicBezTo>
                    <a:pt x="141" y="24"/>
                    <a:pt x="141" y="24"/>
                    <a:pt x="140" y="24"/>
                  </a:cubicBezTo>
                  <a:cubicBezTo>
                    <a:pt x="140" y="24"/>
                    <a:pt x="140" y="24"/>
                    <a:pt x="139" y="24"/>
                  </a:cubicBezTo>
                  <a:close/>
                  <a:moveTo>
                    <a:pt x="140" y="24"/>
                  </a:move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4"/>
                  </a:cubicBezTo>
                  <a:close/>
                  <a:moveTo>
                    <a:pt x="141" y="29"/>
                  </a:moveTo>
                  <a:cubicBezTo>
                    <a:pt x="141" y="29"/>
                    <a:pt x="141" y="28"/>
                    <a:pt x="141" y="29"/>
                  </a:cubicBezTo>
                  <a:cubicBezTo>
                    <a:pt x="141" y="28"/>
                    <a:pt x="141" y="28"/>
                    <a:pt x="142" y="28"/>
                  </a:cubicBezTo>
                  <a:cubicBezTo>
                    <a:pt x="142" y="28"/>
                    <a:pt x="141" y="29"/>
                    <a:pt x="141" y="29"/>
                  </a:cubicBezTo>
                  <a:cubicBezTo>
                    <a:pt x="141" y="29"/>
                    <a:pt x="141" y="29"/>
                    <a:pt x="141" y="29"/>
                  </a:cubicBezTo>
                  <a:close/>
                  <a:moveTo>
                    <a:pt x="142" y="30"/>
                  </a:moveTo>
                  <a:cubicBezTo>
                    <a:pt x="142" y="30"/>
                    <a:pt x="142" y="30"/>
                    <a:pt x="141" y="30"/>
                  </a:cubicBezTo>
                  <a:cubicBezTo>
                    <a:pt x="141" y="30"/>
                    <a:pt x="142" y="30"/>
                    <a:pt x="142" y="30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2" y="30"/>
                    <a:pt x="141" y="30"/>
                    <a:pt x="141" y="30"/>
                  </a:cubicBezTo>
                  <a:close/>
                  <a:moveTo>
                    <a:pt x="141" y="27"/>
                  </a:move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7"/>
                    <a:pt x="140" y="27"/>
                    <a:pt x="141" y="27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lose/>
                  <a:moveTo>
                    <a:pt x="141" y="29"/>
                  </a:moveTo>
                  <a:cubicBezTo>
                    <a:pt x="141" y="30"/>
                    <a:pt x="140" y="30"/>
                    <a:pt x="140" y="30"/>
                  </a:cubicBezTo>
                  <a:cubicBezTo>
                    <a:pt x="140" y="29"/>
                    <a:pt x="140" y="30"/>
                    <a:pt x="141" y="29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1" y="30"/>
                  </a:cubicBezTo>
                  <a:close/>
                  <a:moveTo>
                    <a:pt x="139" y="24"/>
                  </a:move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5"/>
                    <a:pt x="139" y="24"/>
                  </a:cubicBezTo>
                  <a:close/>
                  <a:moveTo>
                    <a:pt x="139" y="25"/>
                  </a:moveTo>
                  <a:cubicBezTo>
                    <a:pt x="139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9" y="25"/>
                  </a:cubicBezTo>
                  <a:close/>
                  <a:moveTo>
                    <a:pt x="139" y="29"/>
                  </a:moveTo>
                  <a:cubicBezTo>
                    <a:pt x="139" y="29"/>
                    <a:pt x="139" y="29"/>
                    <a:pt x="138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9" y="29"/>
                    <a:pt x="139" y="28"/>
                    <a:pt x="139" y="28"/>
                  </a:cubicBezTo>
                  <a:cubicBezTo>
                    <a:pt x="139" y="29"/>
                    <a:pt x="139" y="29"/>
                    <a:pt x="139" y="29"/>
                  </a:cubicBezTo>
                  <a:close/>
                  <a:moveTo>
                    <a:pt x="138" y="26"/>
                  </a:move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7" y="27"/>
                    <a:pt x="136" y="27"/>
                  </a:cubicBezTo>
                  <a:cubicBezTo>
                    <a:pt x="137" y="27"/>
                    <a:pt x="136" y="27"/>
                    <a:pt x="136" y="26"/>
                  </a:cubicBezTo>
                  <a:cubicBezTo>
                    <a:pt x="137" y="26"/>
                    <a:pt x="137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37" y="26"/>
                  </a:moveTo>
                  <a:cubicBezTo>
                    <a:pt x="137" y="26"/>
                    <a:pt x="137" y="26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lose/>
                  <a:moveTo>
                    <a:pt x="138" y="29"/>
                  </a:moveTo>
                  <a:cubicBezTo>
                    <a:pt x="138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lose/>
                  <a:moveTo>
                    <a:pt x="137" y="25"/>
                  </a:move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lose/>
                  <a:moveTo>
                    <a:pt x="138" y="33"/>
                  </a:moveTo>
                  <a:cubicBezTo>
                    <a:pt x="138" y="33"/>
                    <a:pt x="138" y="33"/>
                    <a:pt x="139" y="33"/>
                  </a:cubicBezTo>
                  <a:cubicBezTo>
                    <a:pt x="138" y="33"/>
                    <a:pt x="138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8" y="32"/>
                    <a:pt x="138" y="32"/>
                    <a:pt x="139" y="32"/>
                  </a:cubicBezTo>
                  <a:cubicBezTo>
                    <a:pt x="138" y="32"/>
                    <a:pt x="139" y="33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40" y="32"/>
                    <a:pt x="140" y="32"/>
                    <a:pt x="141" y="32"/>
                  </a:cubicBezTo>
                  <a:cubicBezTo>
                    <a:pt x="140" y="32"/>
                    <a:pt x="142" y="32"/>
                    <a:pt x="142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1" y="32"/>
                    <a:pt x="140" y="32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8" y="33"/>
                    <a:pt x="138" y="33"/>
                  </a:cubicBezTo>
                  <a:cubicBezTo>
                    <a:pt x="138" y="33"/>
                    <a:pt x="138" y="33"/>
                    <a:pt x="138" y="33"/>
                  </a:cubicBezTo>
                  <a:close/>
                  <a:moveTo>
                    <a:pt x="135" y="25"/>
                  </a:move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5"/>
                    <a:pt x="137" y="25"/>
                  </a:cubicBezTo>
                  <a:cubicBezTo>
                    <a:pt x="137" y="26"/>
                    <a:pt x="136" y="26"/>
                    <a:pt x="135" y="26"/>
                  </a:cubicBezTo>
                  <a:cubicBezTo>
                    <a:pt x="136" y="26"/>
                    <a:pt x="136" y="26"/>
                    <a:pt x="135" y="25"/>
                  </a:cubicBezTo>
                  <a:close/>
                  <a:moveTo>
                    <a:pt x="137" y="30"/>
                  </a:moveTo>
                  <a:cubicBezTo>
                    <a:pt x="138" y="30"/>
                    <a:pt x="138" y="30"/>
                    <a:pt x="138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5" y="24"/>
                  </a:move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5" y="25"/>
                    <a:pt x="135" y="24"/>
                  </a:cubicBezTo>
                  <a:close/>
                  <a:moveTo>
                    <a:pt x="136" y="25"/>
                  </a:moveTo>
                  <a:cubicBezTo>
                    <a:pt x="136" y="25"/>
                    <a:pt x="135" y="25"/>
                    <a:pt x="134" y="25"/>
                  </a:cubicBezTo>
                  <a:cubicBezTo>
                    <a:pt x="135" y="25"/>
                    <a:pt x="135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lose/>
                  <a:moveTo>
                    <a:pt x="137" y="30"/>
                  </a:moveTo>
                  <a:cubicBezTo>
                    <a:pt x="137" y="30"/>
                    <a:pt x="137" y="30"/>
                    <a:pt x="137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6" y="29"/>
                  </a:moveTo>
                  <a:cubicBezTo>
                    <a:pt x="135" y="29"/>
                    <a:pt x="136" y="28"/>
                    <a:pt x="136" y="28"/>
                  </a:cubicBezTo>
                  <a:cubicBezTo>
                    <a:pt x="136" y="28"/>
                    <a:pt x="135" y="29"/>
                    <a:pt x="135" y="28"/>
                  </a:cubicBezTo>
                  <a:cubicBezTo>
                    <a:pt x="135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9"/>
                  </a:cubicBezTo>
                  <a:cubicBezTo>
                    <a:pt x="136" y="29"/>
                    <a:pt x="136" y="28"/>
                    <a:pt x="136" y="29"/>
                  </a:cubicBezTo>
                  <a:close/>
                  <a:moveTo>
                    <a:pt x="136" y="32"/>
                  </a:move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6" y="32"/>
                    <a:pt x="135" y="33"/>
                    <a:pt x="135" y="32"/>
                  </a:cubicBezTo>
                  <a:cubicBezTo>
                    <a:pt x="136" y="32"/>
                    <a:pt x="136" y="33"/>
                    <a:pt x="136" y="32"/>
                  </a:cubicBezTo>
                  <a:close/>
                  <a:moveTo>
                    <a:pt x="136" y="30"/>
                  </a:move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lose/>
                  <a:moveTo>
                    <a:pt x="134" y="27"/>
                  </a:moveTo>
                  <a:cubicBezTo>
                    <a:pt x="135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lose/>
                  <a:moveTo>
                    <a:pt x="133" y="25"/>
                  </a:move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3" y="25"/>
                    <a:pt x="133" y="25"/>
                  </a:cubicBezTo>
                  <a:close/>
                  <a:moveTo>
                    <a:pt x="134" y="27"/>
                  </a:move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3" y="27"/>
                    <a:pt x="134" y="27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0"/>
                    <a:pt x="134" y="30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3" y="31"/>
                    <a:pt x="133" y="31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3" y="31"/>
                  </a:cubicBezTo>
                  <a:close/>
                  <a:moveTo>
                    <a:pt x="133" y="26"/>
                  </a:move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3" y="26"/>
                    <a:pt x="133" y="26"/>
                    <a:pt x="133" y="26"/>
                  </a:cubicBezTo>
                  <a:close/>
                  <a:moveTo>
                    <a:pt x="134" y="32"/>
                  </a:moveTo>
                  <a:cubicBezTo>
                    <a:pt x="133" y="32"/>
                    <a:pt x="133" y="32"/>
                    <a:pt x="132" y="32"/>
                  </a:cubicBezTo>
                  <a:cubicBezTo>
                    <a:pt x="132" y="32"/>
                    <a:pt x="133" y="32"/>
                    <a:pt x="134" y="32"/>
                  </a:cubicBezTo>
                  <a:close/>
                  <a:moveTo>
                    <a:pt x="132" y="31"/>
                  </a:moveTo>
                  <a:cubicBezTo>
                    <a:pt x="133" y="31"/>
                    <a:pt x="133" y="31"/>
                    <a:pt x="133" y="31"/>
                  </a:cubicBezTo>
                  <a:cubicBezTo>
                    <a:pt x="132" y="31"/>
                    <a:pt x="131" y="31"/>
                    <a:pt x="131" y="31"/>
                  </a:cubicBezTo>
                  <a:cubicBezTo>
                    <a:pt x="131" y="31"/>
                    <a:pt x="132" y="31"/>
                    <a:pt x="132" y="31"/>
                  </a:cubicBezTo>
                  <a:close/>
                  <a:moveTo>
                    <a:pt x="131" y="28"/>
                  </a:moveTo>
                  <a:cubicBezTo>
                    <a:pt x="131" y="28"/>
                    <a:pt x="131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close/>
                  <a:moveTo>
                    <a:pt x="131" y="33"/>
                  </a:moveTo>
                  <a:cubicBezTo>
                    <a:pt x="131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1" y="33"/>
                  </a:cubicBezTo>
                  <a:close/>
                  <a:moveTo>
                    <a:pt x="132" y="33"/>
                  </a:move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lose/>
                  <a:moveTo>
                    <a:pt x="130" y="27"/>
                  </a:moveTo>
                  <a:cubicBezTo>
                    <a:pt x="130" y="27"/>
                    <a:pt x="131" y="27"/>
                    <a:pt x="131" y="27"/>
                  </a:cubicBezTo>
                  <a:cubicBezTo>
                    <a:pt x="131" y="27"/>
                    <a:pt x="130" y="27"/>
                    <a:pt x="130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27"/>
                    <a:pt x="131" y="27"/>
                    <a:pt x="130" y="27"/>
                  </a:cubicBezTo>
                  <a:close/>
                  <a:moveTo>
                    <a:pt x="130" y="31"/>
                  </a:move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1"/>
                    <a:pt x="130" y="31"/>
                    <a:pt x="130" y="31"/>
                  </a:cubicBezTo>
                  <a:close/>
                  <a:moveTo>
                    <a:pt x="129" y="26"/>
                  </a:moveTo>
                  <a:cubicBezTo>
                    <a:pt x="129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9" y="26"/>
                  </a:cubicBezTo>
                  <a:close/>
                  <a:moveTo>
                    <a:pt x="128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8"/>
                    <a:pt x="129" y="29"/>
                    <a:pt x="129" y="28"/>
                  </a:cubicBezTo>
                  <a:cubicBezTo>
                    <a:pt x="129" y="29"/>
                    <a:pt x="129" y="29"/>
                    <a:pt x="128" y="29"/>
                  </a:cubicBezTo>
                  <a:close/>
                  <a:moveTo>
                    <a:pt x="129" y="32"/>
                  </a:moveTo>
                  <a:cubicBezTo>
                    <a:pt x="129" y="32"/>
                    <a:pt x="128" y="32"/>
                    <a:pt x="128" y="32"/>
                  </a:cubicBezTo>
                  <a:cubicBezTo>
                    <a:pt x="129" y="32"/>
                    <a:pt x="129" y="32"/>
                    <a:pt x="129" y="32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9" y="29"/>
                  </a:cubicBezTo>
                  <a:close/>
                  <a:moveTo>
                    <a:pt x="128" y="31"/>
                  </a:move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8" y="31"/>
                  </a:cubicBezTo>
                  <a:close/>
                  <a:moveTo>
                    <a:pt x="127" y="29"/>
                  </a:moveTo>
                  <a:cubicBezTo>
                    <a:pt x="128" y="29"/>
                    <a:pt x="128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6" y="28"/>
                  </a:cubicBezTo>
                  <a:cubicBezTo>
                    <a:pt x="126" y="28"/>
                    <a:pt x="125" y="28"/>
                    <a:pt x="125" y="28"/>
                  </a:cubicBezTo>
                  <a:close/>
                  <a:moveTo>
                    <a:pt x="125" y="30"/>
                  </a:move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29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9"/>
                    <a:pt x="125" y="29"/>
                    <a:pt x="126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9"/>
                    <a:pt x="126" y="29"/>
                    <a:pt x="126" y="30"/>
                  </a:cubicBez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30"/>
                    <a:pt x="125" y="30"/>
                  </a:cubicBezTo>
                  <a:close/>
                  <a:moveTo>
                    <a:pt x="125" y="35"/>
                  </a:moveTo>
                  <a:cubicBezTo>
                    <a:pt x="125" y="34"/>
                    <a:pt x="126" y="35"/>
                    <a:pt x="126" y="34"/>
                  </a:cubicBezTo>
                  <a:cubicBezTo>
                    <a:pt x="126" y="35"/>
                    <a:pt x="126" y="34"/>
                    <a:pt x="125" y="35"/>
                  </a:cubicBezTo>
                  <a:close/>
                  <a:moveTo>
                    <a:pt x="125" y="31"/>
                  </a:move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0"/>
                  </a:cubicBez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4" y="31"/>
                    <a:pt x="125" y="31"/>
                  </a:cubicBezTo>
                  <a:close/>
                  <a:moveTo>
                    <a:pt x="124" y="28"/>
                  </a:moveTo>
                  <a:cubicBezTo>
                    <a:pt x="124" y="28"/>
                    <a:pt x="124" y="28"/>
                    <a:pt x="124" y="28"/>
                  </a:cubicBezTo>
                  <a:cubicBezTo>
                    <a:pt x="124" y="28"/>
                    <a:pt x="124" y="28"/>
                    <a:pt x="124" y="28"/>
                  </a:cubicBezTo>
                  <a:close/>
                  <a:moveTo>
                    <a:pt x="124" y="29"/>
                  </a:moveTo>
                  <a:cubicBezTo>
                    <a:pt x="124" y="29"/>
                    <a:pt x="124" y="29"/>
                    <a:pt x="124" y="29"/>
                  </a:cubicBezTo>
                  <a:cubicBezTo>
                    <a:pt x="124" y="29"/>
                    <a:pt x="124" y="29"/>
                    <a:pt x="12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4" y="29"/>
                    <a:pt x="124" y="29"/>
                    <a:pt x="124" y="29"/>
                  </a:cubicBezTo>
                  <a:close/>
                  <a:moveTo>
                    <a:pt x="125" y="33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lose/>
                  <a:moveTo>
                    <a:pt x="124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2" y="30"/>
                    <a:pt x="124" y="30"/>
                    <a:pt x="124" y="30"/>
                  </a:cubicBezTo>
                  <a:cubicBezTo>
                    <a:pt x="124" y="30"/>
                    <a:pt x="124" y="30"/>
                    <a:pt x="124" y="30"/>
                  </a:cubicBezTo>
                  <a:close/>
                  <a:moveTo>
                    <a:pt x="121" y="31"/>
                  </a:moveTo>
                  <a:cubicBezTo>
                    <a:pt x="122" y="31"/>
                    <a:pt x="123" y="31"/>
                    <a:pt x="124" y="31"/>
                  </a:cubicBezTo>
                  <a:cubicBezTo>
                    <a:pt x="124" y="31"/>
                    <a:pt x="122" y="32"/>
                    <a:pt x="121" y="31"/>
                  </a:cubicBezTo>
                  <a:close/>
                  <a:moveTo>
                    <a:pt x="124" y="34"/>
                  </a:moveTo>
                  <a:cubicBezTo>
                    <a:pt x="124" y="34"/>
                    <a:pt x="124" y="34"/>
                    <a:pt x="124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23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3" y="28"/>
                    <a:pt x="122" y="28"/>
                  </a:cubicBezTo>
                  <a:cubicBezTo>
                    <a:pt x="122" y="28"/>
                    <a:pt x="123" y="28"/>
                    <a:pt x="123" y="28"/>
                  </a:cubicBezTo>
                  <a:close/>
                  <a:moveTo>
                    <a:pt x="123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123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3" y="33"/>
                    <a:pt x="123" y="34"/>
                  </a:cubicBezTo>
                  <a:close/>
                  <a:moveTo>
                    <a:pt x="120" y="29"/>
                  </a:move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0" y="29"/>
                  </a:cubicBezTo>
                  <a:close/>
                  <a:moveTo>
                    <a:pt x="123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4" y="39"/>
                  </a:cubicBezTo>
                  <a:cubicBezTo>
                    <a:pt x="123" y="39"/>
                    <a:pt x="123" y="40"/>
                    <a:pt x="123" y="39"/>
                  </a:cubicBezTo>
                  <a:close/>
                  <a:moveTo>
                    <a:pt x="122" y="35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1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lose/>
                  <a:moveTo>
                    <a:pt x="122" y="38"/>
                  </a:move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lose/>
                  <a:moveTo>
                    <a:pt x="120" y="32"/>
                  </a:moveTo>
                  <a:cubicBezTo>
                    <a:pt x="120" y="32"/>
                    <a:pt x="120" y="32"/>
                    <a:pt x="120" y="32"/>
                  </a:cubicBezTo>
                  <a:cubicBezTo>
                    <a:pt x="121" y="33"/>
                    <a:pt x="119" y="33"/>
                    <a:pt x="120" y="32"/>
                  </a:cubicBezTo>
                  <a:close/>
                  <a:moveTo>
                    <a:pt x="119" y="30"/>
                  </a:moveTo>
                  <a:cubicBezTo>
                    <a:pt x="119" y="30"/>
                    <a:pt x="119" y="30"/>
                    <a:pt x="120" y="3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9" y="30"/>
                    <a:pt x="119" y="30"/>
                    <a:pt x="119" y="30"/>
                  </a:cubicBezTo>
                  <a:close/>
                  <a:moveTo>
                    <a:pt x="120" y="39"/>
                  </a:moveTo>
                  <a:cubicBezTo>
                    <a:pt x="120" y="39"/>
                    <a:pt x="120" y="39"/>
                    <a:pt x="120" y="39"/>
                  </a:cubicBezTo>
                  <a:cubicBezTo>
                    <a:pt x="121" y="39"/>
                    <a:pt x="120" y="39"/>
                    <a:pt x="121" y="39"/>
                  </a:cubicBezTo>
                  <a:cubicBezTo>
                    <a:pt x="121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lose/>
                  <a:moveTo>
                    <a:pt x="116" y="30"/>
                  </a:moveTo>
                  <a:cubicBezTo>
                    <a:pt x="117" y="30"/>
                    <a:pt x="117" y="30"/>
                    <a:pt x="118" y="30"/>
                  </a:cubicBezTo>
                  <a:cubicBezTo>
                    <a:pt x="118" y="30"/>
                    <a:pt x="117" y="30"/>
                    <a:pt x="116" y="30"/>
                  </a:cubicBezTo>
                  <a:close/>
                  <a:moveTo>
                    <a:pt x="116" y="31"/>
                  </a:moveTo>
                  <a:cubicBezTo>
                    <a:pt x="116" y="31"/>
                    <a:pt x="116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7" y="31"/>
                    <a:pt x="116" y="31"/>
                    <a:pt x="116" y="31"/>
                  </a:cubicBezTo>
                  <a:close/>
                  <a:moveTo>
                    <a:pt x="117" y="31"/>
                  </a:moveTo>
                  <a:cubicBezTo>
                    <a:pt x="117" y="31"/>
                    <a:pt x="116" y="31"/>
                    <a:pt x="117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lose/>
                  <a:moveTo>
                    <a:pt x="115" y="31"/>
                  </a:move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4" y="31"/>
                    <a:pt x="115" y="31"/>
                    <a:pt x="115" y="31"/>
                  </a:cubicBezTo>
                  <a:close/>
                  <a:moveTo>
                    <a:pt x="114" y="34"/>
                  </a:moveTo>
                  <a:cubicBezTo>
                    <a:pt x="114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lose/>
                  <a:moveTo>
                    <a:pt x="114" y="31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lose/>
                  <a:moveTo>
                    <a:pt x="115" y="36"/>
                  </a:moveTo>
                  <a:cubicBezTo>
                    <a:pt x="114" y="36"/>
                    <a:pt x="114" y="36"/>
                    <a:pt x="115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lose/>
                  <a:moveTo>
                    <a:pt x="111" y="42"/>
                  </a:moveTo>
                  <a:cubicBezTo>
                    <a:pt x="110" y="42"/>
                    <a:pt x="110" y="43"/>
                    <a:pt x="109" y="42"/>
                  </a:cubicBezTo>
                  <a:cubicBezTo>
                    <a:pt x="111" y="42"/>
                    <a:pt x="114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3" y="41"/>
                    <a:pt x="112" y="42"/>
                    <a:pt x="110" y="42"/>
                  </a:cubicBezTo>
                  <a:cubicBezTo>
                    <a:pt x="110" y="42"/>
                    <a:pt x="111" y="42"/>
                    <a:pt x="111" y="42"/>
                  </a:cubicBezTo>
                  <a:close/>
                  <a:moveTo>
                    <a:pt x="111" y="33"/>
                  </a:moveTo>
                  <a:cubicBezTo>
                    <a:pt x="111" y="33"/>
                    <a:pt x="112" y="33"/>
                    <a:pt x="112" y="33"/>
                  </a:cubicBezTo>
                  <a:cubicBezTo>
                    <a:pt x="112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3" y="33"/>
                    <a:pt x="111" y="34"/>
                    <a:pt x="111" y="33"/>
                  </a:cubicBezTo>
                  <a:close/>
                  <a:moveTo>
                    <a:pt x="110" y="34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109" y="34"/>
                    <a:pt x="109" y="34"/>
                    <a:pt x="108" y="34"/>
                  </a:cubicBezTo>
                  <a:cubicBezTo>
                    <a:pt x="108" y="34"/>
                    <a:pt x="109" y="34"/>
                    <a:pt x="108" y="33"/>
                  </a:cubicBezTo>
                  <a:cubicBezTo>
                    <a:pt x="108" y="34"/>
                    <a:pt x="109" y="33"/>
                    <a:pt x="109" y="34"/>
                  </a:cubicBezTo>
                  <a:cubicBezTo>
                    <a:pt x="109" y="34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11" y="36"/>
                  </a:moveTo>
                  <a:cubicBezTo>
                    <a:pt x="111" y="36"/>
                    <a:pt x="111" y="37"/>
                    <a:pt x="110" y="37"/>
                  </a:cubicBezTo>
                  <a:cubicBezTo>
                    <a:pt x="110" y="37"/>
                    <a:pt x="110" y="37"/>
                    <a:pt x="109" y="37"/>
                  </a:cubicBezTo>
                  <a:cubicBezTo>
                    <a:pt x="110" y="36"/>
                    <a:pt x="110" y="36"/>
                    <a:pt x="111" y="36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9" y="33"/>
                  </a:moveTo>
                  <a:cubicBezTo>
                    <a:pt x="108" y="33"/>
                    <a:pt x="109" y="33"/>
                    <a:pt x="109" y="33"/>
                  </a:cubicBezTo>
                  <a:cubicBezTo>
                    <a:pt x="110" y="33"/>
                    <a:pt x="109" y="33"/>
                    <a:pt x="109" y="33"/>
                  </a:cubicBezTo>
                  <a:close/>
                  <a:moveTo>
                    <a:pt x="108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8" y="33"/>
                    <a:pt x="108" y="33"/>
                  </a:cubicBezTo>
                  <a:close/>
                  <a:moveTo>
                    <a:pt x="108" y="37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6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lose/>
                  <a:moveTo>
                    <a:pt x="107" y="35"/>
                  </a:move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lose/>
                  <a:moveTo>
                    <a:pt x="106" y="33"/>
                  </a:moveTo>
                  <a:cubicBezTo>
                    <a:pt x="106" y="33"/>
                    <a:pt x="105" y="34"/>
                    <a:pt x="105" y="34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6" y="34"/>
                  </a:moveTo>
                  <a:cubicBezTo>
                    <a:pt x="106" y="34"/>
                    <a:pt x="106" y="34"/>
                    <a:pt x="107" y="33"/>
                  </a:cubicBezTo>
                  <a:cubicBezTo>
                    <a:pt x="107" y="34"/>
                    <a:pt x="106" y="34"/>
                    <a:pt x="106" y="34"/>
                  </a:cubicBezTo>
                  <a:close/>
                  <a:moveTo>
                    <a:pt x="107" y="38"/>
                  </a:moveTo>
                  <a:cubicBezTo>
                    <a:pt x="106" y="38"/>
                    <a:pt x="105" y="38"/>
                    <a:pt x="104" y="38"/>
                  </a:cubicBezTo>
                  <a:cubicBezTo>
                    <a:pt x="105" y="38"/>
                    <a:pt x="106" y="38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lose/>
                  <a:moveTo>
                    <a:pt x="105" y="36"/>
                  </a:moveTo>
                  <a:cubicBezTo>
                    <a:pt x="105" y="36"/>
                    <a:pt x="106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5" y="37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6"/>
                  </a:moveTo>
                  <a:cubicBezTo>
                    <a:pt x="105" y="36"/>
                    <a:pt x="105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5"/>
                  </a:moveTo>
                  <a:cubicBezTo>
                    <a:pt x="105" y="36"/>
                    <a:pt x="104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lose/>
                  <a:moveTo>
                    <a:pt x="103" y="36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4" y="36"/>
                  </a:cubicBezTo>
                  <a:cubicBezTo>
                    <a:pt x="104" y="36"/>
                    <a:pt x="104" y="36"/>
                    <a:pt x="103" y="36"/>
                  </a:cubicBezTo>
                  <a:close/>
                  <a:moveTo>
                    <a:pt x="104" y="37"/>
                  </a:moveTo>
                  <a:cubicBezTo>
                    <a:pt x="103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1" y="38"/>
                    <a:pt x="101" y="38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100" y="38"/>
                    <a:pt x="102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3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3" y="37"/>
                  </a:moveTo>
                  <a:cubicBezTo>
                    <a:pt x="103" y="37"/>
                    <a:pt x="103" y="36"/>
                    <a:pt x="104" y="36"/>
                  </a:cubicBezTo>
                  <a:cubicBezTo>
                    <a:pt x="104" y="36"/>
                    <a:pt x="103" y="37"/>
                    <a:pt x="103" y="37"/>
                  </a:cubicBezTo>
                  <a:close/>
                  <a:moveTo>
                    <a:pt x="103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2" y="35"/>
                  </a:cubicBezTo>
                  <a:cubicBezTo>
                    <a:pt x="103" y="34"/>
                    <a:pt x="103" y="35"/>
                    <a:pt x="103" y="35"/>
                  </a:cubicBezTo>
                  <a:close/>
                  <a:moveTo>
                    <a:pt x="102" y="34"/>
                  </a:moveTo>
                  <a:cubicBezTo>
                    <a:pt x="102" y="34"/>
                    <a:pt x="102" y="34"/>
                    <a:pt x="103" y="34"/>
                  </a:cubicBezTo>
                  <a:cubicBezTo>
                    <a:pt x="103" y="34"/>
                    <a:pt x="102" y="34"/>
                    <a:pt x="102" y="34"/>
                  </a:cubicBezTo>
                  <a:close/>
                  <a:moveTo>
                    <a:pt x="104" y="40"/>
                  </a:moveTo>
                  <a:cubicBezTo>
                    <a:pt x="104" y="40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4" y="40"/>
                    <a:pt x="104" y="40"/>
                    <a:pt x="104" y="40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4" y="38"/>
                    <a:pt x="103" y="38"/>
                    <a:pt x="103" y="38"/>
                  </a:cubicBezTo>
                  <a:close/>
                  <a:moveTo>
                    <a:pt x="101" y="34"/>
                  </a:move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1" y="34"/>
                    <a:pt x="101" y="34"/>
                  </a:cubicBezTo>
                  <a:close/>
                  <a:moveTo>
                    <a:pt x="102" y="36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1" y="37"/>
                    <a:pt x="101" y="37"/>
                  </a:cubicBezTo>
                  <a:cubicBezTo>
                    <a:pt x="102" y="36"/>
                    <a:pt x="102" y="36"/>
                    <a:pt x="102" y="36"/>
                  </a:cubicBezTo>
                  <a:close/>
                  <a:moveTo>
                    <a:pt x="100" y="36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1" y="35"/>
                    <a:pt x="100" y="36"/>
                    <a:pt x="100" y="36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39"/>
                  </a:cubicBezTo>
                  <a:cubicBezTo>
                    <a:pt x="102" y="39"/>
                    <a:pt x="101" y="39"/>
                    <a:pt x="101" y="39"/>
                  </a:cubicBezTo>
                  <a:cubicBezTo>
                    <a:pt x="101" y="39"/>
                    <a:pt x="102" y="39"/>
                    <a:pt x="102" y="39"/>
                  </a:cubicBezTo>
                  <a:close/>
                  <a:moveTo>
                    <a:pt x="102" y="40"/>
                  </a:moveTo>
                  <a:cubicBezTo>
                    <a:pt x="102" y="40"/>
                    <a:pt x="102" y="40"/>
                    <a:pt x="102" y="41"/>
                  </a:cubicBezTo>
                  <a:cubicBezTo>
                    <a:pt x="101" y="41"/>
                    <a:pt x="101" y="40"/>
                    <a:pt x="102" y="40"/>
                  </a:cubicBezTo>
                  <a:close/>
                  <a:moveTo>
                    <a:pt x="98" y="37"/>
                  </a:moveTo>
                  <a:cubicBezTo>
                    <a:pt x="98" y="37"/>
                    <a:pt x="98" y="37"/>
                    <a:pt x="98" y="37"/>
                  </a:cubicBezTo>
                  <a:cubicBezTo>
                    <a:pt x="98" y="37"/>
                    <a:pt x="98" y="37"/>
                    <a:pt x="98" y="37"/>
                  </a:cubicBezTo>
                  <a:close/>
                  <a:moveTo>
                    <a:pt x="99" y="41"/>
                  </a:moveTo>
                  <a:cubicBezTo>
                    <a:pt x="99" y="41"/>
                    <a:pt x="99" y="41"/>
                    <a:pt x="99" y="41"/>
                  </a:cubicBezTo>
                  <a:cubicBezTo>
                    <a:pt x="99" y="41"/>
                    <a:pt x="99" y="42"/>
                    <a:pt x="99" y="41"/>
                  </a:cubicBezTo>
                  <a:close/>
                  <a:moveTo>
                    <a:pt x="98" y="41"/>
                  </a:moveTo>
                  <a:cubicBezTo>
                    <a:pt x="98" y="41"/>
                    <a:pt x="98" y="41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lose/>
                  <a:moveTo>
                    <a:pt x="96" y="41"/>
                  </a:moveTo>
                  <a:cubicBezTo>
                    <a:pt x="96" y="41"/>
                    <a:pt x="96" y="41"/>
                    <a:pt x="97" y="41"/>
                  </a:cubicBezTo>
                  <a:cubicBezTo>
                    <a:pt x="96" y="41"/>
                    <a:pt x="96" y="41"/>
                    <a:pt x="96" y="41"/>
                  </a:cubicBezTo>
                  <a:close/>
                  <a:moveTo>
                    <a:pt x="95" y="38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lose/>
                  <a:moveTo>
                    <a:pt x="94" y="43"/>
                  </a:moveTo>
                  <a:cubicBezTo>
                    <a:pt x="94" y="44"/>
                    <a:pt x="95" y="43"/>
                    <a:pt x="95" y="43"/>
                  </a:cubicBezTo>
                  <a:cubicBezTo>
                    <a:pt x="96" y="43"/>
                    <a:pt x="95" y="43"/>
                    <a:pt x="94" y="43"/>
                  </a:cubicBezTo>
                  <a:cubicBezTo>
                    <a:pt x="94" y="44"/>
                    <a:pt x="96" y="43"/>
                    <a:pt x="96" y="43"/>
                  </a:cubicBezTo>
                  <a:cubicBezTo>
                    <a:pt x="96" y="43"/>
                    <a:pt x="96" y="43"/>
                    <a:pt x="97" y="43"/>
                  </a:cubicBezTo>
                  <a:cubicBezTo>
                    <a:pt x="96" y="43"/>
                    <a:pt x="96" y="43"/>
                    <a:pt x="95" y="43"/>
                  </a:cubicBezTo>
                  <a:cubicBezTo>
                    <a:pt x="95" y="43"/>
                    <a:pt x="95" y="43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4" y="44"/>
                    <a:pt x="94" y="44"/>
                  </a:cubicBezTo>
                  <a:cubicBezTo>
                    <a:pt x="94" y="44"/>
                    <a:pt x="93" y="44"/>
                    <a:pt x="93" y="44"/>
                  </a:cubicBezTo>
                  <a:cubicBezTo>
                    <a:pt x="93" y="44"/>
                    <a:pt x="93" y="44"/>
                    <a:pt x="92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lose/>
                  <a:moveTo>
                    <a:pt x="96" y="41"/>
                  </a:moveTo>
                  <a:cubicBezTo>
                    <a:pt x="96" y="41"/>
                    <a:pt x="95" y="41"/>
                    <a:pt x="95" y="41"/>
                  </a:cubicBezTo>
                  <a:lnTo>
                    <a:pt x="96" y="41"/>
                  </a:ln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5" y="45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5"/>
                  </a:cubicBezTo>
                  <a:cubicBezTo>
                    <a:pt x="96" y="45"/>
                    <a:pt x="96" y="44"/>
                    <a:pt x="95" y="45"/>
                  </a:cubicBezTo>
                  <a:close/>
                  <a:moveTo>
                    <a:pt x="96" y="45"/>
                  </a:moveTo>
                  <a:cubicBezTo>
                    <a:pt x="96" y="45"/>
                    <a:pt x="96" y="45"/>
                    <a:pt x="96" y="45"/>
                  </a:cubicBezTo>
                  <a:cubicBezTo>
                    <a:pt x="96" y="45"/>
                    <a:pt x="95" y="45"/>
                    <a:pt x="95" y="45"/>
                  </a:cubicBezTo>
                  <a:cubicBezTo>
                    <a:pt x="95" y="45"/>
                    <a:pt x="96" y="45"/>
                    <a:pt x="96" y="45"/>
                  </a:cubicBezTo>
                  <a:cubicBezTo>
                    <a:pt x="96" y="45"/>
                    <a:pt x="96" y="45"/>
                    <a:pt x="96" y="45"/>
                  </a:cubicBezTo>
                  <a:close/>
                  <a:moveTo>
                    <a:pt x="93" y="39"/>
                  </a:moveTo>
                  <a:cubicBezTo>
                    <a:pt x="93" y="39"/>
                    <a:pt x="94" y="39"/>
                    <a:pt x="94" y="39"/>
                  </a:cubicBezTo>
                  <a:cubicBezTo>
                    <a:pt x="94" y="39"/>
                    <a:pt x="93" y="39"/>
                    <a:pt x="93" y="39"/>
                  </a:cubicBezTo>
                  <a:close/>
                  <a:moveTo>
                    <a:pt x="95" y="43"/>
                  </a:move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5" y="43"/>
                    <a:pt x="95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4" y="42"/>
                    <a:pt x="94" y="42"/>
                  </a:cubicBezTo>
                  <a:close/>
                  <a:moveTo>
                    <a:pt x="92" y="36"/>
                  </a:moveTo>
                  <a:cubicBezTo>
                    <a:pt x="91" y="36"/>
                    <a:pt x="91" y="36"/>
                    <a:pt x="92" y="36"/>
                  </a:cubicBezTo>
                  <a:cubicBezTo>
                    <a:pt x="92" y="36"/>
                    <a:pt x="92" y="36"/>
                    <a:pt x="92" y="36"/>
                  </a:cubicBezTo>
                  <a:close/>
                  <a:moveTo>
                    <a:pt x="92" y="40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0"/>
                    <a:pt x="92" y="40"/>
                    <a:pt x="92" y="40"/>
                  </a:cubicBezTo>
                  <a:close/>
                  <a:moveTo>
                    <a:pt x="90" y="36"/>
                  </a:moveTo>
                  <a:cubicBezTo>
                    <a:pt x="90" y="36"/>
                    <a:pt x="91" y="36"/>
                    <a:pt x="91" y="36"/>
                  </a:cubicBezTo>
                  <a:cubicBezTo>
                    <a:pt x="91" y="36"/>
                    <a:pt x="91" y="36"/>
                    <a:pt x="90" y="36"/>
                  </a:cubicBezTo>
                  <a:close/>
                  <a:moveTo>
                    <a:pt x="91" y="42"/>
                  </a:move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close/>
                  <a:moveTo>
                    <a:pt x="92" y="45"/>
                  </a:move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lose/>
                  <a:moveTo>
                    <a:pt x="91" y="42"/>
                  </a:moveTo>
                  <a:cubicBezTo>
                    <a:pt x="91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1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1" y="41"/>
                    <a:pt x="91" y="42"/>
                    <a:pt x="91" y="42"/>
                  </a:cubicBezTo>
                  <a:close/>
                  <a:moveTo>
                    <a:pt x="91" y="45"/>
                  </a:moveTo>
                  <a:cubicBezTo>
                    <a:pt x="91" y="45"/>
                    <a:pt x="91" y="45"/>
                    <a:pt x="91" y="45"/>
                  </a:cubicBezTo>
                  <a:cubicBezTo>
                    <a:pt x="91" y="45"/>
                    <a:pt x="91" y="45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5"/>
                    <a:pt x="91" y="45"/>
                    <a:pt x="91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lose/>
                  <a:moveTo>
                    <a:pt x="92" y="46"/>
                  </a:moveTo>
                  <a:cubicBezTo>
                    <a:pt x="91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lose/>
                  <a:moveTo>
                    <a:pt x="91" y="44"/>
                  </a:moveTo>
                  <a:cubicBezTo>
                    <a:pt x="92" y="44"/>
                    <a:pt x="91" y="44"/>
                    <a:pt x="92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89" y="41"/>
                  </a:moveTo>
                  <a:cubicBezTo>
                    <a:pt x="89" y="40"/>
                    <a:pt x="89" y="40"/>
                    <a:pt x="89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1" y="40"/>
                    <a:pt x="90" y="40"/>
                    <a:pt x="89" y="41"/>
                  </a:cubicBezTo>
                  <a:close/>
                  <a:moveTo>
                    <a:pt x="91" y="44"/>
                  </a:moveTo>
                  <a:cubicBezTo>
                    <a:pt x="91" y="44"/>
                    <a:pt x="90" y="44"/>
                    <a:pt x="90" y="44"/>
                  </a:cubicBezTo>
                  <a:cubicBezTo>
                    <a:pt x="90" y="44"/>
                    <a:pt x="91" y="44"/>
                    <a:pt x="91" y="44"/>
                  </a:cubicBezTo>
                  <a:close/>
                  <a:moveTo>
                    <a:pt x="91" y="44"/>
                  </a:moveTo>
                  <a:cubicBezTo>
                    <a:pt x="90" y="45"/>
                    <a:pt x="90" y="44"/>
                    <a:pt x="89" y="45"/>
                  </a:cubicBezTo>
                  <a:cubicBezTo>
                    <a:pt x="90" y="44"/>
                    <a:pt x="90" y="44"/>
                    <a:pt x="91" y="44"/>
                  </a:cubicBezTo>
                  <a:close/>
                  <a:moveTo>
                    <a:pt x="89" y="42"/>
                  </a:move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7" y="42"/>
                  </a:cubicBezTo>
                  <a:cubicBezTo>
                    <a:pt x="87" y="42"/>
                    <a:pt x="87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9" y="42"/>
                    <a:pt x="88" y="42"/>
                  </a:cubicBezTo>
                  <a:cubicBezTo>
                    <a:pt x="88" y="42"/>
                    <a:pt x="89" y="42"/>
                    <a:pt x="89" y="42"/>
                  </a:cubicBezTo>
                  <a:cubicBezTo>
                    <a:pt x="89" y="42"/>
                    <a:pt x="90" y="42"/>
                    <a:pt x="90" y="42"/>
                  </a:cubicBezTo>
                  <a:cubicBezTo>
                    <a:pt x="90" y="42"/>
                    <a:pt x="89" y="42"/>
                    <a:pt x="89" y="42"/>
                  </a:cubicBezTo>
                  <a:close/>
                  <a:moveTo>
                    <a:pt x="88" y="45"/>
                  </a:moveTo>
                  <a:cubicBezTo>
                    <a:pt x="88" y="45"/>
                    <a:pt x="89" y="45"/>
                    <a:pt x="90" y="45"/>
                  </a:cubicBezTo>
                  <a:cubicBezTo>
                    <a:pt x="89" y="45"/>
                    <a:pt x="88" y="45"/>
                    <a:pt x="88" y="45"/>
                  </a:cubicBezTo>
                  <a:close/>
                  <a:moveTo>
                    <a:pt x="89" y="43"/>
                  </a:moveTo>
                  <a:cubicBezTo>
                    <a:pt x="89" y="43"/>
                    <a:pt x="89" y="43"/>
                    <a:pt x="90" y="43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89" y="47"/>
                  </a:moveTo>
                  <a:cubicBezTo>
                    <a:pt x="89" y="46"/>
                    <a:pt x="89" y="46"/>
                    <a:pt x="90" y="46"/>
                  </a:cubicBezTo>
                  <a:cubicBezTo>
                    <a:pt x="90" y="47"/>
                    <a:pt x="89" y="47"/>
                    <a:pt x="89" y="47"/>
                  </a:cubicBezTo>
                  <a:close/>
                  <a:moveTo>
                    <a:pt x="87" y="42"/>
                  </a:moveTo>
                  <a:cubicBezTo>
                    <a:pt x="87" y="42"/>
                    <a:pt x="88" y="42"/>
                    <a:pt x="88" y="42"/>
                  </a:cubicBezTo>
                  <a:cubicBezTo>
                    <a:pt x="88" y="42"/>
                    <a:pt x="87" y="42"/>
                    <a:pt x="87" y="42"/>
                  </a:cubicBezTo>
                  <a:close/>
                  <a:moveTo>
                    <a:pt x="88" y="44"/>
                  </a:moveTo>
                  <a:cubicBezTo>
                    <a:pt x="88" y="44"/>
                    <a:pt x="88" y="44"/>
                    <a:pt x="87" y="44"/>
                  </a:cubicBezTo>
                  <a:cubicBezTo>
                    <a:pt x="87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4"/>
                    <a:pt x="88" y="44"/>
                    <a:pt x="88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8" y="44"/>
                    <a:pt x="88" y="44"/>
                    <a:pt x="87" y="45"/>
                  </a:cubicBezTo>
                  <a:cubicBezTo>
                    <a:pt x="87" y="44"/>
                    <a:pt x="88" y="44"/>
                    <a:pt x="88" y="44"/>
                  </a:cubicBezTo>
                  <a:cubicBezTo>
                    <a:pt x="88" y="45"/>
                    <a:pt x="88" y="44"/>
                    <a:pt x="88" y="45"/>
                  </a:cubicBezTo>
                  <a:close/>
                  <a:moveTo>
                    <a:pt x="88" y="47"/>
                  </a:move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5" y="41"/>
                  </a:moveTo>
                  <a:cubicBezTo>
                    <a:pt x="85" y="41"/>
                    <a:pt x="86" y="41"/>
                    <a:pt x="86" y="41"/>
                  </a:cubicBezTo>
                  <a:cubicBezTo>
                    <a:pt x="86" y="41"/>
                    <a:pt x="85" y="41"/>
                    <a:pt x="85" y="41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ubicBezTo>
                    <a:pt x="85" y="42"/>
                    <a:pt x="86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lose/>
                  <a:moveTo>
                    <a:pt x="84" y="42"/>
                  </a:moveTo>
                  <a:cubicBezTo>
                    <a:pt x="84" y="42"/>
                    <a:pt x="86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4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lose/>
                  <a:moveTo>
                    <a:pt x="84" y="39"/>
                  </a:move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4" y="39"/>
                  </a:cubicBezTo>
                  <a:close/>
                  <a:moveTo>
                    <a:pt x="86" y="46"/>
                  </a:moveTo>
                  <a:cubicBezTo>
                    <a:pt x="86" y="46"/>
                    <a:pt x="85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6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lose/>
                  <a:moveTo>
                    <a:pt x="86" y="48"/>
                  </a:moveTo>
                  <a:cubicBezTo>
                    <a:pt x="86" y="48"/>
                    <a:pt x="85" y="48"/>
                    <a:pt x="85" y="48"/>
                  </a:cubicBezTo>
                  <a:cubicBezTo>
                    <a:pt x="85" y="48"/>
                    <a:pt x="86" y="48"/>
                    <a:pt x="86" y="47"/>
                  </a:cubicBezTo>
                  <a:lnTo>
                    <a:pt x="86" y="48"/>
                  </a:lnTo>
                  <a:close/>
                  <a:moveTo>
                    <a:pt x="86" y="47"/>
                  </a:moveTo>
                  <a:cubicBezTo>
                    <a:pt x="86" y="47"/>
                    <a:pt x="85" y="48"/>
                    <a:pt x="85" y="48"/>
                  </a:cubicBezTo>
                  <a:cubicBezTo>
                    <a:pt x="85" y="47"/>
                    <a:pt x="86" y="47"/>
                    <a:pt x="86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4" y="46"/>
                  </a:cubicBezTo>
                  <a:cubicBezTo>
                    <a:pt x="84" y="46"/>
                    <a:pt x="85" y="46"/>
                    <a:pt x="85" y="46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4" y="47"/>
                  </a:cubicBezTo>
                  <a:cubicBezTo>
                    <a:pt x="85" y="47"/>
                    <a:pt x="85" y="47"/>
                    <a:pt x="86" y="47"/>
                  </a:cubicBezTo>
                  <a:cubicBezTo>
                    <a:pt x="85" y="47"/>
                    <a:pt x="86" y="47"/>
                    <a:pt x="85" y="47"/>
                  </a:cubicBezTo>
                  <a:close/>
                  <a:moveTo>
                    <a:pt x="82" y="43"/>
                  </a:moveTo>
                  <a:cubicBezTo>
                    <a:pt x="82" y="43"/>
                    <a:pt x="81" y="43"/>
                    <a:pt x="81" y="43"/>
                  </a:cubicBezTo>
                  <a:cubicBezTo>
                    <a:pt x="82" y="43"/>
                    <a:pt x="82" y="42"/>
                    <a:pt x="83" y="42"/>
                  </a:cubicBezTo>
                  <a:cubicBezTo>
                    <a:pt x="83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lose/>
                  <a:moveTo>
                    <a:pt x="81" y="43"/>
                  </a:move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2" y="43"/>
                  </a:cubicBezTo>
                  <a:cubicBezTo>
                    <a:pt x="82" y="43"/>
                    <a:pt x="81" y="43"/>
                    <a:pt x="81" y="43"/>
                  </a:cubicBezTo>
                  <a:close/>
                  <a:moveTo>
                    <a:pt x="80" y="46"/>
                  </a:move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0" y="46"/>
                  </a:cubicBezTo>
                  <a:close/>
                  <a:moveTo>
                    <a:pt x="79" y="40"/>
                  </a:moveTo>
                  <a:cubicBezTo>
                    <a:pt x="79" y="40"/>
                    <a:pt x="79" y="40"/>
                    <a:pt x="79" y="40"/>
                  </a:cubicBezTo>
                  <a:cubicBezTo>
                    <a:pt x="80" y="40"/>
                    <a:pt x="79" y="40"/>
                    <a:pt x="79" y="40"/>
                  </a:cubicBezTo>
                  <a:close/>
                  <a:moveTo>
                    <a:pt x="80" y="43"/>
                  </a:move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4"/>
                    <a:pt x="79" y="43"/>
                  </a:cubicBezTo>
                  <a:lnTo>
                    <a:pt x="80" y="43"/>
                  </a:lnTo>
                  <a:close/>
                  <a:moveTo>
                    <a:pt x="78" y="44"/>
                  </a:move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1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1"/>
                    <a:pt x="77" y="40"/>
                  </a:cubicBezTo>
                  <a:cubicBezTo>
                    <a:pt x="77" y="40"/>
                    <a:pt x="76" y="41"/>
                    <a:pt x="76" y="41"/>
                  </a:cubicBezTo>
                  <a:close/>
                  <a:moveTo>
                    <a:pt x="78" y="44"/>
                  </a:move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lose/>
                  <a:moveTo>
                    <a:pt x="78" y="43"/>
                  </a:moveTo>
                  <a:cubicBezTo>
                    <a:pt x="77" y="43"/>
                    <a:pt x="77" y="44"/>
                    <a:pt x="77" y="44"/>
                  </a:cubicBezTo>
                  <a:cubicBezTo>
                    <a:pt x="77" y="43"/>
                    <a:pt x="77" y="43"/>
                    <a:pt x="78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7" y="44"/>
                  </a:cubicBezTo>
                  <a:close/>
                  <a:moveTo>
                    <a:pt x="75" y="40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6" y="40"/>
                    <a:pt x="74" y="40"/>
                    <a:pt x="75" y="40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3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4"/>
                    <a:pt x="72" y="43"/>
                  </a:cubicBezTo>
                  <a:close/>
                  <a:moveTo>
                    <a:pt x="71" y="45"/>
                  </a:moveTo>
                  <a:cubicBezTo>
                    <a:pt x="71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lose/>
                  <a:moveTo>
                    <a:pt x="72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2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1" y="48"/>
                  </a:cubicBezTo>
                  <a:cubicBezTo>
                    <a:pt x="71" y="48"/>
                    <a:pt x="72" y="48"/>
                    <a:pt x="72" y="48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4"/>
                    <a:pt x="69" y="44"/>
                  </a:cubicBezTo>
                  <a:close/>
                  <a:moveTo>
                    <a:pt x="70" y="51"/>
                  </a:moveTo>
                  <a:cubicBezTo>
                    <a:pt x="70" y="52"/>
                    <a:pt x="71" y="51"/>
                    <a:pt x="71" y="51"/>
                  </a:cubicBezTo>
                  <a:cubicBezTo>
                    <a:pt x="71" y="51"/>
                    <a:pt x="70" y="52"/>
                    <a:pt x="70" y="51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63" y="46"/>
                  </a:moveTo>
                  <a:cubicBezTo>
                    <a:pt x="63" y="47"/>
                    <a:pt x="62" y="47"/>
                    <a:pt x="62" y="47"/>
                  </a:cubicBezTo>
                  <a:cubicBezTo>
                    <a:pt x="62" y="46"/>
                    <a:pt x="63" y="46"/>
                    <a:pt x="63" y="46"/>
                  </a:cubicBezTo>
                  <a:close/>
                  <a:moveTo>
                    <a:pt x="56" y="53"/>
                  </a:moveTo>
                  <a:cubicBezTo>
                    <a:pt x="56" y="53"/>
                    <a:pt x="55" y="53"/>
                    <a:pt x="55" y="53"/>
                  </a:cubicBezTo>
                  <a:cubicBezTo>
                    <a:pt x="55" y="53"/>
                    <a:pt x="55" y="53"/>
                    <a:pt x="56" y="53"/>
                  </a:cubicBezTo>
                  <a:close/>
                  <a:moveTo>
                    <a:pt x="54" y="49"/>
                  </a:moveTo>
                  <a:cubicBezTo>
                    <a:pt x="54" y="49"/>
                    <a:pt x="53" y="49"/>
                    <a:pt x="53" y="49"/>
                  </a:cubicBezTo>
                  <a:cubicBezTo>
                    <a:pt x="53" y="49"/>
                    <a:pt x="53" y="49"/>
                    <a:pt x="54" y="49"/>
                  </a:cubicBezTo>
                  <a:close/>
                  <a:moveTo>
                    <a:pt x="53" y="54"/>
                  </a:move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3"/>
                  </a:cubicBezTo>
                  <a:cubicBezTo>
                    <a:pt x="53" y="53"/>
                    <a:pt x="53" y="54"/>
                    <a:pt x="53" y="53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6" y="55"/>
                    <a:pt x="46" y="55"/>
                  </a:cubicBezTo>
                  <a:cubicBezTo>
                    <a:pt x="46" y="55"/>
                    <a:pt x="47" y="55"/>
                    <a:pt x="47" y="55"/>
                  </a:cubicBezTo>
                  <a:close/>
                  <a:moveTo>
                    <a:pt x="45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5" y="57"/>
                  </a:cubicBezTo>
                  <a:close/>
                  <a:moveTo>
                    <a:pt x="42" y="57"/>
                  </a:moveTo>
                  <a:cubicBezTo>
                    <a:pt x="42" y="57"/>
                    <a:pt x="42" y="57"/>
                    <a:pt x="42" y="58"/>
                  </a:cubicBezTo>
                  <a:cubicBezTo>
                    <a:pt x="41" y="58"/>
                    <a:pt x="41" y="57"/>
                    <a:pt x="42" y="57"/>
                  </a:cubicBezTo>
                  <a:close/>
                  <a:moveTo>
                    <a:pt x="41" y="57"/>
                  </a:move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1" y="57"/>
                    <a:pt x="41" y="57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1" y="57"/>
                  </a:cubicBezTo>
                  <a:cubicBezTo>
                    <a:pt x="41" y="57"/>
                    <a:pt x="40" y="57"/>
                    <a:pt x="40" y="57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5" y="59"/>
                  </a:moveTo>
                  <a:cubicBezTo>
                    <a:pt x="34" y="59"/>
                    <a:pt x="34" y="59"/>
                    <a:pt x="35" y="59"/>
                  </a:cubicBezTo>
                  <a:cubicBezTo>
                    <a:pt x="36" y="59"/>
                    <a:pt x="37" y="58"/>
                    <a:pt x="38" y="58"/>
                  </a:cubicBezTo>
                  <a:cubicBezTo>
                    <a:pt x="37" y="59"/>
                    <a:pt x="36" y="59"/>
                    <a:pt x="35" y="59"/>
                  </a:cubicBezTo>
                  <a:close/>
                  <a:moveTo>
                    <a:pt x="35" y="56"/>
                  </a:moveTo>
                  <a:cubicBezTo>
                    <a:pt x="36" y="56"/>
                    <a:pt x="36" y="55"/>
                    <a:pt x="36" y="56"/>
                  </a:cubicBezTo>
                  <a:cubicBezTo>
                    <a:pt x="36" y="56"/>
                    <a:pt x="36" y="56"/>
                    <a:pt x="35" y="56"/>
                  </a:cubicBezTo>
                  <a:close/>
                  <a:moveTo>
                    <a:pt x="34" y="59"/>
                  </a:moveTo>
                  <a:cubicBezTo>
                    <a:pt x="34" y="60"/>
                    <a:pt x="33" y="59"/>
                    <a:pt x="32" y="60"/>
                  </a:cubicBezTo>
                  <a:cubicBezTo>
                    <a:pt x="32" y="59"/>
                    <a:pt x="34" y="59"/>
                    <a:pt x="34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29" y="61"/>
                    <a:pt x="29" y="61"/>
                  </a:cubicBezTo>
                  <a:close/>
                  <a:moveTo>
                    <a:pt x="29" y="61"/>
                  </a:move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9" y="61"/>
                    <a:pt x="29" y="61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27" y="56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7" y="56"/>
                  </a:cubicBezTo>
                  <a:close/>
                  <a:moveTo>
                    <a:pt x="26" y="60"/>
                  </a:moveTo>
                  <a:cubicBezTo>
                    <a:pt x="26" y="59"/>
                    <a:pt x="27" y="59"/>
                    <a:pt x="27" y="59"/>
                  </a:cubicBezTo>
                  <a:cubicBezTo>
                    <a:pt x="27" y="59"/>
                    <a:pt x="27" y="60"/>
                    <a:pt x="26" y="60"/>
                  </a:cubicBezTo>
                  <a:close/>
                  <a:moveTo>
                    <a:pt x="28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0"/>
                    <a:pt x="27" y="61"/>
                    <a:pt x="27" y="60"/>
                  </a:cubicBezTo>
                  <a:close/>
                  <a:moveTo>
                    <a:pt x="24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4" y="60"/>
                  </a:cubicBezTo>
                  <a:close/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lose/>
                  <a:moveTo>
                    <a:pt x="25" y="61"/>
                  </a:moveTo>
                  <a:cubicBezTo>
                    <a:pt x="24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lose/>
                  <a:moveTo>
                    <a:pt x="24" y="62"/>
                  </a:move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lose/>
                  <a:moveTo>
                    <a:pt x="22" y="57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7"/>
                  </a:cubicBezTo>
                  <a:close/>
                  <a:moveTo>
                    <a:pt x="19" y="57"/>
                  </a:moveTo>
                  <a:cubicBezTo>
                    <a:pt x="19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lose/>
                  <a:moveTo>
                    <a:pt x="20" y="62"/>
                  </a:moveTo>
                  <a:cubicBezTo>
                    <a:pt x="19" y="63"/>
                    <a:pt x="17" y="63"/>
                    <a:pt x="16" y="63"/>
                  </a:cubicBezTo>
                  <a:cubicBezTo>
                    <a:pt x="15" y="63"/>
                    <a:pt x="13" y="64"/>
                    <a:pt x="12" y="64"/>
                  </a:cubicBezTo>
                  <a:cubicBezTo>
                    <a:pt x="14" y="63"/>
                    <a:pt x="17" y="63"/>
                    <a:pt x="20" y="62"/>
                  </a:cubicBezTo>
                  <a:close/>
                  <a:moveTo>
                    <a:pt x="19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9" y="63"/>
                    <a:pt x="19" y="64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2"/>
                    <a:pt x="18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lose/>
                  <a:moveTo>
                    <a:pt x="16" y="64"/>
                  </a:moveTo>
                  <a:cubicBezTo>
                    <a:pt x="17" y="64"/>
                    <a:pt x="17" y="64"/>
                    <a:pt x="18" y="63"/>
                  </a:cubicBezTo>
                  <a:cubicBezTo>
                    <a:pt x="17" y="64"/>
                    <a:pt x="17" y="64"/>
                    <a:pt x="16" y="64"/>
                  </a:cubicBezTo>
                  <a:close/>
                  <a:moveTo>
                    <a:pt x="17" y="64"/>
                  </a:moveTo>
                  <a:cubicBezTo>
                    <a:pt x="17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lose/>
                  <a:moveTo>
                    <a:pt x="15" y="62"/>
                  </a:moveTo>
                  <a:cubicBezTo>
                    <a:pt x="15" y="62"/>
                    <a:pt x="16" y="62"/>
                    <a:pt x="16" y="62"/>
                  </a:cubicBezTo>
                  <a:cubicBezTo>
                    <a:pt x="16" y="62"/>
                    <a:pt x="16" y="62"/>
                    <a:pt x="15" y="62"/>
                  </a:cubicBezTo>
                  <a:close/>
                  <a:moveTo>
                    <a:pt x="13" y="57"/>
                  </a:moveTo>
                  <a:cubicBezTo>
                    <a:pt x="13" y="58"/>
                    <a:pt x="13" y="58"/>
                    <a:pt x="12" y="58"/>
                  </a:cubicBezTo>
                  <a:cubicBezTo>
                    <a:pt x="12" y="58"/>
                    <a:pt x="13" y="58"/>
                    <a:pt x="13" y="57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3" y="62"/>
                    <a:pt x="13" y="62"/>
                  </a:cubicBezTo>
                  <a:cubicBezTo>
                    <a:pt x="13" y="62"/>
                    <a:pt x="13" y="62"/>
                    <a:pt x="12" y="62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1" y="63"/>
                  </a:cubicBezTo>
                  <a:cubicBezTo>
                    <a:pt x="11" y="63"/>
                    <a:pt x="12" y="63"/>
                    <a:pt x="12" y="62"/>
                  </a:cubicBezTo>
                  <a:close/>
                  <a:moveTo>
                    <a:pt x="11" y="63"/>
                  </a:move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lose/>
                  <a:moveTo>
                    <a:pt x="11" y="66"/>
                  </a:moveTo>
                  <a:cubicBezTo>
                    <a:pt x="11" y="66"/>
                    <a:pt x="12" y="65"/>
                    <a:pt x="12" y="65"/>
                  </a:cubicBezTo>
                  <a:cubicBezTo>
                    <a:pt x="12" y="66"/>
                    <a:pt x="11" y="66"/>
                    <a:pt x="11" y="66"/>
                  </a:cubicBezTo>
                  <a:close/>
                  <a:moveTo>
                    <a:pt x="8" y="59"/>
                  </a:moveTo>
                  <a:cubicBezTo>
                    <a:pt x="8" y="59"/>
                    <a:pt x="9" y="58"/>
                    <a:pt x="9" y="58"/>
                  </a:cubicBezTo>
                  <a:cubicBezTo>
                    <a:pt x="9" y="59"/>
                    <a:pt x="9" y="59"/>
                    <a:pt x="8" y="59"/>
                  </a:cubicBezTo>
                  <a:close/>
                  <a:moveTo>
                    <a:pt x="10" y="63"/>
                  </a:moveTo>
                  <a:cubicBezTo>
                    <a:pt x="10" y="64"/>
                    <a:pt x="10" y="64"/>
                    <a:pt x="9" y="64"/>
                  </a:cubicBezTo>
                  <a:cubicBezTo>
                    <a:pt x="9" y="64"/>
                    <a:pt x="9" y="64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lose/>
                  <a:moveTo>
                    <a:pt x="11" y="66"/>
                  </a:moveTo>
                  <a:cubicBezTo>
                    <a:pt x="10" y="66"/>
                    <a:pt x="9" y="66"/>
                    <a:pt x="9" y="66"/>
                  </a:cubicBezTo>
                  <a:cubicBezTo>
                    <a:pt x="9" y="66"/>
                    <a:pt x="10" y="66"/>
                    <a:pt x="11" y="66"/>
                  </a:cubicBezTo>
                  <a:close/>
                  <a:moveTo>
                    <a:pt x="10" y="64"/>
                  </a:moveTo>
                  <a:cubicBezTo>
                    <a:pt x="10" y="64"/>
                    <a:pt x="10" y="65"/>
                    <a:pt x="9" y="64"/>
                  </a:cubicBezTo>
                  <a:cubicBezTo>
                    <a:pt x="9" y="64"/>
                    <a:pt x="10" y="64"/>
                    <a:pt x="10" y="64"/>
                  </a:cubicBezTo>
                  <a:close/>
                  <a:moveTo>
                    <a:pt x="8" y="59"/>
                  </a:moveTo>
                  <a:cubicBezTo>
                    <a:pt x="8" y="59"/>
                    <a:pt x="7" y="59"/>
                    <a:pt x="7" y="59"/>
                  </a:cubicBezTo>
                  <a:cubicBezTo>
                    <a:pt x="7" y="59"/>
                    <a:pt x="8" y="59"/>
                    <a:pt x="8" y="59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9" y="62"/>
                  </a:cubicBezTo>
                  <a:cubicBezTo>
                    <a:pt x="9" y="62"/>
                    <a:pt x="8" y="62"/>
                    <a:pt x="8" y="62"/>
                  </a:cubicBezTo>
                  <a:close/>
                  <a:moveTo>
                    <a:pt x="9" y="63"/>
                  </a:moveTo>
                  <a:cubicBezTo>
                    <a:pt x="8" y="64"/>
                    <a:pt x="8" y="64"/>
                    <a:pt x="7" y="64"/>
                  </a:cubicBezTo>
                  <a:cubicBezTo>
                    <a:pt x="8" y="64"/>
                    <a:pt x="8" y="63"/>
                    <a:pt x="9" y="6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6" y="62"/>
                  </a:moveTo>
                  <a:cubicBezTo>
                    <a:pt x="6" y="62"/>
                    <a:pt x="7" y="62"/>
                    <a:pt x="7" y="62"/>
                  </a:cubicBezTo>
                  <a:cubicBezTo>
                    <a:pt x="7" y="62"/>
                    <a:pt x="6" y="62"/>
                    <a:pt x="6" y="62"/>
                  </a:cubicBezTo>
                  <a:close/>
                  <a:moveTo>
                    <a:pt x="6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lose/>
                  <a:moveTo>
                    <a:pt x="5" y="67"/>
                  </a:moveTo>
                  <a:cubicBezTo>
                    <a:pt x="5" y="67"/>
                    <a:pt x="6" y="6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6"/>
                    <a:pt x="7" y="66"/>
                    <a:pt x="8" y="66"/>
                  </a:cubicBezTo>
                  <a:cubicBezTo>
                    <a:pt x="7" y="66"/>
                    <a:pt x="6" y="67"/>
                    <a:pt x="5" y="67"/>
                  </a:cubicBezTo>
                  <a:close/>
                  <a:moveTo>
                    <a:pt x="3" y="59"/>
                  </a:move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5" y="59"/>
                    <a:pt x="4" y="59"/>
                    <a:pt x="4" y="59"/>
                  </a:cubicBezTo>
                  <a:cubicBezTo>
                    <a:pt x="4" y="59"/>
                    <a:pt x="4" y="59"/>
                    <a:pt x="3" y="59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6" y="64"/>
                    <a:pt x="5" y="64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lose/>
                  <a:moveTo>
                    <a:pt x="3" y="60"/>
                  </a:moveTo>
                  <a:cubicBezTo>
                    <a:pt x="3" y="60"/>
                    <a:pt x="4" y="59"/>
                    <a:pt x="4" y="59"/>
                  </a:cubicBezTo>
                  <a:cubicBezTo>
                    <a:pt x="4" y="60"/>
                    <a:pt x="3" y="60"/>
                    <a:pt x="3" y="60"/>
                  </a:cubicBezTo>
                  <a:close/>
                  <a:moveTo>
                    <a:pt x="3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59"/>
                    <a:pt x="3" y="59"/>
                  </a:cubicBezTo>
                  <a:close/>
                  <a:moveTo>
                    <a:pt x="2" y="63"/>
                  </a:moveTo>
                  <a:cubicBezTo>
                    <a:pt x="2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lose/>
                  <a:moveTo>
                    <a:pt x="1" y="60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lose/>
                  <a:moveTo>
                    <a:pt x="2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3" y="67"/>
                  </a:cubicBezTo>
                  <a:cubicBezTo>
                    <a:pt x="3" y="67"/>
                    <a:pt x="2" y="67"/>
                    <a:pt x="2" y="67"/>
                  </a:cubicBezTo>
                  <a:close/>
                  <a:moveTo>
                    <a:pt x="0" y="67"/>
                  </a:moveTo>
                  <a:cubicBezTo>
                    <a:pt x="0" y="66"/>
                    <a:pt x="1" y="67"/>
                    <a:pt x="1" y="66"/>
                  </a:cubicBezTo>
                  <a:cubicBezTo>
                    <a:pt x="1" y="67"/>
                    <a:pt x="0" y="67"/>
                    <a:pt x="0" y="67"/>
                  </a:cubicBezTo>
                  <a:close/>
                  <a:moveTo>
                    <a:pt x="179" y="22"/>
                  </a:move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lose/>
                  <a:moveTo>
                    <a:pt x="226" y="17"/>
                  </a:moveTo>
                  <a:cubicBezTo>
                    <a:pt x="225" y="18"/>
                    <a:pt x="224" y="18"/>
                    <a:pt x="223" y="18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2" y="18"/>
                    <a:pt x="222" y="18"/>
                  </a:cubicBezTo>
                  <a:cubicBezTo>
                    <a:pt x="221" y="19"/>
                    <a:pt x="220" y="19"/>
                    <a:pt x="218" y="19"/>
                  </a:cubicBezTo>
                  <a:cubicBezTo>
                    <a:pt x="218" y="19"/>
                    <a:pt x="219" y="19"/>
                    <a:pt x="219" y="19"/>
                  </a:cubicBezTo>
                  <a:cubicBezTo>
                    <a:pt x="218" y="19"/>
                    <a:pt x="217" y="20"/>
                    <a:pt x="216" y="19"/>
                  </a:cubicBezTo>
                  <a:cubicBezTo>
                    <a:pt x="215" y="19"/>
                    <a:pt x="215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19"/>
                    <a:pt x="215" y="19"/>
                    <a:pt x="216" y="19"/>
                  </a:cubicBezTo>
                  <a:cubicBezTo>
                    <a:pt x="215" y="19"/>
                    <a:pt x="214" y="19"/>
                    <a:pt x="213" y="20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2" y="20"/>
                    <a:pt x="213" y="20"/>
                    <a:pt x="213" y="20"/>
                  </a:cubicBezTo>
                  <a:cubicBezTo>
                    <a:pt x="213" y="20"/>
                    <a:pt x="212" y="20"/>
                    <a:pt x="213" y="20"/>
                  </a:cubicBezTo>
                  <a:cubicBezTo>
                    <a:pt x="212" y="19"/>
                    <a:pt x="212" y="20"/>
                    <a:pt x="211" y="20"/>
                  </a:cubicBezTo>
                  <a:cubicBezTo>
                    <a:pt x="211" y="20"/>
                    <a:pt x="211" y="20"/>
                    <a:pt x="211" y="20"/>
                  </a:cubicBezTo>
                  <a:cubicBezTo>
                    <a:pt x="210" y="20"/>
                    <a:pt x="211" y="20"/>
                    <a:pt x="211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09" y="20"/>
                  </a:cubicBezTo>
                  <a:cubicBezTo>
                    <a:pt x="209" y="20"/>
                    <a:pt x="210" y="20"/>
                    <a:pt x="210" y="20"/>
                  </a:cubicBezTo>
                  <a:cubicBezTo>
                    <a:pt x="209" y="20"/>
                    <a:pt x="208" y="20"/>
                    <a:pt x="207" y="20"/>
                  </a:cubicBezTo>
                  <a:cubicBezTo>
                    <a:pt x="207" y="20"/>
                    <a:pt x="207" y="20"/>
                    <a:pt x="207" y="20"/>
                  </a:cubicBezTo>
                  <a:cubicBezTo>
                    <a:pt x="206" y="20"/>
                    <a:pt x="206" y="20"/>
                    <a:pt x="206" y="20"/>
                  </a:cubicBezTo>
                  <a:cubicBezTo>
                    <a:pt x="205" y="20"/>
                    <a:pt x="204" y="21"/>
                    <a:pt x="204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2" y="21"/>
                    <a:pt x="202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0" y="21"/>
                    <a:pt x="201" y="21"/>
                    <a:pt x="201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199" y="21"/>
                    <a:pt x="200" y="21"/>
                    <a:pt x="200" y="21"/>
                  </a:cubicBezTo>
                  <a:cubicBezTo>
                    <a:pt x="200" y="21"/>
                    <a:pt x="199" y="21"/>
                    <a:pt x="199" y="21"/>
                  </a:cubicBezTo>
                  <a:cubicBezTo>
                    <a:pt x="198" y="21"/>
                    <a:pt x="197" y="22"/>
                    <a:pt x="196" y="22"/>
                  </a:cubicBezTo>
                  <a:cubicBezTo>
                    <a:pt x="196" y="22"/>
                    <a:pt x="197" y="22"/>
                    <a:pt x="197" y="22"/>
                  </a:cubicBezTo>
                  <a:cubicBezTo>
                    <a:pt x="197" y="22"/>
                    <a:pt x="196" y="22"/>
                    <a:pt x="196" y="22"/>
                  </a:cubicBezTo>
                  <a:cubicBezTo>
                    <a:pt x="196" y="22"/>
                    <a:pt x="196" y="22"/>
                    <a:pt x="196" y="21"/>
                  </a:cubicBezTo>
                  <a:cubicBezTo>
                    <a:pt x="196" y="22"/>
                    <a:pt x="196" y="22"/>
                    <a:pt x="195" y="22"/>
                  </a:cubicBezTo>
                  <a:cubicBezTo>
                    <a:pt x="195" y="22"/>
                    <a:pt x="194" y="22"/>
                    <a:pt x="195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4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1" y="22"/>
                  </a:cubicBezTo>
                  <a:cubicBezTo>
                    <a:pt x="191" y="22"/>
                    <a:pt x="192" y="22"/>
                    <a:pt x="192" y="22"/>
                  </a:cubicBezTo>
                  <a:cubicBezTo>
                    <a:pt x="191" y="22"/>
                    <a:pt x="191" y="23"/>
                    <a:pt x="190" y="23"/>
                  </a:cubicBezTo>
                  <a:cubicBezTo>
                    <a:pt x="191" y="23"/>
                    <a:pt x="190" y="23"/>
                    <a:pt x="190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8" y="23"/>
                    <a:pt x="188" y="23"/>
                  </a:cubicBezTo>
                  <a:cubicBezTo>
                    <a:pt x="190" y="23"/>
                    <a:pt x="192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1" y="22"/>
                    <a:pt x="192" y="22"/>
                    <a:pt x="191" y="22"/>
                  </a:cubicBezTo>
                  <a:cubicBezTo>
                    <a:pt x="191" y="22"/>
                    <a:pt x="191" y="22"/>
                    <a:pt x="191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22"/>
                    <a:pt x="190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2"/>
                    <a:pt x="188" y="22"/>
                    <a:pt x="188" y="23"/>
                  </a:cubicBezTo>
                  <a:cubicBezTo>
                    <a:pt x="188" y="23"/>
                    <a:pt x="188" y="22"/>
                    <a:pt x="188" y="23"/>
                  </a:cubicBezTo>
                  <a:cubicBezTo>
                    <a:pt x="188" y="23"/>
                    <a:pt x="188" y="23"/>
                    <a:pt x="188" y="22"/>
                  </a:cubicBezTo>
                  <a:cubicBezTo>
                    <a:pt x="187" y="22"/>
                    <a:pt x="187" y="23"/>
                    <a:pt x="187" y="23"/>
                  </a:cubicBezTo>
                  <a:cubicBezTo>
                    <a:pt x="187" y="23"/>
                    <a:pt x="188" y="23"/>
                    <a:pt x="188" y="23"/>
                  </a:cubicBezTo>
                  <a:cubicBezTo>
                    <a:pt x="188" y="23"/>
                    <a:pt x="187" y="23"/>
                    <a:pt x="188" y="23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3"/>
                    <a:pt x="187" y="23"/>
                    <a:pt x="186" y="23"/>
                  </a:cubicBezTo>
                  <a:cubicBezTo>
                    <a:pt x="186" y="23"/>
                    <a:pt x="187" y="23"/>
                    <a:pt x="186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3"/>
                    <a:pt x="186" y="23"/>
                    <a:pt x="185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4"/>
                    <a:pt x="188" y="23"/>
                    <a:pt x="188" y="23"/>
                  </a:cubicBezTo>
                  <a:cubicBezTo>
                    <a:pt x="186" y="23"/>
                    <a:pt x="185" y="24"/>
                    <a:pt x="184" y="24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4" y="24"/>
                    <a:pt x="184" y="24"/>
                    <a:pt x="183" y="24"/>
                  </a:cubicBezTo>
                  <a:cubicBezTo>
                    <a:pt x="184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1" y="24"/>
                    <a:pt x="181" y="25"/>
                  </a:cubicBezTo>
                  <a:cubicBezTo>
                    <a:pt x="181" y="25"/>
                    <a:pt x="182" y="24"/>
                    <a:pt x="182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4"/>
                    <a:pt x="181" y="25"/>
                    <a:pt x="181" y="24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0" y="25"/>
                    <a:pt x="180" y="25"/>
                    <a:pt x="180" y="24"/>
                  </a:cubicBezTo>
                  <a:cubicBezTo>
                    <a:pt x="181" y="25"/>
                    <a:pt x="181" y="24"/>
                    <a:pt x="181" y="24"/>
                  </a:cubicBezTo>
                  <a:cubicBezTo>
                    <a:pt x="182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79" y="24"/>
                    <a:pt x="179" y="25"/>
                  </a:cubicBezTo>
                  <a:cubicBezTo>
                    <a:pt x="179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7" y="25"/>
                    <a:pt x="178" y="25"/>
                    <a:pt x="177" y="25"/>
                  </a:cubicBezTo>
                  <a:cubicBezTo>
                    <a:pt x="177" y="25"/>
                    <a:pt x="176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6"/>
                    <a:pt x="175" y="25"/>
                    <a:pt x="175" y="26"/>
                  </a:cubicBezTo>
                  <a:cubicBezTo>
                    <a:pt x="175" y="25"/>
                    <a:pt x="174" y="26"/>
                    <a:pt x="174" y="25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0" y="27"/>
                    <a:pt x="171" y="27"/>
                    <a:pt x="171" y="27"/>
                  </a:cubicBezTo>
                  <a:cubicBezTo>
                    <a:pt x="169" y="27"/>
                    <a:pt x="168" y="27"/>
                    <a:pt x="167" y="27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6" y="27"/>
                    <a:pt x="166" y="27"/>
                    <a:pt x="166" y="28"/>
                  </a:cubicBezTo>
                  <a:cubicBezTo>
                    <a:pt x="166" y="27"/>
                    <a:pt x="167" y="27"/>
                    <a:pt x="167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1" y="26"/>
                    <a:pt x="172" y="26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6" y="25"/>
                    <a:pt x="175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4"/>
                    <a:pt x="178" y="25"/>
                    <a:pt x="177" y="25"/>
                  </a:cubicBezTo>
                  <a:cubicBezTo>
                    <a:pt x="178" y="24"/>
                    <a:pt x="178" y="25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9" y="25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79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5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6" y="24"/>
                    <a:pt x="177" y="24"/>
                    <a:pt x="177" y="25"/>
                  </a:cubicBezTo>
                  <a:cubicBezTo>
                    <a:pt x="176" y="25"/>
                    <a:pt x="176" y="25"/>
                    <a:pt x="175" y="25"/>
                  </a:cubicBezTo>
                  <a:cubicBezTo>
                    <a:pt x="176" y="24"/>
                    <a:pt x="176" y="25"/>
                    <a:pt x="176" y="25"/>
                  </a:cubicBezTo>
                  <a:cubicBezTo>
                    <a:pt x="176" y="25"/>
                    <a:pt x="176" y="24"/>
                    <a:pt x="17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6" y="24"/>
                    <a:pt x="176" y="24"/>
                    <a:pt x="175" y="25"/>
                  </a:cubicBezTo>
                  <a:cubicBezTo>
                    <a:pt x="175" y="25"/>
                    <a:pt x="175" y="24"/>
                    <a:pt x="175" y="24"/>
                  </a:cubicBezTo>
                  <a:cubicBezTo>
                    <a:pt x="175" y="24"/>
                    <a:pt x="174" y="24"/>
                    <a:pt x="173" y="25"/>
                  </a:cubicBezTo>
                  <a:cubicBezTo>
                    <a:pt x="173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5" y="24"/>
                    <a:pt x="176" y="24"/>
                    <a:pt x="178" y="23"/>
                  </a:cubicBezTo>
                  <a:cubicBezTo>
                    <a:pt x="178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8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1" y="23"/>
                    <a:pt x="182" y="23"/>
                    <a:pt x="183" y="22"/>
                  </a:cubicBezTo>
                  <a:cubicBezTo>
                    <a:pt x="182" y="23"/>
                    <a:pt x="181" y="23"/>
                    <a:pt x="180" y="23"/>
                  </a:cubicBezTo>
                  <a:cubicBezTo>
                    <a:pt x="180" y="23"/>
                    <a:pt x="179" y="23"/>
                    <a:pt x="178" y="24"/>
                  </a:cubicBezTo>
                  <a:cubicBezTo>
                    <a:pt x="179" y="24"/>
                    <a:pt x="180" y="23"/>
                    <a:pt x="181" y="23"/>
                  </a:cubicBezTo>
                  <a:cubicBezTo>
                    <a:pt x="181" y="23"/>
                    <a:pt x="181" y="24"/>
                    <a:pt x="181" y="24"/>
                  </a:cubicBezTo>
                  <a:cubicBezTo>
                    <a:pt x="181" y="24"/>
                    <a:pt x="180" y="24"/>
                    <a:pt x="180" y="24"/>
                  </a:cubicBezTo>
                  <a:cubicBezTo>
                    <a:pt x="180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1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3" y="23"/>
                    <a:pt x="183" y="23"/>
                    <a:pt x="183" y="23"/>
                  </a:cubicBezTo>
                  <a:cubicBezTo>
                    <a:pt x="182" y="23"/>
                    <a:pt x="183" y="23"/>
                    <a:pt x="182" y="23"/>
                  </a:cubicBezTo>
                  <a:cubicBezTo>
                    <a:pt x="182" y="23"/>
                    <a:pt x="183" y="23"/>
                    <a:pt x="183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2"/>
                    <a:pt x="184" y="23"/>
                  </a:cubicBezTo>
                  <a:cubicBezTo>
                    <a:pt x="186" y="23"/>
                    <a:pt x="187" y="22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ubicBezTo>
                    <a:pt x="188" y="22"/>
                    <a:pt x="189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1"/>
                    <a:pt x="189" y="22"/>
                    <a:pt x="190" y="21"/>
                  </a:cubicBezTo>
                  <a:cubicBezTo>
                    <a:pt x="190" y="22"/>
                    <a:pt x="189" y="22"/>
                    <a:pt x="189" y="22"/>
                  </a:cubicBezTo>
                  <a:cubicBezTo>
                    <a:pt x="189" y="22"/>
                    <a:pt x="190" y="22"/>
                    <a:pt x="190" y="22"/>
                  </a:cubicBezTo>
                  <a:cubicBezTo>
                    <a:pt x="190" y="21"/>
                    <a:pt x="191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3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3" y="21"/>
                    <a:pt x="192" y="21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5" y="21"/>
                    <a:pt x="195" y="21"/>
                    <a:pt x="196" y="20"/>
                  </a:cubicBezTo>
                  <a:cubicBezTo>
                    <a:pt x="196" y="21"/>
                    <a:pt x="197" y="20"/>
                    <a:pt x="197" y="20"/>
                  </a:cubicBezTo>
                  <a:cubicBezTo>
                    <a:pt x="198" y="20"/>
                    <a:pt x="199" y="20"/>
                    <a:pt x="199" y="19"/>
                  </a:cubicBezTo>
                  <a:cubicBezTo>
                    <a:pt x="200" y="19"/>
                    <a:pt x="201" y="19"/>
                    <a:pt x="201" y="19"/>
                  </a:cubicBezTo>
                  <a:cubicBezTo>
                    <a:pt x="201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20"/>
                    <a:pt x="199" y="19"/>
                    <a:pt x="199" y="19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8" y="20"/>
                  </a:cubicBezTo>
                  <a:cubicBezTo>
                    <a:pt x="199" y="19"/>
                    <a:pt x="198" y="20"/>
                    <a:pt x="198" y="20"/>
                  </a:cubicBezTo>
                  <a:cubicBezTo>
                    <a:pt x="197" y="20"/>
                    <a:pt x="197" y="20"/>
                    <a:pt x="196" y="20"/>
                  </a:cubicBezTo>
                  <a:cubicBezTo>
                    <a:pt x="196" y="20"/>
                    <a:pt x="195" y="20"/>
                    <a:pt x="194" y="21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90" y="21"/>
                    <a:pt x="189" y="21"/>
                    <a:pt x="190" y="21"/>
                  </a:cubicBezTo>
                  <a:cubicBezTo>
                    <a:pt x="190" y="21"/>
                    <a:pt x="189" y="21"/>
                    <a:pt x="189" y="21"/>
                  </a:cubicBezTo>
                  <a:cubicBezTo>
                    <a:pt x="189" y="21"/>
                    <a:pt x="189" y="21"/>
                    <a:pt x="188" y="21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8" y="21"/>
                    <a:pt x="188" y="21"/>
                    <a:pt x="187" y="21"/>
                  </a:cubicBezTo>
                  <a:cubicBezTo>
                    <a:pt x="187" y="21"/>
                    <a:pt x="187" y="21"/>
                    <a:pt x="188" y="21"/>
                  </a:cubicBezTo>
                  <a:cubicBezTo>
                    <a:pt x="188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8" y="20"/>
                    <a:pt x="188" y="21"/>
                  </a:cubicBezTo>
                  <a:cubicBezTo>
                    <a:pt x="189" y="21"/>
                    <a:pt x="188" y="20"/>
                    <a:pt x="188" y="20"/>
                  </a:cubicBezTo>
                  <a:cubicBezTo>
                    <a:pt x="189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88" y="20"/>
                    <a:pt x="188" y="21"/>
                  </a:cubicBezTo>
                  <a:cubicBezTo>
                    <a:pt x="187" y="21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1"/>
                    <a:pt x="187" y="20"/>
                    <a:pt x="187" y="21"/>
                  </a:cubicBezTo>
                  <a:cubicBezTo>
                    <a:pt x="187" y="20"/>
                    <a:pt x="187" y="21"/>
                    <a:pt x="186" y="21"/>
                  </a:cubicBezTo>
                  <a:cubicBezTo>
                    <a:pt x="186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6" y="20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1"/>
                    <a:pt x="185" y="21"/>
                  </a:cubicBezTo>
                  <a:cubicBezTo>
                    <a:pt x="185" y="20"/>
                    <a:pt x="184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4" y="20"/>
                  </a:cubicBezTo>
                  <a:cubicBezTo>
                    <a:pt x="184" y="21"/>
                    <a:pt x="184" y="20"/>
                    <a:pt x="184" y="21"/>
                  </a:cubicBezTo>
                  <a:cubicBezTo>
                    <a:pt x="184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0"/>
                    <a:pt x="182" y="20"/>
                    <a:pt x="183" y="20"/>
                  </a:cubicBezTo>
                  <a:cubicBezTo>
                    <a:pt x="183" y="20"/>
                    <a:pt x="182" y="21"/>
                    <a:pt x="181" y="20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79" y="21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2"/>
                    <a:pt x="180" y="21"/>
                    <a:pt x="181" y="21"/>
                  </a:cubicBezTo>
                  <a:cubicBezTo>
                    <a:pt x="181" y="22"/>
                    <a:pt x="180" y="22"/>
                    <a:pt x="180" y="22"/>
                  </a:cubicBezTo>
                  <a:cubicBezTo>
                    <a:pt x="181" y="22"/>
                    <a:pt x="181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2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79" y="22"/>
                    <a:pt x="179" y="22"/>
                  </a:cubicBezTo>
                  <a:cubicBezTo>
                    <a:pt x="179" y="22"/>
                    <a:pt x="180" y="22"/>
                    <a:pt x="180" y="22"/>
                  </a:cubicBezTo>
                  <a:cubicBezTo>
                    <a:pt x="179" y="22"/>
                    <a:pt x="179" y="22"/>
                    <a:pt x="179" y="23"/>
                  </a:cubicBezTo>
                  <a:cubicBezTo>
                    <a:pt x="179" y="22"/>
                    <a:pt x="178" y="22"/>
                    <a:pt x="179" y="22"/>
                  </a:cubicBezTo>
                  <a:cubicBezTo>
                    <a:pt x="178" y="22"/>
                    <a:pt x="178" y="23"/>
                    <a:pt x="177" y="23"/>
                  </a:cubicBezTo>
                  <a:cubicBezTo>
                    <a:pt x="177" y="23"/>
                    <a:pt x="176" y="23"/>
                    <a:pt x="177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4"/>
                    <a:pt x="173" y="24"/>
                  </a:cubicBezTo>
                  <a:cubicBezTo>
                    <a:pt x="173" y="24"/>
                    <a:pt x="173" y="24"/>
                    <a:pt x="173" y="24"/>
                  </a:cubicBezTo>
                  <a:cubicBezTo>
                    <a:pt x="173" y="24"/>
                    <a:pt x="173" y="24"/>
                    <a:pt x="172" y="24"/>
                  </a:cubicBezTo>
                  <a:cubicBezTo>
                    <a:pt x="172" y="24"/>
                    <a:pt x="172" y="24"/>
                    <a:pt x="172" y="23"/>
                  </a:cubicBezTo>
                  <a:cubicBezTo>
                    <a:pt x="172" y="23"/>
                    <a:pt x="172" y="24"/>
                    <a:pt x="172" y="24"/>
                  </a:cubicBezTo>
                  <a:cubicBezTo>
                    <a:pt x="172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0" y="24"/>
                    <a:pt x="170" y="24"/>
                  </a:cubicBezTo>
                  <a:cubicBezTo>
                    <a:pt x="170" y="24"/>
                    <a:pt x="171" y="24"/>
                    <a:pt x="171" y="23"/>
                  </a:cubicBezTo>
                  <a:cubicBezTo>
                    <a:pt x="171" y="23"/>
                    <a:pt x="171" y="24"/>
                    <a:pt x="171" y="24"/>
                  </a:cubicBezTo>
                  <a:cubicBezTo>
                    <a:pt x="171" y="24"/>
                    <a:pt x="172" y="23"/>
                    <a:pt x="172" y="23"/>
                  </a:cubicBezTo>
                  <a:cubicBezTo>
                    <a:pt x="172" y="23"/>
                    <a:pt x="172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4" y="23"/>
                    <a:pt x="174" y="23"/>
                  </a:cubicBezTo>
                  <a:cubicBezTo>
                    <a:pt x="174" y="23"/>
                    <a:pt x="175" y="23"/>
                    <a:pt x="174" y="23"/>
                  </a:cubicBezTo>
                  <a:cubicBezTo>
                    <a:pt x="174" y="22"/>
                    <a:pt x="175" y="23"/>
                    <a:pt x="175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75" y="23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2"/>
                    <a:pt x="176" y="23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7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7" y="22"/>
                    <a:pt x="177" y="22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8" y="22"/>
                    <a:pt x="179" y="22"/>
                  </a:cubicBezTo>
                  <a:cubicBezTo>
                    <a:pt x="179" y="22"/>
                    <a:pt x="179" y="22"/>
                    <a:pt x="180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8" y="21"/>
                    <a:pt x="178" y="22"/>
                  </a:cubicBezTo>
                  <a:cubicBezTo>
                    <a:pt x="178" y="22"/>
                    <a:pt x="179" y="21"/>
                    <a:pt x="179" y="21"/>
                  </a:cubicBezTo>
                  <a:cubicBezTo>
                    <a:pt x="179" y="21"/>
                    <a:pt x="179" y="21"/>
                    <a:pt x="178" y="21"/>
                  </a:cubicBezTo>
                  <a:cubicBezTo>
                    <a:pt x="178" y="21"/>
                    <a:pt x="178" y="21"/>
                    <a:pt x="178" y="22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8" y="21"/>
                    <a:pt x="177" y="21"/>
                    <a:pt x="177" y="21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9" y="21"/>
                    <a:pt x="178" y="21"/>
                    <a:pt x="178" y="21"/>
                  </a:cubicBezTo>
                  <a:cubicBezTo>
                    <a:pt x="179" y="20"/>
                    <a:pt x="179" y="20"/>
                    <a:pt x="180" y="20"/>
                  </a:cubicBezTo>
                  <a:cubicBezTo>
                    <a:pt x="180" y="20"/>
                    <a:pt x="180" y="21"/>
                    <a:pt x="180" y="20"/>
                  </a:cubicBez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2" y="20"/>
                    <a:pt x="182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82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4" y="20"/>
                    <a:pt x="184" y="20"/>
                  </a:cubicBezTo>
                  <a:cubicBezTo>
                    <a:pt x="184" y="20"/>
                    <a:pt x="184" y="20"/>
                    <a:pt x="185" y="20"/>
                  </a:cubicBezTo>
                  <a:cubicBezTo>
                    <a:pt x="184" y="20"/>
                    <a:pt x="185" y="20"/>
                    <a:pt x="185" y="20"/>
                  </a:cubicBezTo>
                  <a:cubicBezTo>
                    <a:pt x="185" y="20"/>
                    <a:pt x="185" y="19"/>
                    <a:pt x="184" y="20"/>
                  </a:cubicBezTo>
                  <a:cubicBezTo>
                    <a:pt x="184" y="20"/>
                    <a:pt x="185" y="20"/>
                    <a:pt x="185" y="19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5" y="19"/>
                    <a:pt x="185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5" y="19"/>
                    <a:pt x="185" y="19"/>
                  </a:cubicBezTo>
                  <a:cubicBezTo>
                    <a:pt x="185" y="19"/>
                    <a:pt x="187" y="19"/>
                    <a:pt x="187" y="19"/>
                  </a:cubicBezTo>
                  <a:cubicBezTo>
                    <a:pt x="187" y="19"/>
                    <a:pt x="187" y="19"/>
                    <a:pt x="187" y="18"/>
                  </a:cubicBezTo>
                  <a:cubicBezTo>
                    <a:pt x="188" y="18"/>
                    <a:pt x="188" y="19"/>
                    <a:pt x="188" y="19"/>
                  </a:cubicBezTo>
                  <a:cubicBezTo>
                    <a:pt x="188" y="18"/>
                    <a:pt x="189" y="18"/>
                    <a:pt x="189" y="18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1" y="18"/>
                    <a:pt x="191" y="18"/>
                  </a:cubicBezTo>
                  <a:cubicBezTo>
                    <a:pt x="191" y="18"/>
                    <a:pt x="191" y="18"/>
                    <a:pt x="192" y="18"/>
                  </a:cubicBezTo>
                  <a:cubicBezTo>
                    <a:pt x="192" y="18"/>
                    <a:pt x="190" y="18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1" y="18"/>
                    <a:pt x="192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3" y="17"/>
                  </a:cubicBezTo>
                  <a:cubicBezTo>
                    <a:pt x="193" y="17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7"/>
                    <a:pt x="193" y="18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4" y="16"/>
                    <a:pt x="193" y="16"/>
                  </a:cubicBezTo>
                  <a:cubicBezTo>
                    <a:pt x="193" y="16"/>
                    <a:pt x="194" y="16"/>
                    <a:pt x="194" y="16"/>
                  </a:cubicBezTo>
                  <a:cubicBezTo>
                    <a:pt x="194" y="15"/>
                    <a:pt x="194" y="16"/>
                    <a:pt x="194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4" y="15"/>
                  </a:cubicBezTo>
                  <a:cubicBezTo>
                    <a:pt x="195" y="16"/>
                    <a:pt x="195" y="15"/>
                    <a:pt x="195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5" y="15"/>
                    <a:pt x="195" y="16"/>
                    <a:pt x="196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4" y="16"/>
                  </a:cubicBezTo>
                  <a:cubicBezTo>
                    <a:pt x="195" y="17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7" y="16"/>
                    <a:pt x="196" y="16"/>
                    <a:pt x="196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8" y="16"/>
                    <a:pt x="197" y="15"/>
                    <a:pt x="197" y="15"/>
                  </a:cubicBezTo>
                  <a:cubicBezTo>
                    <a:pt x="198" y="15"/>
                    <a:pt x="197" y="16"/>
                    <a:pt x="198" y="16"/>
                  </a:cubicBezTo>
                  <a:cubicBezTo>
                    <a:pt x="198" y="16"/>
                    <a:pt x="197" y="16"/>
                    <a:pt x="197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6"/>
                    <a:pt x="198" y="15"/>
                    <a:pt x="198" y="16"/>
                  </a:cubicBezTo>
                  <a:cubicBezTo>
                    <a:pt x="198" y="16"/>
                    <a:pt x="198" y="15"/>
                    <a:pt x="198" y="15"/>
                  </a:cubicBezTo>
                  <a:cubicBezTo>
                    <a:pt x="199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7" y="15"/>
                  </a:cubicBezTo>
                  <a:cubicBezTo>
                    <a:pt x="197" y="15"/>
                    <a:pt x="197" y="15"/>
                    <a:pt x="197" y="16"/>
                  </a:cubicBezTo>
                  <a:cubicBezTo>
                    <a:pt x="197" y="15"/>
                    <a:pt x="197" y="16"/>
                    <a:pt x="196" y="15"/>
                  </a:cubicBezTo>
                  <a:cubicBezTo>
                    <a:pt x="196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6" y="15"/>
                    <a:pt x="196" y="14"/>
                    <a:pt x="196" y="14"/>
                  </a:cubicBezTo>
                  <a:cubicBezTo>
                    <a:pt x="196" y="14"/>
                    <a:pt x="196" y="14"/>
                    <a:pt x="195" y="14"/>
                  </a:cubicBezTo>
                  <a:cubicBezTo>
                    <a:pt x="195" y="14"/>
                    <a:pt x="196" y="14"/>
                    <a:pt x="196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6" y="14"/>
                    <a:pt x="195" y="14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4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4" y="15"/>
                    <a:pt x="194" y="15"/>
                    <a:pt x="193" y="15"/>
                  </a:cubicBezTo>
                  <a:cubicBezTo>
                    <a:pt x="193" y="15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2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1" y="16"/>
                  </a:cubicBezTo>
                  <a:cubicBezTo>
                    <a:pt x="192" y="16"/>
                    <a:pt x="191" y="16"/>
                    <a:pt x="190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7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8" y="17"/>
                    <a:pt x="188" y="17"/>
                    <a:pt x="187" y="17"/>
                  </a:cubicBezTo>
                  <a:cubicBezTo>
                    <a:pt x="187" y="17"/>
                    <a:pt x="187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6" y="17"/>
                    <a:pt x="187" y="17"/>
                    <a:pt x="186" y="17"/>
                  </a:cubicBezTo>
                  <a:cubicBezTo>
                    <a:pt x="186" y="17"/>
                    <a:pt x="186" y="17"/>
                    <a:pt x="187" y="17"/>
                  </a:cubicBezTo>
                  <a:cubicBezTo>
                    <a:pt x="186" y="17"/>
                    <a:pt x="186" y="17"/>
                    <a:pt x="185" y="18"/>
                  </a:cubicBezTo>
                  <a:cubicBezTo>
                    <a:pt x="185" y="17"/>
                    <a:pt x="186" y="17"/>
                    <a:pt x="186" y="17"/>
                  </a:cubicBezTo>
                  <a:cubicBezTo>
                    <a:pt x="186" y="17"/>
                    <a:pt x="185" y="17"/>
                    <a:pt x="185" y="17"/>
                  </a:cubicBezTo>
                  <a:cubicBezTo>
                    <a:pt x="185" y="17"/>
                    <a:pt x="185" y="17"/>
                    <a:pt x="185" y="17"/>
                  </a:cubicBezTo>
                  <a:cubicBezTo>
                    <a:pt x="184" y="17"/>
                    <a:pt x="185" y="17"/>
                    <a:pt x="185" y="17"/>
                  </a:cubicBezTo>
                  <a:cubicBezTo>
                    <a:pt x="184" y="17"/>
                    <a:pt x="184" y="18"/>
                    <a:pt x="183" y="17"/>
                  </a:cubicBezTo>
                  <a:cubicBezTo>
                    <a:pt x="183" y="18"/>
                    <a:pt x="182" y="18"/>
                    <a:pt x="183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82" y="17"/>
                    <a:pt x="181" y="18"/>
                    <a:pt x="181" y="18"/>
                  </a:cubicBezTo>
                  <a:cubicBezTo>
                    <a:pt x="181" y="18"/>
                    <a:pt x="181" y="18"/>
                    <a:pt x="181" y="17"/>
                  </a:cubicBezTo>
                  <a:cubicBezTo>
                    <a:pt x="183" y="17"/>
                    <a:pt x="186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7"/>
                    <a:pt x="187" y="16"/>
                  </a:cubicBezTo>
                  <a:cubicBezTo>
                    <a:pt x="187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90" y="16"/>
                  </a:cubicBezTo>
                  <a:cubicBezTo>
                    <a:pt x="190" y="16"/>
                    <a:pt x="190" y="15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3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3" y="15"/>
                    <a:pt x="194" y="14"/>
                    <a:pt x="194" y="15"/>
                  </a:cubicBezTo>
                  <a:cubicBezTo>
                    <a:pt x="194" y="14"/>
                    <a:pt x="193" y="14"/>
                    <a:pt x="193" y="15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5" y="13"/>
                    <a:pt x="193" y="14"/>
                    <a:pt x="193" y="13"/>
                  </a:cubicBezTo>
                  <a:cubicBezTo>
                    <a:pt x="193" y="14"/>
                    <a:pt x="193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1" y="14"/>
                  </a:cubicBezTo>
                  <a:cubicBezTo>
                    <a:pt x="192" y="13"/>
                    <a:pt x="193" y="14"/>
                    <a:pt x="193" y="13"/>
                  </a:cubicBezTo>
                  <a:cubicBezTo>
                    <a:pt x="193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2"/>
                    <a:pt x="195" y="12"/>
                  </a:cubicBezTo>
                  <a:cubicBezTo>
                    <a:pt x="196" y="12"/>
                    <a:pt x="196" y="13"/>
                    <a:pt x="196" y="12"/>
                  </a:cubicBezTo>
                  <a:cubicBezTo>
                    <a:pt x="196" y="12"/>
                    <a:pt x="196" y="12"/>
                    <a:pt x="196" y="12"/>
                  </a:cubicBezTo>
                  <a:cubicBezTo>
                    <a:pt x="196" y="12"/>
                    <a:pt x="196" y="12"/>
                    <a:pt x="197" y="12"/>
                  </a:cubicBezTo>
                  <a:cubicBezTo>
                    <a:pt x="197" y="12"/>
                    <a:pt x="196" y="12"/>
                    <a:pt x="196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6" y="12"/>
                    <a:pt x="195" y="12"/>
                  </a:cubicBezTo>
                  <a:cubicBezTo>
                    <a:pt x="195" y="12"/>
                    <a:pt x="195" y="12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2"/>
                  </a:cubicBezTo>
                  <a:cubicBezTo>
                    <a:pt x="195" y="12"/>
                    <a:pt x="194" y="13"/>
                    <a:pt x="194" y="12"/>
                  </a:cubicBezTo>
                  <a:cubicBezTo>
                    <a:pt x="194" y="12"/>
                    <a:pt x="193" y="13"/>
                    <a:pt x="193" y="13"/>
                  </a:cubicBezTo>
                  <a:cubicBezTo>
                    <a:pt x="193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6" y="12"/>
                    <a:pt x="196" y="12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7" y="11"/>
                    <a:pt x="196" y="11"/>
                  </a:cubicBezTo>
                  <a:cubicBezTo>
                    <a:pt x="196" y="11"/>
                    <a:pt x="196" y="11"/>
                    <a:pt x="197" y="11"/>
                  </a:cubicBezTo>
                  <a:cubicBezTo>
                    <a:pt x="196" y="11"/>
                    <a:pt x="196" y="12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7" y="11"/>
                  </a:cubicBezTo>
                  <a:cubicBezTo>
                    <a:pt x="197" y="11"/>
                    <a:pt x="198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ubicBezTo>
                    <a:pt x="199" y="10"/>
                    <a:pt x="198" y="11"/>
                    <a:pt x="199" y="10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9" y="10"/>
                    <a:pt x="199" y="10"/>
                    <a:pt x="200" y="10"/>
                  </a:cubicBezTo>
                  <a:cubicBezTo>
                    <a:pt x="200" y="10"/>
                    <a:pt x="200" y="10"/>
                    <a:pt x="201" y="10"/>
                  </a:cubicBezTo>
                  <a:cubicBezTo>
                    <a:pt x="201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1"/>
                  </a:cubicBezTo>
                  <a:cubicBezTo>
                    <a:pt x="200" y="11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1" y="10"/>
                    <a:pt x="200" y="10"/>
                    <a:pt x="201" y="10"/>
                  </a:cubicBezTo>
                  <a:cubicBezTo>
                    <a:pt x="201" y="10"/>
                    <a:pt x="201" y="10"/>
                    <a:pt x="202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2" y="9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3" y="10"/>
                    <a:pt x="202" y="9"/>
                  </a:cubicBezTo>
                  <a:cubicBezTo>
                    <a:pt x="203" y="9"/>
                    <a:pt x="203" y="9"/>
                    <a:pt x="204" y="9"/>
                  </a:cubicBezTo>
                  <a:cubicBezTo>
                    <a:pt x="204" y="9"/>
                    <a:pt x="203" y="9"/>
                    <a:pt x="204" y="9"/>
                  </a:cubicBezTo>
                  <a:cubicBezTo>
                    <a:pt x="204" y="9"/>
                    <a:pt x="205" y="9"/>
                    <a:pt x="205" y="9"/>
                  </a:cubicBezTo>
                  <a:cubicBezTo>
                    <a:pt x="205" y="9"/>
                    <a:pt x="205" y="9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7"/>
                  </a:cubicBezTo>
                  <a:cubicBezTo>
                    <a:pt x="206" y="8"/>
                    <a:pt x="206" y="8"/>
                    <a:pt x="205" y="8"/>
                  </a:cubicBezTo>
                  <a:cubicBezTo>
                    <a:pt x="205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4" y="8"/>
                  </a:cubicBezTo>
                  <a:cubicBezTo>
                    <a:pt x="204" y="8"/>
                    <a:pt x="203" y="8"/>
                    <a:pt x="203" y="8"/>
                  </a:cubicBezTo>
                  <a:cubicBezTo>
                    <a:pt x="203" y="8"/>
                    <a:pt x="204" y="7"/>
                    <a:pt x="204" y="7"/>
                  </a:cubicBezTo>
                  <a:cubicBezTo>
                    <a:pt x="204" y="8"/>
                    <a:pt x="204" y="7"/>
                    <a:pt x="204" y="8"/>
                  </a:cubicBezTo>
                  <a:cubicBezTo>
                    <a:pt x="204" y="8"/>
                    <a:pt x="204" y="7"/>
                    <a:pt x="204" y="7"/>
                  </a:cubicBezTo>
                  <a:cubicBezTo>
                    <a:pt x="204" y="7"/>
                    <a:pt x="204" y="7"/>
                    <a:pt x="204" y="8"/>
                  </a:cubicBezTo>
                  <a:cubicBezTo>
                    <a:pt x="204" y="8"/>
                    <a:pt x="204" y="7"/>
                    <a:pt x="20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06" y="7"/>
                    <a:pt x="207" y="7"/>
                  </a:cubicBezTo>
                  <a:cubicBezTo>
                    <a:pt x="207" y="7"/>
                    <a:pt x="206" y="7"/>
                    <a:pt x="207" y="7"/>
                  </a:cubicBezTo>
                  <a:cubicBezTo>
                    <a:pt x="207" y="7"/>
                    <a:pt x="207" y="7"/>
                    <a:pt x="207" y="7"/>
                  </a:cubicBezTo>
                  <a:cubicBezTo>
                    <a:pt x="207" y="6"/>
                    <a:pt x="207" y="7"/>
                    <a:pt x="207" y="7"/>
                  </a:cubicBezTo>
                  <a:cubicBezTo>
                    <a:pt x="207" y="7"/>
                    <a:pt x="207" y="6"/>
                    <a:pt x="208" y="6"/>
                  </a:cubicBezTo>
                  <a:cubicBezTo>
                    <a:pt x="207" y="6"/>
                    <a:pt x="207" y="7"/>
                    <a:pt x="207" y="6"/>
                  </a:cubicBez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8" y="6"/>
                  </a:cubicBezTo>
                  <a:cubicBezTo>
                    <a:pt x="208" y="6"/>
                    <a:pt x="208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10" y="5"/>
                    <a:pt x="210" y="5"/>
                    <a:pt x="211" y="5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11" y="5"/>
                    <a:pt x="211" y="5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3" y="4"/>
                    <a:pt x="213" y="4"/>
                  </a:cubicBezTo>
                  <a:cubicBezTo>
                    <a:pt x="213" y="4"/>
                    <a:pt x="212" y="4"/>
                    <a:pt x="212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4" y="4"/>
                  </a:cubicBezTo>
                  <a:cubicBezTo>
                    <a:pt x="214" y="4"/>
                    <a:pt x="215" y="3"/>
                    <a:pt x="216" y="4"/>
                  </a:cubicBezTo>
                  <a:cubicBezTo>
                    <a:pt x="216" y="4"/>
                    <a:pt x="217" y="4"/>
                    <a:pt x="217" y="4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3"/>
                    <a:pt x="217" y="4"/>
                    <a:pt x="217" y="4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8" y="4"/>
                    <a:pt x="219" y="3"/>
                  </a:cubicBezTo>
                  <a:cubicBezTo>
                    <a:pt x="219" y="3"/>
                    <a:pt x="218" y="3"/>
                    <a:pt x="218" y="3"/>
                  </a:cubicBezTo>
                  <a:cubicBezTo>
                    <a:pt x="219" y="3"/>
                    <a:pt x="219" y="3"/>
                    <a:pt x="219" y="3"/>
                  </a:cubicBezTo>
                  <a:cubicBezTo>
                    <a:pt x="219" y="3"/>
                    <a:pt x="220" y="3"/>
                    <a:pt x="220" y="3"/>
                  </a:cubicBezTo>
                  <a:cubicBezTo>
                    <a:pt x="220" y="3"/>
                    <a:pt x="220" y="3"/>
                    <a:pt x="220" y="4"/>
                  </a:cubicBezTo>
                  <a:cubicBezTo>
                    <a:pt x="221" y="4"/>
                    <a:pt x="222" y="4"/>
                    <a:pt x="222" y="3"/>
                  </a:cubicBezTo>
                  <a:cubicBezTo>
                    <a:pt x="222" y="4"/>
                    <a:pt x="222" y="3"/>
                    <a:pt x="223" y="4"/>
                  </a:cubicBezTo>
                  <a:cubicBezTo>
                    <a:pt x="223" y="3"/>
                    <a:pt x="223" y="3"/>
                    <a:pt x="223" y="3"/>
                  </a:cubicBezTo>
                  <a:cubicBezTo>
                    <a:pt x="222" y="3"/>
                    <a:pt x="222" y="3"/>
                    <a:pt x="221" y="3"/>
                  </a:cubicBezTo>
                  <a:cubicBezTo>
                    <a:pt x="221" y="3"/>
                    <a:pt x="221" y="4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2" y="3"/>
                    <a:pt x="221" y="3"/>
                    <a:pt x="222" y="3"/>
                  </a:cubicBezTo>
                  <a:cubicBezTo>
                    <a:pt x="221" y="3"/>
                    <a:pt x="222" y="3"/>
                    <a:pt x="222" y="3"/>
                  </a:cubicBezTo>
                  <a:cubicBezTo>
                    <a:pt x="223" y="3"/>
                    <a:pt x="223" y="3"/>
                    <a:pt x="224" y="3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3" y="3"/>
                    <a:pt x="224" y="2"/>
                  </a:cubicBezTo>
                  <a:cubicBezTo>
                    <a:pt x="224" y="2"/>
                    <a:pt x="225" y="2"/>
                    <a:pt x="225" y="2"/>
                  </a:cubicBezTo>
                  <a:cubicBezTo>
                    <a:pt x="226" y="2"/>
                    <a:pt x="228" y="2"/>
                    <a:pt x="228" y="2"/>
                  </a:cubicBezTo>
                  <a:cubicBezTo>
                    <a:pt x="229" y="2"/>
                    <a:pt x="228" y="2"/>
                    <a:pt x="229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28" y="1"/>
                    <a:pt x="229" y="1"/>
                    <a:pt x="229" y="1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9" y="1"/>
                    <a:pt x="230" y="1"/>
                    <a:pt x="230" y="1"/>
                  </a:cubicBezTo>
                  <a:cubicBezTo>
                    <a:pt x="230" y="1"/>
                    <a:pt x="230" y="1"/>
                    <a:pt x="230" y="1"/>
                  </a:cubicBezTo>
                  <a:cubicBezTo>
                    <a:pt x="229" y="1"/>
                    <a:pt x="230" y="1"/>
                    <a:pt x="230" y="2"/>
                  </a:cubicBezTo>
                  <a:cubicBezTo>
                    <a:pt x="230" y="1"/>
                    <a:pt x="231" y="2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0"/>
                    <a:pt x="232" y="0"/>
                    <a:pt x="232" y="1"/>
                  </a:cubicBezTo>
                  <a:cubicBezTo>
                    <a:pt x="232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0"/>
                    <a:pt x="233" y="0"/>
                  </a:cubicBezTo>
                  <a:cubicBezTo>
                    <a:pt x="233" y="0"/>
                    <a:pt x="233" y="0"/>
                    <a:pt x="234" y="0"/>
                  </a:cubicBezTo>
                  <a:cubicBezTo>
                    <a:pt x="233" y="1"/>
                    <a:pt x="234" y="0"/>
                    <a:pt x="234" y="0"/>
                  </a:cubicBezTo>
                  <a:cubicBezTo>
                    <a:pt x="234" y="1"/>
                    <a:pt x="234" y="0"/>
                    <a:pt x="23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5" y="0"/>
                    <a:pt x="236" y="0"/>
                    <a:pt x="237" y="0"/>
                  </a:cubicBezTo>
                  <a:cubicBezTo>
                    <a:pt x="237" y="0"/>
                    <a:pt x="238" y="0"/>
                    <a:pt x="238" y="0"/>
                  </a:cubicBezTo>
                  <a:cubicBezTo>
                    <a:pt x="238" y="0"/>
                    <a:pt x="238" y="0"/>
                    <a:pt x="239" y="0"/>
                  </a:cubicBezTo>
                  <a:cubicBezTo>
                    <a:pt x="240" y="0"/>
                    <a:pt x="241" y="0"/>
                    <a:pt x="242" y="0"/>
                  </a:cubicBezTo>
                  <a:cubicBezTo>
                    <a:pt x="242" y="0"/>
                    <a:pt x="242" y="0"/>
                    <a:pt x="243" y="0"/>
                  </a:cubicBezTo>
                  <a:cubicBezTo>
                    <a:pt x="245" y="0"/>
                    <a:pt x="247" y="0"/>
                    <a:pt x="248" y="2"/>
                  </a:cubicBezTo>
                  <a:cubicBezTo>
                    <a:pt x="248" y="2"/>
                    <a:pt x="248" y="2"/>
                    <a:pt x="249" y="2"/>
                  </a:cubicBezTo>
                  <a:cubicBezTo>
                    <a:pt x="249" y="2"/>
                    <a:pt x="249" y="2"/>
                    <a:pt x="249" y="2"/>
                  </a:cubicBezTo>
                  <a:cubicBezTo>
                    <a:pt x="250" y="2"/>
                    <a:pt x="250" y="2"/>
                    <a:pt x="250" y="3"/>
                  </a:cubicBezTo>
                  <a:cubicBezTo>
                    <a:pt x="250" y="3"/>
                    <a:pt x="250" y="4"/>
                    <a:pt x="250" y="4"/>
                  </a:cubicBezTo>
                  <a:cubicBezTo>
                    <a:pt x="250" y="4"/>
                    <a:pt x="250" y="5"/>
                    <a:pt x="250" y="5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51" y="5"/>
                    <a:pt x="249" y="6"/>
                    <a:pt x="249" y="7"/>
                  </a:cubicBezTo>
                  <a:cubicBezTo>
                    <a:pt x="249" y="7"/>
                    <a:pt x="249" y="7"/>
                    <a:pt x="248" y="7"/>
                  </a:cubicBezTo>
                  <a:cubicBezTo>
                    <a:pt x="248" y="8"/>
                    <a:pt x="246" y="9"/>
                    <a:pt x="245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6" y="10"/>
                    <a:pt x="246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2" y="12"/>
                    <a:pt x="242" y="13"/>
                    <a:pt x="239" y="13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8" y="14"/>
                    <a:pt x="237" y="14"/>
                    <a:pt x="236" y="15"/>
                  </a:cubicBezTo>
                  <a:cubicBezTo>
                    <a:pt x="236" y="15"/>
                    <a:pt x="235" y="15"/>
                    <a:pt x="234" y="15"/>
                  </a:cubicBezTo>
                  <a:cubicBezTo>
                    <a:pt x="233" y="15"/>
                    <a:pt x="233" y="15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0" y="16"/>
                    <a:pt x="228" y="17"/>
                    <a:pt x="226" y="17"/>
                  </a:cubicBezTo>
                  <a:cubicBezTo>
                    <a:pt x="226" y="17"/>
                    <a:pt x="226" y="17"/>
                    <a:pt x="226" y="17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5"/>
                    <a:pt x="209" y="6"/>
                  </a:cubicBezTo>
                  <a:cubicBezTo>
                    <a:pt x="209" y="6"/>
                    <a:pt x="210" y="6"/>
                    <a:pt x="210" y="6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6"/>
                    <a:pt x="210" y="6"/>
                  </a:cubicBezTo>
                  <a:cubicBezTo>
                    <a:pt x="210" y="6"/>
                    <a:pt x="210" y="6"/>
                    <a:pt x="210" y="6"/>
                  </a:cubicBezTo>
                  <a:close/>
                  <a:moveTo>
                    <a:pt x="204" y="8"/>
                  </a:move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lose/>
                  <a:moveTo>
                    <a:pt x="209" y="7"/>
                  </a:move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lose/>
                  <a:moveTo>
                    <a:pt x="207" y="7"/>
                  </a:moveTo>
                  <a:cubicBezTo>
                    <a:pt x="208" y="7"/>
                    <a:pt x="208" y="7"/>
                    <a:pt x="207" y="8"/>
                  </a:cubicBezTo>
                  <a:cubicBezTo>
                    <a:pt x="208" y="8"/>
                    <a:pt x="208" y="7"/>
                    <a:pt x="208" y="7"/>
                  </a:cubicBezTo>
                  <a:cubicBezTo>
                    <a:pt x="208" y="7"/>
                    <a:pt x="208" y="7"/>
                    <a:pt x="208" y="7"/>
                  </a:cubicBezTo>
                  <a:cubicBezTo>
                    <a:pt x="208" y="7"/>
                    <a:pt x="207" y="7"/>
                    <a:pt x="207" y="7"/>
                  </a:cubicBezTo>
                  <a:cubicBezTo>
                    <a:pt x="208" y="7"/>
                    <a:pt x="207" y="7"/>
                    <a:pt x="207" y="7"/>
                  </a:cubicBezTo>
                  <a:close/>
                  <a:moveTo>
                    <a:pt x="207" y="8"/>
                  </a:moveTo>
                  <a:cubicBezTo>
                    <a:pt x="207" y="8"/>
                    <a:pt x="208" y="7"/>
                    <a:pt x="207" y="7"/>
                  </a:cubicBezTo>
                  <a:cubicBezTo>
                    <a:pt x="207" y="8"/>
                    <a:pt x="206" y="8"/>
                    <a:pt x="207" y="8"/>
                  </a:cubicBezTo>
                  <a:close/>
                  <a:moveTo>
                    <a:pt x="206" y="8"/>
                  </a:move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lose/>
                  <a:moveTo>
                    <a:pt x="208" y="8"/>
                  </a:moveTo>
                  <a:cubicBezTo>
                    <a:pt x="209" y="8"/>
                    <a:pt x="209" y="8"/>
                    <a:pt x="209" y="8"/>
                  </a:cubicBezTo>
                  <a:cubicBezTo>
                    <a:pt x="209" y="7"/>
                    <a:pt x="209" y="8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8" y="7"/>
                    <a:pt x="209" y="7"/>
                    <a:pt x="208" y="8"/>
                  </a:cubicBezTo>
                  <a:close/>
                  <a:moveTo>
                    <a:pt x="20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9"/>
                  </a:cubicBezTo>
                  <a:close/>
                  <a:moveTo>
                    <a:pt x="208" y="8"/>
                  </a:move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lose/>
                  <a:moveTo>
                    <a:pt x="204" y="9"/>
                  </a:move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5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lose/>
                  <a:moveTo>
                    <a:pt x="203" y="10"/>
                  </a:moveTo>
                  <a:cubicBezTo>
                    <a:pt x="203" y="10"/>
                    <a:pt x="203" y="9"/>
                    <a:pt x="202" y="10"/>
                  </a:cubicBezTo>
                  <a:cubicBezTo>
                    <a:pt x="203" y="10"/>
                    <a:pt x="203" y="10"/>
                    <a:pt x="203" y="10"/>
                  </a:cubicBezTo>
                  <a:close/>
                  <a:moveTo>
                    <a:pt x="201" y="10"/>
                  </a:move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lose/>
                  <a:moveTo>
                    <a:pt x="199" y="11"/>
                  </a:moveTo>
                  <a:cubicBezTo>
                    <a:pt x="199" y="11"/>
                    <a:pt x="199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lose/>
                  <a:moveTo>
                    <a:pt x="201" y="11"/>
                  </a:move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1" y="11"/>
                  </a:moveTo>
                  <a:cubicBezTo>
                    <a:pt x="202" y="11"/>
                    <a:pt x="201" y="11"/>
                    <a:pt x="201" y="11"/>
                  </a:cubicBez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1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200" y="11"/>
                    <a:pt x="200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199" y="11"/>
                    <a:pt x="199" y="11"/>
                  </a:cubicBezTo>
                  <a:cubicBezTo>
                    <a:pt x="199" y="11"/>
                    <a:pt x="200" y="11"/>
                    <a:pt x="200" y="11"/>
                  </a:cubicBezTo>
                  <a:cubicBezTo>
                    <a:pt x="200" y="11"/>
                    <a:pt x="199" y="12"/>
                    <a:pt x="199" y="12"/>
                  </a:cubicBezTo>
                  <a:cubicBezTo>
                    <a:pt x="200" y="12"/>
                    <a:pt x="200" y="11"/>
                    <a:pt x="200" y="11"/>
                  </a:cubicBezTo>
                  <a:close/>
                  <a:moveTo>
                    <a:pt x="198" y="12"/>
                  </a:moveTo>
                  <a:cubicBezTo>
                    <a:pt x="198" y="12"/>
                    <a:pt x="198" y="12"/>
                    <a:pt x="199" y="12"/>
                  </a:cubicBezTo>
                  <a:cubicBezTo>
                    <a:pt x="198" y="12"/>
                    <a:pt x="198" y="12"/>
                    <a:pt x="198" y="12"/>
                  </a:cubicBezTo>
                  <a:cubicBezTo>
                    <a:pt x="198" y="12"/>
                    <a:pt x="198" y="12"/>
                    <a:pt x="198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5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lose/>
                  <a:moveTo>
                    <a:pt x="195" y="14"/>
                  </a:moveTo>
                  <a:cubicBezTo>
                    <a:pt x="195" y="14"/>
                    <a:pt x="195" y="14"/>
                    <a:pt x="196" y="14"/>
                  </a:cubicBezTo>
                  <a:cubicBezTo>
                    <a:pt x="195" y="14"/>
                    <a:pt x="195" y="13"/>
                    <a:pt x="195" y="13"/>
                  </a:cubicBezTo>
                  <a:cubicBezTo>
                    <a:pt x="195" y="14"/>
                    <a:pt x="195" y="13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lose/>
                  <a:moveTo>
                    <a:pt x="191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5"/>
                    <a:pt x="191" y="15"/>
                  </a:cubicBezTo>
                  <a:cubicBezTo>
                    <a:pt x="191" y="16"/>
                    <a:pt x="191" y="15"/>
                    <a:pt x="191" y="16"/>
                  </a:cubicBezTo>
                  <a:close/>
                  <a:moveTo>
                    <a:pt x="190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0" y="16"/>
                    <a:pt x="190" y="16"/>
                  </a:cubicBezTo>
                  <a:close/>
                  <a:moveTo>
                    <a:pt x="188" y="16"/>
                  </a:move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7"/>
                    <a:pt x="188" y="16"/>
                  </a:cubicBezTo>
                  <a:close/>
                  <a:moveTo>
                    <a:pt x="192" y="15"/>
                  </a:moveTo>
                  <a:cubicBezTo>
                    <a:pt x="192" y="15"/>
                    <a:pt x="192" y="16"/>
                    <a:pt x="193" y="16"/>
                  </a:cubicBezTo>
                  <a:cubicBezTo>
                    <a:pt x="193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9" y="13"/>
                  </a:moveTo>
                  <a:cubicBezTo>
                    <a:pt x="199" y="13"/>
                    <a:pt x="198" y="14"/>
                    <a:pt x="198" y="14"/>
                  </a:cubicBezTo>
                  <a:cubicBezTo>
                    <a:pt x="198" y="14"/>
                    <a:pt x="199" y="14"/>
                    <a:pt x="199" y="13"/>
                  </a:cubicBezTo>
                  <a:close/>
                  <a:moveTo>
                    <a:pt x="215" y="10"/>
                  </a:moveTo>
                  <a:cubicBezTo>
                    <a:pt x="214" y="10"/>
                    <a:pt x="214" y="10"/>
                    <a:pt x="214" y="11"/>
                  </a:cubicBezTo>
                  <a:cubicBezTo>
                    <a:pt x="214" y="10"/>
                    <a:pt x="215" y="10"/>
                    <a:pt x="215" y="10"/>
                  </a:cubicBezTo>
                  <a:close/>
                  <a:moveTo>
                    <a:pt x="200" y="15"/>
                  </a:moveTo>
                  <a:cubicBezTo>
                    <a:pt x="200" y="15"/>
                    <a:pt x="201" y="15"/>
                    <a:pt x="200" y="15"/>
                  </a:cubicBezTo>
                  <a:cubicBezTo>
                    <a:pt x="200" y="15"/>
                    <a:pt x="201" y="15"/>
                    <a:pt x="201" y="15"/>
                  </a:cubicBezTo>
                  <a:cubicBezTo>
                    <a:pt x="200" y="14"/>
                    <a:pt x="201" y="15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lose/>
                  <a:moveTo>
                    <a:pt x="201" y="14"/>
                  </a:moveTo>
                  <a:cubicBezTo>
                    <a:pt x="202" y="14"/>
                    <a:pt x="201" y="14"/>
                    <a:pt x="201" y="15"/>
                  </a:cubicBezTo>
                  <a:cubicBezTo>
                    <a:pt x="201" y="14"/>
                    <a:pt x="202" y="15"/>
                    <a:pt x="202" y="14"/>
                  </a:cubicBezTo>
                  <a:cubicBezTo>
                    <a:pt x="201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lose/>
                  <a:moveTo>
                    <a:pt x="200" y="14"/>
                  </a:moveTo>
                  <a:cubicBezTo>
                    <a:pt x="200" y="14"/>
                    <a:pt x="200" y="14"/>
                    <a:pt x="199" y="15"/>
                  </a:cubicBezTo>
                  <a:cubicBezTo>
                    <a:pt x="199" y="15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1" y="14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lose/>
                  <a:moveTo>
                    <a:pt x="199" y="14"/>
                  </a:moveTo>
                  <a:cubicBezTo>
                    <a:pt x="199" y="14"/>
                    <a:pt x="199" y="14"/>
                    <a:pt x="199" y="1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4"/>
                    <a:pt x="199" y="14"/>
                  </a:cubicBezTo>
                  <a:close/>
                  <a:moveTo>
                    <a:pt x="203" y="13"/>
                  </a:move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4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lose/>
                  <a:moveTo>
                    <a:pt x="198" y="15"/>
                  </a:moveTo>
                  <a:cubicBezTo>
                    <a:pt x="198" y="15"/>
                    <a:pt x="198" y="15"/>
                    <a:pt x="199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4"/>
                    <a:pt x="199" y="14"/>
                    <a:pt x="199" y="14"/>
                  </a:cubicBezTo>
                  <a:cubicBezTo>
                    <a:pt x="198" y="14"/>
                    <a:pt x="198" y="14"/>
                    <a:pt x="198" y="15"/>
                  </a:cubicBezTo>
                  <a:cubicBezTo>
                    <a:pt x="198" y="14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8" y="15"/>
                    <a:pt x="198" y="15"/>
                  </a:cubicBezTo>
                  <a:cubicBezTo>
                    <a:pt x="198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198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199" y="15"/>
                    <a:pt x="200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00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6"/>
                    <a:pt x="200" y="16"/>
                  </a:cubicBezTo>
                  <a:cubicBezTo>
                    <a:pt x="200" y="16"/>
                    <a:pt x="200" y="15"/>
                    <a:pt x="200" y="15"/>
                  </a:cubicBezTo>
                  <a:close/>
                  <a:moveTo>
                    <a:pt x="203" y="15"/>
                  </a:moveTo>
                  <a:cubicBezTo>
                    <a:pt x="204" y="14"/>
                    <a:pt x="204" y="15"/>
                    <a:pt x="204" y="14"/>
                  </a:cubicBezTo>
                  <a:cubicBezTo>
                    <a:pt x="204" y="14"/>
                    <a:pt x="204" y="14"/>
                    <a:pt x="204" y="14"/>
                  </a:cubicBezTo>
                  <a:cubicBezTo>
                    <a:pt x="204" y="15"/>
                    <a:pt x="203" y="15"/>
                    <a:pt x="203" y="15"/>
                  </a:cubicBezTo>
                  <a:close/>
                  <a:moveTo>
                    <a:pt x="197" y="16"/>
                  </a:moveTo>
                  <a:cubicBezTo>
                    <a:pt x="198" y="16"/>
                    <a:pt x="197" y="16"/>
                    <a:pt x="197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7" y="16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4" y="17"/>
                  </a:cubicBezTo>
                  <a:cubicBezTo>
                    <a:pt x="194" y="17"/>
                    <a:pt x="195" y="17"/>
                    <a:pt x="195" y="17"/>
                  </a:cubicBezTo>
                  <a:close/>
                  <a:moveTo>
                    <a:pt x="194" y="17"/>
                  </a:move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lose/>
                  <a:moveTo>
                    <a:pt x="196" y="17"/>
                  </a:moveTo>
                  <a:cubicBezTo>
                    <a:pt x="196" y="17"/>
                    <a:pt x="196" y="17"/>
                    <a:pt x="196" y="16"/>
                  </a:cubicBezTo>
                  <a:cubicBezTo>
                    <a:pt x="196" y="16"/>
                    <a:pt x="196" y="17"/>
                    <a:pt x="196" y="17"/>
                  </a:cubicBezTo>
                  <a:close/>
                  <a:moveTo>
                    <a:pt x="173" y="23"/>
                  </a:moveTo>
                  <a:cubicBezTo>
                    <a:pt x="173" y="23"/>
                    <a:pt x="174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lose/>
                  <a:moveTo>
                    <a:pt x="178" y="22"/>
                  </a:move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7" y="22"/>
                    <a:pt x="178" y="22"/>
                  </a:cubicBezTo>
                  <a:close/>
                  <a:moveTo>
                    <a:pt x="180" y="21"/>
                  </a:moveTo>
                  <a:cubicBezTo>
                    <a:pt x="181" y="21"/>
                    <a:pt x="181" y="20"/>
                    <a:pt x="181" y="20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lose/>
                  <a:moveTo>
                    <a:pt x="189" y="18"/>
                  </a:move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90" y="18"/>
                    <a:pt x="189" y="18"/>
                  </a:cubicBezTo>
                  <a:close/>
                  <a:moveTo>
                    <a:pt x="187" y="19"/>
                  </a:moveTo>
                  <a:cubicBezTo>
                    <a:pt x="187" y="19"/>
                    <a:pt x="186" y="19"/>
                    <a:pt x="186" y="19"/>
                  </a:cubicBezTo>
                  <a:cubicBezTo>
                    <a:pt x="186" y="20"/>
                    <a:pt x="187" y="19"/>
                    <a:pt x="187" y="19"/>
                  </a:cubicBezTo>
                  <a:close/>
                  <a:moveTo>
                    <a:pt x="186" y="20"/>
                  </a:move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0"/>
                    <a:pt x="185" y="20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6" y="20"/>
                    <a:pt x="186" y="20"/>
                    <a:pt x="186" y="20"/>
                  </a:cubicBezTo>
                  <a:close/>
                  <a:moveTo>
                    <a:pt x="187" y="20"/>
                  </a:move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9" y="19"/>
                    <a:pt x="188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7" y="19"/>
                    <a:pt x="187" y="19"/>
                  </a:cubicBezTo>
                  <a:cubicBezTo>
                    <a:pt x="187" y="20"/>
                    <a:pt x="187" y="20"/>
                    <a:pt x="187" y="20"/>
                  </a:cubicBezTo>
                  <a:close/>
                  <a:moveTo>
                    <a:pt x="192" y="19"/>
                  </a:move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2" y="19"/>
                    <a:pt x="192" y="19"/>
                  </a:cubicBezTo>
                  <a:close/>
                  <a:moveTo>
                    <a:pt x="193" y="19"/>
                  </a:moveTo>
                  <a:cubicBezTo>
                    <a:pt x="193" y="19"/>
                    <a:pt x="193" y="19"/>
                    <a:pt x="193" y="19"/>
                  </a:cubicBezTo>
                  <a:cubicBezTo>
                    <a:pt x="193" y="19"/>
                    <a:pt x="193" y="19"/>
                    <a:pt x="193" y="19"/>
                  </a:cubicBezTo>
                  <a:close/>
                  <a:moveTo>
                    <a:pt x="191" y="20"/>
                  </a:move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0" y="20"/>
                  </a:cubicBezTo>
                  <a:cubicBezTo>
                    <a:pt x="190" y="20"/>
                    <a:pt x="191" y="20"/>
                    <a:pt x="191" y="20"/>
                  </a:cubicBezTo>
                  <a:close/>
                  <a:moveTo>
                    <a:pt x="204" y="18"/>
                  </a:moveTo>
                  <a:cubicBezTo>
                    <a:pt x="204" y="18"/>
                    <a:pt x="204" y="18"/>
                    <a:pt x="204" y="18"/>
                  </a:cubicBezTo>
                  <a:cubicBezTo>
                    <a:pt x="204" y="18"/>
                    <a:pt x="204" y="18"/>
                    <a:pt x="204" y="18"/>
                  </a:cubicBezTo>
                  <a:close/>
                  <a:moveTo>
                    <a:pt x="200" y="19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8" y="19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8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202" y="18"/>
                  </a:move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3" y="18"/>
                    <a:pt x="203" y="18"/>
                  </a:cubicBezTo>
                  <a:cubicBezTo>
                    <a:pt x="203" y="18"/>
                    <a:pt x="202" y="18"/>
                    <a:pt x="202" y="18"/>
                  </a:cubicBezTo>
                  <a:close/>
                  <a:moveTo>
                    <a:pt x="201" y="18"/>
                  </a:moveTo>
                  <a:cubicBezTo>
                    <a:pt x="201" y="18"/>
                    <a:pt x="201" y="19"/>
                    <a:pt x="201" y="19"/>
                  </a:cubicBezTo>
                  <a:cubicBezTo>
                    <a:pt x="202" y="18"/>
                    <a:pt x="201" y="18"/>
                    <a:pt x="201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1" y="18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8"/>
                    <a:pt x="201" y="18"/>
                    <a:pt x="200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8"/>
                    <a:pt x="200" y="18"/>
                  </a:cubicBezTo>
                  <a:close/>
                  <a:moveTo>
                    <a:pt x="194" y="20"/>
                  </a:moveTo>
                  <a:cubicBezTo>
                    <a:pt x="194" y="20"/>
                    <a:pt x="195" y="20"/>
                    <a:pt x="195" y="20"/>
                  </a:cubicBezTo>
                  <a:cubicBezTo>
                    <a:pt x="195" y="20"/>
                    <a:pt x="194" y="20"/>
                    <a:pt x="194" y="20"/>
                  </a:cubicBezTo>
                  <a:close/>
                  <a:moveTo>
                    <a:pt x="191" y="20"/>
                  </a:moveTo>
                  <a:cubicBezTo>
                    <a:pt x="191" y="21"/>
                    <a:pt x="193" y="20"/>
                    <a:pt x="193" y="20"/>
                  </a:cubicBezTo>
                  <a:cubicBezTo>
                    <a:pt x="192" y="20"/>
                    <a:pt x="192" y="20"/>
                    <a:pt x="191" y="20"/>
                  </a:cubicBezTo>
                  <a:close/>
                  <a:moveTo>
                    <a:pt x="191" y="20"/>
                  </a:moveTo>
                  <a:cubicBezTo>
                    <a:pt x="191" y="20"/>
                    <a:pt x="192" y="20"/>
                    <a:pt x="192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lose/>
                  <a:moveTo>
                    <a:pt x="190" y="21"/>
                  </a:moveTo>
                  <a:cubicBezTo>
                    <a:pt x="191" y="21"/>
                    <a:pt x="190" y="21"/>
                    <a:pt x="190" y="21"/>
                  </a:cubicBezTo>
                  <a:cubicBezTo>
                    <a:pt x="190" y="21"/>
                    <a:pt x="190" y="21"/>
                    <a:pt x="190" y="21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198" y="19"/>
                  </a:moveTo>
                  <a:cubicBezTo>
                    <a:pt x="198" y="19"/>
                    <a:pt x="198" y="19"/>
                    <a:pt x="199" y="19"/>
                  </a:cubicBezTo>
                  <a:cubicBezTo>
                    <a:pt x="198" y="19"/>
                    <a:pt x="198" y="19"/>
                    <a:pt x="198" y="19"/>
                  </a:cubicBezTo>
                  <a:close/>
                  <a:moveTo>
                    <a:pt x="195" y="20"/>
                  </a:moveTo>
                  <a:cubicBezTo>
                    <a:pt x="195" y="20"/>
                    <a:pt x="195" y="20"/>
                    <a:pt x="195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5" y="20"/>
                  </a:cubicBezTo>
                  <a:close/>
                  <a:moveTo>
                    <a:pt x="196" y="20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205" y="18"/>
                  </a:moveTo>
                  <a:cubicBezTo>
                    <a:pt x="205" y="18"/>
                    <a:pt x="205" y="18"/>
                    <a:pt x="205" y="18"/>
                  </a:cubicBezTo>
                  <a:cubicBezTo>
                    <a:pt x="205" y="18"/>
                    <a:pt x="205" y="18"/>
                    <a:pt x="205" y="18"/>
                  </a:cubicBezTo>
                  <a:close/>
                  <a:moveTo>
                    <a:pt x="203" y="18"/>
                  </a:moveTo>
                  <a:cubicBezTo>
                    <a:pt x="203" y="19"/>
                    <a:pt x="203" y="19"/>
                    <a:pt x="203" y="19"/>
                  </a:cubicBezTo>
                  <a:cubicBezTo>
                    <a:pt x="204" y="19"/>
                    <a:pt x="204" y="18"/>
                    <a:pt x="204" y="18"/>
                  </a:cubicBezTo>
                  <a:lnTo>
                    <a:pt x="203" y="18"/>
                  </a:lnTo>
                  <a:close/>
                  <a:moveTo>
                    <a:pt x="202" y="19"/>
                  </a:moveTo>
                  <a:cubicBezTo>
                    <a:pt x="202" y="19"/>
                    <a:pt x="201" y="19"/>
                    <a:pt x="201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2" y="19"/>
                    <a:pt x="202" y="19"/>
                  </a:cubicBezTo>
                  <a:close/>
                  <a:moveTo>
                    <a:pt x="177" y="24"/>
                  </a:moveTo>
                  <a:cubicBezTo>
                    <a:pt x="177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7" y="24"/>
                    <a:pt x="177" y="24"/>
                    <a:pt x="176" y="24"/>
                  </a:cubicBezTo>
                  <a:cubicBezTo>
                    <a:pt x="177" y="24"/>
                    <a:pt x="177" y="24"/>
                    <a:pt x="177" y="24"/>
                  </a:cubicBezTo>
                  <a:close/>
                  <a:moveTo>
                    <a:pt x="184" y="23"/>
                  </a:move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lose/>
                  <a:moveTo>
                    <a:pt x="183" y="24"/>
                  </a:moveTo>
                  <a:cubicBezTo>
                    <a:pt x="183" y="24"/>
                    <a:pt x="183" y="23"/>
                    <a:pt x="183" y="23"/>
                  </a:cubicBezTo>
                  <a:cubicBezTo>
                    <a:pt x="183" y="23"/>
                    <a:pt x="183" y="23"/>
                    <a:pt x="183" y="24"/>
                  </a:cubicBezTo>
                  <a:close/>
                  <a:moveTo>
                    <a:pt x="184" y="24"/>
                  </a:move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4" y="24"/>
                    <a:pt x="184" y="24"/>
                  </a:cubicBezTo>
                  <a:cubicBezTo>
                    <a:pt x="185" y="24"/>
                    <a:pt x="185" y="24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4" y="24"/>
                    <a:pt x="184" y="23"/>
                  </a:cubicBezTo>
                  <a:cubicBezTo>
                    <a:pt x="184" y="23"/>
                    <a:pt x="184" y="24"/>
                    <a:pt x="184" y="24"/>
                  </a:cubicBezTo>
                  <a:close/>
                  <a:moveTo>
                    <a:pt x="185" y="23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lose/>
                  <a:moveTo>
                    <a:pt x="197" y="20"/>
                  </a:moveTo>
                  <a:cubicBezTo>
                    <a:pt x="197" y="21"/>
                    <a:pt x="198" y="20"/>
                    <a:pt x="198" y="20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7" y="21"/>
                    <a:pt x="198" y="20"/>
                    <a:pt x="198" y="20"/>
                  </a:cubicBezTo>
                  <a:cubicBezTo>
                    <a:pt x="198" y="20"/>
                    <a:pt x="198" y="20"/>
                    <a:pt x="197" y="20"/>
                  </a:cubicBezTo>
                  <a:close/>
                  <a:moveTo>
                    <a:pt x="197" y="20"/>
                  </a:moveTo>
                  <a:cubicBezTo>
                    <a:pt x="197" y="21"/>
                    <a:pt x="196" y="21"/>
                    <a:pt x="196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0"/>
                    <a:pt x="197" y="21"/>
                    <a:pt x="197" y="20"/>
                  </a:cubicBezTo>
                  <a:cubicBezTo>
                    <a:pt x="197" y="20"/>
                    <a:pt x="197" y="20"/>
                    <a:pt x="197" y="20"/>
                  </a:cubicBezTo>
                  <a:close/>
                  <a:moveTo>
                    <a:pt x="195" y="21"/>
                  </a:moveTo>
                  <a:cubicBezTo>
                    <a:pt x="195" y="21"/>
                    <a:pt x="195" y="21"/>
                    <a:pt x="195" y="21"/>
                  </a:cubicBezTo>
                  <a:cubicBezTo>
                    <a:pt x="195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5" y="21"/>
                  </a:cubicBezTo>
                  <a:close/>
                  <a:moveTo>
                    <a:pt x="194" y="21"/>
                  </a:moveTo>
                  <a:cubicBezTo>
                    <a:pt x="194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4" y="21"/>
                  </a:cubicBezTo>
                  <a:close/>
                  <a:moveTo>
                    <a:pt x="197" y="21"/>
                  </a:moveTo>
                  <a:cubicBezTo>
                    <a:pt x="197" y="21"/>
                    <a:pt x="197" y="21"/>
                    <a:pt x="197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5" y="21"/>
                    <a:pt x="195" y="21"/>
                  </a:cubicBezTo>
                  <a:cubicBezTo>
                    <a:pt x="195" y="21"/>
                    <a:pt x="197" y="21"/>
                    <a:pt x="197" y="21"/>
                  </a:cubicBezTo>
                  <a:close/>
                  <a:moveTo>
                    <a:pt x="195" y="21"/>
                  </a:moveTo>
                  <a:cubicBezTo>
                    <a:pt x="194" y="21"/>
                    <a:pt x="195" y="21"/>
                    <a:pt x="195" y="21"/>
                  </a:cubicBezTo>
                  <a:cubicBezTo>
                    <a:pt x="195" y="21"/>
                    <a:pt x="195" y="21"/>
                    <a:pt x="194" y="21"/>
                  </a:cubicBezTo>
                  <a:cubicBezTo>
                    <a:pt x="194" y="21"/>
                    <a:pt x="194" y="22"/>
                    <a:pt x="194" y="22"/>
                  </a:cubicBezTo>
                  <a:cubicBezTo>
                    <a:pt x="194" y="21"/>
                    <a:pt x="195" y="22"/>
                    <a:pt x="195" y="21"/>
                  </a:cubicBezTo>
                  <a:close/>
                  <a:moveTo>
                    <a:pt x="199" y="20"/>
                  </a:moveTo>
                  <a:cubicBezTo>
                    <a:pt x="199" y="20"/>
                    <a:pt x="199" y="20"/>
                    <a:pt x="199" y="20"/>
                  </a:cubicBezTo>
                  <a:cubicBezTo>
                    <a:pt x="199" y="21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199" y="20"/>
                    <a:pt x="199" y="20"/>
                  </a:cubicBezTo>
                  <a:cubicBezTo>
                    <a:pt x="199" y="20"/>
                    <a:pt x="200" y="20"/>
                    <a:pt x="200" y="20"/>
                  </a:cubicBezTo>
                  <a:cubicBezTo>
                    <a:pt x="199" y="20"/>
                    <a:pt x="199" y="20"/>
                    <a:pt x="198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9" y="21"/>
                    <a:pt x="199" y="20"/>
                    <a:pt x="199" y="20"/>
                  </a:cubicBezTo>
                  <a:close/>
                  <a:moveTo>
                    <a:pt x="196" y="21"/>
                  </a:moveTo>
                  <a:cubicBezTo>
                    <a:pt x="195" y="21"/>
                    <a:pt x="195" y="21"/>
                    <a:pt x="195" y="22"/>
                  </a:cubicBezTo>
                  <a:cubicBezTo>
                    <a:pt x="195" y="22"/>
                    <a:pt x="196" y="22"/>
                    <a:pt x="196" y="21"/>
                  </a:cubicBezTo>
                  <a:close/>
                  <a:moveTo>
                    <a:pt x="197" y="21"/>
                  </a:move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lose/>
                  <a:moveTo>
                    <a:pt x="204" y="20"/>
                  </a:moveTo>
                  <a:cubicBezTo>
                    <a:pt x="203" y="20"/>
                    <a:pt x="203" y="20"/>
                    <a:pt x="203" y="20"/>
                  </a:cubicBezTo>
                  <a:cubicBezTo>
                    <a:pt x="203" y="20"/>
                    <a:pt x="204" y="20"/>
                    <a:pt x="204" y="20"/>
                  </a:cubicBezTo>
                  <a:close/>
                  <a:moveTo>
                    <a:pt x="211" y="20"/>
                  </a:moveTo>
                  <a:cubicBezTo>
                    <a:pt x="211" y="19"/>
                    <a:pt x="213" y="20"/>
                    <a:pt x="212" y="19"/>
                  </a:cubicBezTo>
                  <a:cubicBezTo>
                    <a:pt x="212" y="20"/>
                    <a:pt x="212" y="19"/>
                    <a:pt x="212" y="19"/>
                  </a:cubicBezTo>
                  <a:cubicBezTo>
                    <a:pt x="212" y="19"/>
                    <a:pt x="211" y="20"/>
                    <a:pt x="211" y="20"/>
                  </a:cubicBezTo>
                  <a:close/>
                  <a:moveTo>
                    <a:pt x="215" y="19"/>
                  </a:move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8"/>
                    <a:pt x="215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lose/>
                  <a:moveTo>
                    <a:pt x="193" y="13"/>
                  </a:move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2" y="13"/>
                  </a:cubicBezTo>
                  <a:cubicBezTo>
                    <a:pt x="192" y="13"/>
                    <a:pt x="193" y="13"/>
                    <a:pt x="193" y="13"/>
                  </a:cubicBezTo>
                  <a:close/>
                  <a:moveTo>
                    <a:pt x="191" y="21"/>
                  </a:moveTo>
                  <a:cubicBezTo>
                    <a:pt x="192" y="21"/>
                    <a:pt x="191" y="21"/>
                    <a:pt x="192" y="21"/>
                  </a:cubicBezTo>
                  <a:cubicBezTo>
                    <a:pt x="191" y="21"/>
                    <a:pt x="193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lose/>
                  <a:moveTo>
                    <a:pt x="249" y="8"/>
                  </a:moveTo>
                  <a:cubicBezTo>
                    <a:pt x="249" y="8"/>
                    <a:pt x="249" y="7"/>
                    <a:pt x="249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49" y="7"/>
                    <a:pt x="249" y="7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49" y="8"/>
                    <a:pt x="249" y="8"/>
                  </a:cubicBezTo>
                  <a:close/>
                  <a:moveTo>
                    <a:pt x="196" y="9"/>
                  </a:moveTo>
                  <a:cubicBezTo>
                    <a:pt x="196" y="9"/>
                    <a:pt x="195" y="9"/>
                    <a:pt x="195" y="9"/>
                  </a:cubicBez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lose/>
                  <a:moveTo>
                    <a:pt x="192" y="13"/>
                  </a:move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lose/>
                  <a:moveTo>
                    <a:pt x="192" y="14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lose/>
                  <a:moveTo>
                    <a:pt x="190" y="14"/>
                  </a:moveTo>
                  <a:cubicBezTo>
                    <a:pt x="190" y="15"/>
                    <a:pt x="190" y="14"/>
                    <a:pt x="190" y="14"/>
                  </a:cubicBezTo>
                  <a:cubicBezTo>
                    <a:pt x="189" y="15"/>
                    <a:pt x="188" y="15"/>
                    <a:pt x="187" y="15"/>
                  </a:cubicBezTo>
                  <a:cubicBezTo>
                    <a:pt x="187" y="15"/>
                    <a:pt x="188" y="14"/>
                    <a:pt x="188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89" y="14"/>
                    <a:pt x="190" y="14"/>
                  </a:cubicBezTo>
                  <a:cubicBezTo>
                    <a:pt x="190" y="14"/>
                    <a:pt x="189" y="14"/>
                    <a:pt x="189" y="14"/>
                  </a:cubicBezTo>
                  <a:cubicBezTo>
                    <a:pt x="189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lose/>
                  <a:moveTo>
                    <a:pt x="190" y="15"/>
                  </a:moveTo>
                  <a:cubicBezTo>
                    <a:pt x="190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90" y="15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8" y="15"/>
                  </a:cubicBezTo>
                  <a:cubicBezTo>
                    <a:pt x="188" y="15"/>
                    <a:pt x="189" y="15"/>
                    <a:pt x="189" y="15"/>
                  </a:cubicBezTo>
                  <a:close/>
                  <a:moveTo>
                    <a:pt x="189" y="14"/>
                  </a:moveTo>
                  <a:cubicBezTo>
                    <a:pt x="188" y="14"/>
                    <a:pt x="188" y="14"/>
                    <a:pt x="188" y="14"/>
                  </a:cubicBezTo>
                  <a:cubicBezTo>
                    <a:pt x="188" y="14"/>
                    <a:pt x="189" y="13"/>
                    <a:pt x="188" y="13"/>
                  </a:cubicBezTo>
                  <a:cubicBezTo>
                    <a:pt x="189" y="13"/>
                    <a:pt x="188" y="13"/>
                    <a:pt x="189" y="14"/>
                  </a:cubicBezTo>
                  <a:close/>
                  <a:moveTo>
                    <a:pt x="187" y="14"/>
                  </a:moveTo>
                  <a:cubicBezTo>
                    <a:pt x="187" y="14"/>
                    <a:pt x="187" y="15"/>
                    <a:pt x="187" y="15"/>
                  </a:cubicBezTo>
                  <a:cubicBezTo>
                    <a:pt x="186" y="15"/>
                    <a:pt x="186" y="15"/>
                    <a:pt x="185" y="15"/>
                  </a:cubicBezTo>
                  <a:cubicBezTo>
                    <a:pt x="185" y="15"/>
                    <a:pt x="187" y="14"/>
                    <a:pt x="187" y="14"/>
                  </a:cubicBezTo>
                  <a:cubicBezTo>
                    <a:pt x="187" y="14"/>
                    <a:pt x="187" y="15"/>
                    <a:pt x="187" y="14"/>
                  </a:cubicBezTo>
                  <a:close/>
                  <a:moveTo>
                    <a:pt x="187" y="15"/>
                  </a:move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lose/>
                  <a:moveTo>
                    <a:pt x="185" y="18"/>
                  </a:moveTo>
                  <a:cubicBezTo>
                    <a:pt x="186" y="18"/>
                    <a:pt x="186" y="18"/>
                    <a:pt x="187" y="18"/>
                  </a:cubicBezTo>
                  <a:cubicBezTo>
                    <a:pt x="187" y="18"/>
                    <a:pt x="187" y="17"/>
                    <a:pt x="188" y="17"/>
                  </a:cubicBezTo>
                  <a:cubicBezTo>
                    <a:pt x="188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7" y="18"/>
                  </a:cubicBezTo>
                  <a:cubicBezTo>
                    <a:pt x="186" y="18"/>
                    <a:pt x="185" y="18"/>
                    <a:pt x="185" y="18"/>
                  </a:cubicBezTo>
                  <a:cubicBezTo>
                    <a:pt x="185" y="18"/>
                    <a:pt x="185" y="18"/>
                    <a:pt x="185" y="18"/>
                  </a:cubicBezTo>
                  <a:close/>
                  <a:moveTo>
                    <a:pt x="188" y="18"/>
                  </a:moveTo>
                  <a:cubicBezTo>
                    <a:pt x="188" y="18"/>
                    <a:pt x="188" y="18"/>
                    <a:pt x="187" y="18"/>
                  </a:cubicBezTo>
                  <a:cubicBezTo>
                    <a:pt x="187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7" y="18"/>
                    <a:pt x="188" y="18"/>
                  </a:cubicBezTo>
                  <a:close/>
                  <a:moveTo>
                    <a:pt x="187" y="16"/>
                  </a:move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7" y="16"/>
                    <a:pt x="187" y="16"/>
                  </a:cubicBezTo>
                  <a:close/>
                  <a:moveTo>
                    <a:pt x="186" y="18"/>
                  </a:moveTo>
                  <a:cubicBezTo>
                    <a:pt x="187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6" y="18"/>
                  </a:cubicBezTo>
                  <a:close/>
                  <a:moveTo>
                    <a:pt x="188" y="22"/>
                  </a:moveTo>
                  <a:cubicBezTo>
                    <a:pt x="187" y="21"/>
                    <a:pt x="187" y="22"/>
                    <a:pt x="187" y="22"/>
                  </a:cubicBezTo>
                  <a:cubicBezTo>
                    <a:pt x="186" y="22"/>
                    <a:pt x="187" y="22"/>
                    <a:pt x="187" y="22"/>
                  </a:cubicBezTo>
                  <a:cubicBezTo>
                    <a:pt x="186" y="22"/>
                    <a:pt x="185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4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4" y="22"/>
                    <a:pt x="185" y="22"/>
                    <a:pt x="184" y="22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5" y="22"/>
                    <a:pt x="186" y="22"/>
                    <a:pt x="185" y="22"/>
                  </a:cubicBezTo>
                  <a:cubicBezTo>
                    <a:pt x="186" y="22"/>
                    <a:pt x="186" y="22"/>
                    <a:pt x="186" y="22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5" y="21"/>
                  </a:cubicBezTo>
                  <a:cubicBezTo>
                    <a:pt x="185" y="21"/>
                    <a:pt x="186" y="21"/>
                    <a:pt x="186" y="21"/>
                  </a:cubicBezTo>
                  <a:cubicBezTo>
                    <a:pt x="186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lose/>
                  <a:moveTo>
                    <a:pt x="186" y="18"/>
                  </a:moveTo>
                  <a:cubicBezTo>
                    <a:pt x="186" y="18"/>
                    <a:pt x="186" y="18"/>
                    <a:pt x="186" y="18"/>
                  </a:cubicBezTo>
                  <a:cubicBezTo>
                    <a:pt x="186" y="18"/>
                    <a:pt x="186" y="18"/>
                    <a:pt x="186" y="18"/>
                  </a:cubicBezTo>
                  <a:cubicBezTo>
                    <a:pt x="185" y="18"/>
                    <a:pt x="186" y="18"/>
                    <a:pt x="186" y="18"/>
                  </a:cubicBezTo>
                  <a:close/>
                  <a:moveTo>
                    <a:pt x="184" y="16"/>
                  </a:moveTo>
                  <a:cubicBezTo>
                    <a:pt x="182" y="16"/>
                    <a:pt x="181" y="17"/>
                    <a:pt x="179" y="17"/>
                  </a:cubicBezTo>
                  <a:cubicBezTo>
                    <a:pt x="179" y="17"/>
                    <a:pt x="181" y="17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3" y="16"/>
                    <a:pt x="184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4" y="16"/>
                    <a:pt x="184" y="16"/>
                    <a:pt x="184" y="16"/>
                  </a:cubicBezTo>
                  <a:close/>
                  <a:moveTo>
                    <a:pt x="185" y="16"/>
                  </a:moveTo>
                  <a:cubicBezTo>
                    <a:pt x="185" y="16"/>
                    <a:pt x="185" y="16"/>
                    <a:pt x="185" y="15"/>
                  </a:cubicBezTo>
                  <a:cubicBezTo>
                    <a:pt x="185" y="16"/>
                    <a:pt x="185" y="16"/>
                    <a:pt x="184" y="16"/>
                  </a:cubicBezTo>
                  <a:cubicBezTo>
                    <a:pt x="185" y="16"/>
                    <a:pt x="184" y="15"/>
                    <a:pt x="185" y="15"/>
                  </a:cubicBezTo>
                  <a:cubicBezTo>
                    <a:pt x="185" y="15"/>
                    <a:pt x="185" y="15"/>
                    <a:pt x="185" y="16"/>
                  </a:cubicBezTo>
                  <a:close/>
                  <a:moveTo>
                    <a:pt x="183" y="21"/>
                  </a:move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4" y="21"/>
                    <a:pt x="185" y="21"/>
                    <a:pt x="186" y="21"/>
                  </a:cubicBezTo>
                  <a:cubicBezTo>
                    <a:pt x="186" y="21"/>
                    <a:pt x="185" y="21"/>
                    <a:pt x="185" y="21"/>
                  </a:cubicBezTo>
                  <a:cubicBezTo>
                    <a:pt x="185" y="21"/>
                    <a:pt x="185" y="22"/>
                    <a:pt x="185" y="21"/>
                  </a:cubicBezTo>
                  <a:cubicBezTo>
                    <a:pt x="184" y="21"/>
                    <a:pt x="185" y="22"/>
                    <a:pt x="184" y="22"/>
                  </a:cubicBezTo>
                  <a:cubicBezTo>
                    <a:pt x="184" y="21"/>
                    <a:pt x="184" y="22"/>
                    <a:pt x="184" y="21"/>
                  </a:cubicBezTo>
                  <a:cubicBezTo>
                    <a:pt x="183" y="22"/>
                    <a:pt x="183" y="22"/>
                    <a:pt x="182" y="22"/>
                  </a:cubicBezTo>
                  <a:cubicBezTo>
                    <a:pt x="182" y="22"/>
                    <a:pt x="183" y="22"/>
                    <a:pt x="182" y="21"/>
                  </a:cubicBezTo>
                  <a:cubicBezTo>
                    <a:pt x="182" y="21"/>
                    <a:pt x="183" y="21"/>
                    <a:pt x="183" y="21"/>
                  </a:cubicBezTo>
                  <a:close/>
                  <a:moveTo>
                    <a:pt x="182" y="14"/>
                  </a:moveTo>
                  <a:cubicBezTo>
                    <a:pt x="182" y="13"/>
                    <a:pt x="183" y="13"/>
                    <a:pt x="183" y="13"/>
                  </a:cubicBezTo>
                  <a:cubicBezTo>
                    <a:pt x="183" y="13"/>
                    <a:pt x="182" y="13"/>
                    <a:pt x="182" y="14"/>
                  </a:cubicBezTo>
                  <a:close/>
                  <a:moveTo>
                    <a:pt x="183" y="15"/>
                  </a:moveTo>
                  <a:cubicBezTo>
                    <a:pt x="183" y="15"/>
                    <a:pt x="183" y="15"/>
                    <a:pt x="183" y="15"/>
                  </a:cubicBezTo>
                  <a:cubicBezTo>
                    <a:pt x="182" y="15"/>
                    <a:pt x="183" y="15"/>
                    <a:pt x="183" y="14"/>
                  </a:cubicBezTo>
                  <a:cubicBezTo>
                    <a:pt x="183" y="15"/>
                    <a:pt x="183" y="15"/>
                    <a:pt x="183" y="15"/>
                  </a:cubicBezTo>
                  <a:close/>
                  <a:moveTo>
                    <a:pt x="181" y="18"/>
                  </a:moveTo>
                  <a:cubicBezTo>
                    <a:pt x="181" y="18"/>
                    <a:pt x="180" y="18"/>
                    <a:pt x="180" y="18"/>
                  </a:cubicBezTo>
                  <a:cubicBezTo>
                    <a:pt x="180" y="18"/>
                    <a:pt x="180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8" y="19"/>
                    <a:pt x="178" y="19"/>
                    <a:pt x="177" y="19"/>
                  </a:cubicBezTo>
                  <a:cubicBezTo>
                    <a:pt x="177" y="19"/>
                    <a:pt x="178" y="19"/>
                    <a:pt x="177" y="18"/>
                  </a:cubicBezTo>
                  <a:cubicBezTo>
                    <a:pt x="179" y="18"/>
                    <a:pt x="180" y="18"/>
                    <a:pt x="181" y="18"/>
                  </a:cubicBezTo>
                  <a:cubicBezTo>
                    <a:pt x="181" y="18"/>
                    <a:pt x="181" y="18"/>
                    <a:pt x="181" y="18"/>
                  </a:cubicBezTo>
                  <a:close/>
                  <a:moveTo>
                    <a:pt x="176" y="20"/>
                  </a:moveTo>
                  <a:cubicBezTo>
                    <a:pt x="175" y="20"/>
                    <a:pt x="175" y="20"/>
                    <a:pt x="174" y="20"/>
                  </a:cubicBezTo>
                  <a:cubicBezTo>
                    <a:pt x="174" y="20"/>
                    <a:pt x="174" y="20"/>
                    <a:pt x="175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74" y="20"/>
                    <a:pt x="173" y="20"/>
                    <a:pt x="173" y="20"/>
                  </a:cubicBezTo>
                  <a:cubicBezTo>
                    <a:pt x="174" y="20"/>
                    <a:pt x="176" y="20"/>
                    <a:pt x="176" y="20"/>
                  </a:cubicBezTo>
                  <a:close/>
                  <a:moveTo>
                    <a:pt x="173" y="19"/>
                  </a:moveTo>
                  <a:cubicBezTo>
                    <a:pt x="173" y="19"/>
                    <a:pt x="173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4" y="19"/>
                    <a:pt x="174" y="19"/>
                    <a:pt x="174" y="19"/>
                  </a:cubicBezTo>
                  <a:cubicBezTo>
                    <a:pt x="175" y="19"/>
                    <a:pt x="174" y="19"/>
                    <a:pt x="174" y="19"/>
                  </a:cubicBezTo>
                  <a:cubicBezTo>
                    <a:pt x="174" y="19"/>
                    <a:pt x="173" y="19"/>
                    <a:pt x="173" y="19"/>
                  </a:cubicBezTo>
                  <a:close/>
                  <a:moveTo>
                    <a:pt x="172" y="18"/>
                  </a:moveTo>
                  <a:cubicBezTo>
                    <a:pt x="170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8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71" y="18"/>
                    <a:pt x="172" y="18"/>
                    <a:pt x="173" y="18"/>
                  </a:cubicBezTo>
                  <a:cubicBezTo>
                    <a:pt x="173" y="18"/>
                    <a:pt x="172" y="18"/>
                    <a:pt x="172" y="18"/>
                  </a:cubicBezTo>
                  <a:close/>
                  <a:moveTo>
                    <a:pt x="172" y="19"/>
                  </a:moveTo>
                  <a:cubicBezTo>
                    <a:pt x="171" y="19"/>
                    <a:pt x="171" y="20"/>
                    <a:pt x="171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9"/>
                    <a:pt x="171" y="20"/>
                    <a:pt x="170" y="20"/>
                  </a:cubicBezTo>
                  <a:cubicBezTo>
                    <a:pt x="170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1" y="19"/>
                    <a:pt x="171" y="19"/>
                  </a:cubicBezTo>
                  <a:cubicBezTo>
                    <a:pt x="171" y="20"/>
                    <a:pt x="171" y="19"/>
                    <a:pt x="172" y="19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1" y="19"/>
                    <a:pt x="171" y="19"/>
                  </a:cubicBezTo>
                  <a:close/>
                  <a:moveTo>
                    <a:pt x="171" y="21"/>
                  </a:moveTo>
                  <a:cubicBezTo>
                    <a:pt x="171" y="21"/>
                    <a:pt x="170" y="21"/>
                    <a:pt x="170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0" y="21"/>
                    <a:pt x="170" y="21"/>
                  </a:cubicBezTo>
                  <a:cubicBezTo>
                    <a:pt x="169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0"/>
                    <a:pt x="171" y="20"/>
                  </a:cubicBezTo>
                  <a:cubicBezTo>
                    <a:pt x="170" y="21"/>
                    <a:pt x="171" y="21"/>
                    <a:pt x="171" y="21"/>
                  </a:cubicBezTo>
                  <a:close/>
                  <a:moveTo>
                    <a:pt x="169" y="28"/>
                  </a:moveTo>
                  <a:cubicBezTo>
                    <a:pt x="169" y="28"/>
                    <a:pt x="171" y="27"/>
                    <a:pt x="171" y="28"/>
                  </a:cubicBezTo>
                  <a:cubicBezTo>
                    <a:pt x="170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lose/>
                  <a:moveTo>
                    <a:pt x="168" y="26"/>
                  </a:moveTo>
                  <a:cubicBezTo>
                    <a:pt x="168" y="26"/>
                    <a:pt x="168" y="26"/>
                    <a:pt x="167" y="27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7" y="27"/>
                    <a:pt x="166" y="27"/>
                    <a:pt x="166" y="27"/>
                  </a:cubicBezTo>
                  <a:cubicBezTo>
                    <a:pt x="166" y="26"/>
                    <a:pt x="167" y="26"/>
                    <a:pt x="168" y="26"/>
                  </a:cubicBezTo>
                  <a:close/>
                  <a:moveTo>
                    <a:pt x="166" y="21"/>
                  </a:move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7" y="21"/>
                  </a:cubicBezTo>
                  <a:cubicBezTo>
                    <a:pt x="166" y="21"/>
                    <a:pt x="166" y="21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6" y="21"/>
                    <a:pt x="166" y="21"/>
                    <a:pt x="166" y="21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9"/>
                    <a:pt x="159" y="28"/>
                    <a:pt x="158" y="29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9" y="28"/>
                    <a:pt x="161" y="27"/>
                    <a:pt x="163" y="27"/>
                  </a:cubicBezTo>
                  <a:cubicBezTo>
                    <a:pt x="163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3" y="28"/>
                    <a:pt x="162" y="28"/>
                    <a:pt x="161" y="28"/>
                  </a:cubicBezTo>
                  <a:cubicBezTo>
                    <a:pt x="160" y="28"/>
                    <a:pt x="161" y="28"/>
                    <a:pt x="160" y="28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8"/>
                    <a:pt x="159" y="28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lose/>
                  <a:moveTo>
                    <a:pt x="164" y="27"/>
                  </a:move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4" y="27"/>
                  </a:cubicBezTo>
                  <a:close/>
                  <a:moveTo>
                    <a:pt x="164" y="29"/>
                  </a:move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4" y="29"/>
                  </a:moveTo>
                  <a:cubicBezTo>
                    <a:pt x="164" y="29"/>
                    <a:pt x="163" y="30"/>
                    <a:pt x="163" y="30"/>
                  </a:cubicBezTo>
                  <a:cubicBezTo>
                    <a:pt x="163" y="30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1" y="30"/>
                  </a:moveTo>
                  <a:cubicBezTo>
                    <a:pt x="161" y="30"/>
                    <a:pt x="161" y="29"/>
                    <a:pt x="161" y="30"/>
                  </a:cubicBezTo>
                  <a:cubicBezTo>
                    <a:pt x="161" y="29"/>
                    <a:pt x="161" y="30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1" y="29"/>
                    <a:pt x="161" y="29"/>
                  </a:cubicBezTo>
                  <a:cubicBezTo>
                    <a:pt x="161" y="30"/>
                    <a:pt x="161" y="29"/>
                    <a:pt x="161" y="29"/>
                  </a:cubicBezTo>
                  <a:cubicBezTo>
                    <a:pt x="161" y="29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lose/>
                  <a:moveTo>
                    <a:pt x="160" y="26"/>
                  </a:moveTo>
                  <a:cubicBezTo>
                    <a:pt x="159" y="26"/>
                    <a:pt x="160" y="26"/>
                    <a:pt x="159" y="26"/>
                  </a:cubicBezTo>
                  <a:cubicBezTo>
                    <a:pt x="159" y="27"/>
                    <a:pt x="159" y="26"/>
                    <a:pt x="159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1" y="26"/>
                  </a:cubicBezTo>
                  <a:cubicBezTo>
                    <a:pt x="161" y="26"/>
                    <a:pt x="160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9" y="27"/>
                  </a:cubicBezTo>
                  <a:cubicBezTo>
                    <a:pt x="158" y="27"/>
                    <a:pt x="158" y="27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9" y="26"/>
                    <a:pt x="158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lose/>
                  <a:moveTo>
                    <a:pt x="159" y="26"/>
                  </a:moveTo>
                  <a:cubicBezTo>
                    <a:pt x="159" y="26"/>
                    <a:pt x="159" y="27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7"/>
                    <a:pt x="160" y="27"/>
                  </a:cubicBezTo>
                  <a:cubicBezTo>
                    <a:pt x="160" y="27"/>
                    <a:pt x="161" y="26"/>
                    <a:pt x="161" y="26"/>
                  </a:cubicBezTo>
                  <a:close/>
                  <a:moveTo>
                    <a:pt x="158" y="27"/>
                  </a:moveTo>
                  <a:cubicBezTo>
                    <a:pt x="158" y="27"/>
                    <a:pt x="158" y="27"/>
                    <a:pt x="157" y="27"/>
                  </a:cubicBezTo>
                  <a:cubicBezTo>
                    <a:pt x="158" y="27"/>
                    <a:pt x="157" y="27"/>
                    <a:pt x="158" y="27"/>
                  </a:cubicBezTo>
                  <a:close/>
                  <a:moveTo>
                    <a:pt x="157" y="27"/>
                  </a:moveTo>
                  <a:cubicBezTo>
                    <a:pt x="157" y="27"/>
                    <a:pt x="157" y="28"/>
                    <a:pt x="156" y="28"/>
                  </a:cubicBezTo>
                  <a:cubicBezTo>
                    <a:pt x="156" y="28"/>
                    <a:pt x="157" y="28"/>
                    <a:pt x="157" y="28"/>
                  </a:cubicBezTo>
                  <a:cubicBezTo>
                    <a:pt x="157" y="28"/>
                    <a:pt x="157" y="28"/>
                    <a:pt x="157" y="28"/>
                  </a:cubicBezTo>
                  <a:cubicBezTo>
                    <a:pt x="158" y="28"/>
                    <a:pt x="158" y="27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8"/>
                    <a:pt x="157" y="28"/>
                    <a:pt x="156" y="28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7" y="28"/>
                    <a:pt x="156" y="28"/>
                    <a:pt x="156" y="28"/>
                  </a:cubicBezTo>
                  <a:cubicBezTo>
                    <a:pt x="157" y="28"/>
                    <a:pt x="157" y="27"/>
                    <a:pt x="157" y="27"/>
                  </a:cubicBezTo>
                  <a:close/>
                  <a:moveTo>
                    <a:pt x="153" y="29"/>
                  </a:moveTo>
                  <a:cubicBezTo>
                    <a:pt x="153" y="29"/>
                    <a:pt x="154" y="29"/>
                    <a:pt x="154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29"/>
                    <a:pt x="155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30"/>
                    <a:pt x="158" y="29"/>
                    <a:pt x="158" y="29"/>
                  </a:cubicBezTo>
                  <a:cubicBezTo>
                    <a:pt x="158" y="29"/>
                    <a:pt x="157" y="29"/>
                    <a:pt x="157" y="29"/>
                  </a:cubicBezTo>
                  <a:cubicBezTo>
                    <a:pt x="157" y="29"/>
                    <a:pt x="156" y="30"/>
                    <a:pt x="156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4" y="30"/>
                    <a:pt x="153" y="30"/>
                    <a:pt x="153" y="31"/>
                  </a:cubicBezTo>
                  <a:cubicBezTo>
                    <a:pt x="153" y="30"/>
                    <a:pt x="152" y="31"/>
                    <a:pt x="151" y="31"/>
                  </a:cubicBezTo>
                  <a:cubicBezTo>
                    <a:pt x="152" y="31"/>
                    <a:pt x="153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3" y="31"/>
                    <a:pt x="153" y="31"/>
                  </a:cubicBezTo>
                  <a:cubicBezTo>
                    <a:pt x="153" y="31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1"/>
                  </a:cubicBezTo>
                  <a:cubicBezTo>
                    <a:pt x="152" y="31"/>
                    <a:pt x="152" y="32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1" y="31"/>
                    <a:pt x="151" y="31"/>
                    <a:pt x="150" y="31"/>
                  </a:cubicBezTo>
                  <a:cubicBezTo>
                    <a:pt x="150" y="32"/>
                    <a:pt x="151" y="31"/>
                    <a:pt x="151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1" y="32"/>
                    <a:pt x="150" y="32"/>
                  </a:cubicBezTo>
                  <a:cubicBezTo>
                    <a:pt x="151" y="32"/>
                    <a:pt x="151" y="32"/>
                    <a:pt x="151" y="31"/>
                  </a:cubicBezTo>
                  <a:cubicBezTo>
                    <a:pt x="151" y="32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49" y="33"/>
                    <a:pt x="150" y="33"/>
                    <a:pt x="150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1" y="32"/>
                  </a:cubicBezTo>
                  <a:cubicBezTo>
                    <a:pt x="151" y="32"/>
                    <a:pt x="151" y="32"/>
                    <a:pt x="151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50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7" y="33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2"/>
                    <a:pt x="146" y="33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6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2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32"/>
                    <a:pt x="143" y="32"/>
                    <a:pt x="144" y="32"/>
                  </a:cubicBezTo>
                  <a:cubicBezTo>
                    <a:pt x="144" y="32"/>
                    <a:pt x="143" y="32"/>
                    <a:pt x="143" y="32"/>
                  </a:cubicBezTo>
                  <a:cubicBezTo>
                    <a:pt x="143" y="33"/>
                    <a:pt x="144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5" y="32"/>
                    <a:pt x="145" y="32"/>
                  </a:cubicBezTo>
                  <a:cubicBezTo>
                    <a:pt x="145" y="31"/>
                    <a:pt x="146" y="32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7" y="31"/>
                    <a:pt x="147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7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9" y="31"/>
                  </a:cubicBezTo>
                  <a:cubicBezTo>
                    <a:pt x="148" y="31"/>
                    <a:pt x="149" y="31"/>
                    <a:pt x="150" y="31"/>
                  </a:cubicBezTo>
                  <a:cubicBezTo>
                    <a:pt x="150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8" y="31"/>
                  </a:cubicBezTo>
                  <a:cubicBezTo>
                    <a:pt x="148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50" y="30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49" y="30"/>
                    <a:pt x="150" y="30"/>
                    <a:pt x="150" y="30"/>
                  </a:cubicBezTo>
                  <a:cubicBezTo>
                    <a:pt x="149" y="31"/>
                    <a:pt x="150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7" y="30"/>
                    <a:pt x="147" y="31"/>
                    <a:pt x="145" y="31"/>
                  </a:cubicBezTo>
                  <a:cubicBezTo>
                    <a:pt x="145" y="31"/>
                    <a:pt x="145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2" y="31"/>
                  </a:cubicBezTo>
                  <a:cubicBezTo>
                    <a:pt x="143" y="31"/>
                    <a:pt x="143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0"/>
                  </a:cubicBezTo>
                  <a:cubicBezTo>
                    <a:pt x="147" y="30"/>
                    <a:pt x="149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9"/>
                    <a:pt x="151" y="29"/>
                    <a:pt x="151" y="29"/>
                  </a:cubicBezTo>
                  <a:cubicBezTo>
                    <a:pt x="150" y="29"/>
                    <a:pt x="150" y="29"/>
                    <a:pt x="150" y="29"/>
                  </a:cubicBezTo>
                  <a:cubicBezTo>
                    <a:pt x="150" y="29"/>
                    <a:pt x="151" y="28"/>
                    <a:pt x="151" y="29"/>
                  </a:cubicBezTo>
                  <a:cubicBezTo>
                    <a:pt x="151" y="29"/>
                    <a:pt x="151" y="28"/>
                    <a:pt x="151" y="28"/>
                  </a:cubicBezTo>
                  <a:cubicBezTo>
                    <a:pt x="150" y="29"/>
                    <a:pt x="150" y="29"/>
                    <a:pt x="149" y="29"/>
                  </a:cubicBezTo>
                  <a:cubicBezTo>
                    <a:pt x="149" y="29"/>
                    <a:pt x="148" y="29"/>
                    <a:pt x="149" y="29"/>
                  </a:cubicBezTo>
                  <a:cubicBezTo>
                    <a:pt x="149" y="29"/>
                    <a:pt x="148" y="28"/>
                    <a:pt x="148" y="29"/>
                  </a:cubicBezTo>
                  <a:cubicBezTo>
                    <a:pt x="148" y="29"/>
                    <a:pt x="149" y="28"/>
                    <a:pt x="149" y="29"/>
                  </a:cubicBezTo>
                  <a:cubicBezTo>
                    <a:pt x="149" y="28"/>
                    <a:pt x="150" y="28"/>
                    <a:pt x="149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0" y="28"/>
                  </a:cubicBezTo>
                  <a:cubicBezTo>
                    <a:pt x="151" y="28"/>
                    <a:pt x="151" y="27"/>
                    <a:pt x="152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6"/>
                    <a:pt x="151" y="26"/>
                    <a:pt x="151" y="26"/>
                  </a:cubicBezTo>
                  <a:cubicBezTo>
                    <a:pt x="152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5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4" y="26"/>
                    <a:pt x="152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4" y="26"/>
                  </a:cubicBezTo>
                  <a:cubicBezTo>
                    <a:pt x="153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5" y="26"/>
                    <a:pt x="155" y="26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6" y="26"/>
                    <a:pt x="156" y="27"/>
                  </a:cubicBezTo>
                  <a:cubicBezTo>
                    <a:pt x="155" y="27"/>
                    <a:pt x="156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4" y="28"/>
                  </a:cubicBezTo>
                  <a:cubicBezTo>
                    <a:pt x="154" y="28"/>
                    <a:pt x="153" y="28"/>
                    <a:pt x="153" y="28"/>
                  </a:cubicBezTo>
                  <a:cubicBezTo>
                    <a:pt x="153" y="28"/>
                    <a:pt x="155" y="28"/>
                    <a:pt x="154" y="28"/>
                  </a:cubicBezTo>
                  <a:cubicBezTo>
                    <a:pt x="155" y="28"/>
                    <a:pt x="155" y="28"/>
                    <a:pt x="156" y="28"/>
                  </a:cubicBezTo>
                  <a:cubicBezTo>
                    <a:pt x="156" y="28"/>
                    <a:pt x="156" y="28"/>
                    <a:pt x="155" y="28"/>
                  </a:cubicBezTo>
                  <a:cubicBezTo>
                    <a:pt x="155" y="28"/>
                    <a:pt x="155" y="27"/>
                    <a:pt x="156" y="27"/>
                  </a:cubicBezTo>
                  <a:cubicBezTo>
                    <a:pt x="155" y="27"/>
                    <a:pt x="156" y="28"/>
                    <a:pt x="156" y="27"/>
                  </a:cubicBezTo>
                  <a:cubicBezTo>
                    <a:pt x="156" y="27"/>
                    <a:pt x="156" y="28"/>
                    <a:pt x="156" y="28"/>
                  </a:cubicBezTo>
                  <a:cubicBezTo>
                    <a:pt x="156" y="28"/>
                    <a:pt x="155" y="28"/>
                    <a:pt x="155" y="28"/>
                  </a:cubicBezTo>
                  <a:cubicBezTo>
                    <a:pt x="155" y="28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4" y="28"/>
                    <a:pt x="153" y="28"/>
                  </a:cubicBezTo>
                  <a:cubicBezTo>
                    <a:pt x="153" y="29"/>
                    <a:pt x="154" y="28"/>
                    <a:pt x="154" y="28"/>
                  </a:cubicBezTo>
                  <a:cubicBezTo>
                    <a:pt x="154" y="28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2" y="26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6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lose/>
                  <a:moveTo>
                    <a:pt x="153" y="26"/>
                  </a:moveTo>
                  <a:cubicBezTo>
                    <a:pt x="152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0" y="26"/>
                  </a:cubicBezTo>
                  <a:cubicBezTo>
                    <a:pt x="150" y="27"/>
                    <a:pt x="151" y="26"/>
                    <a:pt x="151" y="27"/>
                  </a:cubicBezTo>
                  <a:cubicBezTo>
                    <a:pt x="151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3" y="26"/>
                    <a:pt x="152" y="26"/>
                    <a:pt x="153" y="26"/>
                  </a:cubicBezTo>
                  <a:close/>
                  <a:moveTo>
                    <a:pt x="152" y="27"/>
                  </a:move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lose/>
                  <a:moveTo>
                    <a:pt x="152" y="28"/>
                  </a:moveTo>
                  <a:cubicBezTo>
                    <a:pt x="153" y="28"/>
                    <a:pt x="152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45" y="32"/>
                  </a:moveTo>
                  <a:cubicBezTo>
                    <a:pt x="144" y="32"/>
                    <a:pt x="144" y="32"/>
                    <a:pt x="143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5" y="32"/>
                  </a:cubicBezTo>
                  <a:cubicBezTo>
                    <a:pt x="144" y="32"/>
                    <a:pt x="145" y="32"/>
                    <a:pt x="145" y="32"/>
                  </a:cubicBezTo>
                  <a:close/>
                  <a:moveTo>
                    <a:pt x="148" y="31"/>
                  </a:move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lose/>
                  <a:moveTo>
                    <a:pt x="147" y="31"/>
                  </a:move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lose/>
                  <a:moveTo>
                    <a:pt x="146" y="32"/>
                  </a:moveTo>
                  <a:cubicBezTo>
                    <a:pt x="147" y="32"/>
                    <a:pt x="147" y="31"/>
                    <a:pt x="148" y="31"/>
                  </a:cubicBezTo>
                  <a:cubicBezTo>
                    <a:pt x="148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6" y="32"/>
                    <a:pt x="146" y="32"/>
                  </a:cubicBezTo>
                  <a:close/>
                  <a:moveTo>
                    <a:pt x="153" y="31"/>
                  </a:moveTo>
                  <a:cubicBezTo>
                    <a:pt x="153" y="31"/>
                    <a:pt x="154" y="31"/>
                    <a:pt x="154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lose/>
                  <a:moveTo>
                    <a:pt x="148" y="32"/>
                  </a:moveTo>
                  <a:cubicBezTo>
                    <a:pt x="148" y="32"/>
                    <a:pt x="148" y="32"/>
                    <a:pt x="149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8" y="32"/>
                    <a:pt x="148" y="32"/>
                    <a:pt x="147" y="32"/>
                  </a:cubicBezTo>
                  <a:cubicBezTo>
                    <a:pt x="147" y="32"/>
                    <a:pt x="147" y="32"/>
                    <a:pt x="148" y="32"/>
                  </a:cubicBezTo>
                  <a:cubicBezTo>
                    <a:pt x="148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lose/>
                  <a:moveTo>
                    <a:pt x="149" y="31"/>
                  </a:moveTo>
                  <a:cubicBezTo>
                    <a:pt x="149" y="32"/>
                    <a:pt x="149" y="32"/>
                    <a:pt x="149" y="32"/>
                  </a:cubicBezTo>
                  <a:cubicBezTo>
                    <a:pt x="148" y="32"/>
                    <a:pt x="149" y="32"/>
                    <a:pt x="148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49" y="32"/>
                    <a:pt x="149" y="32"/>
                    <a:pt x="150" y="31"/>
                  </a:cubicBezTo>
                  <a:cubicBezTo>
                    <a:pt x="149" y="32"/>
                    <a:pt x="150" y="31"/>
                    <a:pt x="149" y="31"/>
                  </a:cubicBezTo>
                  <a:close/>
                  <a:moveTo>
                    <a:pt x="152" y="31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2" y="31"/>
                  </a:cubicBezTo>
                  <a:close/>
                  <a:moveTo>
                    <a:pt x="150" y="30"/>
                  </a:move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0" y="30"/>
                  </a:moveTo>
                  <a:cubicBezTo>
                    <a:pt x="151" y="30"/>
                    <a:pt x="151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0" y="30"/>
                    <a:pt x="150" y="30"/>
                  </a:cubicBezTo>
                  <a:cubicBezTo>
                    <a:pt x="150" y="30"/>
                    <a:pt x="151" y="29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3" y="29"/>
                  </a:moveTo>
                  <a:cubicBezTo>
                    <a:pt x="153" y="29"/>
                    <a:pt x="153" y="29"/>
                    <a:pt x="154" y="29"/>
                  </a:cubicBezTo>
                  <a:cubicBezTo>
                    <a:pt x="154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3" y="30"/>
                  </a:moveTo>
                  <a:cubicBezTo>
                    <a:pt x="152" y="30"/>
                    <a:pt x="153" y="30"/>
                    <a:pt x="153" y="29"/>
                  </a:cubicBezTo>
                  <a:cubicBezTo>
                    <a:pt x="153" y="29"/>
                    <a:pt x="153" y="30"/>
                    <a:pt x="152" y="30"/>
                  </a:cubicBezTo>
                  <a:cubicBezTo>
                    <a:pt x="152" y="29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ubicBezTo>
                    <a:pt x="153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2" y="30"/>
                    <a:pt x="153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5" y="29"/>
                    <a:pt x="154" y="29"/>
                    <a:pt x="154" y="29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3" y="30"/>
                  </a:cubicBezTo>
                  <a:close/>
                  <a:moveTo>
                    <a:pt x="154" y="29"/>
                  </a:moveTo>
                  <a:cubicBezTo>
                    <a:pt x="153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9"/>
                  </a:moveTo>
                  <a:cubicBezTo>
                    <a:pt x="152" y="29"/>
                    <a:pt x="152" y="29"/>
                    <a:pt x="152" y="29"/>
                  </a:cubicBezTo>
                  <a:cubicBezTo>
                    <a:pt x="151" y="29"/>
                    <a:pt x="152" y="29"/>
                    <a:pt x="151" y="29"/>
                  </a:cubicBezTo>
                  <a:cubicBezTo>
                    <a:pt x="151" y="29"/>
                    <a:pt x="152" y="29"/>
                    <a:pt x="152" y="30"/>
                  </a:cubicBezTo>
                  <a:cubicBezTo>
                    <a:pt x="152" y="29"/>
                    <a:pt x="152" y="29"/>
                    <a:pt x="152" y="29"/>
                  </a:cubicBezTo>
                  <a:close/>
                  <a:moveTo>
                    <a:pt x="146" y="31"/>
                  </a:moveTo>
                  <a:cubicBezTo>
                    <a:pt x="145" y="31"/>
                    <a:pt x="145" y="31"/>
                    <a:pt x="145" y="31"/>
                  </a:cubicBezTo>
                  <a:cubicBezTo>
                    <a:pt x="144" y="31"/>
                    <a:pt x="144" y="31"/>
                    <a:pt x="143" y="32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5" y="31"/>
                    <a:pt x="146" y="31"/>
                  </a:cubicBezTo>
                  <a:close/>
                  <a:moveTo>
                    <a:pt x="151" y="32"/>
                  </a:move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1"/>
                    <a:pt x="151" y="32"/>
                  </a:cubicBezTo>
                  <a:close/>
                  <a:moveTo>
                    <a:pt x="157" y="26"/>
                  </a:moveTo>
                  <a:cubicBezTo>
                    <a:pt x="158" y="26"/>
                    <a:pt x="157" y="26"/>
                    <a:pt x="158" y="26"/>
                  </a:cubicBezTo>
                  <a:cubicBezTo>
                    <a:pt x="157" y="27"/>
                    <a:pt x="156" y="27"/>
                    <a:pt x="157" y="26"/>
                  </a:cubicBezTo>
                  <a:close/>
                  <a:moveTo>
                    <a:pt x="157" y="25"/>
                  </a:moveTo>
                  <a:cubicBezTo>
                    <a:pt x="157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7" y="25"/>
                    <a:pt x="157" y="25"/>
                  </a:cubicBezTo>
                  <a:cubicBezTo>
                    <a:pt x="157" y="25"/>
                    <a:pt x="157" y="25"/>
                    <a:pt x="157" y="25"/>
                  </a:cubicBezTo>
                  <a:close/>
                  <a:moveTo>
                    <a:pt x="156" y="26"/>
                  </a:move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lose/>
                  <a:moveTo>
                    <a:pt x="153" y="21"/>
                  </a:move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4" y="21"/>
                    <a:pt x="153" y="21"/>
                  </a:cubicBezTo>
                  <a:close/>
                  <a:moveTo>
                    <a:pt x="155" y="24"/>
                  </a:moveTo>
                  <a:cubicBezTo>
                    <a:pt x="154" y="24"/>
                    <a:pt x="153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4" y="24"/>
                    <a:pt x="153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0" y="25"/>
                    <a:pt x="149" y="25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49" y="25"/>
                    <a:pt x="150" y="25"/>
                    <a:pt x="149" y="25"/>
                  </a:cubicBezTo>
                  <a:cubicBezTo>
                    <a:pt x="150" y="25"/>
                    <a:pt x="151" y="25"/>
                    <a:pt x="151" y="24"/>
                  </a:cubicBezTo>
                  <a:cubicBezTo>
                    <a:pt x="150" y="24"/>
                    <a:pt x="149" y="24"/>
                    <a:pt x="150" y="25"/>
                  </a:cubicBezTo>
                  <a:cubicBezTo>
                    <a:pt x="149" y="25"/>
                    <a:pt x="149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7" y="25"/>
                  </a:cubicBezTo>
                  <a:cubicBezTo>
                    <a:pt x="148" y="25"/>
                    <a:pt x="148" y="25"/>
                    <a:pt x="149" y="25"/>
                  </a:cubicBezTo>
                  <a:cubicBezTo>
                    <a:pt x="148" y="25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50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3"/>
                    <a:pt x="148" y="24"/>
                  </a:cubicBezTo>
                  <a:cubicBezTo>
                    <a:pt x="149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4"/>
                  </a:cubicBezTo>
                  <a:cubicBezTo>
                    <a:pt x="147" y="23"/>
                    <a:pt x="147" y="23"/>
                    <a:pt x="146" y="24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7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5" y="23"/>
                    <a:pt x="146" y="23"/>
                  </a:cubicBezTo>
                  <a:cubicBezTo>
                    <a:pt x="145" y="23"/>
                    <a:pt x="146" y="23"/>
                    <a:pt x="145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23"/>
                    <a:pt x="145" y="23"/>
                    <a:pt x="144" y="23"/>
                  </a:cubicBezTo>
                  <a:cubicBezTo>
                    <a:pt x="144" y="23"/>
                    <a:pt x="145" y="23"/>
                    <a:pt x="145" y="23"/>
                  </a:cubicBezTo>
                  <a:cubicBezTo>
                    <a:pt x="145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5" y="23"/>
                  </a:cubicBezTo>
                  <a:cubicBezTo>
                    <a:pt x="145" y="23"/>
                    <a:pt x="147" y="22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9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49" y="23"/>
                    <a:pt x="149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50" y="23"/>
                    <a:pt x="150" y="24"/>
                  </a:cubicBezTo>
                  <a:cubicBezTo>
                    <a:pt x="151" y="24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4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3"/>
                    <a:pt x="152" y="23"/>
                    <a:pt x="153" y="23"/>
                  </a:cubicBezTo>
                  <a:cubicBezTo>
                    <a:pt x="153" y="23"/>
                    <a:pt x="153" y="23"/>
                    <a:pt x="153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3" y="24"/>
                    <a:pt x="153" y="24"/>
                  </a:cubicBezTo>
                  <a:cubicBezTo>
                    <a:pt x="154" y="24"/>
                    <a:pt x="154" y="24"/>
                    <a:pt x="155" y="24"/>
                  </a:cubicBezTo>
                  <a:close/>
                  <a:moveTo>
                    <a:pt x="149" y="23"/>
                  </a:moveTo>
                  <a:cubicBezTo>
                    <a:pt x="148" y="24"/>
                    <a:pt x="148" y="23"/>
                    <a:pt x="148" y="23"/>
                  </a:cubicBezTo>
                  <a:cubicBezTo>
                    <a:pt x="148" y="23"/>
                    <a:pt x="148" y="24"/>
                    <a:pt x="148" y="24"/>
                  </a:cubicBezTo>
                  <a:cubicBezTo>
                    <a:pt x="149" y="24"/>
                    <a:pt x="149" y="23"/>
                    <a:pt x="149" y="23"/>
                  </a:cubicBezTo>
                  <a:close/>
                  <a:moveTo>
                    <a:pt x="149" y="24"/>
                  </a:move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1" y="24"/>
                    <a:pt x="152" y="24"/>
                  </a:cubicBezTo>
                  <a:close/>
                  <a:moveTo>
                    <a:pt x="155" y="27"/>
                  </a:moveTo>
                  <a:cubicBezTo>
                    <a:pt x="155" y="28"/>
                    <a:pt x="155" y="27"/>
                    <a:pt x="154" y="28"/>
                  </a:cubicBezTo>
                  <a:cubicBezTo>
                    <a:pt x="154" y="27"/>
                    <a:pt x="155" y="28"/>
                    <a:pt x="155" y="27"/>
                  </a:cubicBezTo>
                  <a:close/>
                  <a:moveTo>
                    <a:pt x="153" y="20"/>
                  </a:moveTo>
                  <a:cubicBezTo>
                    <a:pt x="152" y="20"/>
                    <a:pt x="153" y="20"/>
                    <a:pt x="153" y="20"/>
                  </a:cubicBezTo>
                  <a:cubicBezTo>
                    <a:pt x="153" y="20"/>
                    <a:pt x="152" y="20"/>
                    <a:pt x="152" y="20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53" y="20"/>
                    <a:pt x="153" y="20"/>
                    <a:pt x="153" y="20"/>
                  </a:cubicBezTo>
                  <a:close/>
                  <a:moveTo>
                    <a:pt x="147" y="28"/>
                  </a:moveTo>
                  <a:cubicBezTo>
                    <a:pt x="148" y="28"/>
                    <a:pt x="149" y="28"/>
                    <a:pt x="150" y="27"/>
                  </a:cubicBezTo>
                  <a:cubicBezTo>
                    <a:pt x="150" y="27"/>
                    <a:pt x="150" y="28"/>
                    <a:pt x="150" y="27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lose/>
                  <a:moveTo>
                    <a:pt x="148" y="29"/>
                  </a:move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ubicBezTo>
                    <a:pt x="149" y="29"/>
                    <a:pt x="148" y="29"/>
                    <a:pt x="148" y="29"/>
                  </a:cubicBezTo>
                  <a:close/>
                  <a:moveTo>
                    <a:pt x="99" y="40"/>
                  </a:moveTo>
                  <a:cubicBezTo>
                    <a:pt x="99" y="40"/>
                    <a:pt x="98" y="40"/>
                    <a:pt x="97" y="40"/>
                  </a:cubicBezTo>
                  <a:cubicBezTo>
                    <a:pt x="97" y="40"/>
                    <a:pt x="97" y="40"/>
                    <a:pt x="98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1"/>
                    <a:pt x="95" y="41"/>
                    <a:pt x="95" y="41"/>
                  </a:cubicBezTo>
                  <a:cubicBezTo>
                    <a:pt x="95" y="41"/>
                    <a:pt x="96" y="41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1"/>
                    <a:pt x="93" y="41"/>
                    <a:pt x="91" y="41"/>
                  </a:cubicBezTo>
                  <a:cubicBezTo>
                    <a:pt x="92" y="41"/>
                    <a:pt x="94" y="41"/>
                    <a:pt x="94" y="40"/>
                  </a:cubicBezTo>
                  <a:cubicBezTo>
                    <a:pt x="94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2" y="40"/>
                    <a:pt x="93" y="41"/>
                  </a:cubicBezTo>
                  <a:cubicBezTo>
                    <a:pt x="93" y="41"/>
                    <a:pt x="93" y="40"/>
                    <a:pt x="94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3" y="40"/>
                    <a:pt x="93" y="41"/>
                  </a:cubicBezTo>
                  <a:cubicBezTo>
                    <a:pt x="93" y="41"/>
                    <a:pt x="93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3" y="41"/>
                    <a:pt x="92" y="41"/>
                    <a:pt x="92" y="41"/>
                  </a:cubicBezTo>
                  <a:cubicBezTo>
                    <a:pt x="92" y="40"/>
                    <a:pt x="92" y="41"/>
                    <a:pt x="92" y="40"/>
                  </a:cubicBezTo>
                  <a:cubicBezTo>
                    <a:pt x="92" y="41"/>
                    <a:pt x="92" y="41"/>
                    <a:pt x="91" y="41"/>
                  </a:cubicBezTo>
                  <a:cubicBezTo>
                    <a:pt x="92" y="40"/>
                    <a:pt x="91" y="41"/>
                    <a:pt x="91" y="41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3" y="40"/>
                    <a:pt x="94" y="40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39"/>
                    <a:pt x="96" y="39"/>
                    <a:pt x="97" y="39"/>
                  </a:cubicBezTo>
                  <a:cubicBezTo>
                    <a:pt x="97" y="39"/>
                    <a:pt x="95" y="39"/>
                    <a:pt x="95" y="40"/>
                  </a:cubicBezTo>
                  <a:cubicBezTo>
                    <a:pt x="95" y="40"/>
                    <a:pt x="95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5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7" y="40"/>
                  </a:cubicBezTo>
                  <a:cubicBezTo>
                    <a:pt x="97" y="40"/>
                    <a:pt x="97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6" y="39"/>
                    <a:pt x="97" y="4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8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5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4" y="40"/>
                    <a:pt x="94" y="40"/>
                  </a:cubicBezTo>
                  <a:cubicBezTo>
                    <a:pt x="94" y="40"/>
                    <a:pt x="94" y="39"/>
                    <a:pt x="94" y="39"/>
                  </a:cubicBezTo>
                  <a:cubicBezTo>
                    <a:pt x="95" y="39"/>
                    <a:pt x="96" y="39"/>
                    <a:pt x="97" y="39"/>
                  </a:cubicBezTo>
                  <a:cubicBezTo>
                    <a:pt x="97" y="39"/>
                    <a:pt x="98" y="38"/>
                    <a:pt x="99" y="38"/>
                  </a:cubicBezTo>
                  <a:cubicBezTo>
                    <a:pt x="99" y="38"/>
                    <a:pt x="98" y="38"/>
                    <a:pt x="98" y="39"/>
                  </a:cubicBezTo>
                  <a:cubicBezTo>
                    <a:pt x="98" y="39"/>
                    <a:pt x="98" y="38"/>
                    <a:pt x="99" y="38"/>
                  </a:cubicBezTo>
                  <a:cubicBezTo>
                    <a:pt x="99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9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8" y="39"/>
                    <a:pt x="98" y="39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9" y="40"/>
                  </a:cubicBezTo>
                  <a:cubicBezTo>
                    <a:pt x="99" y="39"/>
                    <a:pt x="98" y="40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1" y="39"/>
                    <a:pt x="103" y="39"/>
                  </a:cubicBezTo>
                  <a:cubicBezTo>
                    <a:pt x="103" y="39"/>
                    <a:pt x="102" y="39"/>
                    <a:pt x="102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8"/>
                    <a:pt x="103" y="39"/>
                    <a:pt x="103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9"/>
                    <a:pt x="104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5" y="39"/>
                    <a:pt x="105" y="38"/>
                  </a:cubicBezTo>
                  <a:cubicBezTo>
                    <a:pt x="105" y="38"/>
                    <a:pt x="104" y="39"/>
                    <a:pt x="104" y="39"/>
                  </a:cubicBezTo>
                  <a:cubicBezTo>
                    <a:pt x="105" y="38"/>
                    <a:pt x="106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6" y="38"/>
                    <a:pt x="107" y="38"/>
                    <a:pt x="108" y="38"/>
                  </a:cubicBezTo>
                  <a:cubicBezTo>
                    <a:pt x="108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8" y="38"/>
                    <a:pt x="109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2" y="37"/>
                  </a:cubicBezTo>
                  <a:cubicBezTo>
                    <a:pt x="113" y="37"/>
                    <a:pt x="114" y="36"/>
                    <a:pt x="115" y="36"/>
                  </a:cubicBezTo>
                  <a:cubicBezTo>
                    <a:pt x="115" y="36"/>
                    <a:pt x="114" y="36"/>
                    <a:pt x="114" y="36"/>
                  </a:cubicBezTo>
                  <a:cubicBezTo>
                    <a:pt x="115" y="36"/>
                    <a:pt x="115" y="36"/>
                    <a:pt x="116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5" y="36"/>
                    <a:pt x="115" y="37"/>
                    <a:pt x="115" y="37"/>
                  </a:cubicBezTo>
                  <a:cubicBezTo>
                    <a:pt x="115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6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3" y="37"/>
                  </a:cubicBezTo>
                  <a:cubicBezTo>
                    <a:pt x="113" y="37"/>
                    <a:pt x="111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8"/>
                    <a:pt x="110" y="38"/>
                    <a:pt x="110" y="38"/>
                  </a:cubicBezTo>
                  <a:cubicBezTo>
                    <a:pt x="110" y="38"/>
                    <a:pt x="111" y="38"/>
                    <a:pt x="110" y="38"/>
                  </a:cubicBezTo>
                  <a:cubicBezTo>
                    <a:pt x="111" y="38"/>
                    <a:pt x="111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8"/>
                    <a:pt x="112" y="37"/>
                    <a:pt x="111" y="38"/>
                  </a:cubicBezTo>
                  <a:cubicBezTo>
                    <a:pt x="112" y="38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3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6" y="37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5"/>
                    <a:pt x="115" y="36"/>
                    <a:pt x="115" y="35"/>
                  </a:cubicBezTo>
                  <a:cubicBezTo>
                    <a:pt x="115" y="36"/>
                    <a:pt x="116" y="36"/>
                    <a:pt x="116" y="35"/>
                  </a:cubicBezTo>
                  <a:cubicBezTo>
                    <a:pt x="116" y="35"/>
                    <a:pt x="115" y="35"/>
                    <a:pt x="115" y="36"/>
                  </a:cubicBezTo>
                  <a:cubicBezTo>
                    <a:pt x="115" y="36"/>
                    <a:pt x="115" y="35"/>
                    <a:pt x="115" y="35"/>
                  </a:cubicBezTo>
                  <a:cubicBezTo>
                    <a:pt x="114" y="35"/>
                    <a:pt x="115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7"/>
                    <a:pt x="111" y="36"/>
                  </a:cubicBezTo>
                  <a:cubicBezTo>
                    <a:pt x="111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2" y="36"/>
                  </a:cubicBezTo>
                  <a:cubicBezTo>
                    <a:pt x="112" y="36"/>
                    <a:pt x="111" y="36"/>
                    <a:pt x="111" y="35"/>
                  </a:cubicBezTo>
                  <a:cubicBezTo>
                    <a:pt x="111" y="36"/>
                    <a:pt x="110" y="35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08" y="36"/>
                    <a:pt x="108" y="36"/>
                  </a:cubicBezTo>
                  <a:cubicBezTo>
                    <a:pt x="107" y="36"/>
                    <a:pt x="106" y="37"/>
                    <a:pt x="106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6"/>
                  </a:cubicBezTo>
                  <a:cubicBezTo>
                    <a:pt x="106" y="36"/>
                    <a:pt x="106" y="37"/>
                    <a:pt x="106" y="37"/>
                  </a:cubicBezTo>
                  <a:cubicBezTo>
                    <a:pt x="106" y="37"/>
                    <a:pt x="106" y="36"/>
                    <a:pt x="106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6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09" y="36"/>
                    <a:pt x="109" y="35"/>
                  </a:cubicBezTo>
                  <a:cubicBezTo>
                    <a:pt x="109" y="35"/>
                    <a:pt x="109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5"/>
                    <a:pt x="109" y="35"/>
                  </a:cubicBezTo>
                  <a:cubicBezTo>
                    <a:pt x="108" y="35"/>
                    <a:pt x="107" y="35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6" y="36"/>
                    <a:pt x="107" y="36"/>
                    <a:pt x="107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5" y="35"/>
                  </a:cubicBezTo>
                  <a:cubicBezTo>
                    <a:pt x="106" y="35"/>
                    <a:pt x="107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5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2" y="35"/>
                    <a:pt x="111" y="34"/>
                    <a:pt x="112" y="34"/>
                  </a:cubicBezTo>
                  <a:cubicBezTo>
                    <a:pt x="112" y="34"/>
                    <a:pt x="112" y="35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4" y="34"/>
                  </a:cubicBezTo>
                  <a:cubicBezTo>
                    <a:pt x="114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4"/>
                    <a:pt x="112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1" y="35"/>
                    <a:pt x="112" y="35"/>
                    <a:pt x="112" y="35"/>
                  </a:cubicBezTo>
                  <a:cubicBezTo>
                    <a:pt x="112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2" y="35"/>
                    <a:pt x="113" y="35"/>
                  </a:cubicBezTo>
                  <a:cubicBezTo>
                    <a:pt x="113" y="35"/>
                    <a:pt x="113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4"/>
                    <a:pt x="115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7" y="34"/>
                    <a:pt x="118" y="34"/>
                    <a:pt x="118" y="33"/>
                  </a:cubicBezTo>
                  <a:cubicBezTo>
                    <a:pt x="118" y="34"/>
                    <a:pt x="118" y="33"/>
                    <a:pt x="117" y="34"/>
                  </a:cubicBezTo>
                  <a:cubicBezTo>
                    <a:pt x="117" y="34"/>
                    <a:pt x="118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6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6" y="34"/>
                    <a:pt x="115" y="34"/>
                  </a:cubicBezTo>
                  <a:cubicBezTo>
                    <a:pt x="115" y="34"/>
                    <a:pt x="115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5"/>
                    <a:pt x="115" y="35"/>
                    <a:pt x="115" y="34"/>
                  </a:cubicBezTo>
                  <a:cubicBezTo>
                    <a:pt x="115" y="35"/>
                    <a:pt x="115" y="34"/>
                    <a:pt x="116" y="34"/>
                  </a:cubicBezTo>
                  <a:cubicBezTo>
                    <a:pt x="116" y="34"/>
                    <a:pt x="115" y="35"/>
                    <a:pt x="115" y="35"/>
                  </a:cubicBezTo>
                  <a:cubicBezTo>
                    <a:pt x="115" y="35"/>
                    <a:pt x="116" y="34"/>
                    <a:pt x="116" y="35"/>
                  </a:cubicBezTo>
                  <a:cubicBezTo>
                    <a:pt x="116" y="35"/>
                    <a:pt x="116" y="35"/>
                    <a:pt x="117" y="35"/>
                  </a:cubicBezTo>
                  <a:cubicBezTo>
                    <a:pt x="117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8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7" y="35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ubicBezTo>
                    <a:pt x="118" y="34"/>
                    <a:pt x="119" y="34"/>
                    <a:pt x="119" y="34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5" y="35"/>
                    <a:pt x="115" y="35"/>
                  </a:cubicBezTo>
                  <a:cubicBezTo>
                    <a:pt x="116" y="35"/>
                    <a:pt x="117" y="35"/>
                    <a:pt x="118" y="35"/>
                  </a:cubicBezTo>
                  <a:cubicBezTo>
                    <a:pt x="118" y="34"/>
                    <a:pt x="118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4"/>
                  </a:cubicBezTo>
                  <a:cubicBezTo>
                    <a:pt x="121" y="34"/>
                    <a:pt x="121" y="34"/>
                    <a:pt x="121" y="35"/>
                  </a:cubicBezTo>
                  <a:cubicBezTo>
                    <a:pt x="121" y="35"/>
                    <a:pt x="121" y="34"/>
                    <a:pt x="121" y="34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2" y="35"/>
                    <a:pt x="122" y="35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5"/>
                    <a:pt x="122" y="35"/>
                    <a:pt x="121" y="35"/>
                  </a:cubicBezTo>
                  <a:cubicBezTo>
                    <a:pt x="121" y="35"/>
                    <a:pt x="122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6"/>
                    <a:pt x="120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0" y="36"/>
                    <a:pt x="120" y="35"/>
                    <a:pt x="120" y="36"/>
                  </a:cubicBezTo>
                  <a:cubicBezTo>
                    <a:pt x="120" y="35"/>
                    <a:pt x="121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2" y="36"/>
                    <a:pt x="122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5"/>
                    <a:pt x="122" y="35"/>
                    <a:pt x="122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3" y="35"/>
                    <a:pt x="123" y="35"/>
                  </a:cubicBezTo>
                  <a:cubicBezTo>
                    <a:pt x="123" y="35"/>
                    <a:pt x="124" y="35"/>
                    <a:pt x="124" y="35"/>
                  </a:cubicBezTo>
                  <a:cubicBezTo>
                    <a:pt x="123" y="35"/>
                    <a:pt x="124" y="35"/>
                    <a:pt x="123" y="36"/>
                  </a:cubicBezTo>
                  <a:cubicBezTo>
                    <a:pt x="123" y="36"/>
                    <a:pt x="124" y="36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6" y="35"/>
                  </a:cubicBezTo>
                  <a:cubicBezTo>
                    <a:pt x="126" y="35"/>
                    <a:pt x="125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6" y="35"/>
                    <a:pt x="127" y="35"/>
                    <a:pt x="126" y="35"/>
                  </a:cubicBezTo>
                  <a:cubicBezTo>
                    <a:pt x="127" y="35"/>
                    <a:pt x="127" y="34"/>
                    <a:pt x="127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4"/>
                    <a:pt x="127" y="34"/>
                    <a:pt x="128" y="34"/>
                  </a:cubicBezTo>
                  <a:cubicBezTo>
                    <a:pt x="128" y="34"/>
                    <a:pt x="127" y="34"/>
                    <a:pt x="127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9" y="34"/>
                    <a:pt x="129" y="34"/>
                  </a:cubicBezTo>
                  <a:cubicBezTo>
                    <a:pt x="130" y="33"/>
                    <a:pt x="130" y="34"/>
                    <a:pt x="131" y="33"/>
                  </a:cubicBezTo>
                  <a:cubicBezTo>
                    <a:pt x="131" y="33"/>
                    <a:pt x="131" y="34"/>
                    <a:pt x="131" y="34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29" y="34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34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8" y="35"/>
                    <a:pt x="128" y="34"/>
                    <a:pt x="129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9" y="35"/>
                    <a:pt x="129" y="35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29" y="34"/>
                    <a:pt x="130" y="35"/>
                    <a:pt x="130" y="35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0" y="34"/>
                  </a:cubicBezTo>
                  <a:cubicBezTo>
                    <a:pt x="131" y="35"/>
                    <a:pt x="131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3" y="34"/>
                    <a:pt x="133" y="33"/>
                    <a:pt x="133" y="33"/>
                  </a:cubicBezTo>
                  <a:cubicBezTo>
                    <a:pt x="133" y="33"/>
                    <a:pt x="133" y="34"/>
                    <a:pt x="133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3" y="34"/>
                    <a:pt x="134" y="34"/>
                    <a:pt x="134" y="33"/>
                  </a:cubicBezTo>
                  <a:cubicBezTo>
                    <a:pt x="134" y="33"/>
                    <a:pt x="134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4" y="33"/>
                    <a:pt x="133" y="33"/>
                  </a:cubicBezTo>
                  <a:cubicBezTo>
                    <a:pt x="133" y="33"/>
                    <a:pt x="134" y="33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5" y="33"/>
                  </a:cubicBezTo>
                  <a:cubicBezTo>
                    <a:pt x="135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4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7" y="33"/>
                    <a:pt x="137" y="33"/>
                  </a:cubicBezTo>
                  <a:cubicBezTo>
                    <a:pt x="136" y="33"/>
                    <a:pt x="137" y="33"/>
                    <a:pt x="138" y="33"/>
                  </a:cubicBezTo>
                  <a:cubicBezTo>
                    <a:pt x="138" y="33"/>
                    <a:pt x="137" y="33"/>
                    <a:pt x="138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4"/>
                    <a:pt x="136" y="34"/>
                  </a:cubicBezTo>
                  <a:cubicBezTo>
                    <a:pt x="135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1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1" y="35"/>
                  </a:cubicBezTo>
                  <a:cubicBezTo>
                    <a:pt x="132" y="35"/>
                    <a:pt x="132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3" y="35"/>
                    <a:pt x="134" y="35"/>
                    <a:pt x="134" y="34"/>
                  </a:cubicBezTo>
                  <a:cubicBezTo>
                    <a:pt x="134" y="34"/>
                    <a:pt x="134" y="34"/>
                    <a:pt x="135" y="34"/>
                  </a:cubicBezTo>
                  <a:cubicBezTo>
                    <a:pt x="135" y="34"/>
                    <a:pt x="135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5" y="34"/>
                    <a:pt x="136" y="35"/>
                  </a:cubicBezTo>
                  <a:cubicBezTo>
                    <a:pt x="136" y="35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8" y="34"/>
                  </a:cubicBezTo>
                  <a:cubicBezTo>
                    <a:pt x="138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3"/>
                  </a:cubicBezTo>
                  <a:cubicBezTo>
                    <a:pt x="138" y="33"/>
                    <a:pt x="137" y="34"/>
                    <a:pt x="138" y="34"/>
                  </a:cubicBezTo>
                  <a:cubicBezTo>
                    <a:pt x="138" y="33"/>
                    <a:pt x="139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1" y="33"/>
                    <a:pt x="140" y="33"/>
                    <a:pt x="140" y="33"/>
                  </a:cubicBezTo>
                  <a:cubicBezTo>
                    <a:pt x="140" y="33"/>
                    <a:pt x="141" y="33"/>
                    <a:pt x="140" y="33"/>
                  </a:cubicBezTo>
                  <a:cubicBezTo>
                    <a:pt x="140" y="33"/>
                    <a:pt x="140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4"/>
                    <a:pt x="141" y="33"/>
                    <a:pt x="141" y="33"/>
                  </a:cubicBezTo>
                  <a:cubicBezTo>
                    <a:pt x="140" y="34"/>
                    <a:pt x="141" y="34"/>
                    <a:pt x="142" y="34"/>
                  </a:cubicBezTo>
                  <a:cubicBezTo>
                    <a:pt x="142" y="34"/>
                    <a:pt x="142" y="34"/>
                    <a:pt x="142" y="33"/>
                  </a:cubicBezTo>
                  <a:cubicBezTo>
                    <a:pt x="142" y="33"/>
                    <a:pt x="141" y="33"/>
                    <a:pt x="142" y="33"/>
                  </a:cubicBezTo>
                  <a:cubicBezTo>
                    <a:pt x="142" y="33"/>
                    <a:pt x="141" y="33"/>
                    <a:pt x="141" y="34"/>
                  </a:cubicBezTo>
                  <a:cubicBezTo>
                    <a:pt x="141" y="34"/>
                    <a:pt x="141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3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4"/>
                  </a:cubicBezTo>
                  <a:cubicBezTo>
                    <a:pt x="142" y="34"/>
                    <a:pt x="143" y="34"/>
                    <a:pt x="143" y="34"/>
                  </a:cubicBezTo>
                  <a:cubicBezTo>
                    <a:pt x="143" y="34"/>
                    <a:pt x="143" y="34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4" y="33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4"/>
                  </a:cubicBezTo>
                  <a:cubicBezTo>
                    <a:pt x="144" y="34"/>
                    <a:pt x="145" y="33"/>
                    <a:pt x="145" y="34"/>
                  </a:cubicBezTo>
                  <a:cubicBezTo>
                    <a:pt x="145" y="34"/>
                    <a:pt x="145" y="33"/>
                    <a:pt x="146" y="33"/>
                  </a:cubicBezTo>
                  <a:cubicBezTo>
                    <a:pt x="146" y="33"/>
                    <a:pt x="146" y="33"/>
                    <a:pt x="145" y="33"/>
                  </a:cubicBezTo>
                  <a:cubicBezTo>
                    <a:pt x="145" y="33"/>
                    <a:pt x="146" y="33"/>
                    <a:pt x="146" y="33"/>
                  </a:cubicBezTo>
                  <a:cubicBezTo>
                    <a:pt x="147" y="33"/>
                    <a:pt x="147" y="33"/>
                    <a:pt x="148" y="33"/>
                  </a:cubicBezTo>
                  <a:cubicBezTo>
                    <a:pt x="148" y="33"/>
                    <a:pt x="147" y="33"/>
                    <a:pt x="147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3" y="35"/>
                    <a:pt x="142" y="35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2" y="35"/>
                    <a:pt x="142" y="35"/>
                    <a:pt x="141" y="35"/>
                  </a:cubicBezTo>
                  <a:cubicBezTo>
                    <a:pt x="141" y="35"/>
                    <a:pt x="141" y="35"/>
                    <a:pt x="141" y="35"/>
                  </a:cubicBezTo>
                  <a:cubicBezTo>
                    <a:pt x="141" y="35"/>
                    <a:pt x="141" y="35"/>
                    <a:pt x="141" y="36"/>
                  </a:cubicBezTo>
                  <a:cubicBezTo>
                    <a:pt x="141" y="36"/>
                    <a:pt x="141" y="35"/>
                    <a:pt x="141" y="35"/>
                  </a:cubicBezTo>
                  <a:cubicBezTo>
                    <a:pt x="140" y="36"/>
                    <a:pt x="140" y="36"/>
                    <a:pt x="139" y="36"/>
                  </a:cubicBezTo>
                  <a:cubicBezTo>
                    <a:pt x="139" y="36"/>
                    <a:pt x="138" y="36"/>
                    <a:pt x="138" y="36"/>
                  </a:cubicBezTo>
                  <a:cubicBezTo>
                    <a:pt x="137" y="36"/>
                    <a:pt x="136" y="37"/>
                    <a:pt x="136" y="36"/>
                  </a:cubicBezTo>
                  <a:cubicBezTo>
                    <a:pt x="136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6" y="36"/>
                  </a:cubicBezTo>
                  <a:cubicBezTo>
                    <a:pt x="137" y="36"/>
                    <a:pt x="134" y="37"/>
                    <a:pt x="134" y="36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3" y="37"/>
                    <a:pt x="133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ubicBezTo>
                    <a:pt x="131" y="37"/>
                    <a:pt x="129" y="38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8"/>
                    <a:pt x="126" y="39"/>
                  </a:cubicBezTo>
                  <a:cubicBezTo>
                    <a:pt x="126" y="39"/>
                    <a:pt x="126" y="39"/>
                    <a:pt x="126" y="38"/>
                  </a:cubicBezTo>
                  <a:cubicBezTo>
                    <a:pt x="125" y="39"/>
                    <a:pt x="126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2" y="39"/>
                    <a:pt x="123" y="39"/>
                    <a:pt x="122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2" y="39"/>
                    <a:pt x="122" y="40"/>
                    <a:pt x="121" y="40"/>
                  </a:cubicBezTo>
                  <a:cubicBezTo>
                    <a:pt x="121" y="40"/>
                    <a:pt x="121" y="40"/>
                    <a:pt x="120" y="40"/>
                  </a:cubicBezTo>
                  <a:cubicBezTo>
                    <a:pt x="120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8" y="40"/>
                  </a:cubicBezTo>
                  <a:cubicBezTo>
                    <a:pt x="118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8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6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20" y="40"/>
                    <a:pt x="120" y="40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6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9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1" y="37"/>
                    <a:pt x="130" y="37"/>
                    <a:pt x="129" y="37"/>
                  </a:cubicBezTo>
                  <a:cubicBezTo>
                    <a:pt x="129" y="37"/>
                    <a:pt x="130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7" y="37"/>
                    <a:pt x="127" y="37"/>
                  </a:cubicBezTo>
                  <a:cubicBezTo>
                    <a:pt x="127" y="38"/>
                    <a:pt x="127" y="37"/>
                    <a:pt x="127" y="37"/>
                  </a:cubicBezTo>
                  <a:cubicBezTo>
                    <a:pt x="127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6"/>
                  </a:cubicBezTo>
                  <a:cubicBezTo>
                    <a:pt x="128" y="36"/>
                    <a:pt x="127" y="37"/>
                    <a:pt x="127" y="37"/>
                  </a:cubicBezTo>
                  <a:cubicBezTo>
                    <a:pt x="127" y="37"/>
                    <a:pt x="127" y="36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7"/>
                    <a:pt x="125" y="36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5" y="37"/>
                    <a:pt x="125" y="37"/>
                    <a:pt x="124" y="37"/>
                  </a:cubicBezTo>
                  <a:cubicBezTo>
                    <a:pt x="124" y="37"/>
                    <a:pt x="124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1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1" y="38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39"/>
                  </a:cubicBezTo>
                  <a:cubicBezTo>
                    <a:pt x="116" y="40"/>
                    <a:pt x="116" y="40"/>
                    <a:pt x="115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4" y="40"/>
                    <a:pt x="113" y="41"/>
                  </a:cubicBezTo>
                  <a:cubicBezTo>
                    <a:pt x="112" y="41"/>
                    <a:pt x="111" y="41"/>
                    <a:pt x="110" y="41"/>
                  </a:cubicBezTo>
                  <a:cubicBezTo>
                    <a:pt x="110" y="41"/>
                    <a:pt x="110" y="41"/>
                    <a:pt x="109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1" y="41"/>
                    <a:pt x="112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1" y="41"/>
                    <a:pt x="111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09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6" y="42"/>
                    <a:pt x="107" y="41"/>
                    <a:pt x="108" y="41"/>
                  </a:cubicBezTo>
                  <a:cubicBezTo>
                    <a:pt x="108" y="42"/>
                    <a:pt x="107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5" y="42"/>
                    <a:pt x="106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3"/>
                    <a:pt x="105" y="43"/>
                    <a:pt x="104" y="43"/>
                  </a:cubicBezTo>
                  <a:cubicBezTo>
                    <a:pt x="104" y="43"/>
                    <a:pt x="103" y="43"/>
                    <a:pt x="103" y="43"/>
                  </a:cubicBezTo>
                  <a:cubicBezTo>
                    <a:pt x="103" y="43"/>
                    <a:pt x="101" y="44"/>
                    <a:pt x="101" y="4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3"/>
                    <a:pt x="100" y="44"/>
                    <a:pt x="101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0" y="44"/>
                    <a:pt x="99" y="44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2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12" y="41"/>
                    <a:pt x="115" y="40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2"/>
                    <a:pt x="112" y="41"/>
                  </a:cubicBez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8" y="42"/>
                    <a:pt x="107" y="42"/>
                    <a:pt x="108" y="42"/>
                  </a:cubicBezTo>
                  <a:cubicBezTo>
                    <a:pt x="105" y="43"/>
                    <a:pt x="102" y="44"/>
                    <a:pt x="100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99" y="44"/>
                    <a:pt x="98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6" y="45"/>
                  </a:cubicBezTo>
                  <a:cubicBezTo>
                    <a:pt x="96" y="45"/>
                    <a:pt x="97" y="45"/>
                    <a:pt x="96" y="45"/>
                  </a:cubicBezTo>
                  <a:cubicBezTo>
                    <a:pt x="97" y="44"/>
                    <a:pt x="98" y="45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6" y="45"/>
                    <a:pt x="96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6" y="44"/>
                    <a:pt x="95" y="44"/>
                    <a:pt x="95" y="44"/>
                  </a:cubicBezTo>
                  <a:cubicBezTo>
                    <a:pt x="95" y="45"/>
                    <a:pt x="94" y="45"/>
                    <a:pt x="94" y="45"/>
                  </a:cubicBezTo>
                  <a:cubicBezTo>
                    <a:pt x="94" y="45"/>
                    <a:pt x="94" y="45"/>
                    <a:pt x="93" y="45"/>
                  </a:cubicBezTo>
                  <a:cubicBezTo>
                    <a:pt x="93" y="45"/>
                    <a:pt x="94" y="45"/>
                    <a:pt x="94" y="45"/>
                  </a:cubicBezTo>
                  <a:cubicBezTo>
                    <a:pt x="94" y="45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5"/>
                    <a:pt x="94" y="44"/>
                    <a:pt x="94" y="44"/>
                  </a:cubicBezTo>
                  <a:cubicBezTo>
                    <a:pt x="93" y="45"/>
                    <a:pt x="93" y="44"/>
                    <a:pt x="93" y="44"/>
                  </a:cubicBezTo>
                  <a:cubicBezTo>
                    <a:pt x="94" y="44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6" y="44"/>
                    <a:pt x="95" y="44"/>
                  </a:cubicBezTo>
                  <a:cubicBezTo>
                    <a:pt x="95" y="44"/>
                    <a:pt x="96" y="44"/>
                    <a:pt x="96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3"/>
                  </a:cubicBezTo>
                  <a:cubicBezTo>
                    <a:pt x="98" y="43"/>
                    <a:pt x="97" y="44"/>
                    <a:pt x="97" y="43"/>
                  </a:cubicBezTo>
                  <a:cubicBezTo>
                    <a:pt x="97" y="44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100" y="43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100" y="42"/>
                    <a:pt x="101" y="43"/>
                    <a:pt x="102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0" y="42"/>
                  </a:cubicBezTo>
                  <a:cubicBezTo>
                    <a:pt x="100" y="43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3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99" y="42"/>
                    <a:pt x="99" y="42"/>
                    <a:pt x="99" y="43"/>
                  </a:cubicBezTo>
                  <a:cubicBezTo>
                    <a:pt x="99" y="42"/>
                    <a:pt x="100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3"/>
                    <a:pt x="98" y="42"/>
                    <a:pt x="98" y="43"/>
                  </a:cubicBez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2"/>
                    <a:pt x="97" y="42"/>
                  </a:cubicBezTo>
                  <a:cubicBezTo>
                    <a:pt x="98" y="42"/>
                    <a:pt x="98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8" y="42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8" y="42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7" y="42"/>
                    <a:pt x="98" y="41"/>
                  </a:cubicBezTo>
                  <a:cubicBezTo>
                    <a:pt x="98" y="41"/>
                    <a:pt x="98" y="42"/>
                    <a:pt x="97" y="42"/>
                  </a:cubicBezTo>
                  <a:cubicBezTo>
                    <a:pt x="98" y="42"/>
                    <a:pt x="98" y="41"/>
                    <a:pt x="98" y="41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1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3" y="41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7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39"/>
                    <a:pt x="106" y="39"/>
                    <a:pt x="105" y="40"/>
                  </a:cubicBezTo>
                  <a:cubicBezTo>
                    <a:pt x="106" y="40"/>
                    <a:pt x="105" y="40"/>
                    <a:pt x="105" y="40"/>
                  </a:cubicBezTo>
                  <a:cubicBezTo>
                    <a:pt x="104" y="40"/>
                    <a:pt x="105" y="40"/>
                    <a:pt x="104" y="40"/>
                  </a:cubicBezTo>
                  <a:cubicBezTo>
                    <a:pt x="104" y="40"/>
                    <a:pt x="105" y="40"/>
                    <a:pt x="105" y="40"/>
                  </a:cubicBezTo>
                  <a:cubicBezTo>
                    <a:pt x="104" y="40"/>
                    <a:pt x="103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1"/>
                    <a:pt x="101" y="40"/>
                    <a:pt x="101" y="40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1"/>
                    <a:pt x="101" y="41"/>
                    <a:pt x="101" y="4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99" y="41"/>
                    <a:pt x="99" y="41"/>
                  </a:cubicBezTo>
                  <a:cubicBezTo>
                    <a:pt x="99" y="41"/>
                    <a:pt x="100" y="40"/>
                    <a:pt x="99" y="40"/>
                  </a:cubicBezTo>
                  <a:cubicBezTo>
                    <a:pt x="100" y="40"/>
                    <a:pt x="101" y="40"/>
                    <a:pt x="102" y="40"/>
                  </a:cubicBezTo>
                  <a:cubicBezTo>
                    <a:pt x="102" y="39"/>
                    <a:pt x="102" y="40"/>
                    <a:pt x="101" y="40"/>
                  </a:cubicBezTo>
                  <a:cubicBezTo>
                    <a:pt x="101" y="39"/>
                    <a:pt x="102" y="39"/>
                    <a:pt x="102" y="39"/>
                  </a:cubicBezTo>
                  <a:cubicBezTo>
                    <a:pt x="102" y="39"/>
                    <a:pt x="102" y="39"/>
                    <a:pt x="103" y="39"/>
                  </a:cubicBezTo>
                  <a:cubicBezTo>
                    <a:pt x="102" y="39"/>
                    <a:pt x="102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0" y="39"/>
                    <a:pt x="99" y="40"/>
                    <a:pt x="98" y="40"/>
                  </a:cubicBezTo>
                  <a:cubicBezTo>
                    <a:pt x="99" y="40"/>
                    <a:pt x="101" y="39"/>
                    <a:pt x="101" y="39"/>
                  </a:cubicBezTo>
                  <a:cubicBezTo>
                    <a:pt x="101" y="40"/>
                    <a:pt x="99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9" y="40"/>
                    <a:pt x="99" y="40"/>
                  </a:cubicBezTo>
                  <a:close/>
                  <a:moveTo>
                    <a:pt x="137" y="36"/>
                  </a:moveTo>
                  <a:cubicBezTo>
                    <a:pt x="137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7" y="36"/>
                  </a:cubicBezTo>
                  <a:close/>
                  <a:moveTo>
                    <a:pt x="124" y="39"/>
                  </a:move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31" y="36"/>
                  </a:move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1" y="36"/>
                    <a:pt x="130" y="36"/>
                  </a:cubicBezTo>
                  <a:cubicBezTo>
                    <a:pt x="130" y="37"/>
                    <a:pt x="131" y="36"/>
                    <a:pt x="131" y="36"/>
                  </a:cubicBezTo>
                  <a:close/>
                  <a:moveTo>
                    <a:pt x="131" y="37"/>
                  </a:move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1" y="37"/>
                    <a:pt x="131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1" y="36"/>
                  </a:cubicBezTo>
                  <a:cubicBezTo>
                    <a:pt x="131" y="37"/>
                    <a:pt x="131" y="37"/>
                    <a:pt x="132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6"/>
                  </a:cubicBezTo>
                  <a:cubicBezTo>
                    <a:pt x="133" y="36"/>
                    <a:pt x="132" y="37"/>
                    <a:pt x="132" y="37"/>
                  </a:cubicBezTo>
                  <a:close/>
                  <a:moveTo>
                    <a:pt x="140" y="35"/>
                  </a:moveTo>
                  <a:cubicBezTo>
                    <a:pt x="140" y="35"/>
                    <a:pt x="140" y="35"/>
                    <a:pt x="139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lose/>
                  <a:moveTo>
                    <a:pt x="138" y="35"/>
                  </a:moveTo>
                  <a:cubicBezTo>
                    <a:pt x="138" y="35"/>
                    <a:pt x="139" y="35"/>
                    <a:pt x="139" y="35"/>
                  </a:cubicBezTo>
                  <a:cubicBezTo>
                    <a:pt x="139" y="35"/>
                    <a:pt x="138" y="35"/>
                    <a:pt x="138" y="35"/>
                  </a:cubicBezTo>
                  <a:close/>
                  <a:moveTo>
                    <a:pt x="134" y="36"/>
                  </a:moveTo>
                  <a:cubicBezTo>
                    <a:pt x="133" y="36"/>
                    <a:pt x="133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6" y="36"/>
                    <a:pt x="138" y="35"/>
                  </a:cubicBezTo>
                  <a:cubicBezTo>
                    <a:pt x="136" y="35"/>
                    <a:pt x="135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0" y="34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41" y="34"/>
                    <a:pt x="141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0" y="34"/>
                    <a:pt x="140" y="34"/>
                  </a:cubicBezTo>
                  <a:cubicBezTo>
                    <a:pt x="140" y="34"/>
                    <a:pt x="141" y="34"/>
                    <a:pt x="141" y="34"/>
                  </a:cubicBezTo>
                  <a:close/>
                  <a:moveTo>
                    <a:pt x="136" y="35"/>
                  </a:moveTo>
                  <a:cubicBezTo>
                    <a:pt x="136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40" y="34"/>
                  </a:moveTo>
                  <a:cubicBezTo>
                    <a:pt x="140" y="34"/>
                    <a:pt x="140" y="34"/>
                    <a:pt x="140" y="34"/>
                  </a:cubicBezTo>
                  <a:cubicBezTo>
                    <a:pt x="140" y="34"/>
                    <a:pt x="140" y="33"/>
                    <a:pt x="140" y="34"/>
                  </a:cubicBezTo>
                  <a:close/>
                  <a:moveTo>
                    <a:pt x="140" y="33"/>
                  </a:moveTo>
                  <a:cubicBezTo>
                    <a:pt x="139" y="33"/>
                    <a:pt x="139" y="33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39" y="33"/>
                    <a:pt x="140" y="33"/>
                    <a:pt x="140" y="33"/>
                  </a:cubicBezTo>
                  <a:close/>
                  <a:moveTo>
                    <a:pt x="138" y="34"/>
                  </a:moveTo>
                  <a:cubicBezTo>
                    <a:pt x="138" y="34"/>
                    <a:pt x="138" y="34"/>
                    <a:pt x="139" y="34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8" y="34"/>
                    <a:pt x="138" y="33"/>
                    <a:pt x="138" y="33"/>
                  </a:cubicBezTo>
                  <a:cubicBezTo>
                    <a:pt x="138" y="34"/>
                    <a:pt x="137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lose/>
                  <a:moveTo>
                    <a:pt x="139" y="34"/>
                  </a:moveTo>
                  <a:cubicBezTo>
                    <a:pt x="139" y="34"/>
                    <a:pt x="139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lose/>
                  <a:moveTo>
                    <a:pt x="130" y="36"/>
                  </a:moveTo>
                  <a:cubicBezTo>
                    <a:pt x="130" y="35"/>
                    <a:pt x="129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3" y="36"/>
                    <a:pt x="133" y="35"/>
                  </a:cubicBezTo>
                  <a:cubicBezTo>
                    <a:pt x="133" y="35"/>
                    <a:pt x="133" y="36"/>
                    <a:pt x="133" y="36"/>
                  </a:cubicBezTo>
                  <a:cubicBezTo>
                    <a:pt x="133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6"/>
                    <a:pt x="133" y="35"/>
                  </a:cubicBezTo>
                  <a:cubicBezTo>
                    <a:pt x="134" y="35"/>
                    <a:pt x="135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2" y="36"/>
                    <a:pt x="132" y="35"/>
                    <a:pt x="132" y="36"/>
                  </a:cubicBezTo>
                  <a:cubicBezTo>
                    <a:pt x="131" y="36"/>
                    <a:pt x="131" y="36"/>
                    <a:pt x="131" y="35"/>
                  </a:cubicBezTo>
                  <a:cubicBezTo>
                    <a:pt x="131" y="35"/>
                    <a:pt x="132" y="35"/>
                    <a:pt x="132" y="35"/>
                  </a:cubicBezTo>
                  <a:cubicBezTo>
                    <a:pt x="131" y="35"/>
                    <a:pt x="130" y="35"/>
                    <a:pt x="130" y="36"/>
                  </a:cubicBezTo>
                  <a:close/>
                  <a:moveTo>
                    <a:pt x="131" y="35"/>
                  </a:moveTo>
                  <a:cubicBezTo>
                    <a:pt x="131" y="35"/>
                    <a:pt x="130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lose/>
                  <a:moveTo>
                    <a:pt x="108" y="35"/>
                  </a:moveTo>
                  <a:cubicBezTo>
                    <a:pt x="107" y="35"/>
                    <a:pt x="107" y="36"/>
                    <a:pt x="107" y="36"/>
                  </a:cubicBezTo>
                  <a:cubicBezTo>
                    <a:pt x="107" y="36"/>
                    <a:pt x="108" y="36"/>
                    <a:pt x="108" y="35"/>
                  </a:cubicBezTo>
                  <a:close/>
                  <a:moveTo>
                    <a:pt x="111" y="35"/>
                  </a:move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1" y="35"/>
                    <a:pt x="110" y="35"/>
                    <a:pt x="111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1" y="35"/>
                    <a:pt x="11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09" y="35"/>
                    <a:pt x="109" y="36"/>
                  </a:cubicBezTo>
                  <a:cubicBezTo>
                    <a:pt x="110" y="36"/>
                    <a:pt x="110" y="35"/>
                    <a:pt x="110" y="35"/>
                  </a:cubicBezTo>
                  <a:close/>
                  <a:moveTo>
                    <a:pt x="113" y="36"/>
                  </a:moveTo>
                  <a:cubicBezTo>
                    <a:pt x="114" y="36"/>
                    <a:pt x="114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3" y="36"/>
                    <a:pt x="114" y="35"/>
                  </a:cubicBezTo>
                  <a:cubicBezTo>
                    <a:pt x="114" y="35"/>
                    <a:pt x="114" y="35"/>
                    <a:pt x="115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6"/>
                  </a:cubicBezTo>
                  <a:cubicBezTo>
                    <a:pt x="113" y="35"/>
                    <a:pt x="112" y="36"/>
                    <a:pt x="113" y="35"/>
                  </a:cubicBezTo>
                  <a:cubicBezTo>
                    <a:pt x="112" y="35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2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1" y="35"/>
                    <a:pt x="120" y="35"/>
                    <a:pt x="120" y="35"/>
                  </a:cubicBezTo>
                  <a:close/>
                  <a:moveTo>
                    <a:pt x="117" y="36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7" y="35"/>
                    <a:pt x="117" y="36"/>
                  </a:cubicBezTo>
                  <a:close/>
                  <a:moveTo>
                    <a:pt x="119" y="36"/>
                  </a:moveTo>
                  <a:cubicBezTo>
                    <a:pt x="118" y="36"/>
                    <a:pt x="118" y="35"/>
                    <a:pt x="118" y="36"/>
                  </a:cubicBezTo>
                  <a:cubicBezTo>
                    <a:pt x="118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ubicBezTo>
                    <a:pt x="118" y="36"/>
                    <a:pt x="117" y="36"/>
                    <a:pt x="118" y="36"/>
                  </a:cubicBezTo>
                  <a:close/>
                  <a:moveTo>
                    <a:pt x="118" y="36"/>
                  </a:moveTo>
                  <a:cubicBezTo>
                    <a:pt x="119" y="36"/>
                    <a:pt x="119" y="36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19" y="36"/>
                    <a:pt x="119" y="36"/>
                    <a:pt x="118" y="36"/>
                  </a:cubicBezTo>
                  <a:close/>
                  <a:moveTo>
                    <a:pt x="101" y="40"/>
                  </a:moveTo>
                  <a:cubicBezTo>
                    <a:pt x="102" y="40"/>
                    <a:pt x="101" y="40"/>
                    <a:pt x="101" y="40"/>
                  </a:cubicBezTo>
                  <a:cubicBezTo>
                    <a:pt x="102" y="40"/>
                    <a:pt x="100" y="40"/>
                    <a:pt x="100" y="40"/>
                  </a:cubicBezTo>
                  <a:cubicBezTo>
                    <a:pt x="101" y="40"/>
                    <a:pt x="101" y="40"/>
                    <a:pt x="101" y="40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07" y="39"/>
                  </a:moveTo>
                  <a:cubicBezTo>
                    <a:pt x="106" y="39"/>
                    <a:pt x="107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ubicBezTo>
                    <a:pt x="106" y="38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5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lose/>
                  <a:moveTo>
                    <a:pt x="109" y="38"/>
                  </a:moveTo>
                  <a:cubicBezTo>
                    <a:pt x="109" y="38"/>
                    <a:pt x="108" y="38"/>
                    <a:pt x="108" y="38"/>
                  </a:cubicBezTo>
                  <a:cubicBezTo>
                    <a:pt x="108" y="38"/>
                    <a:pt x="107" y="38"/>
                    <a:pt x="107" y="39"/>
                  </a:cubicBezTo>
                  <a:cubicBezTo>
                    <a:pt x="108" y="39"/>
                    <a:pt x="108" y="38"/>
                    <a:pt x="108" y="38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8"/>
                    <a:pt x="109" y="39"/>
                    <a:pt x="109" y="38"/>
                  </a:cubicBezTo>
                  <a:close/>
                  <a:moveTo>
                    <a:pt x="113" y="38"/>
                  </a:move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4" y="38"/>
                  </a:cubicBezTo>
                  <a:cubicBezTo>
                    <a:pt x="114" y="38"/>
                    <a:pt x="113" y="38"/>
                    <a:pt x="114" y="38"/>
                  </a:cubicBezTo>
                  <a:cubicBezTo>
                    <a:pt x="114" y="38"/>
                    <a:pt x="114" y="38"/>
                    <a:pt x="115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5" y="37"/>
                    <a:pt x="115" y="37"/>
                    <a:pt x="114" y="37"/>
                  </a:cubicBezTo>
                  <a:cubicBezTo>
                    <a:pt x="114" y="37"/>
                    <a:pt x="113" y="37"/>
                    <a:pt x="113" y="38"/>
                  </a:cubicBezTo>
                  <a:close/>
                  <a:moveTo>
                    <a:pt x="112" y="38"/>
                  </a:moveTo>
                  <a:cubicBezTo>
                    <a:pt x="112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07" y="40"/>
                  </a:moveTo>
                  <a:cubicBezTo>
                    <a:pt x="107" y="40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8" y="40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40"/>
                  </a:cubicBezTo>
                  <a:close/>
                  <a:moveTo>
                    <a:pt x="110" y="39"/>
                  </a:moveTo>
                  <a:cubicBezTo>
                    <a:pt x="110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10" y="39"/>
                  </a:cubicBezTo>
                  <a:close/>
                  <a:moveTo>
                    <a:pt x="108" y="39"/>
                  </a:move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9" y="39"/>
                    <a:pt x="108" y="39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3" y="39"/>
                    <a:pt x="113" y="38"/>
                  </a:cubicBez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8"/>
                    <a:pt x="110" y="39"/>
                    <a:pt x="111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09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8"/>
                  </a:move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4" y="39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3" y="38"/>
                    <a:pt x="113" y="38"/>
                  </a:cubicBezTo>
                  <a:close/>
                  <a:moveTo>
                    <a:pt x="117" y="37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7" y="38"/>
                    <a:pt x="117" y="37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8" y="37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10" y="39"/>
                  </a:moveTo>
                  <a:cubicBezTo>
                    <a:pt x="110" y="40"/>
                    <a:pt x="110" y="40"/>
                    <a:pt x="111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8" y="39"/>
                  </a:cubicBezTo>
                  <a:cubicBezTo>
                    <a:pt x="109" y="39"/>
                    <a:pt x="110" y="39"/>
                    <a:pt x="110" y="39"/>
                  </a:cubicBezTo>
                  <a:close/>
                  <a:moveTo>
                    <a:pt x="113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lose/>
                  <a:moveTo>
                    <a:pt x="106" y="41"/>
                  </a:moveTo>
                  <a:cubicBezTo>
                    <a:pt x="106" y="41"/>
                    <a:pt x="105" y="41"/>
                    <a:pt x="106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6" y="41"/>
                  </a:cubicBezTo>
                  <a:close/>
                  <a:moveTo>
                    <a:pt x="108" y="40"/>
                  </a:move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8" y="40"/>
                    <a:pt x="108" y="40"/>
                  </a:cubicBezTo>
                  <a:close/>
                  <a:moveTo>
                    <a:pt x="107" y="40"/>
                  </a:moveTo>
                  <a:cubicBezTo>
                    <a:pt x="107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2" y="41"/>
                    <a:pt x="102" y="41"/>
                  </a:cubicBezTo>
                  <a:close/>
                  <a:moveTo>
                    <a:pt x="104" y="40"/>
                  </a:moveTo>
                  <a:cubicBezTo>
                    <a:pt x="104" y="41"/>
                    <a:pt x="105" y="40"/>
                    <a:pt x="105" y="40"/>
                  </a:cubicBezTo>
                  <a:cubicBezTo>
                    <a:pt x="105" y="40"/>
                    <a:pt x="105" y="40"/>
                    <a:pt x="104" y="40"/>
                  </a:cubicBezTo>
                  <a:close/>
                  <a:moveTo>
                    <a:pt x="103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3" y="41"/>
                    <a:pt x="103" y="41"/>
                  </a:cubicBezTo>
                  <a:close/>
                  <a:moveTo>
                    <a:pt x="107" y="40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1" y="41"/>
                    <a:pt x="102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lose/>
                  <a:moveTo>
                    <a:pt x="99" y="42"/>
                  </a:move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2"/>
                    <a:pt x="101" y="41"/>
                    <a:pt x="101" y="41"/>
                  </a:cubicBezTo>
                  <a:cubicBezTo>
                    <a:pt x="100" y="41"/>
                    <a:pt x="101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lose/>
                  <a:moveTo>
                    <a:pt x="99" y="42"/>
                  </a:moveTo>
                  <a:cubicBezTo>
                    <a:pt x="98" y="42"/>
                    <a:pt x="98" y="42"/>
                    <a:pt x="98" y="43"/>
                  </a:cubicBezTo>
                  <a:cubicBezTo>
                    <a:pt x="98" y="42"/>
                    <a:pt x="98" y="43"/>
                    <a:pt x="99" y="42"/>
                  </a:cubicBezTo>
                  <a:close/>
                  <a:moveTo>
                    <a:pt x="104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4" y="41"/>
                  </a:cubicBezTo>
                  <a:close/>
                  <a:moveTo>
                    <a:pt x="102" y="42"/>
                  </a:move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lose/>
                  <a:moveTo>
                    <a:pt x="102" y="42"/>
                  </a:moveTo>
                  <a:cubicBezTo>
                    <a:pt x="102" y="42"/>
                    <a:pt x="101" y="42"/>
                    <a:pt x="101" y="43"/>
                  </a:cubicBezTo>
                  <a:cubicBezTo>
                    <a:pt x="102" y="42"/>
                    <a:pt x="102" y="43"/>
                    <a:pt x="102" y="42"/>
                  </a:cubicBezTo>
                  <a:close/>
                  <a:moveTo>
                    <a:pt x="101" y="43"/>
                  </a:moveTo>
                  <a:cubicBezTo>
                    <a:pt x="101" y="43"/>
                    <a:pt x="100" y="43"/>
                    <a:pt x="101" y="43"/>
                  </a:cubicBezTo>
                  <a:cubicBezTo>
                    <a:pt x="101" y="43"/>
                    <a:pt x="101" y="43"/>
                    <a:pt x="101" y="43"/>
                  </a:cubicBezTo>
                  <a:close/>
                  <a:moveTo>
                    <a:pt x="98" y="44"/>
                  </a:move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7" y="44"/>
                    <a:pt x="97" y="44"/>
                  </a:cubicBezTo>
                  <a:cubicBezTo>
                    <a:pt x="98" y="44"/>
                    <a:pt x="98" y="44"/>
                    <a:pt x="98" y="44"/>
                  </a:cubicBezTo>
                  <a:close/>
                  <a:moveTo>
                    <a:pt x="98" y="44"/>
                  </a:moveTo>
                  <a:cubicBezTo>
                    <a:pt x="98" y="44"/>
                    <a:pt x="99" y="43"/>
                    <a:pt x="99" y="43"/>
                  </a:cubicBezTo>
                  <a:cubicBezTo>
                    <a:pt x="99" y="43"/>
                    <a:pt x="98" y="43"/>
                    <a:pt x="98" y="44"/>
                  </a:cubicBezTo>
                  <a:close/>
                  <a:moveTo>
                    <a:pt x="100" y="43"/>
                  </a:moveTo>
                  <a:cubicBezTo>
                    <a:pt x="100" y="43"/>
                    <a:pt x="100" y="43"/>
                    <a:pt x="99" y="43"/>
                  </a:cubicBezTo>
                  <a:cubicBezTo>
                    <a:pt x="99" y="43"/>
                    <a:pt x="99" y="43"/>
                    <a:pt x="99" y="44"/>
                  </a:cubicBezTo>
                  <a:cubicBezTo>
                    <a:pt x="99" y="44"/>
                    <a:pt x="98" y="44"/>
                    <a:pt x="98" y="44"/>
                  </a:cubicBezTo>
                  <a:cubicBezTo>
                    <a:pt x="98" y="44"/>
                    <a:pt x="99" y="44"/>
                    <a:pt x="100" y="43"/>
                  </a:cubicBezTo>
                  <a:cubicBezTo>
                    <a:pt x="99" y="44"/>
                    <a:pt x="99" y="44"/>
                    <a:pt x="99" y="43"/>
                  </a:cubicBezTo>
                  <a:cubicBezTo>
                    <a:pt x="100" y="43"/>
                    <a:pt x="100" y="43"/>
                    <a:pt x="100" y="43"/>
                  </a:cubicBezTo>
                  <a:close/>
                  <a:moveTo>
                    <a:pt x="104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3"/>
                    <a:pt x="103" y="42"/>
                    <a:pt x="103" y="43"/>
                  </a:cubicBezTo>
                  <a:cubicBezTo>
                    <a:pt x="103" y="42"/>
                    <a:pt x="103" y="42"/>
                    <a:pt x="104" y="42"/>
                  </a:cubicBezTo>
                  <a:close/>
                  <a:moveTo>
                    <a:pt x="105" y="42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4" y="41"/>
                  </a:cubicBezTo>
                  <a:cubicBezTo>
                    <a:pt x="104" y="41"/>
                    <a:pt x="103" y="41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2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3" y="42"/>
                    <a:pt x="103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1"/>
                    <a:pt x="106" y="41"/>
                    <a:pt x="105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6" y="41"/>
                    <a:pt x="107" y="41"/>
                  </a:cubicBezTo>
                  <a:cubicBezTo>
                    <a:pt x="107" y="41"/>
                    <a:pt x="106" y="41"/>
                    <a:pt x="107" y="41"/>
                  </a:cubicBezTo>
                  <a:cubicBezTo>
                    <a:pt x="106" y="41"/>
                    <a:pt x="106" y="41"/>
                    <a:pt x="105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7" y="41"/>
                    <a:pt x="107" y="41"/>
                  </a:cubicBezTo>
                  <a:close/>
                  <a:moveTo>
                    <a:pt x="107" y="41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7" y="41"/>
                  </a:cubicBezTo>
                  <a:close/>
                  <a:moveTo>
                    <a:pt x="108" y="41"/>
                  </a:move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13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3" y="40"/>
                    <a:pt x="113" y="40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4" y="40"/>
                    <a:pt x="114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3" y="40"/>
                    <a:pt x="113" y="40"/>
                  </a:cubicBezTo>
                  <a:cubicBezTo>
                    <a:pt x="112" y="40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5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4" y="41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4" y="40"/>
                  </a:move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lose/>
                  <a:moveTo>
                    <a:pt x="114" y="39"/>
                  </a:moveTo>
                  <a:cubicBezTo>
                    <a:pt x="114" y="39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7" y="38"/>
                    <a:pt x="116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5" y="38"/>
                  </a:cubicBezTo>
                  <a:cubicBezTo>
                    <a:pt x="115" y="38"/>
                    <a:pt x="115" y="38"/>
                    <a:pt x="114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4" y="39"/>
                    <a:pt x="115" y="38"/>
                    <a:pt x="115" y="39"/>
                  </a:cubicBezTo>
                  <a:cubicBezTo>
                    <a:pt x="114" y="39"/>
                    <a:pt x="113" y="39"/>
                    <a:pt x="114" y="39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2" y="40"/>
                  </a:cubicBezTo>
                  <a:cubicBezTo>
                    <a:pt x="112" y="40"/>
                    <a:pt x="112" y="40"/>
                    <a:pt x="112" y="39"/>
                  </a:cubicBezTo>
                  <a:cubicBezTo>
                    <a:pt x="112" y="40"/>
                    <a:pt x="111" y="40"/>
                    <a:pt x="110" y="40"/>
                  </a:cubicBezTo>
                  <a:cubicBezTo>
                    <a:pt x="111" y="40"/>
                    <a:pt x="112" y="40"/>
                    <a:pt x="113" y="40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5" y="39"/>
                    <a:pt x="115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8" y="39"/>
                    <a:pt x="117" y="39"/>
                  </a:cubicBezTo>
                  <a:cubicBezTo>
                    <a:pt x="116" y="39"/>
                    <a:pt x="115" y="39"/>
                    <a:pt x="115" y="39"/>
                  </a:cubicBezTo>
                  <a:close/>
                  <a:moveTo>
                    <a:pt x="122" y="37"/>
                  </a:moveTo>
                  <a:cubicBezTo>
                    <a:pt x="122" y="37"/>
                    <a:pt x="122" y="37"/>
                    <a:pt x="122" y="36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7"/>
                  </a:cubicBezTo>
                  <a:cubicBezTo>
                    <a:pt x="122" y="37"/>
                    <a:pt x="122" y="37"/>
                    <a:pt x="122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8" y="37"/>
                    <a:pt x="118" y="38"/>
                  </a:cubicBezTo>
                  <a:cubicBezTo>
                    <a:pt x="118" y="38"/>
                    <a:pt x="118" y="38"/>
                    <a:pt x="117" y="38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8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8" y="38"/>
                    <a:pt x="118" y="38"/>
                  </a:cubicBezTo>
                  <a:close/>
                  <a:moveTo>
                    <a:pt x="120" y="37"/>
                  </a:moveTo>
                  <a:cubicBezTo>
                    <a:pt x="121" y="37"/>
                    <a:pt x="122" y="37"/>
                    <a:pt x="123" y="37"/>
                  </a:cubicBezTo>
                  <a:cubicBezTo>
                    <a:pt x="123" y="37"/>
                    <a:pt x="123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3" y="37"/>
                  </a:moveTo>
                  <a:cubicBezTo>
                    <a:pt x="123" y="37"/>
                    <a:pt x="124" y="37"/>
                    <a:pt x="124" y="36"/>
                  </a:cubicBezTo>
                  <a:cubicBezTo>
                    <a:pt x="124" y="37"/>
                    <a:pt x="123" y="37"/>
                    <a:pt x="123" y="37"/>
                  </a:cubicBezTo>
                  <a:close/>
                  <a:moveTo>
                    <a:pt x="129" y="36"/>
                  </a:moveTo>
                  <a:cubicBezTo>
                    <a:pt x="129" y="35"/>
                    <a:pt x="129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29" y="35"/>
                    <a:pt x="130" y="35"/>
                    <a:pt x="129" y="35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30" y="35"/>
                  </a:moveTo>
                  <a:cubicBezTo>
                    <a:pt x="130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4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4" y="34"/>
                  </a:cubicBezTo>
                  <a:close/>
                  <a:moveTo>
                    <a:pt x="130" y="35"/>
                  </a:moveTo>
                  <a:cubicBezTo>
                    <a:pt x="130" y="35"/>
                    <a:pt x="129" y="35"/>
                    <a:pt x="129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5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lose/>
                  <a:moveTo>
                    <a:pt x="135" y="34"/>
                  </a:move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5" y="34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5" y="34"/>
                    <a:pt x="135" y="34"/>
                  </a:cubicBezTo>
                  <a:close/>
                  <a:moveTo>
                    <a:pt x="133" y="34"/>
                  </a:move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2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6"/>
                    <a:pt x="124" y="36"/>
                    <a:pt x="125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5" y="36"/>
                    <a:pt x="126" y="36"/>
                  </a:cubicBezTo>
                  <a:cubicBezTo>
                    <a:pt x="125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8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7" y="35"/>
                    <a:pt x="126" y="35"/>
                    <a:pt x="126" y="35"/>
                  </a:cubicBezTo>
                  <a:cubicBezTo>
                    <a:pt x="126" y="36"/>
                    <a:pt x="124" y="35"/>
                    <a:pt x="123" y="36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7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1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7"/>
                    <a:pt x="120" y="37"/>
                  </a:cubicBezTo>
                  <a:cubicBezTo>
                    <a:pt x="120" y="37"/>
                    <a:pt x="120" y="37"/>
                    <a:pt x="120" y="36"/>
                  </a:cubicBezTo>
                  <a:cubicBezTo>
                    <a:pt x="120" y="37"/>
                    <a:pt x="119" y="36"/>
                    <a:pt x="119" y="37"/>
                  </a:cubicBezTo>
                  <a:close/>
                  <a:moveTo>
                    <a:pt x="116" y="37"/>
                  </a:moveTo>
                  <a:cubicBezTo>
                    <a:pt x="115" y="37"/>
                    <a:pt x="115" y="37"/>
                    <a:pt x="115" y="38"/>
                  </a:cubicBezTo>
                  <a:cubicBezTo>
                    <a:pt x="115" y="38"/>
                    <a:pt x="116" y="38"/>
                    <a:pt x="116" y="37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ubicBezTo>
                    <a:pt x="116" y="37"/>
                    <a:pt x="116" y="37"/>
                    <a:pt x="115" y="37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lose/>
                  <a:moveTo>
                    <a:pt x="122" y="36"/>
                  </a:moveTo>
                  <a:cubicBezTo>
                    <a:pt x="122" y="36"/>
                    <a:pt x="121" y="36"/>
                    <a:pt x="121" y="36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lose/>
                  <a:moveTo>
                    <a:pt x="117" y="36"/>
                  </a:move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8" y="36"/>
                    <a:pt x="117" y="36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1" y="38"/>
                  </a:cubicBezTo>
                  <a:cubicBezTo>
                    <a:pt x="111" y="38"/>
                    <a:pt x="113" y="38"/>
                    <a:pt x="112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lose/>
                  <a:moveTo>
                    <a:pt x="108" y="38"/>
                  </a:move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lose/>
                  <a:moveTo>
                    <a:pt x="107" y="38"/>
                  </a:moveTo>
                  <a:cubicBezTo>
                    <a:pt x="107" y="38"/>
                    <a:pt x="107" y="38"/>
                    <a:pt x="107" y="39"/>
                  </a:cubicBezTo>
                  <a:cubicBezTo>
                    <a:pt x="107" y="38"/>
                    <a:pt x="107" y="38"/>
                    <a:pt x="108" y="38"/>
                  </a:cubicBezTo>
                  <a:cubicBezTo>
                    <a:pt x="107" y="38"/>
                    <a:pt x="107" y="38"/>
                    <a:pt x="107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10" y="38"/>
                    <a:pt x="110" y="37"/>
                  </a:cubicBezTo>
                  <a:cubicBezTo>
                    <a:pt x="110" y="37"/>
                    <a:pt x="109" y="38"/>
                    <a:pt x="109" y="38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40"/>
                  </a:cubicBezTo>
                  <a:cubicBezTo>
                    <a:pt x="102" y="40"/>
                    <a:pt x="102" y="39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3" y="39"/>
                    <a:pt x="103" y="39"/>
                  </a:cubicBezTo>
                  <a:cubicBezTo>
                    <a:pt x="103" y="39"/>
                    <a:pt x="103" y="40"/>
                    <a:pt x="103" y="40"/>
                  </a:cubicBezTo>
                  <a:cubicBezTo>
                    <a:pt x="103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lose/>
                  <a:moveTo>
                    <a:pt x="97" y="40"/>
                  </a:move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7" y="40"/>
                    <a:pt x="96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lose/>
                  <a:moveTo>
                    <a:pt x="120" y="34"/>
                  </a:moveTo>
                  <a:cubicBezTo>
                    <a:pt x="121" y="34"/>
                    <a:pt x="121" y="34"/>
                    <a:pt x="122" y="34"/>
                  </a:cubicBezTo>
                  <a:cubicBezTo>
                    <a:pt x="121" y="34"/>
                    <a:pt x="121" y="34"/>
                    <a:pt x="120" y="34"/>
                  </a:cubicBezTo>
                  <a:close/>
                  <a:moveTo>
                    <a:pt x="145" y="27"/>
                  </a:moveTo>
                  <a:cubicBezTo>
                    <a:pt x="146" y="27"/>
                    <a:pt x="144" y="27"/>
                    <a:pt x="144" y="27"/>
                  </a:cubicBezTo>
                  <a:cubicBezTo>
                    <a:pt x="144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6" y="27"/>
                  </a:cubicBezTo>
                  <a:cubicBezTo>
                    <a:pt x="146" y="27"/>
                    <a:pt x="145" y="27"/>
                    <a:pt x="145" y="27"/>
                  </a:cubicBezTo>
                  <a:close/>
                  <a:moveTo>
                    <a:pt x="143" y="23"/>
                  </a:moveTo>
                  <a:cubicBezTo>
                    <a:pt x="143" y="23"/>
                    <a:pt x="144" y="23"/>
                    <a:pt x="144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3" y="23"/>
                  </a:cubicBezTo>
                  <a:close/>
                  <a:moveTo>
                    <a:pt x="145" y="29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8"/>
                  </a:cubicBezTo>
                  <a:cubicBezTo>
                    <a:pt x="145" y="28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lose/>
                  <a:moveTo>
                    <a:pt x="143" y="28"/>
                  </a:moveTo>
                  <a:cubicBezTo>
                    <a:pt x="144" y="28"/>
                    <a:pt x="144" y="28"/>
                    <a:pt x="145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9"/>
                    <a:pt x="144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2" y="29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8"/>
                    <a:pt x="143" y="28"/>
                    <a:pt x="143" y="28"/>
                  </a:cubicBezTo>
                  <a:close/>
                  <a:moveTo>
                    <a:pt x="145" y="30"/>
                  </a:move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6" y="30"/>
                    <a:pt x="145" y="30"/>
                    <a:pt x="145" y="30"/>
                  </a:cubicBezTo>
                  <a:close/>
                  <a:moveTo>
                    <a:pt x="143" y="23"/>
                  </a:move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2"/>
                    <a:pt x="138" y="32"/>
                  </a:cubicBezTo>
                  <a:cubicBezTo>
                    <a:pt x="139" y="31"/>
                    <a:pt x="139" y="32"/>
                    <a:pt x="139" y="31"/>
                  </a:cubicBezTo>
                  <a:cubicBezTo>
                    <a:pt x="138" y="32"/>
                    <a:pt x="139" y="31"/>
                    <a:pt x="139" y="31"/>
                  </a:cubicBezTo>
                  <a:cubicBezTo>
                    <a:pt x="138" y="31"/>
                    <a:pt x="137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7" y="31"/>
                    <a:pt x="137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1"/>
                    <a:pt x="139" y="31"/>
                    <a:pt x="139" y="31"/>
                  </a:cubicBezTo>
                  <a:cubicBezTo>
                    <a:pt x="140" y="31"/>
                    <a:pt x="141" y="31"/>
                    <a:pt x="141" y="31"/>
                  </a:cubicBezTo>
                  <a:cubicBezTo>
                    <a:pt x="141" y="31"/>
                    <a:pt x="141" y="30"/>
                    <a:pt x="142" y="31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4" y="30"/>
                    <a:pt x="144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3" y="30"/>
                  </a:cubicBezTo>
                  <a:cubicBezTo>
                    <a:pt x="143" y="30"/>
                    <a:pt x="144" y="30"/>
                    <a:pt x="144" y="30"/>
                  </a:cubicBezTo>
                  <a:cubicBezTo>
                    <a:pt x="144" y="30"/>
                    <a:pt x="143" y="31"/>
                    <a:pt x="143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2"/>
                    <a:pt x="140" y="31"/>
                    <a:pt x="140" y="32"/>
                  </a:cubicBezTo>
                  <a:cubicBezTo>
                    <a:pt x="140" y="31"/>
                    <a:pt x="139" y="32"/>
                    <a:pt x="139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8" y="32"/>
                    <a:pt x="138" y="32"/>
                    <a:pt x="137" y="32"/>
                  </a:cubicBezTo>
                  <a:cubicBezTo>
                    <a:pt x="137" y="32"/>
                    <a:pt x="138" y="32"/>
                    <a:pt x="138" y="32"/>
                  </a:cubicBezTo>
                  <a:cubicBezTo>
                    <a:pt x="138" y="32"/>
                    <a:pt x="138" y="32"/>
                    <a:pt x="138" y="31"/>
                  </a:cubicBezTo>
                  <a:close/>
                  <a:moveTo>
                    <a:pt x="141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1" y="31"/>
                  </a:cubicBezTo>
                  <a:cubicBezTo>
                    <a:pt x="140" y="31"/>
                    <a:pt x="142" y="31"/>
                    <a:pt x="141" y="31"/>
                  </a:cubicBezTo>
                  <a:close/>
                  <a:moveTo>
                    <a:pt x="142" y="26"/>
                  </a:moveTo>
                  <a:cubicBezTo>
                    <a:pt x="143" y="26"/>
                    <a:pt x="142" y="26"/>
                    <a:pt x="143" y="26"/>
                  </a:cubicBezTo>
                  <a:cubicBezTo>
                    <a:pt x="142" y="26"/>
                    <a:pt x="142" y="26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6"/>
                    <a:pt x="142" y="26"/>
                    <a:pt x="142" y="26"/>
                  </a:cubicBezTo>
                  <a:close/>
                  <a:moveTo>
                    <a:pt x="142" y="24"/>
                  </a:moveTo>
                  <a:cubicBezTo>
                    <a:pt x="141" y="24"/>
                    <a:pt x="142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2" y="24"/>
                    <a:pt x="141" y="24"/>
                    <a:pt x="141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4"/>
                    <a:pt x="141" y="24"/>
                    <a:pt x="142" y="24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0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2" y="25"/>
                  </a:cubicBezTo>
                  <a:cubicBezTo>
                    <a:pt x="142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0" y="26"/>
                  </a:cubicBezTo>
                  <a:cubicBezTo>
                    <a:pt x="140" y="26"/>
                    <a:pt x="141" y="26"/>
                    <a:pt x="141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1" y="26"/>
                  </a:cubicBezTo>
                  <a:cubicBezTo>
                    <a:pt x="140" y="26"/>
                    <a:pt x="139" y="26"/>
                    <a:pt x="138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6"/>
                    <a:pt x="140" y="25"/>
                    <a:pt x="140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8" y="26"/>
                    <a:pt x="138" y="26"/>
                    <a:pt x="137" y="26"/>
                  </a:cubicBezTo>
                  <a:cubicBezTo>
                    <a:pt x="137" y="26"/>
                    <a:pt x="137" y="26"/>
                    <a:pt x="136" y="26"/>
                  </a:cubicBezTo>
                  <a:cubicBezTo>
                    <a:pt x="137" y="26"/>
                    <a:pt x="139" y="25"/>
                    <a:pt x="140" y="25"/>
                  </a:cubicBezTo>
                  <a:cubicBezTo>
                    <a:pt x="140" y="25"/>
                    <a:pt x="141" y="25"/>
                    <a:pt x="142" y="25"/>
                  </a:cubicBezTo>
                  <a:cubicBezTo>
                    <a:pt x="142" y="25"/>
                    <a:pt x="142" y="25"/>
                    <a:pt x="141" y="25"/>
                  </a:cubicBezTo>
                  <a:cubicBezTo>
                    <a:pt x="142" y="25"/>
                    <a:pt x="141" y="25"/>
                    <a:pt x="141" y="24"/>
                  </a:cubicBezTo>
                  <a:cubicBezTo>
                    <a:pt x="141" y="24"/>
                    <a:pt x="141" y="24"/>
                    <a:pt x="142" y="24"/>
                  </a:cubicBezTo>
                  <a:cubicBezTo>
                    <a:pt x="142" y="25"/>
                    <a:pt x="142" y="25"/>
                    <a:pt x="142" y="25"/>
                  </a:cubicBezTo>
                  <a:close/>
                  <a:moveTo>
                    <a:pt x="141" y="27"/>
                  </a:move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7"/>
                    <a:pt x="141" y="27"/>
                    <a:pt x="141" y="27"/>
                  </a:cubicBezTo>
                  <a:close/>
                  <a:moveTo>
                    <a:pt x="140" y="27"/>
                  </a:moveTo>
                  <a:cubicBezTo>
                    <a:pt x="140" y="28"/>
                    <a:pt x="140" y="27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39" y="28"/>
                    <a:pt x="140" y="28"/>
                    <a:pt x="140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40" y="28"/>
                    <a:pt x="140" y="27"/>
                    <a:pt x="140" y="27"/>
                  </a:cubicBezTo>
                  <a:close/>
                  <a:moveTo>
                    <a:pt x="139" y="27"/>
                  </a:move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7"/>
                    <a:pt x="139" y="27"/>
                    <a:pt x="139" y="27"/>
                  </a:cubicBezTo>
                  <a:close/>
                  <a:moveTo>
                    <a:pt x="139" y="33"/>
                  </a:moveTo>
                  <a:cubicBezTo>
                    <a:pt x="139" y="33"/>
                    <a:pt x="139" y="33"/>
                    <a:pt x="139" y="33"/>
                  </a:cubicBezTo>
                  <a:cubicBezTo>
                    <a:pt x="138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40" y="32"/>
                    <a:pt x="140" y="3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lose/>
                  <a:moveTo>
                    <a:pt x="137" y="29"/>
                  </a:move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30"/>
                  </a:cubicBezTo>
                  <a:cubicBezTo>
                    <a:pt x="136" y="30"/>
                    <a:pt x="136" y="29"/>
                    <a:pt x="136" y="30"/>
                  </a:cubicBezTo>
                  <a:cubicBezTo>
                    <a:pt x="136" y="30"/>
                    <a:pt x="136" y="29"/>
                    <a:pt x="136" y="29"/>
                  </a:cubicBezTo>
                  <a:cubicBezTo>
                    <a:pt x="136" y="29"/>
                    <a:pt x="136" y="29"/>
                    <a:pt x="137" y="29"/>
                  </a:cubicBezTo>
                  <a:cubicBezTo>
                    <a:pt x="137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5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7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9" y="28"/>
                    <a:pt x="138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28"/>
                    <a:pt x="137" y="29"/>
                    <a:pt x="137" y="29"/>
                  </a:cubicBezTo>
                  <a:close/>
                  <a:moveTo>
                    <a:pt x="136" y="28"/>
                  </a:moveTo>
                  <a:cubicBezTo>
                    <a:pt x="137" y="28"/>
                    <a:pt x="137" y="28"/>
                    <a:pt x="137" y="27"/>
                  </a:cubicBezTo>
                  <a:cubicBezTo>
                    <a:pt x="137" y="28"/>
                    <a:pt x="137" y="28"/>
                    <a:pt x="138" y="27"/>
                  </a:cubicBezTo>
                  <a:cubicBezTo>
                    <a:pt x="138" y="27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6" y="28"/>
                    <a:pt x="136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2" y="27"/>
                  </a:move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1" y="26"/>
                  </a:moveTo>
                  <a:cubicBezTo>
                    <a:pt x="132" y="26"/>
                    <a:pt x="132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5" y="25"/>
                    <a:pt x="135" y="25"/>
                  </a:cubicBezTo>
                  <a:cubicBezTo>
                    <a:pt x="135" y="25"/>
                    <a:pt x="134" y="25"/>
                    <a:pt x="134" y="26"/>
                  </a:cubicBezTo>
                  <a:cubicBezTo>
                    <a:pt x="134" y="26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4" y="26"/>
                    <a:pt x="135" y="26"/>
                  </a:cubicBezTo>
                  <a:cubicBezTo>
                    <a:pt x="135" y="26"/>
                    <a:pt x="134" y="26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3" y="26"/>
                    <a:pt x="132" y="26"/>
                    <a:pt x="132" y="26"/>
                  </a:cubicBezTo>
                  <a:cubicBezTo>
                    <a:pt x="132" y="26"/>
                    <a:pt x="131" y="27"/>
                    <a:pt x="131" y="26"/>
                  </a:cubicBezTo>
                  <a:close/>
                  <a:moveTo>
                    <a:pt x="133" y="26"/>
                  </a:moveTo>
                  <a:cubicBezTo>
                    <a:pt x="133" y="26"/>
                    <a:pt x="134" y="26"/>
                    <a:pt x="134" y="26"/>
                  </a:cubicBezTo>
                  <a:cubicBezTo>
                    <a:pt x="134" y="26"/>
                    <a:pt x="133" y="26"/>
                    <a:pt x="133" y="26"/>
                  </a:cubicBezTo>
                  <a:close/>
                  <a:moveTo>
                    <a:pt x="136" y="29"/>
                  </a:move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6" y="29"/>
                    <a:pt x="136" y="29"/>
                  </a:cubicBezTo>
                  <a:close/>
                  <a:moveTo>
                    <a:pt x="133" y="28"/>
                  </a:moveTo>
                  <a:cubicBezTo>
                    <a:pt x="133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4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8"/>
                    <a:pt x="135" y="29"/>
                    <a:pt x="134" y="29"/>
                  </a:cubicBezTo>
                  <a:cubicBezTo>
                    <a:pt x="134" y="29"/>
                    <a:pt x="134" y="29"/>
                    <a:pt x="135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3" y="29"/>
                  </a:cubicBezTo>
                  <a:cubicBezTo>
                    <a:pt x="132" y="29"/>
                    <a:pt x="133" y="30"/>
                    <a:pt x="132" y="30"/>
                  </a:cubicBezTo>
                  <a:cubicBezTo>
                    <a:pt x="132" y="30"/>
                    <a:pt x="132" y="30"/>
                    <a:pt x="132" y="29"/>
                  </a:cubicBezTo>
                  <a:cubicBezTo>
                    <a:pt x="132" y="29"/>
                    <a:pt x="131" y="30"/>
                    <a:pt x="131" y="30"/>
                  </a:cubicBezTo>
                  <a:cubicBezTo>
                    <a:pt x="130" y="30"/>
                    <a:pt x="131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29" y="30"/>
                    <a:pt x="129" y="30"/>
                  </a:cubicBezTo>
                  <a:cubicBezTo>
                    <a:pt x="129" y="30"/>
                    <a:pt x="130" y="30"/>
                    <a:pt x="130" y="29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1" y="30"/>
                    <a:pt x="131" y="29"/>
                    <a:pt x="131" y="29"/>
                  </a:cubicBezTo>
                  <a:cubicBezTo>
                    <a:pt x="132" y="29"/>
                    <a:pt x="131" y="29"/>
                    <a:pt x="131" y="29"/>
                  </a:cubicBezTo>
                  <a:cubicBezTo>
                    <a:pt x="132" y="29"/>
                    <a:pt x="133" y="29"/>
                    <a:pt x="134" y="29"/>
                  </a:cubicBezTo>
                  <a:cubicBezTo>
                    <a:pt x="134" y="29"/>
                    <a:pt x="134" y="28"/>
                    <a:pt x="133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3" y="26"/>
                    <a:pt x="134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3" y="27"/>
                  </a:moveTo>
                  <a:cubicBezTo>
                    <a:pt x="133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lose/>
                  <a:moveTo>
                    <a:pt x="134" y="32"/>
                  </a:moveTo>
                  <a:cubicBezTo>
                    <a:pt x="134" y="32"/>
                    <a:pt x="135" y="32"/>
                    <a:pt x="135" y="32"/>
                  </a:cubicBezTo>
                  <a:cubicBezTo>
                    <a:pt x="135" y="32"/>
                    <a:pt x="135" y="32"/>
                    <a:pt x="136" y="32"/>
                  </a:cubicBezTo>
                  <a:cubicBezTo>
                    <a:pt x="135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lose/>
                  <a:moveTo>
                    <a:pt x="132" y="30"/>
                  </a:moveTo>
                  <a:cubicBezTo>
                    <a:pt x="133" y="30"/>
                    <a:pt x="133" y="30"/>
                    <a:pt x="132" y="30"/>
                  </a:cubicBezTo>
                  <a:cubicBezTo>
                    <a:pt x="133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5" y="30"/>
                    <a:pt x="134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4" y="30"/>
                    <a:pt x="134" y="30"/>
                    <a:pt x="133" y="30"/>
                  </a:cubicBezTo>
                  <a:cubicBezTo>
                    <a:pt x="134" y="30"/>
                    <a:pt x="132" y="31"/>
                    <a:pt x="131" y="31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4" y="31"/>
                  </a:move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5" y="31"/>
                    <a:pt x="135" y="32"/>
                  </a:cubicBezTo>
                  <a:cubicBezTo>
                    <a:pt x="134" y="32"/>
                    <a:pt x="134" y="32"/>
                    <a:pt x="133" y="32"/>
                  </a:cubicBezTo>
                  <a:cubicBezTo>
                    <a:pt x="133" y="32"/>
                    <a:pt x="134" y="32"/>
                    <a:pt x="134" y="32"/>
                  </a:cubicBezTo>
                  <a:cubicBezTo>
                    <a:pt x="134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4" y="31"/>
                  </a:cubicBezTo>
                  <a:close/>
                  <a:moveTo>
                    <a:pt x="135" y="33"/>
                  </a:moveTo>
                  <a:cubicBezTo>
                    <a:pt x="135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5" y="33"/>
                  </a:cubicBezTo>
                  <a:close/>
                  <a:moveTo>
                    <a:pt x="132" y="28"/>
                  </a:moveTo>
                  <a:cubicBezTo>
                    <a:pt x="133" y="27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3" y="28"/>
                    <a:pt x="132" y="28"/>
                  </a:cubicBezTo>
                  <a:close/>
                  <a:moveTo>
                    <a:pt x="130" y="33"/>
                  </a:moveTo>
                  <a:cubicBezTo>
                    <a:pt x="130" y="32"/>
                    <a:pt x="129" y="33"/>
                    <a:pt x="129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1" y="32"/>
                    <a:pt x="131" y="32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32" y="32"/>
                    <a:pt x="132" y="32"/>
                    <a:pt x="133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1" y="32"/>
                    <a:pt x="131" y="33"/>
                  </a:cubicBezTo>
                  <a:cubicBezTo>
                    <a:pt x="130" y="33"/>
                    <a:pt x="129" y="33"/>
                    <a:pt x="129" y="33"/>
                  </a:cubicBezTo>
                  <a:cubicBezTo>
                    <a:pt x="129" y="33"/>
                    <a:pt x="130" y="33"/>
                    <a:pt x="130" y="33"/>
                  </a:cubicBezTo>
                  <a:close/>
                  <a:moveTo>
                    <a:pt x="132" y="28"/>
                  </a:moveTo>
                  <a:cubicBezTo>
                    <a:pt x="132" y="28"/>
                    <a:pt x="132" y="28"/>
                    <a:pt x="132" y="27"/>
                  </a:cubicBezTo>
                  <a:cubicBezTo>
                    <a:pt x="132" y="27"/>
                    <a:pt x="131" y="28"/>
                    <a:pt x="131" y="28"/>
                  </a:cubicBezTo>
                  <a:cubicBezTo>
                    <a:pt x="131" y="28"/>
                    <a:pt x="131" y="27"/>
                    <a:pt x="131" y="27"/>
                  </a:cubicBezTo>
                  <a:cubicBezTo>
                    <a:pt x="130" y="28"/>
                    <a:pt x="130" y="28"/>
                    <a:pt x="129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7" y="29"/>
                  </a:cubicBezTo>
                  <a:cubicBezTo>
                    <a:pt x="126" y="28"/>
                    <a:pt x="127" y="28"/>
                    <a:pt x="128" y="28"/>
                  </a:cubicBezTo>
                  <a:cubicBezTo>
                    <a:pt x="129" y="28"/>
                    <a:pt x="130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lose/>
                  <a:moveTo>
                    <a:pt x="130" y="32"/>
                  </a:moveTo>
                  <a:cubicBezTo>
                    <a:pt x="130" y="32"/>
                    <a:pt x="131" y="32"/>
                    <a:pt x="130" y="32"/>
                  </a:cubicBezTo>
                  <a:cubicBezTo>
                    <a:pt x="130" y="32"/>
                    <a:pt x="130" y="32"/>
                    <a:pt x="129" y="32"/>
                  </a:cubicBezTo>
                  <a:cubicBezTo>
                    <a:pt x="130" y="32"/>
                    <a:pt x="132" y="31"/>
                    <a:pt x="133" y="31"/>
                  </a:cubicBezTo>
                  <a:cubicBezTo>
                    <a:pt x="132" y="32"/>
                    <a:pt x="131" y="32"/>
                    <a:pt x="130" y="32"/>
                  </a:cubicBezTo>
                  <a:close/>
                  <a:moveTo>
                    <a:pt x="130" y="27"/>
                  </a:moveTo>
                  <a:cubicBezTo>
                    <a:pt x="130" y="27"/>
                    <a:pt x="130" y="27"/>
                    <a:pt x="131" y="27"/>
                  </a:cubicBezTo>
                  <a:cubicBezTo>
                    <a:pt x="130" y="27"/>
                    <a:pt x="130" y="27"/>
                    <a:pt x="130" y="27"/>
                  </a:cubicBezTo>
                  <a:close/>
                  <a:moveTo>
                    <a:pt x="130" y="34"/>
                  </a:move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7" y="30"/>
                  </a:cubicBezTo>
                  <a:cubicBezTo>
                    <a:pt x="128" y="30"/>
                    <a:pt x="126" y="31"/>
                    <a:pt x="126" y="31"/>
                  </a:cubicBezTo>
                  <a:cubicBezTo>
                    <a:pt x="126" y="31"/>
                    <a:pt x="127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lose/>
                  <a:moveTo>
                    <a:pt x="126" y="27"/>
                  </a:moveTo>
                  <a:cubicBezTo>
                    <a:pt x="126" y="27"/>
                    <a:pt x="126" y="27"/>
                    <a:pt x="126" y="27"/>
                  </a:cubicBezTo>
                  <a:cubicBezTo>
                    <a:pt x="126" y="27"/>
                    <a:pt x="126" y="27"/>
                    <a:pt x="125" y="27"/>
                  </a:cubicBezTo>
                  <a:cubicBezTo>
                    <a:pt x="125" y="27"/>
                    <a:pt x="126" y="27"/>
                    <a:pt x="126" y="27"/>
                  </a:cubicBezTo>
                  <a:close/>
                  <a:moveTo>
                    <a:pt x="127" y="30"/>
                  </a:moveTo>
                  <a:cubicBezTo>
                    <a:pt x="127" y="30"/>
                    <a:pt x="127" y="30"/>
                    <a:pt x="126" y="30"/>
                  </a:cubicBezTo>
                  <a:cubicBezTo>
                    <a:pt x="126" y="30"/>
                    <a:pt x="127" y="30"/>
                    <a:pt x="127" y="30"/>
                  </a:cubicBezTo>
                  <a:close/>
                  <a:moveTo>
                    <a:pt x="126" y="38"/>
                  </a:moveTo>
                  <a:cubicBezTo>
                    <a:pt x="126" y="37"/>
                    <a:pt x="125" y="38"/>
                    <a:pt x="125" y="38"/>
                  </a:cubicBezTo>
                  <a:cubicBezTo>
                    <a:pt x="125" y="38"/>
                    <a:pt x="125" y="38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3" y="38"/>
                    <a:pt x="123" y="38"/>
                  </a:cubicBezTo>
                  <a:cubicBezTo>
                    <a:pt x="124" y="38"/>
                    <a:pt x="124" y="37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1" y="30"/>
                  </a:moveTo>
                  <a:cubicBezTo>
                    <a:pt x="122" y="30"/>
                    <a:pt x="122" y="30"/>
                    <a:pt x="122" y="29"/>
                  </a:cubicBezTo>
                  <a:cubicBezTo>
                    <a:pt x="122" y="30"/>
                    <a:pt x="122" y="29"/>
                    <a:pt x="123" y="29"/>
                  </a:cubicBezTo>
                  <a:cubicBezTo>
                    <a:pt x="123" y="29"/>
                    <a:pt x="123" y="30"/>
                    <a:pt x="122" y="29"/>
                  </a:cubicBezTo>
                  <a:cubicBezTo>
                    <a:pt x="122" y="30"/>
                    <a:pt x="122" y="30"/>
                    <a:pt x="123" y="30"/>
                  </a:cubicBezTo>
                  <a:cubicBezTo>
                    <a:pt x="122" y="30"/>
                    <a:pt x="122" y="30"/>
                    <a:pt x="121" y="30"/>
                  </a:cubicBezTo>
                  <a:close/>
                  <a:moveTo>
                    <a:pt x="122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lose/>
                  <a:moveTo>
                    <a:pt x="118" y="29"/>
                  </a:move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8" y="29"/>
                    <a:pt x="117" y="29"/>
                  </a:cubicBezTo>
                  <a:cubicBezTo>
                    <a:pt x="118" y="29"/>
                    <a:pt x="120" y="29"/>
                    <a:pt x="121" y="28"/>
                  </a:cubicBezTo>
                  <a:cubicBezTo>
                    <a:pt x="121" y="28"/>
                    <a:pt x="121" y="28"/>
                    <a:pt x="120" y="29"/>
                  </a:cubicBez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0" y="29"/>
                    <a:pt x="120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29"/>
                    <a:pt x="119" y="29"/>
                  </a:cubicBezTo>
                  <a:cubicBezTo>
                    <a:pt x="119" y="29"/>
                    <a:pt x="118" y="29"/>
                    <a:pt x="118" y="29"/>
                  </a:cubicBezTo>
                  <a:close/>
                  <a:moveTo>
                    <a:pt x="121" y="30"/>
                  </a:moveTo>
                  <a:cubicBezTo>
                    <a:pt x="121" y="30"/>
                    <a:pt x="121" y="30"/>
                    <a:pt x="120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2" y="30"/>
                    <a:pt x="121" y="30"/>
                    <a:pt x="121" y="30"/>
                  </a:cubicBezTo>
                  <a:close/>
                  <a:moveTo>
                    <a:pt x="116" y="32"/>
                  </a:moveTo>
                  <a:cubicBezTo>
                    <a:pt x="118" y="31"/>
                    <a:pt x="119" y="31"/>
                    <a:pt x="120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20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20" y="32"/>
                    <a:pt x="120" y="31"/>
                    <a:pt x="120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1"/>
                    <a:pt x="120" y="32"/>
                  </a:cubicBezTo>
                  <a:cubicBezTo>
                    <a:pt x="120" y="32"/>
                    <a:pt x="121" y="32"/>
                    <a:pt x="121" y="32"/>
                  </a:cubicBezTo>
                  <a:cubicBezTo>
                    <a:pt x="120" y="32"/>
                    <a:pt x="120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7" y="32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5" y="33"/>
                    <a:pt x="114" y="33"/>
                  </a:cubicBezTo>
                  <a:cubicBezTo>
                    <a:pt x="114" y="33"/>
                    <a:pt x="115" y="33"/>
                    <a:pt x="115" y="33"/>
                  </a:cubicBezTo>
                  <a:cubicBezTo>
                    <a:pt x="115" y="32"/>
                    <a:pt x="115" y="32"/>
                    <a:pt x="115" y="33"/>
                  </a:cubicBezTo>
                  <a:cubicBezTo>
                    <a:pt x="115" y="32"/>
                    <a:pt x="116" y="32"/>
                    <a:pt x="116" y="32"/>
                  </a:cubicBezTo>
                  <a:cubicBezTo>
                    <a:pt x="116" y="32"/>
                    <a:pt x="117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7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lose/>
                  <a:moveTo>
                    <a:pt x="120" y="30"/>
                  </a:move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1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lose/>
                  <a:moveTo>
                    <a:pt x="118" y="33"/>
                  </a:move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7" y="33"/>
                    <a:pt x="118" y="33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7" y="33"/>
                    <a:pt x="118" y="33"/>
                  </a:cubicBezTo>
                  <a:close/>
                  <a:moveTo>
                    <a:pt x="113" y="37"/>
                  </a:moveTo>
                  <a:cubicBezTo>
                    <a:pt x="113" y="37"/>
                    <a:pt x="113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3" y="37"/>
                    <a:pt x="113" y="37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2"/>
                  </a:cubicBezTo>
                  <a:cubicBezTo>
                    <a:pt x="109" y="32"/>
                    <a:pt x="109" y="33"/>
                    <a:pt x="108" y="33"/>
                  </a:cubicBezTo>
                  <a:cubicBezTo>
                    <a:pt x="109" y="32"/>
                    <a:pt x="107" y="33"/>
                    <a:pt x="107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8" y="32"/>
                    <a:pt x="109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1" y="32"/>
                    <a:pt x="110" y="32"/>
                    <a:pt x="111" y="32"/>
                  </a:cubicBezTo>
                  <a:cubicBezTo>
                    <a:pt x="110" y="32"/>
                    <a:pt x="109" y="33"/>
                    <a:pt x="109" y="33"/>
                  </a:cubicBezTo>
                  <a:close/>
                  <a:moveTo>
                    <a:pt x="109" y="32"/>
                  </a:moveTo>
                  <a:cubicBezTo>
                    <a:pt x="109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2"/>
                    <a:pt x="109" y="32"/>
                  </a:cubicBezTo>
                  <a:close/>
                  <a:moveTo>
                    <a:pt x="110" y="42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7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5" y="38"/>
                    <a:pt x="106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4" y="38"/>
                    <a:pt x="103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5" y="37"/>
                    <a:pt x="106" y="37"/>
                  </a:cubicBezTo>
                  <a:close/>
                  <a:moveTo>
                    <a:pt x="109" y="37"/>
                  </a:move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7" y="37"/>
                  </a:cubicBezTo>
                  <a:cubicBezTo>
                    <a:pt x="108" y="37"/>
                    <a:pt x="108" y="37"/>
                    <a:pt x="109" y="37"/>
                  </a:cubicBezTo>
                  <a:close/>
                  <a:moveTo>
                    <a:pt x="108" y="42"/>
                  </a:move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9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2"/>
                    <a:pt x="107" y="42"/>
                    <a:pt x="106" y="42"/>
                  </a:cubicBezTo>
                  <a:cubicBezTo>
                    <a:pt x="107" y="42"/>
                    <a:pt x="108" y="42"/>
                    <a:pt x="108" y="42"/>
                  </a:cubicBezTo>
                  <a:close/>
                  <a:moveTo>
                    <a:pt x="105" y="33"/>
                  </a:moveTo>
                  <a:cubicBezTo>
                    <a:pt x="105" y="33"/>
                    <a:pt x="104" y="33"/>
                    <a:pt x="104" y="34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3" y="33"/>
                  </a:cubicBezTo>
                  <a:cubicBezTo>
                    <a:pt x="103" y="33"/>
                    <a:pt x="104" y="33"/>
                    <a:pt x="104" y="33"/>
                  </a:cubicBezTo>
                  <a:cubicBezTo>
                    <a:pt x="104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6" y="33"/>
                    <a:pt x="105" y="33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8" y="43"/>
                  </a:cubicBezTo>
                  <a:cubicBezTo>
                    <a:pt x="108" y="43"/>
                    <a:pt x="107" y="43"/>
                    <a:pt x="107" y="43"/>
                  </a:cubicBezTo>
                  <a:close/>
                  <a:moveTo>
                    <a:pt x="98" y="43"/>
                  </a:move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8" y="43"/>
                    <a:pt x="99" y="43"/>
                    <a:pt x="99" y="43"/>
                  </a:cubicBezTo>
                  <a:cubicBezTo>
                    <a:pt x="99" y="43"/>
                    <a:pt x="98" y="43"/>
                    <a:pt x="98" y="43"/>
                  </a:cubicBezTo>
                  <a:close/>
                  <a:moveTo>
                    <a:pt x="91" y="44"/>
                  </a:moveTo>
                  <a:cubicBezTo>
                    <a:pt x="91" y="44"/>
                    <a:pt x="92" y="44"/>
                    <a:pt x="92" y="44"/>
                  </a:cubicBezTo>
                  <a:cubicBezTo>
                    <a:pt x="92" y="44"/>
                    <a:pt x="92" y="44"/>
                    <a:pt x="93" y="43"/>
                  </a:cubicBezTo>
                  <a:cubicBezTo>
                    <a:pt x="93" y="44"/>
                    <a:pt x="92" y="44"/>
                    <a:pt x="93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2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97" y="44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4"/>
                    <a:pt x="97" y="44"/>
                  </a:cubicBezTo>
                  <a:cubicBezTo>
                    <a:pt x="97" y="44"/>
                    <a:pt x="96" y="44"/>
                    <a:pt x="97" y="44"/>
                  </a:cubicBezTo>
                  <a:close/>
                  <a:moveTo>
                    <a:pt x="92" y="43"/>
                  </a:moveTo>
                  <a:cubicBezTo>
                    <a:pt x="92" y="42"/>
                    <a:pt x="92" y="42"/>
                    <a:pt x="93" y="42"/>
                  </a:cubicBezTo>
                  <a:cubicBezTo>
                    <a:pt x="93" y="42"/>
                    <a:pt x="92" y="42"/>
                    <a:pt x="92" y="42"/>
                  </a:cubicBezTo>
                  <a:cubicBezTo>
                    <a:pt x="92" y="43"/>
                    <a:pt x="92" y="42"/>
                    <a:pt x="93" y="42"/>
                  </a:cubicBezTo>
                  <a:cubicBezTo>
                    <a:pt x="92" y="43"/>
                    <a:pt x="92" y="43"/>
                    <a:pt x="92" y="43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90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3"/>
                  </a:cubicBezTo>
                  <a:cubicBezTo>
                    <a:pt x="89" y="43"/>
                    <a:pt x="88" y="44"/>
                    <a:pt x="88" y="44"/>
                  </a:cubicBezTo>
                  <a:cubicBezTo>
                    <a:pt x="88" y="44"/>
                    <a:pt x="88" y="43"/>
                    <a:pt x="89" y="43"/>
                  </a:cubicBezTo>
                  <a:cubicBezTo>
                    <a:pt x="89" y="43"/>
                    <a:pt x="89" y="43"/>
                    <a:pt x="88" y="43"/>
                  </a:cubicBezTo>
                  <a:cubicBezTo>
                    <a:pt x="89" y="43"/>
                    <a:pt x="89" y="43"/>
                    <a:pt x="90" y="43"/>
                  </a:cubicBezTo>
                  <a:cubicBezTo>
                    <a:pt x="90" y="43"/>
                    <a:pt x="89" y="43"/>
                    <a:pt x="90" y="43"/>
                  </a:cubicBezTo>
                  <a:cubicBezTo>
                    <a:pt x="90" y="43"/>
                    <a:pt x="90" y="43"/>
                    <a:pt x="91" y="43"/>
                  </a:cubicBezTo>
                  <a:cubicBezTo>
                    <a:pt x="90" y="43"/>
                    <a:pt x="90" y="43"/>
                    <a:pt x="89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91" y="43"/>
                    <a:pt x="91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1" y="43"/>
                    <a:pt x="90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3" y="43"/>
                    <a:pt x="92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4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5" y="42"/>
                    <a:pt x="95" y="42"/>
                  </a:cubicBezTo>
                  <a:cubicBezTo>
                    <a:pt x="95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2" y="43"/>
                    <a:pt x="92" y="43"/>
                    <a:pt x="92" y="44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0" y="44"/>
                    <a:pt x="90" y="43"/>
                  </a:cubicBezTo>
                  <a:cubicBezTo>
                    <a:pt x="90" y="44"/>
                    <a:pt x="90" y="44"/>
                    <a:pt x="89" y="44"/>
                  </a:cubicBezTo>
                  <a:close/>
                  <a:moveTo>
                    <a:pt x="93" y="43"/>
                  </a:move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lose/>
                  <a:moveTo>
                    <a:pt x="97" y="43"/>
                  </a:moveTo>
                  <a:cubicBezTo>
                    <a:pt x="96" y="44"/>
                    <a:pt x="96" y="43"/>
                    <a:pt x="96" y="43"/>
                  </a:cubicBezTo>
                  <a:cubicBezTo>
                    <a:pt x="96" y="43"/>
                    <a:pt x="97" y="43"/>
                    <a:pt x="97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3" y="42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3" y="42"/>
                    <a:pt x="94" y="42"/>
                    <a:pt x="94" y="42"/>
                  </a:cubicBezTo>
                  <a:cubicBezTo>
                    <a:pt x="94" y="42"/>
                    <a:pt x="95" y="41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5" y="45"/>
                  </a:moveTo>
                  <a:cubicBezTo>
                    <a:pt x="95" y="45"/>
                    <a:pt x="94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5" y="45"/>
                    <a:pt x="94" y="45"/>
                  </a:cubicBezTo>
                  <a:cubicBezTo>
                    <a:pt x="94" y="45"/>
                    <a:pt x="95" y="45"/>
                    <a:pt x="95" y="45"/>
                  </a:cubicBezTo>
                  <a:close/>
                  <a:moveTo>
                    <a:pt x="92" y="39"/>
                  </a:move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39"/>
                    <a:pt x="92" y="40"/>
                    <a:pt x="92" y="39"/>
                  </a:cubicBezTo>
                  <a:close/>
                  <a:moveTo>
                    <a:pt x="95" y="45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6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5" y="45"/>
                  </a:cubicBezTo>
                  <a:close/>
                  <a:moveTo>
                    <a:pt x="93" y="45"/>
                  </a:moveTo>
                  <a:cubicBezTo>
                    <a:pt x="93" y="45"/>
                    <a:pt x="93" y="45"/>
                    <a:pt x="92" y="45"/>
                  </a:cubicBezTo>
                  <a:cubicBezTo>
                    <a:pt x="92" y="45"/>
                    <a:pt x="93" y="45"/>
                    <a:pt x="92" y="45"/>
                  </a:cubicBezTo>
                  <a:cubicBezTo>
                    <a:pt x="92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lose/>
                  <a:moveTo>
                    <a:pt x="89" y="46"/>
                  </a:moveTo>
                  <a:cubicBezTo>
                    <a:pt x="89" y="46"/>
                    <a:pt x="88" y="46"/>
                    <a:pt x="88" y="46"/>
                  </a:cubicBezTo>
                  <a:cubicBezTo>
                    <a:pt x="89" y="46"/>
                    <a:pt x="90" y="45"/>
                    <a:pt x="90" y="45"/>
                  </a:cubicBezTo>
                  <a:cubicBezTo>
                    <a:pt x="90" y="45"/>
                    <a:pt x="92" y="45"/>
                    <a:pt x="9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0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9" y="46"/>
                    <a:pt x="89" y="46"/>
                  </a:cubicBezTo>
                  <a:cubicBezTo>
                    <a:pt x="89" y="46"/>
                    <a:pt x="88" y="46"/>
                    <a:pt x="88" y="46"/>
                  </a:cubicBezTo>
                  <a:cubicBezTo>
                    <a:pt x="87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6" y="46"/>
                  </a:cubicBezTo>
                  <a:cubicBezTo>
                    <a:pt x="87" y="46"/>
                    <a:pt x="88" y="46"/>
                    <a:pt x="89" y="46"/>
                  </a:cubicBezTo>
                  <a:close/>
                  <a:moveTo>
                    <a:pt x="88" y="45"/>
                  </a:moveTo>
                  <a:cubicBezTo>
                    <a:pt x="88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5"/>
                    <a:pt x="86" y="45"/>
                  </a:cubicBezTo>
                  <a:cubicBezTo>
                    <a:pt x="87" y="45"/>
                    <a:pt x="87" y="45"/>
                    <a:pt x="88" y="45"/>
                  </a:cubicBezTo>
                  <a:close/>
                  <a:moveTo>
                    <a:pt x="90" y="44"/>
                  </a:moveTo>
                  <a:cubicBezTo>
                    <a:pt x="90" y="44"/>
                    <a:pt x="89" y="44"/>
                    <a:pt x="89" y="45"/>
                  </a:cubicBezTo>
                  <a:cubicBezTo>
                    <a:pt x="89" y="45"/>
                    <a:pt x="89" y="44"/>
                    <a:pt x="89" y="45"/>
                  </a:cubicBezTo>
                  <a:cubicBezTo>
                    <a:pt x="89" y="44"/>
                    <a:pt x="90" y="44"/>
                    <a:pt x="90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8" y="45"/>
                    <a:pt x="88" y="45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88" y="45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lose/>
                  <a:moveTo>
                    <a:pt x="89" y="45"/>
                  </a:move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8" y="45"/>
                    <a:pt x="88" y="45"/>
                  </a:cubicBezTo>
                  <a:lnTo>
                    <a:pt x="89" y="45"/>
                  </a:lnTo>
                  <a:close/>
                  <a:moveTo>
                    <a:pt x="86" y="45"/>
                  </a:moveTo>
                  <a:cubicBezTo>
                    <a:pt x="86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6" y="45"/>
                    <a:pt x="86" y="44"/>
                    <a:pt x="87" y="45"/>
                  </a:cubicBezTo>
                  <a:cubicBezTo>
                    <a:pt x="87" y="44"/>
                    <a:pt x="86" y="45"/>
                    <a:pt x="86" y="45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3" y="47"/>
                    <a:pt x="84" y="47"/>
                  </a:cubicBezTo>
                  <a:cubicBezTo>
                    <a:pt x="84" y="47"/>
                    <a:pt x="84" y="48"/>
                    <a:pt x="83" y="48"/>
                  </a:cubicBezTo>
                  <a:cubicBezTo>
                    <a:pt x="83" y="47"/>
                    <a:pt x="84" y="47"/>
                    <a:pt x="84" y="47"/>
                  </a:cubicBezTo>
                  <a:close/>
                  <a:moveTo>
                    <a:pt x="83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3" y="48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8" y="46"/>
                    <a:pt x="79" y="46"/>
                  </a:cubicBezTo>
                  <a:cubicBezTo>
                    <a:pt x="79" y="46"/>
                    <a:pt x="78" y="46"/>
                    <a:pt x="78" y="46"/>
                  </a:cubicBezTo>
                  <a:close/>
                  <a:moveTo>
                    <a:pt x="78" y="46"/>
                  </a:move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6" y="46"/>
                  </a:cubicBezTo>
                  <a:cubicBezTo>
                    <a:pt x="76" y="46"/>
                    <a:pt x="77" y="46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8" y="46"/>
                    <a:pt x="78" y="46"/>
                    <a:pt x="78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1" y="49"/>
                    <a:pt x="71" y="50"/>
                  </a:cubicBezTo>
                  <a:cubicBezTo>
                    <a:pt x="70" y="50"/>
                    <a:pt x="69" y="50"/>
                    <a:pt x="70" y="50"/>
                  </a:cubicBezTo>
                  <a:cubicBezTo>
                    <a:pt x="70" y="50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lose/>
                  <a:moveTo>
                    <a:pt x="70" y="50"/>
                  </a:move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1" y="50"/>
                    <a:pt x="72" y="50"/>
                    <a:pt x="71" y="51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0" y="50"/>
                    <a:pt x="70" y="50"/>
                  </a:cubicBezTo>
                  <a:close/>
                  <a:moveTo>
                    <a:pt x="69" y="51"/>
                  </a:moveTo>
                  <a:cubicBezTo>
                    <a:pt x="69" y="51"/>
                    <a:pt x="70" y="51"/>
                    <a:pt x="70" y="50"/>
                  </a:cubicBezTo>
                  <a:cubicBezTo>
                    <a:pt x="70" y="51"/>
                    <a:pt x="69" y="51"/>
                    <a:pt x="69" y="51"/>
                  </a:cubicBezTo>
                  <a:cubicBezTo>
                    <a:pt x="69" y="51"/>
                    <a:pt x="69" y="51"/>
                    <a:pt x="68" y="51"/>
                  </a:cubicBezTo>
                  <a:cubicBezTo>
                    <a:pt x="69" y="51"/>
                    <a:pt x="69" y="51"/>
                    <a:pt x="69" y="51"/>
                  </a:cubicBezTo>
                  <a:close/>
                  <a:moveTo>
                    <a:pt x="63" y="52"/>
                  </a:moveTo>
                  <a:cubicBezTo>
                    <a:pt x="63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1" y="52"/>
                    <a:pt x="60" y="52"/>
                    <a:pt x="58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8" y="53"/>
                  </a:cubicBezTo>
                  <a:cubicBezTo>
                    <a:pt x="58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6" y="53"/>
                    <a:pt x="55" y="53"/>
                  </a:cubicBezTo>
                  <a:cubicBezTo>
                    <a:pt x="56" y="53"/>
                    <a:pt x="56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8" y="53"/>
                    <a:pt x="58" y="53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59" y="52"/>
                    <a:pt x="59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2" y="52"/>
                    <a:pt x="63" y="51"/>
                    <a:pt x="64" y="51"/>
                  </a:cubicBezTo>
                  <a:cubicBezTo>
                    <a:pt x="64" y="51"/>
                    <a:pt x="65" y="51"/>
                    <a:pt x="65" y="51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7" y="51"/>
                    <a:pt x="68" y="50"/>
                    <a:pt x="70" y="50"/>
                  </a:cubicBezTo>
                  <a:cubicBezTo>
                    <a:pt x="68" y="51"/>
                    <a:pt x="65" y="51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49"/>
                    <a:pt x="69" y="50"/>
                    <a:pt x="69" y="50"/>
                  </a:cubicBezTo>
                  <a:close/>
                  <a:moveTo>
                    <a:pt x="53" y="54"/>
                  </a:moveTo>
                  <a:cubicBezTo>
                    <a:pt x="55" y="54"/>
                    <a:pt x="57" y="54"/>
                    <a:pt x="59" y="53"/>
                  </a:cubicBezTo>
                  <a:cubicBezTo>
                    <a:pt x="57" y="54"/>
                    <a:pt x="55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7" y="55"/>
                  </a:cubicBezTo>
                  <a:cubicBezTo>
                    <a:pt x="47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39" y="58"/>
                  </a:moveTo>
                  <a:cubicBezTo>
                    <a:pt x="39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8"/>
                    <a:pt x="39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40" y="58"/>
                    <a:pt x="39" y="58"/>
                  </a:cubicBezTo>
                  <a:close/>
                  <a:moveTo>
                    <a:pt x="24" y="62"/>
                  </a:moveTo>
                  <a:cubicBezTo>
                    <a:pt x="25" y="62"/>
                    <a:pt x="26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7" y="61"/>
                    <a:pt x="27" y="61"/>
                  </a:cubicBezTo>
                  <a:cubicBezTo>
                    <a:pt x="29" y="61"/>
                    <a:pt x="30" y="60"/>
                    <a:pt x="31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1" y="60"/>
                    <a:pt x="32" y="60"/>
                    <a:pt x="32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1"/>
                    <a:pt x="30" y="60"/>
                  </a:cubicBezTo>
                  <a:cubicBezTo>
                    <a:pt x="30" y="60"/>
                    <a:pt x="30" y="60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0"/>
                    <a:pt x="30" y="61"/>
                  </a:cubicBezTo>
                  <a:cubicBezTo>
                    <a:pt x="29" y="61"/>
                    <a:pt x="30" y="60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8" y="61"/>
                    <a:pt x="29" y="61"/>
                    <a:pt x="29" y="61"/>
                  </a:cubicBez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2"/>
                  </a:cubicBezTo>
                  <a:cubicBezTo>
                    <a:pt x="27" y="61"/>
                    <a:pt x="26" y="61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5" y="62"/>
                  </a:cubicBezTo>
                  <a:cubicBezTo>
                    <a:pt x="25" y="62"/>
                    <a:pt x="26" y="62"/>
                    <a:pt x="26" y="62"/>
                  </a:cubicBezTo>
                  <a:cubicBezTo>
                    <a:pt x="25" y="62"/>
                    <a:pt x="24" y="62"/>
                    <a:pt x="23" y="63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4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4" y="62"/>
                  </a:cubicBezTo>
                  <a:close/>
                  <a:moveTo>
                    <a:pt x="32" y="59"/>
                  </a:move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2" y="59"/>
                    <a:pt x="32" y="59"/>
                  </a:cubicBezTo>
                  <a:close/>
                  <a:moveTo>
                    <a:pt x="30" y="59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1" y="59"/>
                    <a:pt x="30" y="59"/>
                  </a:cubicBezTo>
                  <a:close/>
                  <a:moveTo>
                    <a:pt x="30" y="59"/>
                  </a:moveTo>
                  <a:cubicBezTo>
                    <a:pt x="29" y="59"/>
                    <a:pt x="29" y="59"/>
                    <a:pt x="28" y="60"/>
                  </a:cubicBezTo>
                  <a:cubicBezTo>
                    <a:pt x="28" y="59"/>
                    <a:pt x="30" y="59"/>
                    <a:pt x="30" y="59"/>
                  </a:cubicBezTo>
                  <a:close/>
                  <a:moveTo>
                    <a:pt x="20" y="64"/>
                  </a:moveTo>
                  <a:cubicBezTo>
                    <a:pt x="19" y="63"/>
                    <a:pt x="20" y="63"/>
                    <a:pt x="20" y="63"/>
                  </a:cubicBezTo>
                  <a:cubicBezTo>
                    <a:pt x="20" y="63"/>
                    <a:pt x="20" y="64"/>
                    <a:pt x="20" y="64"/>
                  </a:cubicBezTo>
                  <a:close/>
                  <a:moveTo>
                    <a:pt x="17" y="62"/>
                  </a:moveTo>
                  <a:cubicBezTo>
                    <a:pt x="17" y="62"/>
                    <a:pt x="16" y="62"/>
                    <a:pt x="16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8" y="62"/>
                    <a:pt x="18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3"/>
                  </a:cubicBezTo>
                  <a:close/>
                  <a:moveTo>
                    <a:pt x="5" y="62"/>
                  </a:move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4" y="62"/>
                    <a:pt x="5" y="62"/>
                    <a:pt x="5" y="62"/>
                  </a:cubicBezTo>
                  <a:close/>
                  <a:moveTo>
                    <a:pt x="3" y="66"/>
                  </a:moveTo>
                  <a:cubicBezTo>
                    <a:pt x="3" y="66"/>
                    <a:pt x="2" y="66"/>
                    <a:pt x="2" y="66"/>
                  </a:cubicBezTo>
                  <a:cubicBezTo>
                    <a:pt x="2" y="66"/>
                    <a:pt x="2" y="66"/>
                    <a:pt x="3" y="66"/>
                  </a:cubicBezTo>
                  <a:close/>
                  <a:moveTo>
                    <a:pt x="225" y="1"/>
                  </a:moveTo>
                  <a:cubicBezTo>
                    <a:pt x="225" y="1"/>
                    <a:pt x="226" y="1"/>
                    <a:pt x="226" y="2"/>
                  </a:cubicBezTo>
                  <a:cubicBezTo>
                    <a:pt x="225" y="2"/>
                    <a:pt x="225" y="2"/>
                    <a:pt x="225" y="2"/>
                  </a:cubicBezTo>
                  <a:cubicBezTo>
                    <a:pt x="225" y="1"/>
                    <a:pt x="224" y="2"/>
                    <a:pt x="225" y="1"/>
                  </a:cubicBezTo>
                  <a:close/>
                  <a:moveTo>
                    <a:pt x="193" y="12"/>
                  </a:moveTo>
                  <a:cubicBezTo>
                    <a:pt x="193" y="12"/>
                    <a:pt x="193" y="12"/>
                    <a:pt x="193" y="12"/>
                  </a:cubicBezTo>
                  <a:cubicBezTo>
                    <a:pt x="193" y="12"/>
                    <a:pt x="193" y="12"/>
                    <a:pt x="192" y="12"/>
                  </a:cubicBezTo>
                  <a:cubicBezTo>
                    <a:pt x="192" y="12"/>
                    <a:pt x="193" y="12"/>
                    <a:pt x="193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4" y="14"/>
                    <a:pt x="194" y="14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3" y="14"/>
                    <a:pt x="193" y="14"/>
                    <a:pt x="194" y="14"/>
                  </a:cubicBezTo>
                  <a:close/>
                  <a:moveTo>
                    <a:pt x="191" y="14"/>
                  </a:moveTo>
                  <a:cubicBezTo>
                    <a:pt x="191" y="14"/>
                    <a:pt x="191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1" y="14"/>
                    <a:pt x="191" y="14"/>
                    <a:pt x="191" y="14"/>
                  </a:cubicBezTo>
                  <a:cubicBezTo>
                    <a:pt x="191" y="14"/>
                    <a:pt x="191" y="14"/>
                    <a:pt x="191" y="14"/>
                  </a:cubicBezTo>
                  <a:close/>
                  <a:moveTo>
                    <a:pt x="191" y="17"/>
                  </a:moveTo>
                  <a:cubicBezTo>
                    <a:pt x="191" y="17"/>
                    <a:pt x="191" y="17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0" y="18"/>
                    <a:pt x="191" y="17"/>
                    <a:pt x="191" y="17"/>
                  </a:cubicBezTo>
                  <a:cubicBezTo>
                    <a:pt x="190" y="17"/>
                    <a:pt x="190" y="17"/>
                    <a:pt x="189" y="18"/>
                  </a:cubicBezTo>
                  <a:cubicBezTo>
                    <a:pt x="190" y="17"/>
                    <a:pt x="191" y="17"/>
                    <a:pt x="191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18"/>
                    <a:pt x="191" y="17"/>
                    <a:pt x="191" y="17"/>
                  </a:cubicBezTo>
                  <a:close/>
                  <a:moveTo>
                    <a:pt x="181" y="23"/>
                  </a:move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1" y="23"/>
                  </a:cubicBezTo>
                  <a:close/>
                  <a:moveTo>
                    <a:pt x="176" y="18"/>
                  </a:moveTo>
                  <a:cubicBezTo>
                    <a:pt x="176" y="18"/>
                    <a:pt x="175" y="18"/>
                    <a:pt x="175" y="18"/>
                  </a:cubicBezTo>
                  <a:cubicBezTo>
                    <a:pt x="175" y="18"/>
                    <a:pt x="176" y="18"/>
                    <a:pt x="177" y="18"/>
                  </a:cubicBezTo>
                  <a:cubicBezTo>
                    <a:pt x="177" y="18"/>
                    <a:pt x="176" y="18"/>
                    <a:pt x="176" y="18"/>
                  </a:cubicBezTo>
                  <a:close/>
                  <a:moveTo>
                    <a:pt x="164" y="28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7"/>
                    <a:pt x="165" y="28"/>
                    <a:pt x="165" y="28"/>
                  </a:cubicBezTo>
                  <a:cubicBezTo>
                    <a:pt x="165" y="28"/>
                    <a:pt x="164" y="28"/>
                    <a:pt x="164" y="28"/>
                  </a:cubicBezTo>
                  <a:close/>
                  <a:moveTo>
                    <a:pt x="157" y="30"/>
                  </a:move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6" y="31"/>
                    <a:pt x="156" y="31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5" y="31"/>
                    <a:pt x="156" y="30"/>
                    <a:pt x="157" y="30"/>
                  </a:cubicBezTo>
                  <a:close/>
                  <a:moveTo>
                    <a:pt x="154" y="25"/>
                  </a:move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3" y="25"/>
                  </a:cubicBezTo>
                  <a:cubicBezTo>
                    <a:pt x="153" y="25"/>
                    <a:pt x="153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lnTo>
                    <a:pt x="154" y="25"/>
                  </a:lnTo>
                  <a:close/>
                  <a:moveTo>
                    <a:pt x="146" y="28"/>
                  </a:moveTo>
                  <a:cubicBezTo>
                    <a:pt x="146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9"/>
                    <a:pt x="146" y="28"/>
                    <a:pt x="146" y="28"/>
                  </a:cubicBezTo>
                  <a:close/>
                  <a:moveTo>
                    <a:pt x="139" y="25"/>
                  </a:moveTo>
                  <a:cubicBezTo>
                    <a:pt x="139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0" y="25"/>
                    <a:pt x="139" y="25"/>
                  </a:cubicBezTo>
                  <a:close/>
                  <a:moveTo>
                    <a:pt x="136" y="31"/>
                  </a:moveTo>
                  <a:cubicBezTo>
                    <a:pt x="136" y="30"/>
                    <a:pt x="137" y="30"/>
                    <a:pt x="138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29"/>
                    <a:pt x="138" y="29"/>
                    <a:pt x="139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30"/>
                    <a:pt x="139" y="29"/>
                    <a:pt x="139" y="29"/>
                  </a:cubicBezTo>
                  <a:cubicBezTo>
                    <a:pt x="139" y="29"/>
                    <a:pt x="139" y="29"/>
                    <a:pt x="140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40" y="29"/>
                    <a:pt x="140" y="29"/>
                  </a:cubicBezTo>
                  <a:cubicBezTo>
                    <a:pt x="141" y="29"/>
                    <a:pt x="140" y="29"/>
                    <a:pt x="140" y="29"/>
                  </a:cubicBezTo>
                  <a:cubicBezTo>
                    <a:pt x="140" y="29"/>
                    <a:pt x="140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8" y="30"/>
                    <a:pt x="138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6" y="31"/>
                    <a:pt x="136" y="31"/>
                  </a:cubicBezTo>
                  <a:close/>
                  <a:moveTo>
                    <a:pt x="135" y="31"/>
                  </a:moveTo>
                  <a:cubicBezTo>
                    <a:pt x="135" y="31"/>
                    <a:pt x="135" y="31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6" y="30"/>
                  </a:cubicBezTo>
                  <a:cubicBezTo>
                    <a:pt x="136" y="30"/>
                    <a:pt x="135" y="30"/>
                    <a:pt x="135" y="30"/>
                  </a:cubicBezTo>
                  <a:cubicBezTo>
                    <a:pt x="135" y="31"/>
                    <a:pt x="135" y="30"/>
                    <a:pt x="135" y="31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1" y="30"/>
                  </a:cubicBezTo>
                  <a:cubicBezTo>
                    <a:pt x="132" y="30"/>
                    <a:pt x="130" y="31"/>
                    <a:pt x="130" y="31"/>
                  </a:cubicBezTo>
                  <a:cubicBezTo>
                    <a:pt x="130" y="31"/>
                    <a:pt x="130" y="30"/>
                    <a:pt x="129" y="30"/>
                  </a:cubicBezTo>
                  <a:close/>
                  <a:moveTo>
                    <a:pt x="127" y="28"/>
                  </a:moveTo>
                  <a:cubicBezTo>
                    <a:pt x="127" y="27"/>
                    <a:pt x="128" y="27"/>
                    <a:pt x="129" y="27"/>
                  </a:cubicBezTo>
                  <a:cubicBezTo>
                    <a:pt x="129" y="27"/>
                    <a:pt x="129" y="27"/>
                    <a:pt x="129" y="28"/>
                  </a:cubicBezTo>
                  <a:cubicBezTo>
                    <a:pt x="129" y="28"/>
                    <a:pt x="129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7" y="28"/>
                    <a:pt x="126" y="28"/>
                  </a:cubicBezTo>
                  <a:cubicBezTo>
                    <a:pt x="126" y="28"/>
                    <a:pt x="127" y="28"/>
                    <a:pt x="127" y="28"/>
                  </a:cubicBezTo>
                  <a:close/>
                  <a:moveTo>
                    <a:pt x="127" y="33"/>
                  </a:moveTo>
                  <a:cubicBezTo>
                    <a:pt x="127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7" y="33"/>
                  </a:cubicBezTo>
                  <a:cubicBezTo>
                    <a:pt x="127" y="33"/>
                    <a:pt x="128" y="33"/>
                    <a:pt x="127" y="33"/>
                  </a:cubicBezTo>
                  <a:close/>
                  <a:moveTo>
                    <a:pt x="96" y="41"/>
                  </a:moveTo>
                  <a:cubicBezTo>
                    <a:pt x="96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7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1"/>
                    <a:pt x="96" y="41"/>
                    <a:pt x="96" y="41"/>
                  </a:cubicBezTo>
                  <a:close/>
                  <a:moveTo>
                    <a:pt x="86" y="45"/>
                  </a:move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6"/>
                    <a:pt x="87" y="46"/>
                  </a:cubicBezTo>
                  <a:cubicBezTo>
                    <a:pt x="87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5" y="46"/>
                    <a:pt x="85" y="46"/>
                  </a:cubicBezTo>
                  <a:cubicBezTo>
                    <a:pt x="85" y="45"/>
                    <a:pt x="85" y="46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F4863F74-0BA3-4384-8014-C47F5CB35EE0}"/>
                </a:ext>
              </a:extLst>
            </p:cNvPr>
            <p:cNvSpPr/>
            <p:nvPr/>
          </p:nvSpPr>
          <p:spPr bwMode="auto">
            <a:xfrm>
              <a:off x="8464551" y="3859213"/>
              <a:ext cx="406400" cy="138113"/>
            </a:xfrm>
            <a:custGeom>
              <a:avLst/>
              <a:gdLst>
                <a:gd name="T0" fmla="*/ 127 w 164"/>
                <a:gd name="T1" fmla="*/ 36 h 56"/>
                <a:gd name="T2" fmla="*/ 122 w 164"/>
                <a:gd name="T3" fmla="*/ 37 h 56"/>
                <a:gd name="T4" fmla="*/ 117 w 164"/>
                <a:gd name="T5" fmla="*/ 34 h 56"/>
                <a:gd name="T6" fmla="*/ 114 w 164"/>
                <a:gd name="T7" fmla="*/ 33 h 56"/>
                <a:gd name="T8" fmla="*/ 108 w 164"/>
                <a:gd name="T9" fmla="*/ 30 h 56"/>
                <a:gd name="T10" fmla="*/ 101 w 164"/>
                <a:gd name="T11" fmla="*/ 37 h 56"/>
                <a:gd name="T12" fmla="*/ 93 w 164"/>
                <a:gd name="T13" fmla="*/ 34 h 56"/>
                <a:gd name="T14" fmla="*/ 92 w 164"/>
                <a:gd name="T15" fmla="*/ 26 h 56"/>
                <a:gd name="T16" fmla="*/ 88 w 164"/>
                <a:gd name="T17" fmla="*/ 29 h 56"/>
                <a:gd name="T18" fmla="*/ 83 w 164"/>
                <a:gd name="T19" fmla="*/ 23 h 56"/>
                <a:gd name="T20" fmla="*/ 75 w 164"/>
                <a:gd name="T21" fmla="*/ 21 h 56"/>
                <a:gd name="T22" fmla="*/ 69 w 164"/>
                <a:gd name="T23" fmla="*/ 20 h 56"/>
                <a:gd name="T24" fmla="*/ 59 w 164"/>
                <a:gd name="T25" fmla="*/ 24 h 56"/>
                <a:gd name="T26" fmla="*/ 57 w 164"/>
                <a:gd name="T27" fmla="*/ 18 h 56"/>
                <a:gd name="T28" fmla="*/ 46 w 164"/>
                <a:gd name="T29" fmla="*/ 20 h 56"/>
                <a:gd name="T30" fmla="*/ 16 w 164"/>
                <a:gd name="T31" fmla="*/ 11 h 56"/>
                <a:gd name="T32" fmla="*/ 4 w 164"/>
                <a:gd name="T33" fmla="*/ 9 h 56"/>
                <a:gd name="T34" fmla="*/ 122 w 164"/>
                <a:gd name="T35" fmla="*/ 44 h 56"/>
                <a:gd name="T36" fmla="*/ 116 w 164"/>
                <a:gd name="T37" fmla="*/ 40 h 56"/>
                <a:gd name="T38" fmla="*/ 121 w 164"/>
                <a:gd name="T39" fmla="*/ 41 h 56"/>
                <a:gd name="T40" fmla="*/ 117 w 164"/>
                <a:gd name="T41" fmla="*/ 38 h 56"/>
                <a:gd name="T42" fmla="*/ 130 w 164"/>
                <a:gd name="T43" fmla="*/ 40 h 56"/>
                <a:gd name="T44" fmla="*/ 131 w 164"/>
                <a:gd name="T45" fmla="*/ 37 h 56"/>
                <a:gd name="T46" fmla="*/ 143 w 164"/>
                <a:gd name="T47" fmla="*/ 37 h 56"/>
                <a:gd name="T48" fmla="*/ 139 w 164"/>
                <a:gd name="T49" fmla="*/ 37 h 56"/>
                <a:gd name="T50" fmla="*/ 127 w 164"/>
                <a:gd name="T51" fmla="*/ 38 h 56"/>
                <a:gd name="T52" fmla="*/ 118 w 164"/>
                <a:gd name="T53" fmla="*/ 38 h 56"/>
                <a:gd name="T54" fmla="*/ 130 w 164"/>
                <a:gd name="T55" fmla="*/ 44 h 56"/>
                <a:gd name="T56" fmla="*/ 129 w 164"/>
                <a:gd name="T57" fmla="*/ 46 h 56"/>
                <a:gd name="T58" fmla="*/ 124 w 164"/>
                <a:gd name="T59" fmla="*/ 35 h 56"/>
                <a:gd name="T60" fmla="*/ 119 w 164"/>
                <a:gd name="T61" fmla="*/ 35 h 56"/>
                <a:gd name="T62" fmla="*/ 106 w 164"/>
                <a:gd name="T63" fmla="*/ 39 h 56"/>
                <a:gd name="T64" fmla="*/ 99 w 164"/>
                <a:gd name="T65" fmla="*/ 36 h 56"/>
                <a:gd name="T66" fmla="*/ 97 w 164"/>
                <a:gd name="T67" fmla="*/ 35 h 56"/>
                <a:gd name="T68" fmla="*/ 101 w 164"/>
                <a:gd name="T69" fmla="*/ 34 h 56"/>
                <a:gd name="T70" fmla="*/ 99 w 164"/>
                <a:gd name="T71" fmla="*/ 35 h 56"/>
                <a:gd name="T72" fmla="*/ 99 w 164"/>
                <a:gd name="T73" fmla="*/ 27 h 56"/>
                <a:gd name="T74" fmla="*/ 61 w 164"/>
                <a:gd name="T75" fmla="*/ 20 h 56"/>
                <a:gd name="T76" fmla="*/ 71 w 164"/>
                <a:gd name="T77" fmla="*/ 24 h 56"/>
                <a:gd name="T78" fmla="*/ 72 w 164"/>
                <a:gd name="T79" fmla="*/ 23 h 56"/>
                <a:gd name="T80" fmla="*/ 79 w 164"/>
                <a:gd name="T81" fmla="*/ 26 h 56"/>
                <a:gd name="T82" fmla="*/ 90 w 164"/>
                <a:gd name="T83" fmla="*/ 32 h 56"/>
                <a:gd name="T84" fmla="*/ 91 w 164"/>
                <a:gd name="T85" fmla="*/ 35 h 56"/>
                <a:gd name="T86" fmla="*/ 76 w 164"/>
                <a:gd name="T87" fmla="*/ 29 h 56"/>
                <a:gd name="T88" fmla="*/ 63 w 164"/>
                <a:gd name="T89" fmla="*/ 26 h 56"/>
                <a:gd name="T90" fmla="*/ 67 w 164"/>
                <a:gd name="T91" fmla="*/ 23 h 56"/>
                <a:gd name="T92" fmla="*/ 89 w 164"/>
                <a:gd name="T93" fmla="*/ 33 h 56"/>
                <a:gd name="T94" fmla="*/ 77 w 164"/>
                <a:gd name="T95" fmla="*/ 26 h 56"/>
                <a:gd name="T96" fmla="*/ 76 w 164"/>
                <a:gd name="T97" fmla="*/ 27 h 56"/>
                <a:gd name="T98" fmla="*/ 63 w 164"/>
                <a:gd name="T99" fmla="*/ 25 h 56"/>
                <a:gd name="T100" fmla="*/ 75 w 164"/>
                <a:gd name="T101" fmla="*/ 27 h 56"/>
                <a:gd name="T102" fmla="*/ 84 w 164"/>
                <a:gd name="T103" fmla="*/ 30 h 56"/>
                <a:gd name="T104" fmla="*/ 67 w 164"/>
                <a:gd name="T105" fmla="*/ 23 h 56"/>
                <a:gd name="T106" fmla="*/ 91 w 164"/>
                <a:gd name="T107" fmla="*/ 31 h 56"/>
                <a:gd name="T108" fmla="*/ 91 w 164"/>
                <a:gd name="T109" fmla="*/ 28 h 56"/>
                <a:gd name="T110" fmla="*/ 90 w 164"/>
                <a:gd name="T111" fmla="*/ 25 h 56"/>
                <a:gd name="T112" fmla="*/ 85 w 164"/>
                <a:gd name="T113" fmla="*/ 22 h 56"/>
                <a:gd name="T114" fmla="*/ 79 w 164"/>
                <a:gd name="T115" fmla="*/ 23 h 56"/>
                <a:gd name="T116" fmla="*/ 62 w 164"/>
                <a:gd name="T117" fmla="*/ 24 h 56"/>
                <a:gd name="T118" fmla="*/ 60 w 164"/>
                <a:gd name="T119" fmla="*/ 24 h 56"/>
                <a:gd name="T120" fmla="*/ 46 w 164"/>
                <a:gd name="T121" fmla="*/ 20 h 56"/>
                <a:gd name="T122" fmla="*/ 15 w 164"/>
                <a:gd name="T123" fmla="*/ 12 h 56"/>
                <a:gd name="T124" fmla="*/ 95 w 164"/>
                <a:gd name="T125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" h="56">
                  <a:moveTo>
                    <a:pt x="161" y="55"/>
                  </a:moveTo>
                  <a:cubicBezTo>
                    <a:pt x="161" y="55"/>
                    <a:pt x="161" y="55"/>
                    <a:pt x="161" y="55"/>
                  </a:cubicBezTo>
                  <a:cubicBezTo>
                    <a:pt x="161" y="54"/>
                    <a:pt x="161" y="55"/>
                    <a:pt x="160" y="55"/>
                  </a:cubicBezTo>
                  <a:cubicBezTo>
                    <a:pt x="160" y="54"/>
                    <a:pt x="161" y="54"/>
                    <a:pt x="161" y="55"/>
                  </a:cubicBezTo>
                  <a:close/>
                  <a:moveTo>
                    <a:pt x="152" y="3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39"/>
                  </a:cubicBezTo>
                  <a:close/>
                  <a:moveTo>
                    <a:pt x="150" y="39"/>
                  </a:moveTo>
                  <a:cubicBezTo>
                    <a:pt x="150" y="39"/>
                    <a:pt x="150" y="39"/>
                    <a:pt x="149" y="39"/>
                  </a:cubicBezTo>
                  <a:cubicBezTo>
                    <a:pt x="149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lose/>
                  <a:moveTo>
                    <a:pt x="148" y="38"/>
                  </a:moveTo>
                  <a:cubicBezTo>
                    <a:pt x="149" y="38"/>
                    <a:pt x="148" y="38"/>
                    <a:pt x="149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8" y="38"/>
                    <a:pt x="148" y="38"/>
                  </a:cubicBezTo>
                  <a:close/>
                  <a:moveTo>
                    <a:pt x="146" y="37"/>
                  </a:move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6" y="37"/>
                  </a:cubicBezTo>
                  <a:close/>
                  <a:moveTo>
                    <a:pt x="141" y="36"/>
                  </a:move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2" y="36"/>
                    <a:pt x="141" y="36"/>
                  </a:cubicBezTo>
                  <a:close/>
                  <a:moveTo>
                    <a:pt x="141" y="35"/>
                  </a:moveTo>
                  <a:cubicBezTo>
                    <a:pt x="141" y="35"/>
                    <a:pt x="141" y="35"/>
                    <a:pt x="141" y="35"/>
                  </a:cubicBezTo>
                  <a:cubicBezTo>
                    <a:pt x="141" y="36"/>
                    <a:pt x="141" y="35"/>
                    <a:pt x="141" y="35"/>
                  </a:cubicBezTo>
                  <a:close/>
                  <a:moveTo>
                    <a:pt x="139" y="36"/>
                  </a:moveTo>
                  <a:cubicBezTo>
                    <a:pt x="139" y="36"/>
                    <a:pt x="140" y="36"/>
                    <a:pt x="140" y="36"/>
                  </a:cubicBezTo>
                  <a:cubicBezTo>
                    <a:pt x="140" y="36"/>
                    <a:pt x="139" y="36"/>
                    <a:pt x="139" y="36"/>
                  </a:cubicBezTo>
                  <a:close/>
                  <a:moveTo>
                    <a:pt x="135" y="37"/>
                  </a:move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5" y="37"/>
                  </a:cubicBezTo>
                  <a:close/>
                  <a:moveTo>
                    <a:pt x="136" y="36"/>
                  </a:moveTo>
                  <a:cubicBezTo>
                    <a:pt x="136" y="36"/>
                    <a:pt x="136" y="36"/>
                    <a:pt x="135" y="36"/>
                  </a:cubicBezTo>
                  <a:cubicBezTo>
                    <a:pt x="135" y="35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lose/>
                  <a:moveTo>
                    <a:pt x="134" y="36"/>
                  </a:moveTo>
                  <a:cubicBezTo>
                    <a:pt x="134" y="35"/>
                    <a:pt x="133" y="36"/>
                    <a:pt x="133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6"/>
                  </a:cubicBezTo>
                  <a:close/>
                  <a:moveTo>
                    <a:pt x="132" y="35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2" y="35"/>
                    <a:pt x="132" y="35"/>
                  </a:cubicBezTo>
                  <a:close/>
                  <a:moveTo>
                    <a:pt x="132" y="34"/>
                  </a:moveTo>
                  <a:cubicBezTo>
                    <a:pt x="132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lose/>
                  <a:moveTo>
                    <a:pt x="132" y="34"/>
                  </a:move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9" y="40"/>
                  </a:moveTo>
                  <a:cubicBezTo>
                    <a:pt x="129" y="40"/>
                    <a:pt x="129" y="39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lose/>
                  <a:moveTo>
                    <a:pt x="130" y="36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27" y="40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40"/>
                    <a:pt x="127" y="40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8" y="36"/>
                    <a:pt x="128" y="36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0"/>
                    <a:pt x="126" y="40"/>
                  </a:cubicBezTo>
                  <a:cubicBezTo>
                    <a:pt x="126" y="39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6" y="39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7" y="36"/>
                  </a:moveTo>
                  <a:cubicBezTo>
                    <a:pt x="127" y="35"/>
                    <a:pt x="127" y="35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lose/>
                  <a:moveTo>
                    <a:pt x="124" y="45"/>
                  </a:move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4"/>
                    <a:pt x="124" y="44"/>
                  </a:cubicBezTo>
                  <a:cubicBezTo>
                    <a:pt x="124" y="44"/>
                    <a:pt x="124" y="45"/>
                    <a:pt x="124" y="45"/>
                  </a:cubicBezTo>
                  <a:close/>
                  <a:moveTo>
                    <a:pt x="126" y="39"/>
                  </a:moveTo>
                  <a:cubicBezTo>
                    <a:pt x="125" y="38"/>
                    <a:pt x="125" y="38"/>
                    <a:pt x="124" y="38"/>
                  </a:cubicBezTo>
                  <a:cubicBezTo>
                    <a:pt x="125" y="38"/>
                    <a:pt x="125" y="38"/>
                    <a:pt x="126" y="39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lnTo>
                    <a:pt x="126" y="35"/>
                  </a:lnTo>
                  <a:close/>
                  <a:moveTo>
                    <a:pt x="127" y="33"/>
                  </a:moveTo>
                  <a:cubicBezTo>
                    <a:pt x="127" y="32"/>
                    <a:pt x="127" y="32"/>
                    <a:pt x="127" y="33"/>
                  </a:cubicBezTo>
                  <a:cubicBezTo>
                    <a:pt x="127" y="33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3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4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5" y="40"/>
                  </a:moveTo>
                  <a:cubicBezTo>
                    <a:pt x="125" y="40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40"/>
                  </a:cubicBezTo>
                  <a:close/>
                  <a:moveTo>
                    <a:pt x="125" y="36"/>
                  </a:move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lose/>
                  <a:moveTo>
                    <a:pt x="124" y="38"/>
                  </a:moveTo>
                  <a:cubicBezTo>
                    <a:pt x="124" y="39"/>
                    <a:pt x="124" y="38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5" y="34"/>
                  </a:moveTo>
                  <a:cubicBezTo>
                    <a:pt x="125" y="35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4" y="37"/>
                  </a:moveTo>
                  <a:cubicBezTo>
                    <a:pt x="124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4" y="37"/>
                    <a:pt x="124" y="37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9"/>
                  </a:moveTo>
                  <a:cubicBezTo>
                    <a:pt x="123" y="39"/>
                    <a:pt x="122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2" y="39"/>
                  </a:cubicBezTo>
                  <a:close/>
                  <a:moveTo>
                    <a:pt x="124" y="32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lose/>
                  <a:moveTo>
                    <a:pt x="122" y="38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8"/>
                  </a:cubicBezTo>
                  <a:close/>
                  <a:moveTo>
                    <a:pt x="121" y="42"/>
                  </a:moveTo>
                  <a:cubicBezTo>
                    <a:pt x="121" y="42"/>
                    <a:pt x="121" y="42"/>
                    <a:pt x="120" y="42"/>
                  </a:cubicBezTo>
                  <a:cubicBezTo>
                    <a:pt x="120" y="41"/>
                    <a:pt x="121" y="42"/>
                    <a:pt x="121" y="42"/>
                  </a:cubicBezTo>
                  <a:close/>
                  <a:moveTo>
                    <a:pt x="121" y="39"/>
                  </a:move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2" y="38"/>
                  </a:cubicBezTo>
                  <a:cubicBezTo>
                    <a:pt x="122" y="39"/>
                    <a:pt x="121" y="38"/>
                    <a:pt x="121" y="39"/>
                  </a:cubicBezTo>
                  <a:close/>
                  <a:moveTo>
                    <a:pt x="121" y="36"/>
                  </a:move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5"/>
                    <a:pt x="122" y="36"/>
                  </a:cubicBezTo>
                  <a:cubicBezTo>
                    <a:pt x="122" y="36"/>
                    <a:pt x="122" y="36"/>
                    <a:pt x="121" y="36"/>
                  </a:cubicBezTo>
                  <a:close/>
                  <a:moveTo>
                    <a:pt x="123" y="34"/>
                  </a:moveTo>
                  <a:cubicBezTo>
                    <a:pt x="123" y="34"/>
                    <a:pt x="122" y="33"/>
                    <a:pt x="122" y="33"/>
                  </a:cubicBezTo>
                  <a:cubicBezTo>
                    <a:pt x="122" y="33"/>
                    <a:pt x="123" y="33"/>
                    <a:pt x="123" y="34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2" y="38"/>
                  </a:cubicBezTo>
                  <a:cubicBezTo>
                    <a:pt x="121" y="38"/>
                    <a:pt x="121" y="37"/>
                    <a:pt x="121" y="37"/>
                  </a:cubicBezTo>
                  <a:close/>
                  <a:moveTo>
                    <a:pt x="121" y="38"/>
                  </a:moveTo>
                  <a:cubicBezTo>
                    <a:pt x="121" y="38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lose/>
                  <a:moveTo>
                    <a:pt x="120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5"/>
                    <a:pt x="121" y="35"/>
                  </a:cubicBezTo>
                  <a:cubicBezTo>
                    <a:pt x="121" y="35"/>
                    <a:pt x="121" y="36"/>
                    <a:pt x="121" y="36"/>
                  </a:cubicBezTo>
                  <a:close/>
                  <a:moveTo>
                    <a:pt x="119" y="38"/>
                  </a:moveTo>
                  <a:cubicBezTo>
                    <a:pt x="119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19" y="38"/>
                    <a:pt x="119" y="38"/>
                  </a:cubicBezTo>
                  <a:close/>
                  <a:moveTo>
                    <a:pt x="122" y="33"/>
                  </a:move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1" y="33"/>
                    <a:pt x="122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2" y="33"/>
                    <a:pt x="122" y="33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0" y="37"/>
                  </a:moveTo>
                  <a:cubicBezTo>
                    <a:pt x="119" y="37"/>
                    <a:pt x="119" y="37"/>
                    <a:pt x="119" y="37"/>
                  </a:cubicBezTo>
                  <a:cubicBezTo>
                    <a:pt x="119" y="36"/>
                    <a:pt x="119" y="37"/>
                    <a:pt x="120" y="37"/>
                  </a:cubicBezTo>
                  <a:close/>
                  <a:moveTo>
                    <a:pt x="121" y="31"/>
                  </a:move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lose/>
                  <a:moveTo>
                    <a:pt x="119" y="38"/>
                  </a:moveTo>
                  <a:cubicBezTo>
                    <a:pt x="119" y="37"/>
                    <a:pt x="119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19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19" y="34"/>
                    <a:pt x="119" y="34"/>
                    <a:pt x="119" y="34"/>
                  </a:cubicBezTo>
                  <a:close/>
                  <a:moveTo>
                    <a:pt x="119" y="36"/>
                  </a:move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9" y="36"/>
                    <a:pt x="119" y="36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8" y="39"/>
                  </a:cubicBezTo>
                  <a:cubicBezTo>
                    <a:pt x="117" y="40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9" y="33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lose/>
                  <a:moveTo>
                    <a:pt x="117" y="42"/>
                  </a:move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1"/>
                    <a:pt x="116" y="42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2"/>
                    <a:pt x="117" y="42"/>
                  </a:cubicBezTo>
                  <a:close/>
                  <a:moveTo>
                    <a:pt x="118" y="35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5"/>
                    <a:pt x="118" y="35"/>
                  </a:cubicBezTo>
                  <a:cubicBezTo>
                    <a:pt x="118" y="35"/>
                    <a:pt x="118" y="34"/>
                    <a:pt x="118" y="35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7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6" y="36"/>
                  </a:cubicBezTo>
                  <a:cubicBezTo>
                    <a:pt x="116" y="36"/>
                    <a:pt x="116" y="35"/>
                    <a:pt x="116" y="3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lose/>
                  <a:moveTo>
                    <a:pt x="115" y="42"/>
                  </a:moveTo>
                  <a:cubicBezTo>
                    <a:pt x="115" y="42"/>
                    <a:pt x="115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16" y="35"/>
                  </a:moveTo>
                  <a:cubicBezTo>
                    <a:pt x="116" y="35"/>
                    <a:pt x="116" y="35"/>
                    <a:pt x="117" y="35"/>
                  </a:cubicBezTo>
                  <a:cubicBezTo>
                    <a:pt x="117" y="35"/>
                    <a:pt x="116" y="35"/>
                    <a:pt x="116" y="35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7"/>
                  </a:cubicBezTo>
                  <a:close/>
                  <a:moveTo>
                    <a:pt x="115" y="41"/>
                  </a:move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5" y="41"/>
                  </a:cubicBezTo>
                  <a:close/>
                  <a:moveTo>
                    <a:pt x="116" y="33"/>
                  </a:moveTo>
                  <a:cubicBezTo>
                    <a:pt x="116" y="33"/>
                    <a:pt x="116" y="33"/>
                    <a:pt x="115" y="33"/>
                  </a:cubicBezTo>
                  <a:cubicBezTo>
                    <a:pt x="116" y="33"/>
                    <a:pt x="116" y="33"/>
                    <a:pt x="117" y="33"/>
                  </a:cubicBezTo>
                  <a:lnTo>
                    <a:pt x="116" y="33"/>
                  </a:lnTo>
                  <a:close/>
                  <a:moveTo>
                    <a:pt x="117" y="29"/>
                  </a:moveTo>
                  <a:cubicBezTo>
                    <a:pt x="117" y="29"/>
                    <a:pt x="117" y="29"/>
                    <a:pt x="118" y="29"/>
                  </a:cubicBezTo>
                  <a:cubicBezTo>
                    <a:pt x="118" y="30"/>
                    <a:pt x="117" y="29"/>
                    <a:pt x="117" y="29"/>
                  </a:cubicBezTo>
                  <a:close/>
                  <a:moveTo>
                    <a:pt x="115" y="36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6"/>
                  </a:cubicBezTo>
                  <a:close/>
                  <a:moveTo>
                    <a:pt x="114" y="41"/>
                  </a:move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4" y="41"/>
                    <a:pt x="114" y="41"/>
                    <a:pt x="114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4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0"/>
                    <a:pt x="113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33"/>
                  </a:moveTo>
                  <a:cubicBezTo>
                    <a:pt x="115" y="33"/>
                    <a:pt x="115" y="33"/>
                    <a:pt x="116" y="33"/>
                  </a:cubicBezTo>
                  <a:cubicBezTo>
                    <a:pt x="115" y="34"/>
                    <a:pt x="115" y="33"/>
                    <a:pt x="115" y="33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4" y="33"/>
                  </a:moveTo>
                  <a:cubicBezTo>
                    <a:pt x="115" y="34"/>
                    <a:pt x="114" y="33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4" y="34"/>
                    <a:pt x="114" y="34"/>
                    <a:pt x="114" y="33"/>
                  </a:cubicBezTo>
                  <a:close/>
                  <a:moveTo>
                    <a:pt x="114" y="35"/>
                  </a:moveTo>
                  <a:cubicBezTo>
                    <a:pt x="114" y="35"/>
                    <a:pt x="114" y="34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3" y="34"/>
                    <a:pt x="113" y="35"/>
                    <a:pt x="113" y="35"/>
                  </a:cubicBezTo>
                  <a:cubicBezTo>
                    <a:pt x="114" y="35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5"/>
                  </a:cubicBezTo>
                  <a:close/>
                  <a:moveTo>
                    <a:pt x="112" y="41"/>
                  </a:move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0"/>
                    <a:pt x="112" y="41"/>
                  </a:cubicBezTo>
                  <a:close/>
                  <a:moveTo>
                    <a:pt x="112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8"/>
                  </a:cubicBezTo>
                  <a:cubicBezTo>
                    <a:pt x="112" y="39"/>
                    <a:pt x="112" y="38"/>
                    <a:pt x="113" y="39"/>
                  </a:cubicBezTo>
                  <a:cubicBezTo>
                    <a:pt x="113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1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1"/>
                  </a:moveTo>
                  <a:cubicBezTo>
                    <a:pt x="112" y="41"/>
                    <a:pt x="111" y="41"/>
                    <a:pt x="111" y="41"/>
                  </a:cubicBezTo>
                  <a:cubicBezTo>
                    <a:pt x="111" y="40"/>
                    <a:pt x="111" y="41"/>
                    <a:pt x="111" y="41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4" y="32"/>
                  </a:move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2"/>
                  </a:cubicBezTo>
                  <a:close/>
                  <a:moveTo>
                    <a:pt x="115" y="29"/>
                  </a:moveTo>
                  <a:cubicBezTo>
                    <a:pt x="115" y="28"/>
                    <a:pt x="115" y="29"/>
                    <a:pt x="115" y="28"/>
                  </a:cubicBezTo>
                  <a:cubicBezTo>
                    <a:pt x="115" y="28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lose/>
                  <a:moveTo>
                    <a:pt x="113" y="33"/>
                  </a:moveTo>
                  <a:cubicBezTo>
                    <a:pt x="113" y="33"/>
                    <a:pt x="113" y="33"/>
                    <a:pt x="113" y="33"/>
                  </a:cubicBezTo>
                  <a:cubicBezTo>
                    <a:pt x="113" y="32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lose/>
                  <a:moveTo>
                    <a:pt x="112" y="38"/>
                  </a:move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8"/>
                    <a:pt x="110" y="38"/>
                  </a:cubicBezTo>
                  <a:cubicBezTo>
                    <a:pt x="110" y="38"/>
                    <a:pt x="110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2" y="38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4"/>
                  </a:moveTo>
                  <a:cubicBezTo>
                    <a:pt x="113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lose/>
                  <a:moveTo>
                    <a:pt x="113" y="32"/>
                  </a:moveTo>
                  <a:cubicBezTo>
                    <a:pt x="113" y="32"/>
                    <a:pt x="113" y="32"/>
                    <a:pt x="113" y="32"/>
                  </a:cubicBezTo>
                  <a:cubicBezTo>
                    <a:pt x="113" y="32"/>
                    <a:pt x="112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lose/>
                  <a:moveTo>
                    <a:pt x="111" y="39"/>
                  </a:moveTo>
                  <a:cubicBezTo>
                    <a:pt x="111" y="39"/>
                    <a:pt x="110" y="39"/>
                    <a:pt x="110" y="39"/>
                  </a:cubicBezTo>
                  <a:cubicBezTo>
                    <a:pt x="110" y="38"/>
                    <a:pt x="111" y="39"/>
                    <a:pt x="111" y="39"/>
                  </a:cubicBezTo>
                  <a:close/>
                  <a:moveTo>
                    <a:pt x="111" y="32"/>
                  </a:moveTo>
                  <a:cubicBezTo>
                    <a:pt x="112" y="32"/>
                    <a:pt x="113" y="33"/>
                    <a:pt x="112" y="32"/>
                  </a:cubicBezTo>
                  <a:cubicBezTo>
                    <a:pt x="112" y="33"/>
                    <a:pt x="112" y="32"/>
                    <a:pt x="112" y="33"/>
                  </a:cubicBezTo>
                  <a:cubicBezTo>
                    <a:pt x="112" y="32"/>
                    <a:pt x="111" y="32"/>
                    <a:pt x="111" y="32"/>
                  </a:cubicBezTo>
                  <a:close/>
                  <a:moveTo>
                    <a:pt x="112" y="32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11" y="37"/>
                  </a:moveTo>
                  <a:cubicBezTo>
                    <a:pt x="111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lose/>
                  <a:moveTo>
                    <a:pt x="112" y="33"/>
                  </a:moveTo>
                  <a:cubicBezTo>
                    <a:pt x="112" y="33"/>
                    <a:pt x="112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3"/>
                    <a:pt x="112" y="33"/>
                    <a:pt x="112" y="33"/>
                  </a:cubicBezTo>
                  <a:close/>
                  <a:moveTo>
                    <a:pt x="111" y="31"/>
                  </a:moveTo>
                  <a:cubicBezTo>
                    <a:pt x="111" y="31"/>
                    <a:pt x="110" y="31"/>
                    <a:pt x="111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1"/>
                    <a:pt x="110" y="31"/>
                    <a:pt x="109" y="31"/>
                  </a:cubicBezTo>
                  <a:cubicBezTo>
                    <a:pt x="110" y="31"/>
                    <a:pt x="109" y="31"/>
                    <a:pt x="109" y="31"/>
                  </a:cubicBezTo>
                  <a:cubicBezTo>
                    <a:pt x="108" y="30"/>
                    <a:pt x="109" y="31"/>
                    <a:pt x="109" y="31"/>
                  </a:cubicBezTo>
                  <a:cubicBezTo>
                    <a:pt x="109" y="31"/>
                    <a:pt x="110" y="31"/>
                    <a:pt x="110" y="31"/>
                  </a:cubicBezTo>
                  <a:cubicBezTo>
                    <a:pt x="110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2" y="31"/>
                  </a:cubicBezTo>
                  <a:cubicBezTo>
                    <a:pt x="111" y="32"/>
                    <a:pt x="111" y="31"/>
                    <a:pt x="111" y="31"/>
                  </a:cubicBezTo>
                  <a:close/>
                  <a:moveTo>
                    <a:pt x="108" y="39"/>
                  </a:moveTo>
                  <a:cubicBezTo>
                    <a:pt x="108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8" y="39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lose/>
                  <a:moveTo>
                    <a:pt x="109" y="36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09" y="36"/>
                    <a:pt x="108" y="36"/>
                    <a:pt x="108" y="36"/>
                  </a:cubicBezTo>
                  <a:cubicBezTo>
                    <a:pt x="108" y="36"/>
                    <a:pt x="109" y="36"/>
                    <a:pt x="109" y="36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7" y="40"/>
                  </a:cubicBezTo>
                  <a:cubicBezTo>
                    <a:pt x="107" y="40"/>
                    <a:pt x="108" y="39"/>
                    <a:pt x="108" y="40"/>
                  </a:cubicBezTo>
                  <a:close/>
                  <a:moveTo>
                    <a:pt x="109" y="35"/>
                  </a:move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5"/>
                    <a:pt x="109" y="35"/>
                  </a:cubicBezTo>
                  <a:close/>
                  <a:moveTo>
                    <a:pt x="107" y="39"/>
                  </a:move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lose/>
                  <a:moveTo>
                    <a:pt x="110" y="28"/>
                  </a:move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lose/>
                  <a:moveTo>
                    <a:pt x="108" y="31"/>
                  </a:moveTo>
                  <a:cubicBezTo>
                    <a:pt x="109" y="31"/>
                    <a:pt x="109" y="31"/>
                    <a:pt x="109" y="31"/>
                  </a:cubicBezTo>
                  <a:cubicBezTo>
                    <a:pt x="109" y="31"/>
                    <a:pt x="108" y="31"/>
                    <a:pt x="108" y="31"/>
                  </a:cubicBezTo>
                  <a:close/>
                  <a:moveTo>
                    <a:pt x="108" y="30"/>
                  </a:move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8" y="30"/>
                    <a:pt x="108" y="30"/>
                  </a:cubicBezTo>
                  <a:close/>
                  <a:moveTo>
                    <a:pt x="107" y="36"/>
                  </a:move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5"/>
                    <a:pt x="106" y="35"/>
                  </a:cubicBezTo>
                  <a:cubicBezTo>
                    <a:pt x="106" y="35"/>
                    <a:pt x="107" y="35"/>
                    <a:pt x="107" y="36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4"/>
                    <a:pt x="106" y="33"/>
                  </a:cubicBezTo>
                  <a:cubicBezTo>
                    <a:pt x="107" y="33"/>
                    <a:pt x="107" y="34"/>
                    <a:pt x="107" y="34"/>
                  </a:cubicBezTo>
                  <a:cubicBezTo>
                    <a:pt x="107" y="34"/>
                    <a:pt x="106" y="34"/>
                    <a:pt x="106" y="34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30"/>
                  </a:cubicBezTo>
                  <a:cubicBezTo>
                    <a:pt x="107" y="31"/>
                    <a:pt x="107" y="30"/>
                    <a:pt x="107" y="30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6"/>
                    <a:pt x="105" y="35"/>
                    <a:pt x="105" y="35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29"/>
                  </a:cubicBezTo>
                  <a:cubicBezTo>
                    <a:pt x="107" y="29"/>
                    <a:pt x="107" y="29"/>
                    <a:pt x="107" y="30"/>
                  </a:cubicBezTo>
                  <a:close/>
                  <a:moveTo>
                    <a:pt x="106" y="34"/>
                  </a:move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6" y="34"/>
                  </a:cubicBezTo>
                  <a:close/>
                  <a:moveTo>
                    <a:pt x="106" y="32"/>
                  </a:moveTo>
                  <a:cubicBezTo>
                    <a:pt x="106" y="32"/>
                    <a:pt x="105" y="32"/>
                    <a:pt x="105" y="31"/>
                  </a:cubicBezTo>
                  <a:cubicBezTo>
                    <a:pt x="106" y="31"/>
                    <a:pt x="106" y="31"/>
                    <a:pt x="106" y="32"/>
                  </a:cubicBezTo>
                  <a:close/>
                  <a:moveTo>
                    <a:pt x="106" y="31"/>
                  </a:moveTo>
                  <a:cubicBezTo>
                    <a:pt x="106" y="30"/>
                    <a:pt x="106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lose/>
                  <a:moveTo>
                    <a:pt x="106" y="28"/>
                  </a:moveTo>
                  <a:cubicBezTo>
                    <a:pt x="106" y="28"/>
                    <a:pt x="107" y="28"/>
                    <a:pt x="107" y="28"/>
                  </a:cubicBezTo>
                  <a:cubicBezTo>
                    <a:pt x="107" y="28"/>
                    <a:pt x="106" y="28"/>
                    <a:pt x="106" y="28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4" y="36"/>
                  </a:cubicBezTo>
                  <a:cubicBezTo>
                    <a:pt x="104" y="36"/>
                    <a:pt x="104" y="35"/>
                    <a:pt x="104" y="35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lose/>
                  <a:moveTo>
                    <a:pt x="104" y="33"/>
                  </a:move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3" y="35"/>
                  </a:cubicBezTo>
                  <a:cubicBezTo>
                    <a:pt x="104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5"/>
                    <a:pt x="103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4" y="34"/>
                    <a:pt x="104" y="34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2" y="36"/>
                  </a:moveTo>
                  <a:cubicBezTo>
                    <a:pt x="102" y="36"/>
                    <a:pt x="102" y="36"/>
                    <a:pt x="103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5"/>
                  </a:cubicBezTo>
                  <a:cubicBezTo>
                    <a:pt x="102" y="35"/>
                    <a:pt x="102" y="36"/>
                    <a:pt x="102" y="36"/>
                  </a:cubicBezTo>
                  <a:close/>
                  <a:moveTo>
                    <a:pt x="104" y="30"/>
                  </a:moveTo>
                  <a:cubicBezTo>
                    <a:pt x="104" y="30"/>
                    <a:pt x="104" y="29"/>
                    <a:pt x="104" y="30"/>
                  </a:cubicBezTo>
                  <a:cubicBezTo>
                    <a:pt x="104" y="29"/>
                    <a:pt x="104" y="30"/>
                    <a:pt x="104" y="30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lose/>
                  <a:moveTo>
                    <a:pt x="103" y="34"/>
                  </a:moveTo>
                  <a:cubicBezTo>
                    <a:pt x="103" y="34"/>
                    <a:pt x="102" y="34"/>
                    <a:pt x="102" y="33"/>
                  </a:cubicBezTo>
                  <a:cubicBezTo>
                    <a:pt x="103" y="33"/>
                    <a:pt x="102" y="34"/>
                    <a:pt x="103" y="34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1" y="32"/>
                  </a:cubicBezTo>
                  <a:cubicBezTo>
                    <a:pt x="101" y="32"/>
                    <a:pt x="101" y="32"/>
                    <a:pt x="101" y="31"/>
                  </a:cubicBezTo>
                  <a:cubicBezTo>
                    <a:pt x="102" y="32"/>
                    <a:pt x="102" y="32"/>
                    <a:pt x="103" y="32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lose/>
                  <a:moveTo>
                    <a:pt x="101" y="36"/>
                  </a:moveTo>
                  <a:cubicBezTo>
                    <a:pt x="102" y="36"/>
                    <a:pt x="102" y="36"/>
                    <a:pt x="102" y="36"/>
                  </a:cubicBezTo>
                  <a:cubicBezTo>
                    <a:pt x="101" y="36"/>
                    <a:pt x="101" y="36"/>
                    <a:pt x="101" y="36"/>
                  </a:cubicBezTo>
                  <a:close/>
                  <a:moveTo>
                    <a:pt x="100" y="37"/>
                  </a:moveTo>
                  <a:cubicBezTo>
                    <a:pt x="99" y="37"/>
                    <a:pt x="98" y="37"/>
                    <a:pt x="98" y="37"/>
                  </a:cubicBezTo>
                  <a:cubicBezTo>
                    <a:pt x="99" y="37"/>
                    <a:pt x="100" y="37"/>
                    <a:pt x="100" y="38"/>
                  </a:cubicBezTo>
                  <a:cubicBezTo>
                    <a:pt x="100" y="38"/>
                    <a:pt x="100" y="38"/>
                    <a:pt x="100" y="37"/>
                  </a:cubicBezTo>
                  <a:close/>
                  <a:moveTo>
                    <a:pt x="102" y="29"/>
                  </a:moveTo>
                  <a:cubicBezTo>
                    <a:pt x="102" y="29"/>
                    <a:pt x="102" y="29"/>
                    <a:pt x="103" y="29"/>
                  </a:cubicBezTo>
                  <a:cubicBezTo>
                    <a:pt x="102" y="29"/>
                    <a:pt x="102" y="29"/>
                    <a:pt x="102" y="29"/>
                  </a:cubicBezTo>
                  <a:close/>
                  <a:moveTo>
                    <a:pt x="101" y="35"/>
                  </a:moveTo>
                  <a:cubicBezTo>
                    <a:pt x="100" y="35"/>
                    <a:pt x="100" y="35"/>
                    <a:pt x="100" y="34"/>
                  </a:cubicBezTo>
                  <a:cubicBezTo>
                    <a:pt x="100" y="34"/>
                    <a:pt x="101" y="35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1"/>
                    <a:pt x="101" y="30"/>
                    <a:pt x="100" y="30"/>
                  </a:cubicBezTo>
                  <a:cubicBezTo>
                    <a:pt x="100" y="30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lose/>
                  <a:moveTo>
                    <a:pt x="96" y="37"/>
                  </a:moveTo>
                  <a:cubicBezTo>
                    <a:pt x="96" y="36"/>
                    <a:pt x="97" y="37"/>
                    <a:pt x="96" y="37"/>
                  </a:cubicBezTo>
                  <a:close/>
                  <a:moveTo>
                    <a:pt x="98" y="33"/>
                  </a:moveTo>
                  <a:cubicBezTo>
                    <a:pt x="98" y="33"/>
                    <a:pt x="97" y="33"/>
                    <a:pt x="97" y="33"/>
                  </a:cubicBezTo>
                  <a:cubicBezTo>
                    <a:pt x="97" y="33"/>
                    <a:pt x="97" y="32"/>
                    <a:pt x="97" y="32"/>
                  </a:cubicBezTo>
                  <a:cubicBezTo>
                    <a:pt x="97" y="32"/>
                    <a:pt x="97" y="33"/>
                    <a:pt x="98" y="33"/>
                  </a:cubicBezTo>
                  <a:close/>
                  <a:moveTo>
                    <a:pt x="98" y="30"/>
                  </a:move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0"/>
                    <a:pt x="98" y="30"/>
                  </a:cubicBezTo>
                  <a:close/>
                  <a:moveTo>
                    <a:pt x="97" y="34"/>
                  </a:moveTo>
                  <a:cubicBezTo>
                    <a:pt x="97" y="34"/>
                    <a:pt x="96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lose/>
                  <a:moveTo>
                    <a:pt x="98" y="28"/>
                  </a:move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9"/>
                    <a:pt x="98" y="28"/>
                  </a:cubicBezTo>
                  <a:close/>
                  <a:moveTo>
                    <a:pt x="96" y="30"/>
                  </a:move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7" y="30"/>
                    <a:pt x="97" y="30"/>
                  </a:cubicBezTo>
                  <a:cubicBezTo>
                    <a:pt x="97" y="30"/>
                    <a:pt x="97" y="30"/>
                    <a:pt x="98" y="31"/>
                  </a:cubicBezTo>
                  <a:cubicBezTo>
                    <a:pt x="97" y="31"/>
                    <a:pt x="97" y="30"/>
                    <a:pt x="96" y="30"/>
                  </a:cubicBezTo>
                  <a:close/>
                  <a:moveTo>
                    <a:pt x="97" y="29"/>
                  </a:moveTo>
                  <a:cubicBezTo>
                    <a:pt x="97" y="29"/>
                    <a:pt x="97" y="29"/>
                    <a:pt x="97" y="29"/>
                  </a:cubicBezTo>
                  <a:cubicBezTo>
                    <a:pt x="98" y="29"/>
                    <a:pt x="97" y="30"/>
                    <a:pt x="97" y="29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3"/>
                    <a:pt x="96" y="32"/>
                    <a:pt x="96" y="32"/>
                  </a:cubicBezTo>
                  <a:close/>
                  <a:moveTo>
                    <a:pt x="96" y="31"/>
                  </a:moveTo>
                  <a:cubicBezTo>
                    <a:pt x="96" y="31"/>
                    <a:pt x="96" y="31"/>
                    <a:pt x="97" y="31"/>
                  </a:cubicBezTo>
                  <a:cubicBezTo>
                    <a:pt x="97" y="31"/>
                    <a:pt x="96" y="31"/>
                    <a:pt x="96" y="31"/>
                  </a:cubicBezTo>
                  <a:close/>
                  <a:moveTo>
                    <a:pt x="94" y="36"/>
                  </a:moveTo>
                  <a:cubicBezTo>
                    <a:pt x="94" y="36"/>
                    <a:pt x="94" y="36"/>
                    <a:pt x="95" y="36"/>
                  </a:cubicBezTo>
                  <a:cubicBezTo>
                    <a:pt x="94" y="36"/>
                    <a:pt x="94" y="36"/>
                    <a:pt x="94" y="36"/>
                  </a:cubicBezTo>
                  <a:close/>
                  <a:moveTo>
                    <a:pt x="98" y="26"/>
                  </a:moveTo>
                  <a:cubicBezTo>
                    <a:pt x="98" y="26"/>
                    <a:pt x="97" y="25"/>
                    <a:pt x="97" y="25"/>
                  </a:cubicBezTo>
                  <a:cubicBezTo>
                    <a:pt x="97" y="25"/>
                    <a:pt x="97" y="25"/>
                    <a:pt x="98" y="25"/>
                  </a:cubicBezTo>
                  <a:cubicBezTo>
                    <a:pt x="97" y="26"/>
                    <a:pt x="97" y="26"/>
                    <a:pt x="98" y="26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1"/>
                    <a:pt x="96" y="32"/>
                    <a:pt x="95" y="31"/>
                  </a:cubicBezTo>
                  <a:cubicBezTo>
                    <a:pt x="95" y="31"/>
                    <a:pt x="96" y="32"/>
                    <a:pt x="96" y="31"/>
                  </a:cubicBezTo>
                  <a:cubicBezTo>
                    <a:pt x="96" y="31"/>
                    <a:pt x="96" y="32"/>
                    <a:pt x="96" y="32"/>
                  </a:cubicBezTo>
                  <a:close/>
                  <a:moveTo>
                    <a:pt x="97" y="27"/>
                  </a:moveTo>
                  <a:cubicBezTo>
                    <a:pt x="97" y="27"/>
                    <a:pt x="96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lose/>
                  <a:moveTo>
                    <a:pt x="9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7" y="29"/>
                    <a:pt x="96" y="29"/>
                  </a:cubicBezTo>
                  <a:close/>
                  <a:moveTo>
                    <a:pt x="94" y="34"/>
                  </a:moveTo>
                  <a:cubicBezTo>
                    <a:pt x="94" y="35"/>
                    <a:pt x="94" y="35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1"/>
                    <a:pt x="95" y="31"/>
                  </a:cubicBezTo>
                  <a:cubicBezTo>
                    <a:pt x="95" y="31"/>
                    <a:pt x="95" y="31"/>
                    <a:pt x="95" y="30"/>
                  </a:cubicBezTo>
                  <a:close/>
                  <a:moveTo>
                    <a:pt x="95" y="26"/>
                  </a:move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5" y="26"/>
                  </a:cubicBezTo>
                  <a:close/>
                  <a:moveTo>
                    <a:pt x="93" y="34"/>
                  </a:move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5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6" y="27"/>
                  </a:cubicBezTo>
                  <a:cubicBezTo>
                    <a:pt x="96" y="27"/>
                    <a:pt x="95" y="27"/>
                    <a:pt x="95" y="27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lose/>
                  <a:moveTo>
                    <a:pt x="95" y="24"/>
                  </a:moveTo>
                  <a:cubicBezTo>
                    <a:pt x="94" y="24"/>
                    <a:pt x="93" y="24"/>
                    <a:pt x="93" y="24"/>
                  </a:cubicBezTo>
                  <a:cubicBezTo>
                    <a:pt x="94" y="24"/>
                    <a:pt x="94" y="24"/>
                    <a:pt x="95" y="24"/>
                  </a:cubicBezTo>
                  <a:cubicBezTo>
                    <a:pt x="95" y="24"/>
                    <a:pt x="96" y="25"/>
                    <a:pt x="96" y="25"/>
                  </a:cubicBezTo>
                  <a:cubicBezTo>
                    <a:pt x="95" y="25"/>
                    <a:pt x="95" y="24"/>
                    <a:pt x="95" y="24"/>
                  </a:cubicBezTo>
                  <a:close/>
                  <a:moveTo>
                    <a:pt x="95" y="28"/>
                  </a:moveTo>
                  <a:cubicBezTo>
                    <a:pt x="95" y="28"/>
                    <a:pt x="94" y="28"/>
                    <a:pt x="94" y="28"/>
                  </a:cubicBezTo>
                  <a:cubicBezTo>
                    <a:pt x="94" y="28"/>
                    <a:pt x="95" y="28"/>
                    <a:pt x="95" y="28"/>
                  </a:cubicBezTo>
                  <a:close/>
                  <a:moveTo>
                    <a:pt x="95" y="29"/>
                  </a:moveTo>
                  <a:cubicBezTo>
                    <a:pt x="95" y="29"/>
                    <a:pt x="94" y="29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8"/>
                    <a:pt x="95" y="29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5" y="24"/>
                  </a:cubicBezTo>
                  <a:cubicBezTo>
                    <a:pt x="95" y="24"/>
                    <a:pt x="96" y="24"/>
                    <a:pt x="96" y="24"/>
                  </a:cubicBezTo>
                  <a:close/>
                  <a:moveTo>
                    <a:pt x="95" y="27"/>
                  </a:moveTo>
                  <a:cubicBezTo>
                    <a:pt x="95" y="26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4" y="27"/>
                    <a:pt x="94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4" y="24"/>
                  </a:moveTo>
                  <a:cubicBezTo>
                    <a:pt x="95" y="24"/>
                    <a:pt x="95" y="24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4"/>
                    <a:pt x="94" y="25"/>
                    <a:pt x="94" y="24"/>
                  </a:cubicBezTo>
                  <a:close/>
                  <a:moveTo>
                    <a:pt x="95" y="25"/>
                  </a:move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lose/>
                  <a:moveTo>
                    <a:pt x="93" y="29"/>
                  </a:moveTo>
                  <a:cubicBezTo>
                    <a:pt x="93" y="29"/>
                    <a:pt x="94" y="29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29"/>
                    <a:pt x="93" y="29"/>
                    <a:pt x="93" y="29"/>
                  </a:cubicBezTo>
                  <a:close/>
                  <a:moveTo>
                    <a:pt x="93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lose/>
                  <a:moveTo>
                    <a:pt x="93" y="30"/>
                  </a:moveTo>
                  <a:cubicBezTo>
                    <a:pt x="93" y="30"/>
                    <a:pt x="93" y="30"/>
                    <a:pt x="93" y="30"/>
                  </a:cubicBezTo>
                  <a:cubicBezTo>
                    <a:pt x="93" y="31"/>
                    <a:pt x="92" y="30"/>
                    <a:pt x="93" y="30"/>
                  </a:cubicBezTo>
                  <a:close/>
                  <a:moveTo>
                    <a:pt x="94" y="28"/>
                  </a:moveTo>
                  <a:cubicBezTo>
                    <a:pt x="94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7"/>
                    <a:pt x="94" y="28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9"/>
                    <a:pt x="93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28"/>
                  </a:cubicBezTo>
                  <a:close/>
                  <a:moveTo>
                    <a:pt x="93" y="30"/>
                  </a:moveTo>
                  <a:cubicBezTo>
                    <a:pt x="93" y="30"/>
                    <a:pt x="92" y="30"/>
                    <a:pt x="92" y="30"/>
                  </a:cubicBezTo>
                  <a:cubicBezTo>
                    <a:pt x="92" y="30"/>
                    <a:pt x="93" y="30"/>
                    <a:pt x="93" y="30"/>
                  </a:cubicBezTo>
                  <a:close/>
                  <a:moveTo>
                    <a:pt x="93" y="30"/>
                  </a:move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0"/>
                    <a:pt x="93" y="30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4"/>
                    <a:pt x="94" y="25"/>
                  </a:cubicBezTo>
                  <a:cubicBezTo>
                    <a:pt x="94" y="25"/>
                    <a:pt x="94" y="25"/>
                    <a:pt x="94" y="25"/>
                  </a:cubicBezTo>
                  <a:close/>
                  <a:moveTo>
                    <a:pt x="94" y="25"/>
                  </a:moveTo>
                  <a:cubicBezTo>
                    <a:pt x="94" y="25"/>
                    <a:pt x="93" y="25"/>
                    <a:pt x="93" y="25"/>
                  </a:cubicBezTo>
                  <a:cubicBezTo>
                    <a:pt x="93" y="25"/>
                    <a:pt x="94" y="25"/>
                    <a:pt x="94" y="25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9"/>
                  </a:cubicBezTo>
                  <a:close/>
                  <a:moveTo>
                    <a:pt x="92" y="26"/>
                  </a:move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5"/>
                  </a:cubicBezTo>
                  <a:cubicBezTo>
                    <a:pt x="92" y="26"/>
                    <a:pt x="92" y="26"/>
                    <a:pt x="93" y="26"/>
                  </a:cubicBezTo>
                  <a:cubicBezTo>
                    <a:pt x="93" y="26"/>
                    <a:pt x="92" y="26"/>
                    <a:pt x="92" y="26"/>
                  </a:cubicBezTo>
                  <a:close/>
                  <a:moveTo>
                    <a:pt x="92" y="26"/>
                  </a:moveTo>
                  <a:cubicBezTo>
                    <a:pt x="92" y="26"/>
                    <a:pt x="92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2" y="28"/>
                  </a:cubicBezTo>
                  <a:cubicBezTo>
                    <a:pt x="92" y="28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3" y="25"/>
                  </a:moveTo>
                  <a:cubicBezTo>
                    <a:pt x="92" y="25"/>
                    <a:pt x="92" y="24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lose/>
                  <a:moveTo>
                    <a:pt x="90" y="30"/>
                  </a:moveTo>
                  <a:cubicBezTo>
                    <a:pt x="90" y="30"/>
                    <a:pt x="91" y="30"/>
                    <a:pt x="91" y="30"/>
                  </a:cubicBezTo>
                  <a:cubicBezTo>
                    <a:pt x="91" y="31"/>
                    <a:pt x="90" y="30"/>
                    <a:pt x="90" y="30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90" y="31"/>
                    <a:pt x="90" y="31"/>
                    <a:pt x="90" y="32"/>
                  </a:cubicBezTo>
                  <a:cubicBezTo>
                    <a:pt x="90" y="31"/>
                    <a:pt x="90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2" y="32"/>
                  </a:cubicBezTo>
                  <a:cubicBezTo>
                    <a:pt x="91" y="32"/>
                    <a:pt x="92" y="32"/>
                    <a:pt x="93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lose/>
                  <a:moveTo>
                    <a:pt x="92" y="24"/>
                  </a:moveTo>
                  <a:cubicBezTo>
                    <a:pt x="92" y="24"/>
                    <a:pt x="92" y="24"/>
                    <a:pt x="92" y="24"/>
                  </a:cubicBezTo>
                  <a:cubicBezTo>
                    <a:pt x="92" y="25"/>
                    <a:pt x="92" y="24"/>
                    <a:pt x="92" y="25"/>
                  </a:cubicBezTo>
                  <a:cubicBezTo>
                    <a:pt x="92" y="25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2" y="23"/>
                  </a:moveTo>
                  <a:cubicBezTo>
                    <a:pt x="92" y="23"/>
                    <a:pt x="92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lose/>
                  <a:moveTo>
                    <a:pt x="92" y="24"/>
                  </a:moveTo>
                  <a:cubicBezTo>
                    <a:pt x="92" y="24"/>
                    <a:pt x="91" y="24"/>
                    <a:pt x="91" y="23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8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8"/>
                    <a:pt x="91" y="28"/>
                  </a:cubicBezTo>
                  <a:close/>
                  <a:moveTo>
                    <a:pt x="90" y="27"/>
                  </a:moveTo>
                  <a:cubicBezTo>
                    <a:pt x="90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1" y="27"/>
                    <a:pt x="90" y="27"/>
                  </a:cubicBezTo>
                  <a:close/>
                  <a:moveTo>
                    <a:pt x="89" y="31"/>
                  </a:moveTo>
                  <a:cubicBezTo>
                    <a:pt x="89" y="30"/>
                    <a:pt x="89" y="30"/>
                    <a:pt x="89" y="31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90" y="31"/>
                    <a:pt x="90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8" y="31"/>
                    <a:pt x="89" y="30"/>
                  </a:cubicBezTo>
                  <a:cubicBezTo>
                    <a:pt x="89" y="30"/>
                    <a:pt x="89" y="31"/>
                    <a:pt x="89" y="31"/>
                  </a:cubicBezTo>
                  <a:close/>
                  <a:moveTo>
                    <a:pt x="90" y="28"/>
                  </a:move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9"/>
                    <a:pt x="90" y="28"/>
                  </a:cubicBezTo>
                  <a:cubicBezTo>
                    <a:pt x="90" y="28"/>
                    <a:pt x="90" y="29"/>
                    <a:pt x="90" y="29"/>
                  </a:cubicBezTo>
                  <a:cubicBezTo>
                    <a:pt x="90" y="29"/>
                    <a:pt x="90" y="28"/>
                    <a:pt x="90" y="28"/>
                  </a:cubicBezTo>
                  <a:close/>
                  <a:moveTo>
                    <a:pt x="90" y="25"/>
                  </a:moveTo>
                  <a:cubicBezTo>
                    <a:pt x="91" y="25"/>
                    <a:pt x="90" y="25"/>
                    <a:pt x="91" y="25"/>
                  </a:cubicBezTo>
                  <a:cubicBezTo>
                    <a:pt x="91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91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4"/>
                    <a:pt x="90" y="23"/>
                    <a:pt x="91" y="23"/>
                  </a:cubicBezTo>
                  <a:close/>
                  <a:moveTo>
                    <a:pt x="90" y="25"/>
                  </a:move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9" y="28"/>
                  </a:cubicBezTo>
                  <a:cubicBezTo>
                    <a:pt x="89" y="28"/>
                    <a:pt x="89" y="28"/>
                    <a:pt x="88" y="28"/>
                  </a:cubicBezTo>
                  <a:cubicBezTo>
                    <a:pt x="88" y="28"/>
                    <a:pt x="88" y="28"/>
                    <a:pt x="89" y="28"/>
                  </a:cubicBezTo>
                  <a:cubicBezTo>
                    <a:pt x="88" y="29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90" y="23"/>
                  </a:move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lose/>
                  <a:moveTo>
                    <a:pt x="88" y="29"/>
                  </a:moveTo>
                  <a:cubicBezTo>
                    <a:pt x="88" y="29"/>
                    <a:pt x="87" y="29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87" y="28"/>
                    <a:pt x="87" y="28"/>
                    <a:pt x="86" y="27"/>
                  </a:cubicBezTo>
                  <a:cubicBezTo>
                    <a:pt x="87" y="27"/>
                    <a:pt x="88" y="28"/>
                    <a:pt x="88" y="28"/>
                  </a:cubicBezTo>
                  <a:close/>
                  <a:moveTo>
                    <a:pt x="88" y="25"/>
                  </a:moveTo>
                  <a:cubicBezTo>
                    <a:pt x="88" y="25"/>
                    <a:pt x="88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lose/>
                  <a:moveTo>
                    <a:pt x="86" y="29"/>
                  </a:moveTo>
                  <a:cubicBezTo>
                    <a:pt x="86" y="29"/>
                    <a:pt x="87" y="29"/>
                    <a:pt x="87" y="29"/>
                  </a:cubicBezTo>
                  <a:cubicBezTo>
                    <a:pt x="87" y="30"/>
                    <a:pt x="86" y="30"/>
                    <a:pt x="86" y="29"/>
                  </a:cubicBezTo>
                  <a:close/>
                  <a:moveTo>
                    <a:pt x="86" y="30"/>
                  </a:move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7" y="30"/>
                    <a:pt x="87" y="30"/>
                  </a:cubicBezTo>
                  <a:cubicBezTo>
                    <a:pt x="87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lose/>
                  <a:moveTo>
                    <a:pt x="88" y="23"/>
                  </a:moveTo>
                  <a:cubicBezTo>
                    <a:pt x="88" y="23"/>
                    <a:pt x="88" y="23"/>
                    <a:pt x="8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lose/>
                  <a:moveTo>
                    <a:pt x="86" y="27"/>
                  </a:move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lose/>
                  <a:moveTo>
                    <a:pt x="87" y="22"/>
                  </a:moveTo>
                  <a:cubicBezTo>
                    <a:pt x="88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lose/>
                  <a:moveTo>
                    <a:pt x="86" y="27"/>
                  </a:moveTo>
                  <a:cubicBezTo>
                    <a:pt x="86" y="27"/>
                    <a:pt x="85" y="27"/>
                    <a:pt x="85" y="27"/>
                  </a:cubicBezTo>
                  <a:cubicBezTo>
                    <a:pt x="85" y="27"/>
                    <a:pt x="85" y="27"/>
                    <a:pt x="86" y="27"/>
                  </a:cubicBezTo>
                  <a:close/>
                  <a:moveTo>
                    <a:pt x="86" y="25"/>
                  </a:moveTo>
                  <a:cubicBezTo>
                    <a:pt x="86" y="25"/>
                    <a:pt x="86" y="25"/>
                    <a:pt x="86" y="24"/>
                  </a:cubicBezTo>
                  <a:cubicBezTo>
                    <a:pt x="86" y="24"/>
                    <a:pt x="86" y="24"/>
                    <a:pt x="86" y="25"/>
                  </a:cubicBezTo>
                  <a:close/>
                  <a:moveTo>
                    <a:pt x="8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6" y="24"/>
                    <a:pt x="86" y="24"/>
                  </a:cubicBezTo>
                  <a:close/>
                  <a:moveTo>
                    <a:pt x="84" y="22"/>
                  </a:move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2"/>
                    <a:pt x="84" y="22"/>
                  </a:cubicBezTo>
                  <a:close/>
                  <a:moveTo>
                    <a:pt x="84" y="24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lose/>
                  <a:moveTo>
                    <a:pt x="82" y="28"/>
                  </a:moveTo>
                  <a:cubicBezTo>
                    <a:pt x="82" y="28"/>
                    <a:pt x="83" y="28"/>
                    <a:pt x="83" y="29"/>
                  </a:cubicBezTo>
                  <a:cubicBezTo>
                    <a:pt x="82" y="29"/>
                    <a:pt x="82" y="28"/>
                    <a:pt x="82" y="28"/>
                  </a:cubicBezTo>
                  <a:close/>
                  <a:moveTo>
                    <a:pt x="83" y="24"/>
                  </a:moveTo>
                  <a:cubicBezTo>
                    <a:pt x="84" y="24"/>
                    <a:pt x="83" y="24"/>
                    <a:pt x="83" y="24"/>
                  </a:cubicBezTo>
                  <a:cubicBezTo>
                    <a:pt x="84" y="25"/>
                    <a:pt x="84" y="25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lose/>
                  <a:moveTo>
                    <a:pt x="85" y="22"/>
                  </a:moveTo>
                  <a:cubicBezTo>
                    <a:pt x="85" y="22"/>
                    <a:pt x="84" y="22"/>
                    <a:pt x="84" y="21"/>
                  </a:cubicBezTo>
                  <a:cubicBezTo>
                    <a:pt x="84" y="21"/>
                    <a:pt x="84" y="21"/>
                    <a:pt x="85" y="22"/>
                  </a:cubicBezTo>
                  <a:close/>
                  <a:moveTo>
                    <a:pt x="84" y="23"/>
                  </a:move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lose/>
                  <a:moveTo>
                    <a:pt x="82" y="27"/>
                  </a:moveTo>
                  <a:cubicBezTo>
                    <a:pt x="82" y="26"/>
                    <a:pt x="83" y="27"/>
                    <a:pt x="83" y="27"/>
                  </a:cubicBezTo>
                  <a:cubicBezTo>
                    <a:pt x="83" y="27"/>
                    <a:pt x="82" y="27"/>
                    <a:pt x="82" y="27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2" y="23"/>
                  </a:cubicBezTo>
                  <a:cubicBezTo>
                    <a:pt x="83" y="23"/>
                    <a:pt x="83" y="23"/>
                    <a:pt x="84" y="23"/>
                  </a:cubicBezTo>
                  <a:cubicBezTo>
                    <a:pt x="84" y="23"/>
                    <a:pt x="83" y="23"/>
                    <a:pt x="83" y="23"/>
                  </a:cubicBezTo>
                  <a:close/>
                  <a:moveTo>
                    <a:pt x="81" y="24"/>
                  </a:moveTo>
                  <a:cubicBezTo>
                    <a:pt x="82" y="24"/>
                    <a:pt x="83" y="24"/>
                    <a:pt x="83" y="24"/>
                  </a:cubicBezTo>
                  <a:cubicBezTo>
                    <a:pt x="83" y="24"/>
                    <a:pt x="82" y="24"/>
                    <a:pt x="81" y="24"/>
                  </a:cubicBezTo>
                  <a:close/>
                  <a:moveTo>
                    <a:pt x="82" y="27"/>
                  </a:moveTo>
                  <a:cubicBezTo>
                    <a:pt x="82" y="28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4" y="21"/>
                    <a:pt x="83" y="21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83" y="24"/>
                    <a:pt x="82" y="23"/>
                    <a:pt x="82" y="23"/>
                  </a:cubicBezTo>
                  <a:cubicBezTo>
                    <a:pt x="82" y="23"/>
                    <a:pt x="83" y="23"/>
                    <a:pt x="83" y="23"/>
                  </a:cubicBezTo>
                  <a:close/>
                  <a:moveTo>
                    <a:pt x="81" y="26"/>
                  </a:move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lose/>
                  <a:moveTo>
                    <a:pt x="82" y="22"/>
                  </a:moveTo>
                  <a:cubicBezTo>
                    <a:pt x="82" y="21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9" y="32"/>
                  </a:moveTo>
                  <a:cubicBezTo>
                    <a:pt x="79" y="32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lose/>
                  <a:moveTo>
                    <a:pt x="80" y="27"/>
                  </a:moveTo>
                  <a:cubicBezTo>
                    <a:pt x="80" y="28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79" y="30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79" y="30"/>
                  </a:moveTo>
                  <a:cubicBezTo>
                    <a:pt x="79" y="30"/>
                    <a:pt x="78" y="30"/>
                    <a:pt x="78" y="30"/>
                  </a:cubicBezTo>
                  <a:cubicBezTo>
                    <a:pt x="78" y="30"/>
                    <a:pt x="79" y="30"/>
                    <a:pt x="79" y="30"/>
                  </a:cubicBezTo>
                  <a:close/>
                  <a:moveTo>
                    <a:pt x="80" y="24"/>
                  </a:move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79" y="24"/>
                    <a:pt x="80" y="24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8" y="30"/>
                  </a:move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8" y="30"/>
                    <a:pt x="77" y="30"/>
                    <a:pt x="78" y="30"/>
                  </a:cubicBezTo>
                  <a:close/>
                  <a:moveTo>
                    <a:pt x="79" y="21"/>
                  </a:moveTo>
                  <a:cubicBezTo>
                    <a:pt x="79" y="21"/>
                    <a:pt x="80" y="21"/>
                    <a:pt x="80" y="21"/>
                  </a:cubicBezTo>
                  <a:cubicBezTo>
                    <a:pt x="80" y="21"/>
                    <a:pt x="79" y="21"/>
                    <a:pt x="79" y="21"/>
                  </a:cubicBezTo>
                  <a:close/>
                  <a:moveTo>
                    <a:pt x="79" y="21"/>
                  </a:move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8" y="22"/>
                  </a:cubicBezTo>
                  <a:cubicBezTo>
                    <a:pt x="78" y="21"/>
                    <a:pt x="79" y="22"/>
                    <a:pt x="79" y="22"/>
                  </a:cubicBezTo>
                  <a:close/>
                  <a:moveTo>
                    <a:pt x="78" y="21"/>
                  </a:move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lose/>
                  <a:moveTo>
                    <a:pt x="76" y="23"/>
                  </a:move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lose/>
                  <a:moveTo>
                    <a:pt x="76" y="25"/>
                  </a:moveTo>
                  <a:cubicBezTo>
                    <a:pt x="76" y="25"/>
                    <a:pt x="76" y="25"/>
                    <a:pt x="76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6" y="25"/>
                    <a:pt x="76" y="25"/>
                  </a:cubicBezTo>
                  <a:close/>
                  <a:moveTo>
                    <a:pt x="71" y="29"/>
                  </a:moveTo>
                  <a:cubicBezTo>
                    <a:pt x="71" y="29"/>
                    <a:pt x="70" y="29"/>
                    <a:pt x="70" y="29"/>
                  </a:cubicBezTo>
                  <a:cubicBezTo>
                    <a:pt x="71" y="29"/>
                    <a:pt x="73" y="29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3" y="29"/>
                    <a:pt x="72" y="29"/>
                    <a:pt x="71" y="29"/>
                  </a:cubicBezTo>
                  <a:cubicBezTo>
                    <a:pt x="71" y="29"/>
                    <a:pt x="71" y="29"/>
                    <a:pt x="71" y="29"/>
                  </a:cubicBezTo>
                  <a:close/>
                  <a:moveTo>
                    <a:pt x="75" y="21"/>
                  </a:moveTo>
                  <a:cubicBezTo>
                    <a:pt x="75" y="21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5" y="22"/>
                    <a:pt x="75" y="21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3" y="21"/>
                    <a:pt x="73" y="20"/>
                  </a:cubicBezTo>
                  <a:cubicBezTo>
                    <a:pt x="73" y="20"/>
                    <a:pt x="73" y="21"/>
                    <a:pt x="73" y="20"/>
                  </a:cubicBezTo>
                  <a:cubicBezTo>
                    <a:pt x="73" y="20"/>
                    <a:pt x="74" y="20"/>
                    <a:pt x="73" y="21"/>
                  </a:cubicBezTo>
                  <a:cubicBezTo>
                    <a:pt x="74" y="21"/>
                    <a:pt x="74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3" y="24"/>
                  </a:move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3"/>
                    <a:pt x="73" y="24"/>
                    <a:pt x="73" y="24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4" y="20"/>
                  </a:moveTo>
                  <a:cubicBezTo>
                    <a:pt x="73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3" y="20"/>
                    <a:pt x="74" y="20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2" y="19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lose/>
                  <a:moveTo>
                    <a:pt x="72" y="21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lose/>
                  <a:moveTo>
                    <a:pt x="72" y="19"/>
                  </a:moveTo>
                  <a:cubicBezTo>
                    <a:pt x="72" y="19"/>
                    <a:pt x="72" y="20"/>
                    <a:pt x="72" y="20"/>
                  </a:cubicBezTo>
                  <a:cubicBezTo>
                    <a:pt x="72" y="20"/>
                    <a:pt x="72" y="20"/>
                    <a:pt x="72" y="19"/>
                  </a:cubicBezTo>
                  <a:close/>
                  <a:moveTo>
                    <a:pt x="71" y="23"/>
                  </a:moveTo>
                  <a:cubicBezTo>
                    <a:pt x="70" y="23"/>
                    <a:pt x="69" y="23"/>
                    <a:pt x="69" y="23"/>
                  </a:cubicBezTo>
                  <a:cubicBezTo>
                    <a:pt x="70" y="23"/>
                    <a:pt x="70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1"/>
                  </a:moveTo>
                  <a:cubicBezTo>
                    <a:pt x="70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0" y="21"/>
                    <a:pt x="70" y="21"/>
                  </a:cubicBezTo>
                  <a:close/>
                  <a:moveTo>
                    <a:pt x="71" y="21"/>
                  </a:moveTo>
                  <a:cubicBezTo>
                    <a:pt x="71" y="21"/>
                    <a:pt x="70" y="21"/>
                    <a:pt x="70" y="21"/>
                  </a:cubicBezTo>
                  <a:cubicBezTo>
                    <a:pt x="70" y="20"/>
                    <a:pt x="71" y="21"/>
                    <a:pt x="71" y="21"/>
                  </a:cubicBezTo>
                  <a:close/>
                  <a:moveTo>
                    <a:pt x="69" y="21"/>
                  </a:moveTo>
                  <a:cubicBezTo>
                    <a:pt x="70" y="21"/>
                    <a:pt x="70" y="20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0" y="21"/>
                    <a:pt x="69" y="21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68" y="21"/>
                    <a:pt x="67" y="21"/>
                  </a:cubicBezTo>
                  <a:cubicBezTo>
                    <a:pt x="67" y="21"/>
                    <a:pt x="66" y="21"/>
                    <a:pt x="66" y="21"/>
                  </a:cubicBezTo>
                  <a:cubicBezTo>
                    <a:pt x="67" y="21"/>
                    <a:pt x="68" y="21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9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1" y="18"/>
                  </a:cubicBezTo>
                  <a:cubicBezTo>
                    <a:pt x="70" y="18"/>
                    <a:pt x="70" y="18"/>
                    <a:pt x="70" y="18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70" y="21"/>
                  </a:cubicBezTo>
                  <a:cubicBezTo>
                    <a:pt x="70" y="21"/>
                    <a:pt x="69" y="21"/>
                    <a:pt x="69" y="21"/>
                  </a:cubicBezTo>
                  <a:close/>
                  <a:moveTo>
                    <a:pt x="70" y="19"/>
                  </a:move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69" y="19"/>
                    <a:pt x="70" y="18"/>
                  </a:cubicBezTo>
                  <a:close/>
                  <a:moveTo>
                    <a:pt x="68" y="24"/>
                  </a:moveTo>
                  <a:cubicBezTo>
                    <a:pt x="68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lose/>
                  <a:moveTo>
                    <a:pt x="69" y="23"/>
                  </a:moveTo>
                  <a:cubicBezTo>
                    <a:pt x="68" y="23"/>
                    <a:pt x="68" y="22"/>
                    <a:pt x="68" y="22"/>
                  </a:cubicBezTo>
                  <a:cubicBezTo>
                    <a:pt x="68" y="22"/>
                    <a:pt x="68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69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69" y="18"/>
                    <a:pt x="69" y="18"/>
                  </a:cubicBezTo>
                  <a:close/>
                  <a:moveTo>
                    <a:pt x="69" y="20"/>
                  </a:moveTo>
                  <a:cubicBezTo>
                    <a:pt x="69" y="21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9" y="20"/>
                    <a:pt x="69" y="20"/>
                  </a:cubicBezTo>
                  <a:close/>
                  <a:moveTo>
                    <a:pt x="68" y="19"/>
                  </a:moveTo>
                  <a:cubicBezTo>
                    <a:pt x="68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lose/>
                  <a:moveTo>
                    <a:pt x="68" y="22"/>
                  </a:move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8" y="22"/>
                    <a:pt x="68" y="22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6" y="24"/>
                    <a:pt x="67" y="23"/>
                    <a:pt x="67" y="24"/>
                  </a:cubicBezTo>
                  <a:close/>
                  <a:moveTo>
                    <a:pt x="66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lose/>
                  <a:moveTo>
                    <a:pt x="65" y="23"/>
                  </a:moveTo>
                  <a:cubicBezTo>
                    <a:pt x="65" y="23"/>
                    <a:pt x="65" y="24"/>
                    <a:pt x="65" y="24"/>
                  </a:cubicBezTo>
                  <a:cubicBezTo>
                    <a:pt x="65" y="24"/>
                    <a:pt x="65" y="24"/>
                    <a:pt x="65" y="23"/>
                  </a:cubicBezTo>
                  <a:close/>
                  <a:moveTo>
                    <a:pt x="64" y="23"/>
                  </a:move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3" y="22"/>
                    <a:pt x="63" y="22"/>
                  </a:cubicBezTo>
                  <a:close/>
                  <a:moveTo>
                    <a:pt x="64" y="19"/>
                  </a:move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4" y="19"/>
                    <a:pt x="64" y="19"/>
                  </a:cubicBezTo>
                  <a:close/>
                  <a:moveTo>
                    <a:pt x="61" y="23"/>
                  </a:moveTo>
                  <a:cubicBezTo>
                    <a:pt x="61" y="23"/>
                    <a:pt x="62" y="23"/>
                    <a:pt x="62" y="24"/>
                  </a:cubicBezTo>
                  <a:cubicBezTo>
                    <a:pt x="62" y="24"/>
                    <a:pt x="62" y="23"/>
                    <a:pt x="62" y="23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1" y="24"/>
                    <a:pt x="61" y="24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3" y="23"/>
                  </a:cubicBezTo>
                  <a:cubicBezTo>
                    <a:pt x="63" y="23"/>
                    <a:pt x="62" y="22"/>
                    <a:pt x="63" y="23"/>
                  </a:cubicBezTo>
                  <a:cubicBezTo>
                    <a:pt x="62" y="23"/>
                    <a:pt x="62" y="22"/>
                    <a:pt x="62" y="22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3"/>
                  </a:moveTo>
                  <a:cubicBezTo>
                    <a:pt x="62" y="24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19"/>
                  </a:moveTo>
                  <a:cubicBezTo>
                    <a:pt x="63" y="19"/>
                    <a:pt x="63" y="19"/>
                    <a:pt x="63" y="19"/>
                  </a:cubicBezTo>
                  <a:cubicBezTo>
                    <a:pt x="63" y="20"/>
                    <a:pt x="63" y="19"/>
                    <a:pt x="62" y="19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1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3" y="16"/>
                  </a:moveTo>
                  <a:cubicBezTo>
                    <a:pt x="63" y="16"/>
                    <a:pt x="63" y="16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2" y="16"/>
                  </a:moveTo>
                  <a:cubicBezTo>
                    <a:pt x="62" y="15"/>
                    <a:pt x="63" y="16"/>
                    <a:pt x="63" y="16"/>
                  </a:cubicBezTo>
                  <a:cubicBezTo>
                    <a:pt x="63" y="16"/>
                    <a:pt x="62" y="16"/>
                    <a:pt x="62" y="16"/>
                  </a:cubicBezTo>
                  <a:close/>
                  <a:moveTo>
                    <a:pt x="60" y="21"/>
                  </a:move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lose/>
                  <a:moveTo>
                    <a:pt x="60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60" y="24"/>
                    <a:pt x="60" y="24"/>
                  </a:cubicBezTo>
                  <a:close/>
                  <a:moveTo>
                    <a:pt x="60" y="20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1" y="20"/>
                  </a:cubicBezTo>
                  <a:cubicBezTo>
                    <a:pt x="61" y="20"/>
                    <a:pt x="60" y="20"/>
                    <a:pt x="60" y="20"/>
                  </a:cubicBezTo>
                  <a:close/>
                  <a:moveTo>
                    <a:pt x="59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9" y="23"/>
                    <a:pt x="59" y="23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lose/>
                  <a:moveTo>
                    <a:pt x="59" y="25"/>
                  </a:moveTo>
                  <a:cubicBezTo>
                    <a:pt x="59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lose/>
                  <a:moveTo>
                    <a:pt x="59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0" y="19"/>
                    <a:pt x="60" y="19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59" y="23"/>
                  </a:moveTo>
                  <a:cubicBezTo>
                    <a:pt x="59" y="23"/>
                    <a:pt x="59" y="23"/>
                    <a:pt x="58" y="22"/>
                  </a:cubicBezTo>
                  <a:cubicBezTo>
                    <a:pt x="59" y="22"/>
                    <a:pt x="59" y="23"/>
                    <a:pt x="59" y="23"/>
                  </a:cubicBezTo>
                  <a:close/>
                  <a:moveTo>
                    <a:pt x="59" y="20"/>
                  </a:move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20"/>
                    <a:pt x="58" y="20"/>
                    <a:pt x="59" y="20"/>
                  </a:cubicBezTo>
                  <a:cubicBezTo>
                    <a:pt x="59" y="20"/>
                    <a:pt x="59" y="20"/>
                    <a:pt x="59" y="19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59" y="20"/>
                    <a:pt x="59" y="20"/>
                    <a:pt x="59" y="20"/>
                  </a:cubicBezTo>
                  <a:close/>
                  <a:moveTo>
                    <a:pt x="57" y="22"/>
                  </a:moveTo>
                  <a:cubicBezTo>
                    <a:pt x="58" y="22"/>
                    <a:pt x="58" y="23"/>
                    <a:pt x="59" y="23"/>
                  </a:cubicBezTo>
                  <a:cubicBezTo>
                    <a:pt x="58" y="23"/>
                    <a:pt x="58" y="22"/>
                    <a:pt x="57" y="22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lose/>
                  <a:moveTo>
                    <a:pt x="57" y="24"/>
                  </a:moveTo>
                  <a:cubicBezTo>
                    <a:pt x="57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58" y="20"/>
                  </a:moveTo>
                  <a:cubicBezTo>
                    <a:pt x="58" y="19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8" y="21"/>
                  </a:move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2"/>
                    <a:pt x="57" y="22"/>
                  </a:cubicBezTo>
                  <a:cubicBezTo>
                    <a:pt x="57" y="22"/>
                    <a:pt x="58" y="22"/>
                    <a:pt x="57" y="22"/>
                  </a:cubicBezTo>
                  <a:close/>
                  <a:moveTo>
                    <a:pt x="56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3"/>
                  </a:cubicBezTo>
                  <a:cubicBezTo>
                    <a:pt x="56" y="23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7" y="18"/>
                  </a:moveTo>
                  <a:cubicBezTo>
                    <a:pt x="57" y="18"/>
                    <a:pt x="58" y="18"/>
                    <a:pt x="58" y="18"/>
                  </a:cubicBezTo>
                  <a:cubicBezTo>
                    <a:pt x="58" y="18"/>
                    <a:pt x="58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9"/>
                  </a:cubicBezTo>
                  <a:cubicBezTo>
                    <a:pt x="57" y="19"/>
                    <a:pt x="57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lose/>
                  <a:moveTo>
                    <a:pt x="57" y="19"/>
                  </a:move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lose/>
                  <a:moveTo>
                    <a:pt x="58" y="16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5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6" y="22"/>
                    <a:pt x="55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  <a:moveTo>
                    <a:pt x="55" y="24"/>
                  </a:moveTo>
                  <a:cubicBezTo>
                    <a:pt x="55" y="24"/>
                    <a:pt x="55" y="24"/>
                    <a:pt x="54" y="24"/>
                  </a:cubicBezTo>
                  <a:cubicBezTo>
                    <a:pt x="55" y="23"/>
                    <a:pt x="55" y="24"/>
                    <a:pt x="55" y="24"/>
                  </a:cubicBezTo>
                  <a:close/>
                  <a:moveTo>
                    <a:pt x="55" y="23"/>
                  </a:move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22"/>
                  </a:move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55" y="23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18"/>
                  </a:moveTo>
                  <a:cubicBezTo>
                    <a:pt x="54" y="18"/>
                    <a:pt x="55" y="18"/>
                    <a:pt x="54" y="18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4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lnTo>
                    <a:pt x="54" y="18"/>
                  </a:lnTo>
                  <a:close/>
                  <a:moveTo>
                    <a:pt x="53" y="20"/>
                  </a:move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lose/>
                  <a:moveTo>
                    <a:pt x="54" y="14"/>
                  </a:move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4" y="14"/>
                    <a:pt x="54" y="14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2" y="17"/>
                    <a:pt x="53" y="17"/>
                    <a:pt x="52" y="17"/>
                  </a:cubicBezTo>
                  <a:close/>
                  <a:moveTo>
                    <a:pt x="52" y="14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3" y="13"/>
                    <a:pt x="53" y="14"/>
                    <a:pt x="53" y="14"/>
                  </a:cubicBezTo>
                  <a:cubicBezTo>
                    <a:pt x="53" y="14"/>
                    <a:pt x="53" y="14"/>
                    <a:pt x="52" y="14"/>
                  </a:cubicBezTo>
                  <a:close/>
                  <a:moveTo>
                    <a:pt x="52" y="18"/>
                  </a:moveTo>
                  <a:cubicBezTo>
                    <a:pt x="52" y="18"/>
                    <a:pt x="52" y="17"/>
                    <a:pt x="52" y="17"/>
                  </a:cubicBezTo>
                  <a:cubicBezTo>
                    <a:pt x="52" y="17"/>
                    <a:pt x="52" y="17"/>
                    <a:pt x="52" y="18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6"/>
                  </a:cubicBezTo>
                  <a:cubicBezTo>
                    <a:pt x="52" y="16"/>
                    <a:pt x="52" y="17"/>
                    <a:pt x="52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6"/>
                    <a:pt x="52" y="17"/>
                  </a:cubicBezTo>
                  <a:close/>
                  <a:moveTo>
                    <a:pt x="52" y="13"/>
                  </a:moveTo>
                  <a:cubicBezTo>
                    <a:pt x="52" y="13"/>
                    <a:pt x="53" y="13"/>
                    <a:pt x="53" y="13"/>
                  </a:cubicBezTo>
                  <a:cubicBezTo>
                    <a:pt x="53" y="13"/>
                    <a:pt x="52" y="12"/>
                    <a:pt x="52" y="13"/>
                  </a:cubicBezTo>
                  <a:close/>
                  <a:moveTo>
                    <a:pt x="50" y="18"/>
                  </a:move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50" y="18"/>
                    <a:pt x="50" y="18"/>
                  </a:cubicBezTo>
                  <a:close/>
                  <a:moveTo>
                    <a:pt x="48" y="19"/>
                  </a:move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8" y="19"/>
                    <a:pt x="48" y="19"/>
                  </a:cubicBezTo>
                  <a:close/>
                  <a:moveTo>
                    <a:pt x="49" y="14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4"/>
                    <a:pt x="49" y="14"/>
                  </a:cubicBezTo>
                  <a:close/>
                  <a:moveTo>
                    <a:pt x="48" y="15"/>
                  </a:moveTo>
                  <a:cubicBezTo>
                    <a:pt x="48" y="15"/>
                    <a:pt x="49" y="16"/>
                    <a:pt x="49" y="16"/>
                  </a:cubicBezTo>
                  <a:cubicBezTo>
                    <a:pt x="49" y="16"/>
                    <a:pt x="48" y="16"/>
                    <a:pt x="48" y="15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8"/>
                    <a:pt x="47" y="19"/>
                    <a:pt x="47" y="19"/>
                  </a:cubicBezTo>
                  <a:close/>
                  <a:moveTo>
                    <a:pt x="46" y="20"/>
                  </a:moveTo>
                  <a:cubicBezTo>
                    <a:pt x="47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7" y="14"/>
                  </a:move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7" y="14"/>
                    <a:pt x="47" y="14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8"/>
                    <a:pt x="46" y="19"/>
                    <a:pt x="46" y="19"/>
                  </a:cubicBez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2" y="13"/>
                  </a:cubicBezTo>
                  <a:cubicBezTo>
                    <a:pt x="42" y="13"/>
                    <a:pt x="43" y="13"/>
                    <a:pt x="43" y="13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37" y="12"/>
                  </a:move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5" y="16"/>
                    <a:pt x="34" y="16"/>
                    <a:pt x="35" y="16"/>
                  </a:cubicBezTo>
                  <a:cubicBezTo>
                    <a:pt x="35" y="16"/>
                    <a:pt x="35" y="16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9" y="15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9" y="15"/>
                  </a:cubicBezTo>
                  <a:close/>
                  <a:moveTo>
                    <a:pt x="27" y="14"/>
                  </a:moveTo>
                  <a:cubicBezTo>
                    <a:pt x="27" y="15"/>
                    <a:pt x="27" y="14"/>
                    <a:pt x="27" y="15"/>
                  </a:cubicBezTo>
                  <a:cubicBezTo>
                    <a:pt x="26" y="15"/>
                    <a:pt x="26" y="14"/>
                    <a:pt x="27" y="14"/>
                  </a:cubicBezTo>
                  <a:close/>
                  <a:moveTo>
                    <a:pt x="26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lose/>
                  <a:moveTo>
                    <a:pt x="26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4"/>
                    <a:pt x="26" y="13"/>
                    <a:pt x="26" y="13"/>
                  </a:cubicBezTo>
                  <a:close/>
                  <a:moveTo>
                    <a:pt x="25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5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4"/>
                    <a:pt x="23" y="13"/>
                    <a:pt x="22" y="13"/>
                  </a:cubicBezTo>
                  <a:close/>
                  <a:moveTo>
                    <a:pt x="24" y="10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0"/>
                    <a:pt x="24" y="10"/>
                  </a:cubicBezTo>
                  <a:close/>
                  <a:moveTo>
                    <a:pt x="22" y="13"/>
                  </a:moveTo>
                  <a:cubicBezTo>
                    <a:pt x="21" y="13"/>
                    <a:pt x="21" y="13"/>
                    <a:pt x="20" y="13"/>
                  </a:cubicBezTo>
                  <a:cubicBezTo>
                    <a:pt x="20" y="12"/>
                    <a:pt x="21" y="13"/>
                    <a:pt x="22" y="13"/>
                  </a:cubicBezTo>
                  <a:close/>
                  <a:moveTo>
                    <a:pt x="18" y="13"/>
                  </a:moveTo>
                  <a:cubicBezTo>
                    <a:pt x="18" y="12"/>
                    <a:pt x="18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8" y="13"/>
                    <a:pt x="18" y="13"/>
                  </a:cubicBezTo>
                  <a:close/>
                  <a:moveTo>
                    <a:pt x="18" y="12"/>
                  </a:moveTo>
                  <a:cubicBezTo>
                    <a:pt x="18" y="13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lose/>
                  <a:moveTo>
                    <a:pt x="18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lose/>
                  <a:moveTo>
                    <a:pt x="19" y="7"/>
                  </a:moveTo>
                  <a:cubicBezTo>
                    <a:pt x="19" y="7"/>
                    <a:pt x="19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lose/>
                  <a:moveTo>
                    <a:pt x="17" y="10"/>
                  </a:move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8" y="11"/>
                    <a:pt x="18" y="12"/>
                  </a:cubicBezTo>
                  <a:close/>
                  <a:moveTo>
                    <a:pt x="17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6" y="10"/>
                  </a:move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lose/>
                  <a:moveTo>
                    <a:pt x="17" y="10"/>
                  </a:moveTo>
                  <a:cubicBezTo>
                    <a:pt x="17" y="10"/>
                    <a:pt x="16" y="10"/>
                    <a:pt x="16" y="10"/>
                  </a:cubicBezTo>
                  <a:cubicBezTo>
                    <a:pt x="16" y="10"/>
                    <a:pt x="16" y="10"/>
                    <a:pt x="17" y="10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6" y="6"/>
                  </a:move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  <a:moveTo>
                    <a:pt x="14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lose/>
                  <a:moveTo>
                    <a:pt x="12" y="10"/>
                  </a:moveTo>
                  <a:cubicBezTo>
                    <a:pt x="12" y="10"/>
                    <a:pt x="11" y="9"/>
                    <a:pt x="10" y="9"/>
                  </a:cubicBezTo>
                  <a:cubicBezTo>
                    <a:pt x="9" y="9"/>
                    <a:pt x="8" y="9"/>
                    <a:pt x="7" y="8"/>
                  </a:cubicBezTo>
                  <a:cubicBezTo>
                    <a:pt x="9" y="9"/>
                    <a:pt x="11" y="9"/>
                    <a:pt x="12" y="10"/>
                  </a:cubicBezTo>
                  <a:close/>
                  <a:moveTo>
                    <a:pt x="12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2" y="11"/>
                    <a:pt x="12" y="11"/>
                  </a:cubicBezTo>
                  <a:close/>
                  <a:moveTo>
                    <a:pt x="12" y="8"/>
                  </a:moveTo>
                  <a:cubicBezTo>
                    <a:pt x="12" y="8"/>
                    <a:pt x="11" y="8"/>
                    <a:pt x="12" y="8"/>
                  </a:cubicBezTo>
                  <a:cubicBezTo>
                    <a:pt x="11" y="8"/>
                    <a:pt x="12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lose/>
                  <a:moveTo>
                    <a:pt x="11" y="11"/>
                  </a:moveTo>
                  <a:cubicBezTo>
                    <a:pt x="11" y="10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10" y="10"/>
                  </a:move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lose/>
                  <a:moveTo>
                    <a:pt x="10" y="11"/>
                  </a:move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9" y="10"/>
                    <a:pt x="10" y="10"/>
                    <a:pt x="11" y="10"/>
                  </a:cubicBezTo>
                  <a:lnTo>
                    <a:pt x="10" y="11"/>
                  </a:lnTo>
                  <a:close/>
                  <a:moveTo>
                    <a:pt x="10" y="8"/>
                  </a:moveTo>
                  <a:cubicBezTo>
                    <a:pt x="10" y="8"/>
                    <a:pt x="11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lose/>
                  <a:moveTo>
                    <a:pt x="11" y="3"/>
                  </a:move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10"/>
                    <a:pt x="6" y="9"/>
                    <a:pt x="6" y="9"/>
                  </a:cubicBezTo>
                  <a:close/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7" y="7"/>
                  </a:moveTo>
                  <a:cubicBezTo>
                    <a:pt x="6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lose/>
                  <a:moveTo>
                    <a:pt x="6" y="9"/>
                  </a:moveTo>
                  <a:cubicBezTo>
                    <a:pt x="6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lose/>
                  <a:moveTo>
                    <a:pt x="6" y="6"/>
                  </a:moveTo>
                  <a:cubicBezTo>
                    <a:pt x="6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lose/>
                  <a:moveTo>
                    <a:pt x="4" y="9"/>
                  </a:move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4" y="9"/>
                    <a:pt x="4" y="9"/>
                  </a:cubicBezTo>
                  <a:close/>
                  <a:moveTo>
                    <a:pt x="5" y="4"/>
                  </a:moveTo>
                  <a:cubicBezTo>
                    <a:pt x="5" y="4"/>
                    <a:pt x="6" y="4"/>
                    <a:pt x="6" y="4"/>
                  </a:cubicBezTo>
                  <a:cubicBezTo>
                    <a:pt x="6" y="5"/>
                    <a:pt x="5" y="4"/>
                    <a:pt x="5" y="4"/>
                  </a:cubicBezTo>
                  <a:close/>
                  <a:moveTo>
                    <a:pt x="6" y="1"/>
                  </a:move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6" y="1"/>
                    <a:pt x="6" y="1"/>
                  </a:cubicBezTo>
                  <a:close/>
                  <a:moveTo>
                    <a:pt x="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8"/>
                    <a:pt x="3" y="8"/>
                    <a:pt x="3" y="8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lose/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0"/>
                    <a:pt x="4" y="1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lose/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lose/>
                  <a:moveTo>
                    <a:pt x="1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0" y="6"/>
                  </a:move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45" y="54"/>
                  </a:moveTo>
                  <a:cubicBezTo>
                    <a:pt x="144" y="53"/>
                    <a:pt x="143" y="53"/>
                    <a:pt x="143" y="53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3" y="53"/>
                    <a:pt x="142" y="53"/>
                    <a:pt x="142" y="53"/>
                  </a:cubicBezTo>
                  <a:cubicBezTo>
                    <a:pt x="141" y="53"/>
                    <a:pt x="141" y="52"/>
                    <a:pt x="140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39" y="51"/>
                    <a:pt x="139" y="52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7" y="50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0"/>
                    <a:pt x="136" y="51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49"/>
                    <a:pt x="135" y="49"/>
                  </a:cubicBezTo>
                  <a:cubicBezTo>
                    <a:pt x="134" y="49"/>
                    <a:pt x="135" y="49"/>
                    <a:pt x="135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4" y="49"/>
                    <a:pt x="134" y="49"/>
                    <a:pt x="133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2" y="48"/>
                  </a:cubicBezTo>
                  <a:cubicBezTo>
                    <a:pt x="132" y="48"/>
                    <a:pt x="131" y="48"/>
                    <a:pt x="131" y="48"/>
                  </a:cubicBezTo>
                  <a:cubicBezTo>
                    <a:pt x="131" y="48"/>
                    <a:pt x="131" y="47"/>
                    <a:pt x="131" y="47"/>
                  </a:cubicBezTo>
                  <a:cubicBezTo>
                    <a:pt x="131" y="47"/>
                    <a:pt x="131" y="48"/>
                    <a:pt x="130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7"/>
                    <a:pt x="130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6"/>
                    <a:pt x="129" y="47"/>
                  </a:cubicBezTo>
                  <a:cubicBezTo>
                    <a:pt x="128" y="47"/>
                    <a:pt x="129" y="46"/>
                    <a:pt x="128" y="46"/>
                  </a:cubicBezTo>
                  <a:cubicBezTo>
                    <a:pt x="128" y="46"/>
                    <a:pt x="129" y="46"/>
                    <a:pt x="129" y="46"/>
                  </a:cubicBezTo>
                  <a:cubicBezTo>
                    <a:pt x="129" y="46"/>
                    <a:pt x="128" y="46"/>
                    <a:pt x="128" y="46"/>
                  </a:cubicBezTo>
                  <a:cubicBezTo>
                    <a:pt x="128" y="46"/>
                    <a:pt x="126" y="46"/>
                    <a:pt x="126" y="45"/>
                  </a:cubicBezTo>
                  <a:cubicBezTo>
                    <a:pt x="127" y="45"/>
                    <a:pt x="127" y="46"/>
                    <a:pt x="127" y="46"/>
                  </a:cubicBezTo>
                  <a:cubicBezTo>
                    <a:pt x="127" y="46"/>
                    <a:pt x="127" y="45"/>
                    <a:pt x="127" y="45"/>
                  </a:cubicBezTo>
                  <a:cubicBezTo>
                    <a:pt x="126" y="45"/>
                    <a:pt x="126" y="45"/>
                    <a:pt x="127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5" y="45"/>
                    <a:pt x="126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5" y="45"/>
                    <a:pt x="124" y="45"/>
                  </a:cubicBezTo>
                  <a:cubicBezTo>
                    <a:pt x="125" y="44"/>
                    <a:pt x="125" y="45"/>
                    <a:pt x="125" y="45"/>
                  </a:cubicBezTo>
                  <a:cubicBezTo>
                    <a:pt x="125" y="44"/>
                    <a:pt x="125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3"/>
                    <a:pt x="122" y="43"/>
                  </a:cubicBezTo>
                  <a:cubicBezTo>
                    <a:pt x="122" y="44"/>
                    <a:pt x="124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3"/>
                    <a:pt x="123" y="44"/>
                    <a:pt x="123" y="44"/>
                  </a:cubicBezTo>
                  <a:cubicBezTo>
                    <a:pt x="123" y="43"/>
                    <a:pt x="123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1" y="43"/>
                    <a:pt x="122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2" y="43"/>
                  </a:cubicBezTo>
                  <a:cubicBezTo>
                    <a:pt x="122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0" y="42"/>
                    <a:pt x="121" y="42"/>
                  </a:cubicBezTo>
                  <a:cubicBezTo>
                    <a:pt x="121" y="43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3"/>
                    <a:pt x="121" y="43"/>
                    <a:pt x="121" y="43"/>
                  </a:cubicBezTo>
                  <a:cubicBezTo>
                    <a:pt x="120" y="43"/>
                    <a:pt x="120" y="43"/>
                    <a:pt x="119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3"/>
                    <a:pt x="119" y="43"/>
                    <a:pt x="118" y="43"/>
                  </a:cubicBez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7" y="42"/>
                    <a:pt x="118" y="42"/>
                    <a:pt x="118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7" y="41"/>
                  </a:cubicBezTo>
                  <a:cubicBezTo>
                    <a:pt x="117" y="42"/>
                    <a:pt x="117" y="41"/>
                    <a:pt x="117" y="42"/>
                  </a:cubicBezTo>
                  <a:cubicBezTo>
                    <a:pt x="117" y="42"/>
                    <a:pt x="117" y="42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4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1" y="40"/>
                    <a:pt x="111" y="39"/>
                  </a:cubicBezTo>
                  <a:cubicBezTo>
                    <a:pt x="111" y="39"/>
                    <a:pt x="111" y="40"/>
                    <a:pt x="111" y="40"/>
                  </a:cubicBezTo>
                  <a:cubicBezTo>
                    <a:pt x="111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40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7" y="38"/>
                  </a:cubicBezTo>
                  <a:cubicBezTo>
                    <a:pt x="108" y="38"/>
                    <a:pt x="108" y="39"/>
                    <a:pt x="108" y="38"/>
                  </a:cubicBezTo>
                  <a:cubicBezTo>
                    <a:pt x="109" y="38"/>
                    <a:pt x="109" y="38"/>
                    <a:pt x="109" y="39"/>
                  </a:cubicBezTo>
                  <a:cubicBezTo>
                    <a:pt x="109" y="39"/>
                    <a:pt x="109" y="38"/>
                    <a:pt x="109" y="38"/>
                  </a:cubicBezTo>
                  <a:cubicBezTo>
                    <a:pt x="111" y="39"/>
                    <a:pt x="112" y="39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4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1"/>
                    <a:pt x="116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7" y="41"/>
                    <a:pt x="116" y="41"/>
                    <a:pt x="116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0"/>
                  </a:cubicBezTo>
                  <a:cubicBezTo>
                    <a:pt x="116" y="41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ubicBezTo>
                    <a:pt x="114" y="39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4" y="39"/>
                    <a:pt x="113" y="39"/>
                  </a:cubicBezTo>
                  <a:cubicBezTo>
                    <a:pt x="114" y="39"/>
                    <a:pt x="115" y="39"/>
                    <a:pt x="116" y="39"/>
                  </a:cubicBezTo>
                  <a:cubicBezTo>
                    <a:pt x="115" y="40"/>
                    <a:pt x="115" y="39"/>
                    <a:pt x="115" y="39"/>
                  </a:cubicBezTo>
                  <a:cubicBezTo>
                    <a:pt x="115" y="39"/>
                    <a:pt x="115" y="40"/>
                    <a:pt x="115" y="40"/>
                  </a:cubicBezTo>
                  <a:cubicBezTo>
                    <a:pt x="116" y="39"/>
                    <a:pt x="116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41"/>
                  </a:cubicBezTo>
                  <a:cubicBezTo>
                    <a:pt x="118" y="41"/>
                    <a:pt x="117" y="40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7" y="40"/>
                    <a:pt x="117" y="40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0" y="41"/>
                    <a:pt x="119" y="41"/>
                  </a:cubicBezTo>
                  <a:cubicBezTo>
                    <a:pt x="120" y="42"/>
                    <a:pt x="121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3"/>
                    <a:pt x="122" y="42"/>
                    <a:pt x="122" y="43"/>
                  </a:cubicBezTo>
                  <a:cubicBezTo>
                    <a:pt x="123" y="43"/>
                    <a:pt x="122" y="42"/>
                    <a:pt x="122" y="42"/>
                  </a:cubicBezTo>
                  <a:cubicBezTo>
                    <a:pt x="123" y="42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3"/>
                    <a:pt x="123" y="43"/>
                    <a:pt x="123" y="43"/>
                  </a:cubicBezTo>
                  <a:cubicBezTo>
                    <a:pt x="123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6" y="44"/>
                    <a:pt x="125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9" y="45"/>
                    <a:pt x="129" y="45"/>
                  </a:cubicBezTo>
                  <a:cubicBezTo>
                    <a:pt x="129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4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8" y="44"/>
                    <a:pt x="128" y="44"/>
                  </a:cubicBezTo>
                  <a:cubicBezTo>
                    <a:pt x="128" y="44"/>
                    <a:pt x="128" y="44"/>
                    <a:pt x="127" y="44"/>
                  </a:cubicBezTo>
                  <a:cubicBezTo>
                    <a:pt x="127" y="44"/>
                    <a:pt x="126" y="44"/>
                    <a:pt x="126" y="44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2"/>
                  </a:cubicBezTo>
                  <a:cubicBezTo>
                    <a:pt x="124" y="42"/>
                    <a:pt x="124" y="42"/>
                    <a:pt x="124" y="43"/>
                  </a:cubicBezTo>
                  <a:cubicBezTo>
                    <a:pt x="124" y="42"/>
                    <a:pt x="124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2" y="42"/>
                  </a:cubicBezTo>
                  <a:cubicBezTo>
                    <a:pt x="122" y="41"/>
                    <a:pt x="122" y="42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1" y="41"/>
                    <a:pt x="121" y="41"/>
                  </a:cubicBezTo>
                  <a:cubicBezTo>
                    <a:pt x="122" y="41"/>
                    <a:pt x="122" y="41"/>
                    <a:pt x="121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3" y="41"/>
                    <a:pt x="122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4" y="41"/>
                    <a:pt x="123" y="41"/>
                    <a:pt x="122" y="41"/>
                  </a:cubicBezTo>
                  <a:cubicBezTo>
                    <a:pt x="122" y="41"/>
                    <a:pt x="122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1" y="39"/>
                    <a:pt x="121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19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20" y="39"/>
                  </a:cubicBezTo>
                  <a:cubicBezTo>
                    <a:pt x="120" y="39"/>
                    <a:pt x="119" y="39"/>
                    <a:pt x="119" y="38"/>
                  </a:cubicBezTo>
                  <a:cubicBezTo>
                    <a:pt x="119" y="38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9" y="39"/>
                  </a:cubicBezTo>
                  <a:cubicBezTo>
                    <a:pt x="119" y="40"/>
                    <a:pt x="118" y="40"/>
                    <a:pt x="118" y="40"/>
                  </a:cubicBezTo>
                  <a:cubicBezTo>
                    <a:pt x="118" y="40"/>
                    <a:pt x="119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39"/>
                    <a:pt x="118" y="40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7" y="39"/>
                  </a:cubicBezTo>
                  <a:cubicBezTo>
                    <a:pt x="116" y="39"/>
                    <a:pt x="116" y="39"/>
                    <a:pt x="115" y="39"/>
                  </a:cubicBezTo>
                  <a:cubicBezTo>
                    <a:pt x="115" y="38"/>
                    <a:pt x="115" y="39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7"/>
                    <a:pt x="112" y="37"/>
                    <a:pt x="113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1" y="37"/>
                    <a:pt x="111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4" y="37"/>
                    <a:pt x="114" y="37"/>
                    <a:pt x="114" y="38"/>
                  </a:cubicBezTo>
                  <a:cubicBezTo>
                    <a:pt x="114" y="38"/>
                    <a:pt x="114" y="38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7" y="38"/>
                    <a:pt x="116" y="38"/>
                    <a:pt x="117" y="39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6" y="38"/>
                  </a:cubicBezTo>
                  <a:cubicBezTo>
                    <a:pt x="116" y="38"/>
                    <a:pt x="116" y="38"/>
                    <a:pt x="117" y="38"/>
                  </a:cubicBezTo>
                  <a:cubicBezTo>
                    <a:pt x="117" y="38"/>
                    <a:pt x="116" y="37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8"/>
                  </a:cubicBezTo>
                  <a:cubicBezTo>
                    <a:pt x="117" y="38"/>
                    <a:pt x="117" y="37"/>
                    <a:pt x="117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9"/>
                    <a:pt x="120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8"/>
                    <a:pt x="120" y="39"/>
                  </a:cubicBezTo>
                  <a:cubicBezTo>
                    <a:pt x="120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40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4" y="39"/>
                    <a:pt x="124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6" y="41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7" y="40"/>
                  </a:cubicBezTo>
                  <a:cubicBezTo>
                    <a:pt x="127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39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9" y="40"/>
                  </a:cubicBezTo>
                  <a:cubicBezTo>
                    <a:pt x="128" y="39"/>
                    <a:pt x="128" y="39"/>
                    <a:pt x="127" y="39"/>
                  </a:cubicBezTo>
                  <a:cubicBezTo>
                    <a:pt x="127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9" y="39"/>
                  </a:cubicBezTo>
                  <a:cubicBezTo>
                    <a:pt x="129" y="39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40"/>
                  </a:cubicBezTo>
                  <a:cubicBezTo>
                    <a:pt x="129" y="39"/>
                    <a:pt x="129" y="40"/>
                    <a:pt x="129" y="40"/>
                  </a:cubicBezTo>
                  <a:cubicBezTo>
                    <a:pt x="129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9" y="40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1"/>
                  </a:cubicBezTo>
                  <a:cubicBezTo>
                    <a:pt x="130" y="41"/>
                    <a:pt x="130" y="41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1" y="41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39"/>
                  </a:cubicBezTo>
                  <a:cubicBezTo>
                    <a:pt x="130" y="39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8"/>
                    <a:pt x="129" y="38"/>
                  </a:cubicBezTo>
                  <a:cubicBezTo>
                    <a:pt x="129" y="38"/>
                    <a:pt x="129" y="39"/>
                    <a:pt x="129" y="39"/>
                  </a:cubicBezTo>
                  <a:cubicBezTo>
                    <a:pt x="129" y="38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8"/>
                    <a:pt x="124" y="38"/>
                    <a:pt x="123" y="37"/>
                  </a:cubicBezTo>
                  <a:cubicBezTo>
                    <a:pt x="123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8"/>
                    <a:pt x="123" y="37"/>
                  </a:cubicBezTo>
                  <a:cubicBezTo>
                    <a:pt x="123" y="37"/>
                    <a:pt x="123" y="38"/>
                    <a:pt x="123" y="38"/>
                  </a:cubicBezTo>
                  <a:cubicBezTo>
                    <a:pt x="123" y="38"/>
                    <a:pt x="123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1" y="36"/>
                    <a:pt x="120" y="36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1" y="36"/>
                    <a:pt x="123" y="36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8"/>
                    <a:pt x="126" y="37"/>
                    <a:pt x="126" y="38"/>
                  </a:cubicBezTo>
                  <a:cubicBezTo>
                    <a:pt x="126" y="38"/>
                    <a:pt x="126" y="37"/>
                    <a:pt x="125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8"/>
                    <a:pt x="128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7"/>
                  </a:cubicBezTo>
                  <a:cubicBezTo>
                    <a:pt x="128" y="38"/>
                    <a:pt x="128" y="37"/>
                    <a:pt x="129" y="37"/>
                  </a:cubicBezTo>
                  <a:cubicBezTo>
                    <a:pt x="129" y="37"/>
                    <a:pt x="129" y="38"/>
                    <a:pt x="129" y="38"/>
                  </a:cubicBezTo>
                  <a:cubicBezTo>
                    <a:pt x="129" y="38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6"/>
                    <a:pt x="128" y="37"/>
                    <a:pt x="129" y="37"/>
                  </a:cubicBezTo>
                  <a:cubicBezTo>
                    <a:pt x="128" y="37"/>
                    <a:pt x="129" y="37"/>
                    <a:pt x="129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30" y="36"/>
                    <a:pt x="129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7"/>
                    <a:pt x="131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7"/>
                  </a:cubicBezTo>
                  <a:cubicBezTo>
                    <a:pt x="132" y="37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7"/>
                    <a:pt x="133" y="36"/>
                  </a:cubicBezTo>
                  <a:cubicBezTo>
                    <a:pt x="133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4" y="37"/>
                  </a:cubicBezTo>
                  <a:cubicBezTo>
                    <a:pt x="134" y="37"/>
                    <a:pt x="133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5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7" y="37"/>
                    <a:pt x="138" y="37"/>
                    <a:pt x="138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7" y="36"/>
                  </a:cubicBezTo>
                  <a:cubicBezTo>
                    <a:pt x="137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8" y="36"/>
                  </a:cubicBezTo>
                  <a:cubicBezTo>
                    <a:pt x="138" y="36"/>
                    <a:pt x="138" y="36"/>
                    <a:pt x="139" y="36"/>
                  </a:cubicBezTo>
                  <a:cubicBezTo>
                    <a:pt x="139" y="36"/>
                    <a:pt x="138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7"/>
                  </a:cubicBezTo>
                  <a:cubicBezTo>
                    <a:pt x="139" y="37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7"/>
                    <a:pt x="140" y="36"/>
                    <a:pt x="140" y="36"/>
                  </a:cubicBezTo>
                  <a:cubicBezTo>
                    <a:pt x="140" y="37"/>
                    <a:pt x="140" y="37"/>
                    <a:pt x="141" y="36"/>
                  </a:cubicBezTo>
                  <a:cubicBezTo>
                    <a:pt x="141" y="37"/>
                    <a:pt x="141" y="37"/>
                    <a:pt x="142" y="37"/>
                  </a:cubicBezTo>
                  <a:cubicBezTo>
                    <a:pt x="142" y="37"/>
                    <a:pt x="141" y="37"/>
                    <a:pt x="142" y="36"/>
                  </a:cubicBezTo>
                  <a:cubicBezTo>
                    <a:pt x="142" y="37"/>
                    <a:pt x="142" y="36"/>
                    <a:pt x="142" y="36"/>
                  </a:cubicBezTo>
                  <a:cubicBezTo>
                    <a:pt x="143" y="36"/>
                    <a:pt x="142" y="36"/>
                    <a:pt x="143" y="36"/>
                  </a:cubicBezTo>
                  <a:cubicBezTo>
                    <a:pt x="143" y="36"/>
                    <a:pt x="143" y="36"/>
                    <a:pt x="142" y="36"/>
                  </a:cubicBezTo>
                  <a:cubicBezTo>
                    <a:pt x="142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4" y="37"/>
                    <a:pt x="144" y="37"/>
                  </a:cubicBezTo>
                  <a:cubicBezTo>
                    <a:pt x="143" y="37"/>
                    <a:pt x="145" y="37"/>
                    <a:pt x="145" y="37"/>
                  </a:cubicBezTo>
                  <a:cubicBezTo>
                    <a:pt x="145" y="37"/>
                    <a:pt x="145" y="38"/>
                    <a:pt x="146" y="38"/>
                  </a:cubicBezTo>
                  <a:cubicBezTo>
                    <a:pt x="146" y="38"/>
                    <a:pt x="146" y="38"/>
                    <a:pt x="146" y="38"/>
                  </a:cubicBezTo>
                  <a:cubicBezTo>
                    <a:pt x="146" y="38"/>
                    <a:pt x="145" y="38"/>
                    <a:pt x="146" y="38"/>
                  </a:cubicBezTo>
                  <a:cubicBezTo>
                    <a:pt x="146" y="37"/>
                    <a:pt x="146" y="38"/>
                    <a:pt x="146" y="38"/>
                  </a:cubicBezTo>
                  <a:cubicBezTo>
                    <a:pt x="146" y="38"/>
                    <a:pt x="146" y="38"/>
                    <a:pt x="147" y="38"/>
                  </a:cubicBezTo>
                  <a:cubicBezTo>
                    <a:pt x="147" y="38"/>
                    <a:pt x="146" y="38"/>
                    <a:pt x="146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38"/>
                    <a:pt x="147" y="39"/>
                    <a:pt x="148" y="39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8" y="39"/>
                    <a:pt x="148" y="40"/>
                    <a:pt x="149" y="40"/>
                  </a:cubicBezTo>
                  <a:cubicBezTo>
                    <a:pt x="148" y="40"/>
                    <a:pt x="149" y="40"/>
                    <a:pt x="149" y="40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49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8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9" y="39"/>
                    <a:pt x="149" y="39"/>
                  </a:cubicBezTo>
                  <a:cubicBezTo>
                    <a:pt x="149" y="39"/>
                    <a:pt x="149" y="40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40"/>
                    <a:pt x="150" y="40"/>
                    <a:pt x="150" y="39"/>
                  </a:cubicBezTo>
                  <a:cubicBezTo>
                    <a:pt x="150" y="40"/>
                    <a:pt x="151" y="40"/>
                    <a:pt x="151" y="40"/>
                  </a:cubicBezTo>
                  <a:cubicBezTo>
                    <a:pt x="151" y="40"/>
                    <a:pt x="152" y="40"/>
                    <a:pt x="152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2" y="40"/>
                  </a:cubicBezTo>
                  <a:cubicBezTo>
                    <a:pt x="153" y="40"/>
                    <a:pt x="153" y="41"/>
                    <a:pt x="153" y="4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4" y="40"/>
                    <a:pt x="154" y="41"/>
                    <a:pt x="154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4" y="41"/>
                    <a:pt x="154" y="41"/>
                  </a:cubicBezTo>
                  <a:cubicBezTo>
                    <a:pt x="154" y="41"/>
                    <a:pt x="154" y="42"/>
                    <a:pt x="154" y="42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5" y="41"/>
                    <a:pt x="154" y="41"/>
                  </a:cubicBezTo>
                  <a:cubicBezTo>
                    <a:pt x="155" y="40"/>
                    <a:pt x="155" y="41"/>
                    <a:pt x="155" y="41"/>
                  </a:cubicBezTo>
                  <a:cubicBezTo>
                    <a:pt x="155" y="41"/>
                    <a:pt x="155" y="42"/>
                    <a:pt x="155" y="42"/>
                  </a:cubicBezTo>
                  <a:cubicBezTo>
                    <a:pt x="155" y="42"/>
                    <a:pt x="155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1"/>
                  </a:cubicBezTo>
                  <a:cubicBezTo>
                    <a:pt x="156" y="41"/>
                    <a:pt x="156" y="41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7" y="42"/>
                    <a:pt x="157" y="42"/>
                    <a:pt x="157" y="42"/>
                  </a:cubicBezTo>
                  <a:cubicBezTo>
                    <a:pt x="157" y="42"/>
                    <a:pt x="158" y="42"/>
                    <a:pt x="158" y="43"/>
                  </a:cubicBezTo>
                  <a:cubicBezTo>
                    <a:pt x="158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60" y="44"/>
                    <a:pt x="161" y="44"/>
                    <a:pt x="161" y="44"/>
                  </a:cubicBezTo>
                  <a:cubicBezTo>
                    <a:pt x="161" y="45"/>
                    <a:pt x="161" y="44"/>
                    <a:pt x="161" y="45"/>
                  </a:cubicBezTo>
                  <a:cubicBezTo>
                    <a:pt x="163" y="46"/>
                    <a:pt x="164" y="47"/>
                    <a:pt x="163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50"/>
                    <a:pt x="164" y="50"/>
                  </a:cubicBezTo>
                  <a:cubicBezTo>
                    <a:pt x="164" y="51"/>
                    <a:pt x="164" y="51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3"/>
                    <a:pt x="162" y="53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59" y="54"/>
                    <a:pt x="158" y="55"/>
                  </a:cubicBezTo>
                  <a:cubicBezTo>
                    <a:pt x="158" y="55"/>
                    <a:pt x="159" y="55"/>
                    <a:pt x="159" y="55"/>
                  </a:cubicBezTo>
                  <a:cubicBezTo>
                    <a:pt x="159" y="55"/>
                    <a:pt x="158" y="55"/>
                    <a:pt x="158" y="55"/>
                  </a:cubicBezTo>
                  <a:cubicBezTo>
                    <a:pt x="158" y="55"/>
                    <a:pt x="158" y="55"/>
                    <a:pt x="157" y="55"/>
                  </a:cubicBezTo>
                  <a:cubicBezTo>
                    <a:pt x="156" y="55"/>
                    <a:pt x="155" y="56"/>
                    <a:pt x="154" y="56"/>
                  </a:cubicBezTo>
                  <a:cubicBezTo>
                    <a:pt x="154" y="56"/>
                    <a:pt x="153" y="56"/>
                    <a:pt x="153" y="56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1" y="55"/>
                    <a:pt x="151" y="55"/>
                    <a:pt x="150" y="55"/>
                  </a:cubicBezTo>
                  <a:cubicBezTo>
                    <a:pt x="150" y="55"/>
                    <a:pt x="149" y="55"/>
                    <a:pt x="149" y="55"/>
                  </a:cubicBezTo>
                  <a:cubicBezTo>
                    <a:pt x="149" y="55"/>
                    <a:pt x="149" y="55"/>
                    <a:pt x="148" y="54"/>
                  </a:cubicBezTo>
                  <a:cubicBezTo>
                    <a:pt x="147" y="54"/>
                    <a:pt x="146" y="54"/>
                    <a:pt x="145" y="54"/>
                  </a:cubicBezTo>
                  <a:cubicBezTo>
                    <a:pt x="145" y="54"/>
                    <a:pt x="145" y="54"/>
                    <a:pt x="145" y="54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37" y="37"/>
                  </a:move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6"/>
                    <a:pt x="137" y="37"/>
                    <a:pt x="137" y="37"/>
                  </a:cubicBezTo>
                  <a:close/>
                  <a:moveTo>
                    <a:pt x="140" y="38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8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9" y="37"/>
                    <a:pt x="139" y="37"/>
                  </a:cubicBezTo>
                  <a:cubicBezTo>
                    <a:pt x="139" y="37"/>
                    <a:pt x="138" y="37"/>
                    <a:pt x="138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7" y="37"/>
                  </a:moveTo>
                  <a:cubicBezTo>
                    <a:pt x="137" y="38"/>
                    <a:pt x="137" y="38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6" y="38"/>
                  </a:moveTo>
                  <a:cubicBezTo>
                    <a:pt x="136" y="38"/>
                    <a:pt x="136" y="38"/>
                    <a:pt x="136" y="38"/>
                  </a:cubicBezTo>
                  <a:cubicBezTo>
                    <a:pt x="136" y="38"/>
                    <a:pt x="137" y="38"/>
                    <a:pt x="136" y="37"/>
                  </a:cubicBezTo>
                  <a:cubicBezTo>
                    <a:pt x="136" y="38"/>
                    <a:pt x="136" y="38"/>
                    <a:pt x="136" y="37"/>
                  </a:cubicBezTo>
                  <a:cubicBezTo>
                    <a:pt x="136" y="37"/>
                    <a:pt x="136" y="37"/>
                    <a:pt x="136" y="38"/>
                  </a:cubicBezTo>
                  <a:close/>
                  <a:moveTo>
                    <a:pt x="135" y="38"/>
                  </a:moveTo>
                  <a:cubicBezTo>
                    <a:pt x="135" y="38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8"/>
                  </a:cubicBezTo>
                  <a:close/>
                  <a:moveTo>
                    <a:pt x="134" y="37"/>
                  </a:moveTo>
                  <a:cubicBezTo>
                    <a:pt x="134" y="38"/>
                    <a:pt x="135" y="38"/>
                    <a:pt x="135" y="38"/>
                  </a:cubicBezTo>
                  <a:cubicBezTo>
                    <a:pt x="134" y="38"/>
                    <a:pt x="135" y="37"/>
                    <a:pt x="134" y="37"/>
                  </a:cubicBezTo>
                  <a:cubicBezTo>
                    <a:pt x="134" y="38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lose/>
                  <a:moveTo>
                    <a:pt x="133" y="37"/>
                  </a:move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1" y="38"/>
                  </a:move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1" y="38"/>
                    <a:pt x="131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8" y="38"/>
                    <a:pt x="128" y="38"/>
                  </a:cubicBezTo>
                  <a:cubicBezTo>
                    <a:pt x="128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9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30" y="38"/>
                  </a:cubicBezTo>
                  <a:cubicBezTo>
                    <a:pt x="129" y="38"/>
                    <a:pt x="130" y="38"/>
                    <a:pt x="129" y="37"/>
                  </a:cubicBezTo>
                  <a:cubicBezTo>
                    <a:pt x="129" y="38"/>
                    <a:pt x="130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lose/>
                  <a:moveTo>
                    <a:pt x="124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6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32" y="39"/>
                  </a:moveTo>
                  <a:cubicBezTo>
                    <a:pt x="131" y="39"/>
                    <a:pt x="131" y="39"/>
                    <a:pt x="131" y="39"/>
                  </a:cubicBezTo>
                  <a:cubicBezTo>
                    <a:pt x="131" y="39"/>
                    <a:pt x="131" y="39"/>
                    <a:pt x="132" y="39"/>
                  </a:cubicBezTo>
                  <a:close/>
                  <a:moveTo>
                    <a:pt x="142" y="43"/>
                  </a:move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2" y="43"/>
                  </a:cubicBezTo>
                  <a:close/>
                  <a:moveTo>
                    <a:pt x="132" y="41"/>
                  </a:move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lose/>
                  <a:moveTo>
                    <a:pt x="132" y="41"/>
                  </a:moveTo>
                  <a:cubicBezTo>
                    <a:pt x="133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3" y="41"/>
                  </a:cubicBezTo>
                  <a:cubicBezTo>
                    <a:pt x="132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2" y="41"/>
                    <a:pt x="132" y="41"/>
                  </a:cubicBezTo>
                  <a:close/>
                  <a:moveTo>
                    <a:pt x="132" y="40"/>
                  </a:moveTo>
                  <a:cubicBezTo>
                    <a:pt x="132" y="40"/>
                    <a:pt x="132" y="40"/>
                    <a:pt x="131" y="40"/>
                  </a:cubicBezTo>
                  <a:cubicBezTo>
                    <a:pt x="131" y="40"/>
                    <a:pt x="132" y="41"/>
                    <a:pt x="132" y="40"/>
                  </a:cubicBezTo>
                  <a:cubicBezTo>
                    <a:pt x="132" y="40"/>
                    <a:pt x="131" y="40"/>
                    <a:pt x="132" y="40"/>
                  </a:cubicBezTo>
                  <a:cubicBezTo>
                    <a:pt x="132" y="40"/>
                    <a:pt x="132" y="40"/>
                    <a:pt x="132" y="41"/>
                  </a:cubicBezTo>
                  <a:cubicBezTo>
                    <a:pt x="132" y="40"/>
                    <a:pt x="132" y="41"/>
                    <a:pt x="132" y="41"/>
                  </a:cubicBezTo>
                  <a:cubicBezTo>
                    <a:pt x="132" y="41"/>
                    <a:pt x="132" y="40"/>
                    <a:pt x="132" y="40"/>
                  </a:cubicBezTo>
                  <a:close/>
                  <a:moveTo>
                    <a:pt x="131" y="40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lose/>
                  <a:moveTo>
                    <a:pt x="134" y="41"/>
                  </a:move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lose/>
                  <a:moveTo>
                    <a:pt x="130" y="40"/>
                  </a:move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lose/>
                  <a:moveTo>
                    <a:pt x="131" y="41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2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2"/>
                  </a:cubicBezTo>
                  <a:cubicBezTo>
                    <a:pt x="131" y="42"/>
                    <a:pt x="131" y="41"/>
                    <a:pt x="131" y="41"/>
                  </a:cubicBezTo>
                  <a:close/>
                  <a:moveTo>
                    <a:pt x="133" y="42"/>
                  </a:move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3" y="42"/>
                    <a:pt x="133" y="42"/>
                  </a:cubicBezTo>
                  <a:close/>
                  <a:moveTo>
                    <a:pt x="130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lose/>
                  <a:moveTo>
                    <a:pt x="128" y="41"/>
                  </a:moveTo>
                  <a:cubicBezTo>
                    <a:pt x="128" y="40"/>
                    <a:pt x="128" y="40"/>
                    <a:pt x="128" y="40"/>
                  </a:cubicBezTo>
                  <a:cubicBezTo>
                    <a:pt x="128" y="41"/>
                    <a:pt x="128" y="40"/>
                    <a:pt x="128" y="40"/>
                  </a:cubicBezTo>
                  <a:cubicBezTo>
                    <a:pt x="128" y="40"/>
                    <a:pt x="128" y="41"/>
                    <a:pt x="128" y="41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1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41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8" y="41"/>
                  </a:cubicBezTo>
                  <a:close/>
                  <a:moveTo>
                    <a:pt x="113" y="38"/>
                  </a:moveTo>
                  <a:cubicBezTo>
                    <a:pt x="113" y="37"/>
                    <a:pt x="113" y="38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8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6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28" y="41"/>
                  </a:move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7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lose/>
                  <a:moveTo>
                    <a:pt x="124" y="40"/>
                  </a:move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lose/>
                  <a:moveTo>
                    <a:pt x="122" y="39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40"/>
                    <a:pt x="122" y="39"/>
                  </a:cubicBezTo>
                  <a:close/>
                  <a:moveTo>
                    <a:pt x="121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40"/>
                    <a:pt x="122" y="40"/>
                    <a:pt x="121" y="40"/>
                  </a:cubicBezTo>
                  <a:close/>
                  <a:moveTo>
                    <a:pt x="122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4" y="40"/>
                    <a:pt x="123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lose/>
                  <a:moveTo>
                    <a:pt x="125" y="41"/>
                  </a:move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5" y="42"/>
                    <a:pt x="125" y="41"/>
                  </a:cubicBezTo>
                  <a:close/>
                  <a:moveTo>
                    <a:pt x="126" y="42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126" y="42"/>
                    <a:pt x="126" y="42"/>
                    <a:pt x="126" y="42"/>
                  </a:cubicBezTo>
                  <a:close/>
                  <a:moveTo>
                    <a:pt x="124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4" y="41"/>
                    <a:pt x="124" y="41"/>
                  </a:cubicBezTo>
                  <a:cubicBezTo>
                    <a:pt x="124" y="42"/>
                    <a:pt x="125" y="42"/>
                    <a:pt x="124" y="42"/>
                  </a:cubicBezTo>
                  <a:cubicBezTo>
                    <a:pt x="124" y="42"/>
                    <a:pt x="124" y="41"/>
                    <a:pt x="124" y="41"/>
                  </a:cubicBezTo>
                  <a:cubicBezTo>
                    <a:pt x="124" y="42"/>
                    <a:pt x="124" y="42"/>
                    <a:pt x="124" y="42"/>
                  </a:cubicBezTo>
                  <a:close/>
                  <a:moveTo>
                    <a:pt x="132" y="45"/>
                  </a:move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3" y="45"/>
                    <a:pt x="132" y="45"/>
                  </a:cubicBezTo>
                  <a:close/>
                  <a:moveTo>
                    <a:pt x="130" y="45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5"/>
                    <a:pt x="130" y="45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31" y="45"/>
                  </a:move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lose/>
                  <a:moveTo>
                    <a:pt x="131" y="44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7" y="43"/>
                    <a:pt x="127" y="43"/>
                  </a:cubicBezTo>
                  <a:cubicBezTo>
                    <a:pt x="127" y="43"/>
                    <a:pt x="126" y="43"/>
                    <a:pt x="126" y="43"/>
                  </a:cubicBezTo>
                  <a:close/>
                  <a:moveTo>
                    <a:pt x="124" y="42"/>
                  </a:move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2"/>
                    <a:pt x="124" y="42"/>
                  </a:cubicBezTo>
                  <a:close/>
                  <a:moveTo>
                    <a:pt x="125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5" y="42"/>
                  </a:cubicBezTo>
                  <a:close/>
                  <a:moveTo>
                    <a:pt x="124" y="42"/>
                  </a:move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4" y="42"/>
                    <a:pt x="124" y="42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30" y="44"/>
                  </a:cubicBezTo>
                  <a:cubicBezTo>
                    <a:pt x="129" y="44"/>
                    <a:pt x="130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8" y="44"/>
                    <a:pt x="128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3"/>
                    <a:pt x="127" y="43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33" y="46"/>
                  </a:move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lose/>
                  <a:moveTo>
                    <a:pt x="132" y="45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2" y="46"/>
                    <a:pt x="132" y="46"/>
                  </a:cubicBezTo>
                  <a:lnTo>
                    <a:pt x="132" y="45"/>
                  </a:lnTo>
                  <a:close/>
                  <a:moveTo>
                    <a:pt x="131" y="45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1" y="45"/>
                  </a:cubicBezTo>
                  <a:close/>
                  <a:moveTo>
                    <a:pt x="115" y="40"/>
                  </a:moveTo>
                  <a:cubicBezTo>
                    <a:pt x="115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39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18" y="42"/>
                  </a:moveTo>
                  <a:cubicBezTo>
                    <a:pt x="118" y="42"/>
                    <a:pt x="119" y="42"/>
                    <a:pt x="119" y="42"/>
                  </a:cubicBezTo>
                  <a:cubicBezTo>
                    <a:pt x="118" y="42"/>
                    <a:pt x="118" y="42"/>
                    <a:pt x="118" y="42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9" y="42"/>
                    <a:pt x="119" y="42"/>
                    <a:pt x="119" y="43"/>
                  </a:cubicBezTo>
                  <a:cubicBezTo>
                    <a:pt x="119" y="43"/>
                    <a:pt x="120" y="43"/>
                    <a:pt x="120" y="43"/>
                  </a:cubicBezTo>
                  <a:cubicBezTo>
                    <a:pt x="120" y="43"/>
                    <a:pt x="120" y="43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20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lose/>
                  <a:moveTo>
                    <a:pt x="128" y="45"/>
                  </a:move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8" y="45"/>
                  </a:cubicBezTo>
                  <a:cubicBezTo>
                    <a:pt x="128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lose/>
                  <a:moveTo>
                    <a:pt x="126" y="44"/>
                  </a:move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7" y="45"/>
                    <a:pt x="127" y="44"/>
                    <a:pt x="127" y="44"/>
                  </a:cubicBezTo>
                  <a:cubicBezTo>
                    <a:pt x="127" y="44"/>
                    <a:pt x="127" y="44"/>
                    <a:pt x="126" y="44"/>
                  </a:cubicBezTo>
                  <a:close/>
                  <a:moveTo>
                    <a:pt x="125" y="44"/>
                  </a:move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6" y="45"/>
                    <a:pt x="126" y="44"/>
                  </a:cubicBezTo>
                  <a:cubicBezTo>
                    <a:pt x="126" y="45"/>
                    <a:pt x="127" y="45"/>
                    <a:pt x="127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6" y="44"/>
                    <a:pt x="126" y="45"/>
                    <a:pt x="126" y="45"/>
                  </a:cubicBezTo>
                  <a:close/>
                  <a:moveTo>
                    <a:pt x="129" y="45"/>
                  </a:moveTo>
                  <a:cubicBezTo>
                    <a:pt x="129" y="45"/>
                    <a:pt x="128" y="45"/>
                    <a:pt x="128" y="4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5"/>
                  </a:cubicBezTo>
                  <a:cubicBezTo>
                    <a:pt x="129" y="45"/>
                    <a:pt x="129" y="46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9" y="45"/>
                    <a:pt x="129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lose/>
                  <a:moveTo>
                    <a:pt x="127" y="46"/>
                  </a:moveTo>
                  <a:cubicBezTo>
                    <a:pt x="127" y="46"/>
                    <a:pt x="128" y="46"/>
                    <a:pt x="128" y="46"/>
                  </a:cubicBezTo>
                  <a:cubicBezTo>
                    <a:pt x="127" y="46"/>
                    <a:pt x="127" y="45"/>
                    <a:pt x="127" y="46"/>
                  </a:cubicBezTo>
                  <a:cubicBezTo>
                    <a:pt x="127" y="46"/>
                    <a:pt x="127" y="46"/>
                    <a:pt x="127" y="46"/>
                  </a:cubicBezTo>
                  <a:close/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lose/>
                  <a:moveTo>
                    <a:pt x="136" y="50"/>
                  </a:move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5" y="50"/>
                    <a:pt x="136" y="50"/>
                  </a:cubicBezTo>
                  <a:close/>
                  <a:moveTo>
                    <a:pt x="138" y="51"/>
                  </a:move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7"/>
                    <a:pt x="128" y="37"/>
                  </a:cubicBezTo>
                  <a:cubicBezTo>
                    <a:pt x="129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lose/>
                  <a:moveTo>
                    <a:pt x="124" y="43"/>
                  </a:moveTo>
                  <a:cubicBezTo>
                    <a:pt x="124" y="43"/>
                    <a:pt x="124" y="43"/>
                    <a:pt x="125" y="43"/>
                  </a:cubicBezTo>
                  <a:cubicBezTo>
                    <a:pt x="124" y="43"/>
                    <a:pt x="125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lose/>
                  <a:moveTo>
                    <a:pt x="161" y="54"/>
                  </a:moveTo>
                  <a:cubicBezTo>
                    <a:pt x="161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61" y="54"/>
                    <a:pt x="161" y="54"/>
                  </a:cubicBezTo>
                  <a:close/>
                  <a:moveTo>
                    <a:pt x="132" y="34"/>
                  </a:move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27" y="37"/>
                  </a:move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6"/>
                    <a:pt x="126" y="36"/>
                  </a:cubicBezTo>
                  <a:cubicBezTo>
                    <a:pt x="125" y="36"/>
                    <a:pt x="125" y="36"/>
                    <a:pt x="124" y="36"/>
                  </a:cubicBezTo>
                  <a:cubicBezTo>
                    <a:pt x="124" y="35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6" y="37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6"/>
                    <a:pt x="125" y="37"/>
                    <a:pt x="125" y="36"/>
                  </a:cubicBezTo>
                  <a:cubicBezTo>
                    <a:pt x="125" y="36"/>
                    <a:pt x="125" y="37"/>
                    <a:pt x="126" y="37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lose/>
                  <a:moveTo>
                    <a:pt x="124" y="35"/>
                  </a:move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5" y="35"/>
                    <a:pt x="125" y="35"/>
                  </a:cubicBezTo>
                  <a:cubicBezTo>
                    <a:pt x="125" y="35"/>
                    <a:pt x="124" y="35"/>
                    <a:pt x="124" y="35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8"/>
                  </a:moveTo>
                  <a:cubicBezTo>
                    <a:pt x="122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4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4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3" y="39"/>
                    <a:pt x="124" y="39"/>
                  </a:cubicBezTo>
                  <a:close/>
                  <a:moveTo>
                    <a:pt x="124" y="37"/>
                  </a:moveTo>
                  <a:cubicBezTo>
                    <a:pt x="123" y="37"/>
                    <a:pt x="123" y="37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7"/>
                    <a:pt x="124" y="36"/>
                    <a:pt x="124" y="37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9"/>
                    <a:pt x="123" y="38"/>
                    <a:pt x="123" y="38"/>
                  </a:cubicBezTo>
                  <a:close/>
                  <a:moveTo>
                    <a:pt x="122" y="42"/>
                  </a:moveTo>
                  <a:cubicBezTo>
                    <a:pt x="122" y="42"/>
                    <a:pt x="121" y="42"/>
                    <a:pt x="121" y="42"/>
                  </a:cubicBezTo>
                  <a:cubicBezTo>
                    <a:pt x="121" y="41"/>
                    <a:pt x="121" y="42"/>
                    <a:pt x="121" y="41"/>
                  </a:cubicBezTo>
                  <a:cubicBezTo>
                    <a:pt x="121" y="41"/>
                    <a:pt x="120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1"/>
                  </a:cubicBezTo>
                  <a:cubicBezTo>
                    <a:pt x="119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2" y="41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2" y="35"/>
                  </a:moveTo>
                  <a:cubicBezTo>
                    <a:pt x="121" y="35"/>
                    <a:pt x="120" y="35"/>
                    <a:pt x="119" y="34"/>
                  </a:cubicBezTo>
                  <a:cubicBezTo>
                    <a:pt x="119" y="34"/>
                    <a:pt x="120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2" y="35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2" y="35"/>
                    <a:pt x="122" y="36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19" y="39"/>
                  </a:moveTo>
                  <a:cubicBezTo>
                    <a:pt x="119" y="40"/>
                    <a:pt x="120" y="40"/>
                    <a:pt x="120" y="40"/>
                  </a:cubicBezTo>
                  <a:cubicBezTo>
                    <a:pt x="119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0"/>
                    <a:pt x="120" y="41"/>
                    <a:pt x="120" y="40"/>
                  </a:cubicBezTo>
                  <a:cubicBezTo>
                    <a:pt x="120" y="40"/>
                    <a:pt x="120" y="41"/>
                    <a:pt x="120" y="41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39"/>
                    <a:pt x="119" y="40"/>
                    <a:pt x="119" y="39"/>
                  </a:cubicBezTo>
                  <a:close/>
                  <a:moveTo>
                    <a:pt x="122" y="32"/>
                  </a:moveTo>
                  <a:cubicBezTo>
                    <a:pt x="122" y="32"/>
                    <a:pt x="123" y="33"/>
                    <a:pt x="123" y="33"/>
                  </a:cubicBezTo>
                  <a:cubicBezTo>
                    <a:pt x="123" y="33"/>
                    <a:pt x="122" y="32"/>
                    <a:pt x="122" y="32"/>
                  </a:cubicBezTo>
                  <a:close/>
                  <a:moveTo>
                    <a:pt x="122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lose/>
                  <a:moveTo>
                    <a:pt x="120" y="36"/>
                  </a:move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5"/>
                    <a:pt x="118" y="35"/>
                    <a:pt x="119" y="36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9" y="35"/>
                    <a:pt x="119" y="35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lose/>
                  <a:moveTo>
                    <a:pt x="116" y="36"/>
                  </a:moveTo>
                  <a:cubicBezTo>
                    <a:pt x="116" y="36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6" y="35"/>
                    <a:pt x="116" y="36"/>
                  </a:cubicBezTo>
                  <a:close/>
                  <a:moveTo>
                    <a:pt x="115" y="34"/>
                  </a:move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5" y="34"/>
                    <a:pt x="115" y="34"/>
                    <a:pt x="115" y="34"/>
                  </a:cubicBezTo>
                  <a:close/>
                  <a:moveTo>
                    <a:pt x="115" y="32"/>
                  </a:moveTo>
                  <a:cubicBezTo>
                    <a:pt x="114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4" y="32"/>
                    <a:pt x="115" y="32"/>
                    <a:pt x="116" y="33"/>
                  </a:cubicBezTo>
                  <a:cubicBezTo>
                    <a:pt x="115" y="33"/>
                    <a:pt x="115" y="32"/>
                    <a:pt x="115" y="32"/>
                  </a:cubicBezTo>
                  <a:close/>
                  <a:moveTo>
                    <a:pt x="114" y="33"/>
                  </a:moveTo>
                  <a:cubicBezTo>
                    <a:pt x="114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4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4" y="33"/>
                  </a:moveTo>
                  <a:cubicBezTo>
                    <a:pt x="114" y="33"/>
                    <a:pt x="114" y="33"/>
                    <a:pt x="113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3" y="34"/>
                  </a:move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5"/>
                  </a:cubicBezTo>
                  <a:cubicBezTo>
                    <a:pt x="113" y="34"/>
                    <a:pt x="113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lose/>
                  <a:moveTo>
                    <a:pt x="109" y="40"/>
                  </a:moveTo>
                  <a:cubicBezTo>
                    <a:pt x="109" y="40"/>
                    <a:pt x="110" y="40"/>
                    <a:pt x="110" y="40"/>
                  </a:cubicBezTo>
                  <a:cubicBezTo>
                    <a:pt x="110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7"/>
                    <a:pt x="109" y="38"/>
                    <a:pt x="109" y="38"/>
                  </a:cubicBezTo>
                  <a:close/>
                  <a:moveTo>
                    <a:pt x="110" y="32"/>
                  </a:move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1" y="33"/>
                  </a:cubicBezTo>
                  <a:cubicBezTo>
                    <a:pt x="110" y="32"/>
                    <a:pt x="110" y="33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5" y="36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8"/>
                    <a:pt x="107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lose/>
                  <a:moveTo>
                    <a:pt x="106" y="39"/>
                  </a:moveTo>
                  <a:cubicBezTo>
                    <a:pt x="106" y="39"/>
                    <a:pt x="106" y="38"/>
                    <a:pt x="105" y="38"/>
                  </a:cubicBezTo>
                  <a:cubicBezTo>
                    <a:pt x="105" y="38"/>
                    <a:pt x="106" y="38"/>
                    <a:pt x="105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8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8"/>
                    <a:pt x="106" y="39"/>
                  </a:cubicBezTo>
                  <a:close/>
                  <a:moveTo>
                    <a:pt x="106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8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5" y="39"/>
                    <a:pt x="106" y="39"/>
                    <a:pt x="105" y="39"/>
                  </a:cubicBezTo>
                  <a:cubicBezTo>
                    <a:pt x="105" y="39"/>
                    <a:pt x="105" y="39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lose/>
                  <a:moveTo>
                    <a:pt x="104" y="38"/>
                  </a:move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lose/>
                  <a:moveTo>
                    <a:pt x="105" y="35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4"/>
                  </a:cubicBez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3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4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4" y="34"/>
                    <a:pt x="104" y="34"/>
                  </a:cubicBezTo>
                  <a:close/>
                  <a:moveTo>
                    <a:pt x="105" y="35"/>
                  </a:move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3" y="35"/>
                  </a:cubicBezTo>
                  <a:cubicBezTo>
                    <a:pt x="103" y="35"/>
                    <a:pt x="103" y="34"/>
                    <a:pt x="103" y="34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2" y="35"/>
                  </a:cubicBezTo>
                  <a:cubicBezTo>
                    <a:pt x="102" y="35"/>
                    <a:pt x="102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4"/>
                    <a:pt x="103" y="34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2" y="36"/>
                    <a:pt x="103" y="37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102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0" y="36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9" y="36"/>
                    <a:pt x="99" y="36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9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9" y="36"/>
                    <a:pt x="99" y="36"/>
                  </a:cubicBezTo>
                  <a:cubicBezTo>
                    <a:pt x="98" y="36"/>
                    <a:pt x="98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100" y="36"/>
                  </a:cubicBezTo>
                  <a:cubicBezTo>
                    <a:pt x="100" y="37"/>
                    <a:pt x="99" y="37"/>
                    <a:pt x="100" y="37"/>
                  </a:cubicBezTo>
                  <a:cubicBezTo>
                    <a:pt x="99" y="37"/>
                    <a:pt x="99" y="36"/>
                    <a:pt x="99" y="37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7" y="35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7" y="36"/>
                    <a:pt x="96" y="36"/>
                    <a:pt x="96" y="36"/>
                  </a:cubicBezTo>
                  <a:cubicBezTo>
                    <a:pt x="96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7"/>
                    <a:pt x="97" y="36"/>
                    <a:pt x="97" y="37"/>
                  </a:cubicBezTo>
                  <a:cubicBezTo>
                    <a:pt x="97" y="36"/>
                    <a:pt x="97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5"/>
                    <a:pt x="95" y="36"/>
                    <a:pt x="95" y="35"/>
                  </a:cubicBezTo>
                  <a:cubicBezTo>
                    <a:pt x="94" y="35"/>
                    <a:pt x="95" y="35"/>
                    <a:pt x="95" y="36"/>
                  </a:cubicBezTo>
                  <a:cubicBezTo>
                    <a:pt x="95" y="36"/>
                    <a:pt x="94" y="35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4"/>
                    <a:pt x="93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4" y="33"/>
                    <a:pt x="94" y="34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4" y="34"/>
                  </a:cubicBezTo>
                  <a:cubicBezTo>
                    <a:pt x="94" y="33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7" y="35"/>
                    <a:pt x="97" y="35"/>
                  </a:cubicBezTo>
                  <a:cubicBezTo>
                    <a:pt x="97" y="35"/>
                    <a:pt x="97" y="35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6" y="34"/>
                  </a:cubicBezTo>
                  <a:cubicBezTo>
                    <a:pt x="96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5"/>
                    <a:pt x="98" y="35"/>
                    <a:pt x="97" y="34"/>
                  </a:cubicBezTo>
                  <a:cubicBezTo>
                    <a:pt x="98" y="34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4"/>
                    <a:pt x="97" y="35"/>
                    <a:pt x="97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96" y="33"/>
                    <a:pt x="95" y="33"/>
                    <a:pt x="95" y="33"/>
                  </a:cubicBezTo>
                  <a:cubicBezTo>
                    <a:pt x="95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4" y="32"/>
                  </a:cubicBezTo>
                  <a:cubicBezTo>
                    <a:pt x="94" y="32"/>
                    <a:pt x="94" y="32"/>
                    <a:pt x="94" y="33"/>
                  </a:cubicBezTo>
                  <a:cubicBezTo>
                    <a:pt x="94" y="33"/>
                    <a:pt x="95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3"/>
                    <a:pt x="97" y="34"/>
                    <a:pt x="99" y="34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9" y="34"/>
                    <a:pt x="99" y="34"/>
                    <a:pt x="99" y="33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7" y="32"/>
                  </a:cubicBezTo>
                  <a:cubicBezTo>
                    <a:pt x="98" y="33"/>
                    <a:pt x="97" y="32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8" y="32"/>
                    <a:pt x="98" y="32"/>
                  </a:cubicBezTo>
                  <a:cubicBezTo>
                    <a:pt x="98" y="32"/>
                    <a:pt x="98" y="33"/>
                    <a:pt x="98" y="32"/>
                  </a:cubicBezTo>
                  <a:cubicBezTo>
                    <a:pt x="98" y="32"/>
                    <a:pt x="98" y="32"/>
                    <a:pt x="98" y="33"/>
                  </a:cubicBezTo>
                  <a:cubicBezTo>
                    <a:pt x="98" y="33"/>
                    <a:pt x="98" y="32"/>
                    <a:pt x="98" y="32"/>
                  </a:cubicBezTo>
                  <a:cubicBezTo>
                    <a:pt x="99" y="33"/>
                    <a:pt x="99" y="32"/>
                    <a:pt x="99" y="33"/>
                  </a:cubicBezTo>
                  <a:cubicBezTo>
                    <a:pt x="99" y="33"/>
                    <a:pt x="99" y="32"/>
                    <a:pt x="99" y="3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99" y="32"/>
                    <a:pt x="99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99" y="32"/>
                    <a:pt x="99" y="32"/>
                  </a:cubicBezTo>
                  <a:cubicBezTo>
                    <a:pt x="99" y="32"/>
                    <a:pt x="99" y="32"/>
                    <a:pt x="99" y="31"/>
                  </a:cubicBezTo>
                  <a:cubicBezTo>
                    <a:pt x="99" y="31"/>
                    <a:pt x="99" y="32"/>
                    <a:pt x="99" y="32"/>
                  </a:cubicBezTo>
                  <a:cubicBezTo>
                    <a:pt x="99" y="32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2" y="31"/>
                    <a:pt x="101" y="31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2"/>
                  </a:cubicBezTo>
                  <a:cubicBezTo>
                    <a:pt x="101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3"/>
                    <a:pt x="101" y="34"/>
                    <a:pt x="101" y="33"/>
                  </a:cubicBezTo>
                  <a:cubicBezTo>
                    <a:pt x="101" y="33"/>
                    <a:pt x="101" y="34"/>
                    <a:pt x="101" y="34"/>
                  </a:cubicBezTo>
                  <a:cubicBezTo>
                    <a:pt x="101" y="33"/>
                    <a:pt x="100" y="33"/>
                    <a:pt x="100" y="33"/>
                  </a:cubicBezTo>
                  <a:cubicBezTo>
                    <a:pt x="100" y="33"/>
                    <a:pt x="100" y="34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1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5"/>
                    <a:pt x="101" y="34"/>
                    <a:pt x="101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99" y="34"/>
                  </a:cubicBezTo>
                  <a:close/>
                  <a:moveTo>
                    <a:pt x="101" y="31"/>
                  </a:move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lose/>
                  <a:moveTo>
                    <a:pt x="101" y="32"/>
                  </a:moveTo>
                  <a:cubicBezTo>
                    <a:pt x="100" y="32"/>
                    <a:pt x="101" y="32"/>
                    <a:pt x="101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1"/>
                    <a:pt x="100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2"/>
                    <a:pt x="101" y="32"/>
                    <a:pt x="100" y="32"/>
                  </a:cubicBezTo>
                  <a:cubicBezTo>
                    <a:pt x="101" y="32"/>
                    <a:pt x="101" y="32"/>
                    <a:pt x="101" y="32"/>
                  </a:cubicBezTo>
                  <a:close/>
                  <a:moveTo>
                    <a:pt x="100" y="32"/>
                  </a:move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lose/>
                  <a:moveTo>
                    <a:pt x="10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lose/>
                  <a:moveTo>
                    <a:pt x="94" y="34"/>
                  </a:moveTo>
                  <a:cubicBezTo>
                    <a:pt x="94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4"/>
                    <a:pt x="93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6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lose/>
                  <a:moveTo>
                    <a:pt x="95" y="34"/>
                  </a:moveTo>
                  <a:cubicBezTo>
                    <a:pt x="95" y="34"/>
                    <a:pt x="95" y="34"/>
                    <a:pt x="96" y="34"/>
                  </a:cubicBezTo>
                  <a:cubicBezTo>
                    <a:pt x="95" y="34"/>
                    <a:pt x="96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5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9" y="36"/>
                  </a:moveTo>
                  <a:cubicBezTo>
                    <a:pt x="99" y="36"/>
                    <a:pt x="99" y="37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7" y="35"/>
                    <a:pt x="97" y="36"/>
                  </a:cubicBezTo>
                  <a:cubicBezTo>
                    <a:pt x="97" y="36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7" y="35"/>
                    <a:pt x="97" y="35"/>
                  </a:cubicBezTo>
                  <a:cubicBezTo>
                    <a:pt x="96" y="35"/>
                    <a:pt x="97" y="35"/>
                    <a:pt x="96" y="35"/>
                  </a:cubicBezTo>
                  <a:close/>
                  <a:moveTo>
                    <a:pt x="99" y="36"/>
                  </a:moveTo>
                  <a:cubicBezTo>
                    <a:pt x="99" y="35"/>
                    <a:pt x="99" y="36"/>
                    <a:pt x="99" y="36"/>
                  </a:cubicBezTo>
                  <a:cubicBezTo>
                    <a:pt x="99" y="35"/>
                    <a:pt x="99" y="35"/>
                    <a:pt x="99" y="36"/>
                  </a:cubicBezTo>
                  <a:close/>
                  <a:moveTo>
                    <a:pt x="98" y="34"/>
                  </a:move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8" y="34"/>
                    <a:pt x="97" y="34"/>
                    <a:pt x="98" y="34"/>
                  </a:cubicBezTo>
                  <a:close/>
                  <a:moveTo>
                    <a:pt x="98" y="34"/>
                  </a:moveTo>
                  <a:cubicBezTo>
                    <a:pt x="98" y="34"/>
                    <a:pt x="98" y="34"/>
                    <a:pt x="99" y="34"/>
                  </a:cubicBezTo>
                  <a:cubicBezTo>
                    <a:pt x="99" y="34"/>
                    <a:pt x="98" y="34"/>
                    <a:pt x="98" y="34"/>
                  </a:cubicBezTo>
                  <a:cubicBezTo>
                    <a:pt x="98" y="34"/>
                    <a:pt x="99" y="34"/>
                    <a:pt x="99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lose/>
                  <a:moveTo>
                    <a:pt x="100" y="35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100" y="35"/>
                  </a:moveTo>
                  <a:cubicBezTo>
                    <a:pt x="99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99" y="35"/>
                    <a:pt x="99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1" y="36"/>
                    <a:pt x="101" y="35"/>
                  </a:cubicBezTo>
                  <a:cubicBezTo>
                    <a:pt x="101" y="35"/>
                    <a:pt x="100" y="35"/>
                    <a:pt x="100" y="35"/>
                  </a:cubicBez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100" y="35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4"/>
                  </a:move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95" y="33"/>
                  </a:moveTo>
                  <a:cubicBezTo>
                    <a:pt x="95" y="33"/>
                    <a:pt x="94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lose/>
                  <a:moveTo>
                    <a:pt x="97" y="36"/>
                  </a:move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3" y="34"/>
                  </a:cubicBezTo>
                  <a:close/>
                  <a:moveTo>
                    <a:pt x="104" y="32"/>
                  </a:moveTo>
                  <a:cubicBezTo>
                    <a:pt x="104" y="33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4" y="32"/>
                  </a:cubicBezTo>
                  <a:cubicBezTo>
                    <a:pt x="104" y="32"/>
                    <a:pt x="104" y="32"/>
                    <a:pt x="104" y="32"/>
                  </a:cubicBezTo>
                  <a:close/>
                  <a:moveTo>
                    <a:pt x="103" y="33"/>
                  </a:moveTo>
                  <a:cubicBezTo>
                    <a:pt x="103" y="33"/>
                    <a:pt x="102" y="33"/>
                    <a:pt x="102" y="33"/>
                  </a:cubicBezTo>
                  <a:cubicBezTo>
                    <a:pt x="103" y="33"/>
                    <a:pt x="103" y="33"/>
                    <a:pt x="103" y="33"/>
                  </a:cubicBezTo>
                  <a:close/>
                  <a:moveTo>
                    <a:pt x="103" y="27"/>
                  </a:moveTo>
                  <a:cubicBezTo>
                    <a:pt x="104" y="28"/>
                    <a:pt x="103" y="27"/>
                    <a:pt x="104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3" y="28"/>
                    <a:pt x="103" y="28"/>
                  </a:cubicBezTo>
                  <a:cubicBezTo>
                    <a:pt x="103" y="28"/>
                    <a:pt x="103" y="28"/>
                    <a:pt x="103" y="27"/>
                  </a:cubicBezTo>
                  <a:close/>
                  <a:moveTo>
                    <a:pt x="103" y="30"/>
                  </a:moveTo>
                  <a:cubicBezTo>
                    <a:pt x="103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9"/>
                    <a:pt x="100" y="30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30"/>
                    <a:pt x="100" y="30"/>
                    <a:pt x="99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8"/>
                  </a:cubicBezTo>
                  <a:cubicBezTo>
                    <a:pt x="100" y="28"/>
                    <a:pt x="100" y="29"/>
                    <a:pt x="99" y="29"/>
                  </a:cubicBezTo>
                  <a:cubicBezTo>
                    <a:pt x="100" y="29"/>
                    <a:pt x="100" y="28"/>
                    <a:pt x="100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8"/>
                    <a:pt x="99" y="27"/>
                  </a:cubicBezTo>
                  <a:cubicBezTo>
                    <a:pt x="100" y="28"/>
                    <a:pt x="99" y="28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6"/>
                  </a:cubicBezTo>
                  <a:cubicBezTo>
                    <a:pt x="98" y="26"/>
                    <a:pt x="99" y="26"/>
                    <a:pt x="99" y="26"/>
                  </a:cubicBezTo>
                  <a:cubicBezTo>
                    <a:pt x="99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7" y="26"/>
                  </a:cubicBezTo>
                  <a:cubicBezTo>
                    <a:pt x="97" y="26"/>
                    <a:pt x="98" y="26"/>
                    <a:pt x="98" y="26"/>
                  </a:cubicBezTo>
                  <a:cubicBezTo>
                    <a:pt x="98" y="26"/>
                    <a:pt x="97" y="26"/>
                    <a:pt x="97" y="26"/>
                  </a:cubicBezTo>
                  <a:cubicBezTo>
                    <a:pt x="97" y="26"/>
                    <a:pt x="97" y="26"/>
                    <a:pt x="98" y="26"/>
                  </a:cubicBezTo>
                  <a:cubicBezTo>
                    <a:pt x="98" y="26"/>
                    <a:pt x="99" y="26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1" y="27"/>
                    <a:pt x="101" y="28"/>
                    <a:pt x="101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1" y="28"/>
                  </a:cubicBezTo>
                  <a:cubicBezTo>
                    <a:pt x="100" y="28"/>
                    <a:pt x="101" y="28"/>
                    <a:pt x="100" y="28"/>
                  </a:cubicBezTo>
                  <a:cubicBezTo>
                    <a:pt x="101" y="29"/>
                    <a:pt x="101" y="28"/>
                    <a:pt x="102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2" y="29"/>
                  </a:cubicBezTo>
                  <a:cubicBezTo>
                    <a:pt x="102" y="29"/>
                    <a:pt x="101" y="29"/>
                    <a:pt x="101" y="29"/>
                  </a:cubicBezTo>
                  <a:cubicBezTo>
                    <a:pt x="102" y="29"/>
                    <a:pt x="102" y="29"/>
                    <a:pt x="102" y="29"/>
                  </a:cubicBezTo>
                  <a:cubicBezTo>
                    <a:pt x="102" y="29"/>
                    <a:pt x="102" y="29"/>
                    <a:pt x="102" y="30"/>
                  </a:cubicBezTo>
                  <a:cubicBezTo>
                    <a:pt x="102" y="29"/>
                    <a:pt x="102" y="29"/>
                    <a:pt x="101" y="29"/>
                  </a:cubicBezTo>
                  <a:cubicBezTo>
                    <a:pt x="101" y="30"/>
                    <a:pt x="102" y="30"/>
                    <a:pt x="102" y="30"/>
                  </a:cubicBezTo>
                  <a:cubicBezTo>
                    <a:pt x="102" y="30"/>
                    <a:pt x="103" y="30"/>
                    <a:pt x="103" y="30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7"/>
                    <a:pt x="99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99" y="28"/>
                    <a:pt x="100" y="28"/>
                    <a:pt x="100" y="28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29"/>
                    <a:pt x="101" y="29"/>
                  </a:cubicBezTo>
                  <a:cubicBezTo>
                    <a:pt x="101" y="29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lose/>
                  <a:moveTo>
                    <a:pt x="102" y="34"/>
                  </a:move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2" y="34"/>
                  </a:cubicBezTo>
                  <a:close/>
                  <a:moveTo>
                    <a:pt x="103" y="26"/>
                  </a:move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4" y="26"/>
                    <a:pt x="103" y="26"/>
                  </a:cubicBezTo>
                  <a:close/>
                  <a:moveTo>
                    <a:pt x="97" y="31"/>
                  </a:moveTo>
                  <a:cubicBezTo>
                    <a:pt x="98" y="31"/>
                    <a:pt x="98" y="31"/>
                    <a:pt x="99" y="32"/>
                  </a:cubicBezTo>
                  <a:cubicBezTo>
                    <a:pt x="99" y="32"/>
                    <a:pt x="98" y="32"/>
                    <a:pt x="99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lose/>
                  <a:moveTo>
                    <a:pt x="97" y="33"/>
                  </a:move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8" y="33"/>
                  </a:cubicBezTo>
                  <a:cubicBezTo>
                    <a:pt x="98" y="33"/>
                    <a:pt x="97" y="33"/>
                    <a:pt x="97" y="33"/>
                  </a:cubicBezTo>
                  <a:close/>
                  <a:moveTo>
                    <a:pt x="65" y="22"/>
                  </a:moveTo>
                  <a:cubicBezTo>
                    <a:pt x="65" y="22"/>
                    <a:pt x="65" y="22"/>
                    <a:pt x="64" y="22"/>
                  </a:cubicBezTo>
                  <a:cubicBezTo>
                    <a:pt x="64" y="22"/>
                    <a:pt x="65" y="22"/>
                    <a:pt x="65" y="22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2"/>
                    <a:pt x="63" y="21"/>
                    <a:pt x="63" y="21"/>
                  </a:cubicBezTo>
                  <a:cubicBezTo>
                    <a:pt x="63" y="21"/>
                    <a:pt x="64" y="22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1"/>
                    <a:pt x="62" y="21"/>
                    <a:pt x="61" y="20"/>
                  </a:cubicBezTo>
                  <a:cubicBezTo>
                    <a:pt x="61" y="20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0"/>
                  </a:cubicBezTo>
                  <a:cubicBezTo>
                    <a:pt x="62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0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1"/>
                  </a:cubicBezTo>
                  <a:cubicBezTo>
                    <a:pt x="62" y="20"/>
                    <a:pt x="62" y="21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2" y="20"/>
                    <a:pt x="61" y="20"/>
                  </a:cubicBezTo>
                  <a:cubicBezTo>
                    <a:pt x="62" y="20"/>
                    <a:pt x="61" y="20"/>
                    <a:pt x="62" y="20"/>
                  </a:cubicBezTo>
                  <a:cubicBezTo>
                    <a:pt x="62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19"/>
                    <a:pt x="62" y="20"/>
                    <a:pt x="61" y="20"/>
                  </a:cubicBezTo>
                  <a:cubicBezTo>
                    <a:pt x="62" y="20"/>
                    <a:pt x="63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5" y="21"/>
                  </a:cubicBezTo>
                  <a:cubicBezTo>
                    <a:pt x="65" y="21"/>
                    <a:pt x="64" y="20"/>
                    <a:pt x="63" y="20"/>
                  </a:cubicBezTo>
                  <a:cubicBezTo>
                    <a:pt x="63" y="20"/>
                    <a:pt x="63" y="21"/>
                    <a:pt x="64" y="21"/>
                  </a:cubicBezTo>
                  <a:cubicBezTo>
                    <a:pt x="64" y="21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3" y="20"/>
                  </a:cubicBezTo>
                  <a:cubicBezTo>
                    <a:pt x="64" y="20"/>
                    <a:pt x="64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4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0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4" y="20"/>
                    <a:pt x="64" y="20"/>
                    <a:pt x="65" y="20"/>
                  </a:cubicBezTo>
                  <a:cubicBezTo>
                    <a:pt x="65" y="20"/>
                    <a:pt x="66" y="20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6" y="21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2"/>
                    <a:pt x="65" y="21"/>
                    <a:pt x="65" y="22"/>
                  </a:cubicBezTo>
                  <a:cubicBezTo>
                    <a:pt x="65" y="21"/>
                    <a:pt x="65" y="21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6" y="22"/>
                    <a:pt x="65" y="22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2"/>
                    <a:pt x="66" y="22"/>
                    <a:pt x="65" y="22"/>
                  </a:cubicBezTo>
                  <a:cubicBezTo>
                    <a:pt x="66" y="22"/>
                    <a:pt x="66" y="22"/>
                    <a:pt x="67" y="22"/>
                  </a:cubicBezTo>
                  <a:cubicBezTo>
                    <a:pt x="67" y="22"/>
                    <a:pt x="67" y="22"/>
                    <a:pt x="68" y="23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70" y="23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69" y="23"/>
                  </a:cubicBezTo>
                  <a:cubicBezTo>
                    <a:pt x="70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3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5"/>
                  </a:cubicBezTo>
                  <a:cubicBezTo>
                    <a:pt x="73" y="25"/>
                    <a:pt x="73" y="24"/>
                    <a:pt x="73" y="24"/>
                  </a:cubicBezTo>
                  <a:cubicBezTo>
                    <a:pt x="73" y="25"/>
                    <a:pt x="74" y="25"/>
                    <a:pt x="74" y="25"/>
                  </a:cubicBezTo>
                  <a:cubicBezTo>
                    <a:pt x="74" y="25"/>
                    <a:pt x="75" y="25"/>
                    <a:pt x="76" y="26"/>
                  </a:cubicBezTo>
                  <a:cubicBezTo>
                    <a:pt x="76" y="25"/>
                    <a:pt x="75" y="25"/>
                    <a:pt x="76" y="25"/>
                  </a:cubicBezTo>
                  <a:cubicBezTo>
                    <a:pt x="76" y="25"/>
                    <a:pt x="76" y="25"/>
                    <a:pt x="76" y="26"/>
                  </a:cubicBezTo>
                  <a:cubicBezTo>
                    <a:pt x="76" y="26"/>
                    <a:pt x="76" y="25"/>
                    <a:pt x="76" y="26"/>
                  </a:cubicBezTo>
                  <a:cubicBezTo>
                    <a:pt x="76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6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5" y="25"/>
                    <a:pt x="75" y="25"/>
                  </a:cubicBezTo>
                  <a:cubicBezTo>
                    <a:pt x="75" y="25"/>
                    <a:pt x="73" y="25"/>
                    <a:pt x="73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5"/>
                    <a:pt x="73" y="25"/>
                    <a:pt x="72" y="25"/>
                  </a:cubicBezTo>
                  <a:cubicBezTo>
                    <a:pt x="72" y="25"/>
                    <a:pt x="73" y="25"/>
                    <a:pt x="72" y="25"/>
                  </a:cubicBezTo>
                  <a:cubicBezTo>
                    <a:pt x="73" y="25"/>
                    <a:pt x="73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3" y="25"/>
                    <a:pt x="73" y="25"/>
                  </a:cubicBezTo>
                  <a:cubicBezTo>
                    <a:pt x="74" y="25"/>
                    <a:pt x="74" y="26"/>
                    <a:pt x="74" y="25"/>
                  </a:cubicBezTo>
                  <a:cubicBezTo>
                    <a:pt x="74" y="25"/>
                    <a:pt x="75" y="25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6" y="26"/>
                    <a:pt x="76" y="25"/>
                  </a:cubicBezTo>
                  <a:cubicBezTo>
                    <a:pt x="77" y="26"/>
                    <a:pt x="77" y="25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4"/>
                    <a:pt x="76" y="25"/>
                    <a:pt x="76" y="25"/>
                  </a:cubicBezTo>
                  <a:cubicBezTo>
                    <a:pt x="76" y="25"/>
                    <a:pt x="75" y="24"/>
                    <a:pt x="75" y="24"/>
                  </a:cubicBezTo>
                  <a:cubicBezTo>
                    <a:pt x="76" y="25"/>
                    <a:pt x="75" y="25"/>
                    <a:pt x="75" y="24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4"/>
                    <a:pt x="75" y="25"/>
                    <a:pt x="74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3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4" y="23"/>
                    <a:pt x="74" y="24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3" y="23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2" y="23"/>
                  </a:cubicBezTo>
                  <a:cubicBezTo>
                    <a:pt x="73" y="23"/>
                    <a:pt x="72" y="23"/>
                    <a:pt x="72" y="23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3"/>
                    <a:pt x="72" y="22"/>
                  </a:cubicBezTo>
                  <a:cubicBezTo>
                    <a:pt x="72" y="22"/>
                    <a:pt x="72" y="22"/>
                    <a:pt x="72" y="23"/>
                  </a:cubicBezTo>
                  <a:cubicBezTo>
                    <a:pt x="73" y="23"/>
                    <a:pt x="73" y="22"/>
                    <a:pt x="73" y="22"/>
                  </a:cubicBezTo>
                  <a:cubicBezTo>
                    <a:pt x="73" y="22"/>
                    <a:pt x="73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2" y="22"/>
                    <a:pt x="72" y="22"/>
                  </a:cubicBezTo>
                  <a:cubicBezTo>
                    <a:pt x="72" y="22"/>
                    <a:pt x="72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1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2" y="21"/>
                    <a:pt x="72" y="21"/>
                  </a:cubicBezTo>
                  <a:cubicBezTo>
                    <a:pt x="73" y="21"/>
                    <a:pt x="73" y="21"/>
                    <a:pt x="72" y="21"/>
                  </a:cubicBezTo>
                  <a:cubicBezTo>
                    <a:pt x="73" y="21"/>
                    <a:pt x="73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3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3"/>
                    <a:pt x="75" y="22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5" y="23"/>
                    <a:pt x="75" y="23"/>
                    <a:pt x="74" y="23"/>
                  </a:cubicBezTo>
                  <a:cubicBezTo>
                    <a:pt x="74" y="23"/>
                    <a:pt x="75" y="23"/>
                    <a:pt x="75" y="23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5" y="23"/>
                    <a:pt x="75" y="24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6" y="23"/>
                    <a:pt x="76" y="23"/>
                  </a:cubicBezTo>
                  <a:cubicBezTo>
                    <a:pt x="76" y="24"/>
                    <a:pt x="76" y="23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7" y="23"/>
                    <a:pt x="77" y="24"/>
                    <a:pt x="77" y="24"/>
                  </a:cubicBezTo>
                  <a:cubicBezTo>
                    <a:pt x="78" y="24"/>
                    <a:pt x="78" y="24"/>
                    <a:pt x="79" y="24"/>
                  </a:cubicBezTo>
                  <a:cubicBezTo>
                    <a:pt x="79" y="24"/>
                    <a:pt x="79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4"/>
                    <a:pt x="78" y="24"/>
                    <a:pt x="77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7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6"/>
                  </a:cubicBezTo>
                  <a:cubicBezTo>
                    <a:pt x="81" y="26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79" y="27"/>
                  </a:cubicBezTo>
                  <a:cubicBezTo>
                    <a:pt x="79" y="27"/>
                    <a:pt x="80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9"/>
                    <a:pt x="81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8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4" y="29"/>
                  </a:cubicBezTo>
                  <a:cubicBezTo>
                    <a:pt x="84" y="29"/>
                    <a:pt x="83" y="29"/>
                    <a:pt x="83" y="28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5" y="29"/>
                    <a:pt x="85" y="29"/>
                    <a:pt x="86" y="29"/>
                  </a:cubicBezTo>
                  <a:cubicBezTo>
                    <a:pt x="86" y="29"/>
                    <a:pt x="86" y="29"/>
                    <a:pt x="86" y="30"/>
                  </a:cubicBezTo>
                  <a:cubicBezTo>
                    <a:pt x="85" y="30"/>
                    <a:pt x="85" y="30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8" y="31"/>
                  </a:cubicBezTo>
                  <a:cubicBezTo>
                    <a:pt x="88" y="31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9" y="31"/>
                    <a:pt x="88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2"/>
                    <a:pt x="90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1"/>
                    <a:pt x="88" y="32"/>
                  </a:cubicBezTo>
                  <a:cubicBezTo>
                    <a:pt x="88" y="32"/>
                    <a:pt x="87" y="31"/>
                    <a:pt x="87" y="31"/>
                  </a:cubicBezTo>
                  <a:cubicBezTo>
                    <a:pt x="87" y="31"/>
                    <a:pt x="87" y="31"/>
                    <a:pt x="86" y="31"/>
                  </a:cubicBezTo>
                  <a:cubicBezTo>
                    <a:pt x="86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5" y="30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2"/>
                    <a:pt x="86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2"/>
                    <a:pt x="87" y="32"/>
                    <a:pt x="86" y="32"/>
                  </a:cubicBezTo>
                  <a:cubicBezTo>
                    <a:pt x="86" y="31"/>
                    <a:pt x="87" y="32"/>
                    <a:pt x="87" y="31"/>
                  </a:cubicBezTo>
                  <a:cubicBezTo>
                    <a:pt x="87" y="31"/>
                    <a:pt x="87" y="32"/>
                    <a:pt x="87" y="32"/>
                  </a:cubicBezTo>
                  <a:cubicBezTo>
                    <a:pt x="87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9" y="33"/>
                    <a:pt x="89" y="33"/>
                  </a:cubicBezTo>
                  <a:cubicBezTo>
                    <a:pt x="89" y="33"/>
                    <a:pt x="89" y="33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90" y="32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2"/>
                  </a:cubicBezTo>
                  <a:cubicBezTo>
                    <a:pt x="91" y="32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4"/>
                  </a:cubicBezTo>
                  <a:cubicBezTo>
                    <a:pt x="91" y="34"/>
                    <a:pt x="91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1" y="34"/>
                    <a:pt x="92" y="34"/>
                  </a:cubicBezTo>
                  <a:cubicBezTo>
                    <a:pt x="92" y="34"/>
                    <a:pt x="91" y="34"/>
                    <a:pt x="91" y="34"/>
                  </a:cubicBezTo>
                  <a:cubicBezTo>
                    <a:pt x="91" y="33"/>
                    <a:pt x="92" y="33"/>
                    <a:pt x="92" y="34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2" y="36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89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4"/>
                    <a:pt x="87" y="34"/>
                    <a:pt x="87" y="34"/>
                  </a:cubicBezTo>
                  <a:cubicBezTo>
                    <a:pt x="87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7" y="34"/>
                  </a:cubicBezTo>
                  <a:cubicBezTo>
                    <a:pt x="88" y="34"/>
                    <a:pt x="86" y="34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3"/>
                    <a:pt x="83" y="33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8" y="31"/>
                  </a:cubicBezTo>
                  <a:cubicBezTo>
                    <a:pt x="78" y="31"/>
                    <a:pt x="79" y="31"/>
                    <a:pt x="79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8" y="31"/>
                    <a:pt x="77" y="31"/>
                    <a:pt x="77" y="31"/>
                  </a:cubicBezTo>
                  <a:cubicBezTo>
                    <a:pt x="77" y="31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5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1"/>
                    <a:pt x="81" y="31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3" y="32"/>
                    <a:pt x="82" y="31"/>
                    <a:pt x="82" y="31"/>
                  </a:cubicBezTo>
                  <a:cubicBezTo>
                    <a:pt x="82" y="32"/>
                    <a:pt x="82" y="31"/>
                    <a:pt x="82" y="31"/>
                  </a:cubicBezTo>
                  <a:cubicBezTo>
                    <a:pt x="82" y="31"/>
                    <a:pt x="82" y="31"/>
                    <a:pt x="81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3" y="31"/>
                    <a:pt x="82" y="31"/>
                  </a:cubicBezTo>
                  <a:cubicBezTo>
                    <a:pt x="83" y="31"/>
                    <a:pt x="83" y="31"/>
                    <a:pt x="83" y="32"/>
                  </a:cubicBezTo>
                  <a:cubicBezTo>
                    <a:pt x="83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32"/>
                    <a:pt x="83" y="32"/>
                  </a:cubicBezTo>
                  <a:cubicBezTo>
                    <a:pt x="83" y="31"/>
                    <a:pt x="83" y="31"/>
                    <a:pt x="82" y="31"/>
                  </a:cubicBezTo>
                  <a:cubicBezTo>
                    <a:pt x="82" y="31"/>
                    <a:pt x="83" y="31"/>
                    <a:pt x="83" y="31"/>
                  </a:cubicBezTo>
                  <a:cubicBezTo>
                    <a:pt x="83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0"/>
                  </a:cubicBezTo>
                  <a:cubicBezTo>
                    <a:pt x="82" y="30"/>
                    <a:pt x="82" y="31"/>
                    <a:pt x="82" y="31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29"/>
                    <a:pt x="80" y="29"/>
                    <a:pt x="80" y="30"/>
                  </a:cubicBezTo>
                  <a:cubicBezTo>
                    <a:pt x="80" y="30"/>
                    <a:pt x="80" y="29"/>
                    <a:pt x="80" y="29"/>
                  </a:cubicBezTo>
                  <a:cubicBezTo>
                    <a:pt x="80" y="30"/>
                    <a:pt x="79" y="29"/>
                    <a:pt x="79" y="29"/>
                  </a:cubicBezTo>
                  <a:cubicBezTo>
                    <a:pt x="79" y="29"/>
                    <a:pt x="79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29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30"/>
                  </a:cubicBezTo>
                  <a:cubicBezTo>
                    <a:pt x="78" y="29"/>
                    <a:pt x="78" y="29"/>
                    <a:pt x="77" y="29"/>
                  </a:cubicBezTo>
                  <a:cubicBezTo>
                    <a:pt x="77" y="29"/>
                    <a:pt x="78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7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7"/>
                  </a:cubicBezTo>
                  <a:cubicBezTo>
                    <a:pt x="71" y="28"/>
                    <a:pt x="70" y="27"/>
                    <a:pt x="70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69" y="27"/>
                    <a:pt x="69" y="27"/>
                  </a:cubicBezTo>
                  <a:cubicBezTo>
                    <a:pt x="69" y="27"/>
                    <a:pt x="69" y="26"/>
                    <a:pt x="69" y="26"/>
                  </a:cubicBezTo>
                  <a:cubicBezTo>
                    <a:pt x="69" y="26"/>
                    <a:pt x="69" y="27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67" y="27"/>
                    <a:pt x="67" y="27"/>
                    <a:pt x="66" y="27"/>
                  </a:cubicBezTo>
                  <a:cubicBezTo>
                    <a:pt x="66" y="27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5" y="26"/>
                    <a:pt x="66" y="26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70" y="28"/>
                    <a:pt x="72" y="29"/>
                    <a:pt x="74" y="29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4" y="30"/>
                    <a:pt x="74" y="30"/>
                    <a:pt x="75" y="30"/>
                  </a:cubicBezTo>
                  <a:cubicBezTo>
                    <a:pt x="75" y="30"/>
                    <a:pt x="74" y="30"/>
                    <a:pt x="75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2" y="29"/>
                    <a:pt x="72" y="29"/>
                  </a:cubicBezTo>
                  <a:cubicBezTo>
                    <a:pt x="72" y="29"/>
                    <a:pt x="73" y="29"/>
                    <a:pt x="73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1" y="29"/>
                    <a:pt x="72" y="29"/>
                    <a:pt x="71" y="29"/>
                  </a:cubicBezTo>
                  <a:cubicBezTo>
                    <a:pt x="71" y="29"/>
                    <a:pt x="71" y="29"/>
                    <a:pt x="70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8" y="27"/>
                    <a:pt x="65" y="27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2" y="26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3" y="25"/>
                    <a:pt x="63" y="26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3" y="26"/>
                  </a:cubicBezTo>
                  <a:cubicBezTo>
                    <a:pt x="63" y="26"/>
                    <a:pt x="63" y="26"/>
                    <a:pt x="6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3" y="25"/>
                  </a:cubicBezTo>
                  <a:cubicBezTo>
                    <a:pt x="63" y="25"/>
                    <a:pt x="62" y="25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5"/>
                    <a:pt x="61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0" y="24"/>
                    <a:pt x="61" y="24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1" y="24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4" y="25"/>
                    <a:pt x="64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6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5" y="25"/>
                    <a:pt x="66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ubicBezTo>
                    <a:pt x="65" y="25"/>
                    <a:pt x="65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5"/>
                    <a:pt x="64" y="24"/>
                    <a:pt x="64" y="24"/>
                  </a:cubicBezTo>
                  <a:cubicBezTo>
                    <a:pt x="64" y="24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3"/>
                  </a:cubicBezTo>
                  <a:cubicBezTo>
                    <a:pt x="63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3"/>
                    <a:pt x="64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5"/>
                  </a:cubicBezTo>
                  <a:cubicBezTo>
                    <a:pt x="68" y="24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70" y="25"/>
                    <a:pt x="70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69" y="25"/>
                    <a:pt x="69" y="24"/>
                  </a:cubicBezTo>
                  <a:cubicBezTo>
                    <a:pt x="69" y="25"/>
                    <a:pt x="69" y="24"/>
                    <a:pt x="69" y="24"/>
                  </a:cubicBezTo>
                  <a:cubicBezTo>
                    <a:pt x="68" y="24"/>
                    <a:pt x="69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3"/>
                  </a:cubicBezTo>
                  <a:cubicBezTo>
                    <a:pt x="66" y="23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6" y="23"/>
                    <a:pt x="65" y="23"/>
                  </a:cubicBezTo>
                  <a:cubicBezTo>
                    <a:pt x="66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5" y="22"/>
                    <a:pt x="65" y="22"/>
                  </a:cubicBezTo>
                  <a:cubicBezTo>
                    <a:pt x="65" y="22"/>
                    <a:pt x="67" y="22"/>
                    <a:pt x="67" y="23"/>
                  </a:cubicBezTo>
                  <a:cubicBezTo>
                    <a:pt x="67" y="23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88" y="34"/>
                  </a:move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lose/>
                  <a:moveTo>
                    <a:pt x="79" y="31"/>
                  </a:moveTo>
                  <a:cubicBezTo>
                    <a:pt x="80" y="31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79" y="31"/>
                    <a:pt x="79" y="31"/>
                  </a:cubicBezTo>
                  <a:close/>
                  <a:moveTo>
                    <a:pt x="83" y="31"/>
                  </a:move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lose/>
                  <a:moveTo>
                    <a:pt x="85" y="32"/>
                  </a:moveTo>
                  <a:cubicBezTo>
                    <a:pt x="85" y="32"/>
                    <a:pt x="84" y="32"/>
                    <a:pt x="84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4" y="32"/>
                    <a:pt x="84" y="32"/>
                  </a:cubicBezTo>
                  <a:cubicBezTo>
                    <a:pt x="84" y="32"/>
                    <a:pt x="85" y="32"/>
                    <a:pt x="85" y="32"/>
                  </a:cubicBezTo>
                  <a:close/>
                  <a:moveTo>
                    <a:pt x="84" y="32"/>
                  </a:move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lose/>
                  <a:moveTo>
                    <a:pt x="85" y="32"/>
                  </a:moveTo>
                  <a:cubicBezTo>
                    <a:pt x="85" y="32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lose/>
                  <a:moveTo>
                    <a:pt x="85" y="33"/>
                  </a:move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lose/>
                  <a:moveTo>
                    <a:pt x="90" y="34"/>
                  </a:move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lose/>
                  <a:moveTo>
                    <a:pt x="89" y="34"/>
                  </a:moveTo>
                  <a:cubicBezTo>
                    <a:pt x="89" y="34"/>
                    <a:pt x="90" y="34"/>
                    <a:pt x="90" y="34"/>
                  </a:cubicBezTo>
                  <a:cubicBezTo>
                    <a:pt x="89" y="34"/>
                    <a:pt x="89" y="34"/>
                    <a:pt x="89" y="34"/>
                  </a:cubicBezTo>
                  <a:close/>
                  <a:moveTo>
                    <a:pt x="86" y="33"/>
                  </a:moveTo>
                  <a:cubicBezTo>
                    <a:pt x="86" y="33"/>
                    <a:pt x="86" y="33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3"/>
                    <a:pt x="85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7" y="33"/>
                    <a:pt x="88" y="34"/>
                    <a:pt x="89" y="34"/>
                  </a:cubicBezTo>
                  <a:cubicBezTo>
                    <a:pt x="88" y="33"/>
                    <a:pt x="87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2" y="34"/>
                    <a:pt x="92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0" y="34"/>
                    <a:pt x="90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88" y="32"/>
                  </a:moveTo>
                  <a:cubicBezTo>
                    <a:pt x="88" y="33"/>
                    <a:pt x="88" y="33"/>
                    <a:pt x="88" y="33"/>
                  </a:cubicBezTo>
                  <a:cubicBezTo>
                    <a:pt x="88" y="33"/>
                    <a:pt x="88" y="33"/>
                    <a:pt x="88" y="32"/>
                  </a:cubicBezTo>
                  <a:close/>
                  <a:moveTo>
                    <a:pt x="91" y="33"/>
                  </a:moveTo>
                  <a:cubicBezTo>
                    <a:pt x="90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lose/>
                  <a:moveTo>
                    <a:pt x="91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1" y="33"/>
                    <a:pt x="91" y="33"/>
                  </a:cubicBezTo>
                  <a:close/>
                  <a:moveTo>
                    <a:pt x="90" y="33"/>
                  </a:moveTo>
                  <a:cubicBezTo>
                    <a:pt x="89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89" y="32"/>
                    <a:pt x="89" y="32"/>
                  </a:cubicBezTo>
                  <a:cubicBezTo>
                    <a:pt x="90" y="33"/>
                    <a:pt x="90" y="32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90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85" y="31"/>
                  </a:moveTo>
                  <a:cubicBezTo>
                    <a:pt x="84" y="31"/>
                    <a:pt x="84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32"/>
                    <a:pt x="85" y="32"/>
                    <a:pt x="85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5" y="32"/>
                    <a:pt x="86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2"/>
                    <a:pt x="86" y="33"/>
                    <a:pt x="87" y="33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5" y="31"/>
                    <a:pt x="85" y="32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85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73" y="22"/>
                  </a:move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  <a:moveTo>
                    <a:pt x="72" y="22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lose/>
                  <a:moveTo>
                    <a:pt x="74" y="23"/>
                  </a:move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4" y="22"/>
                    <a:pt x="74" y="23"/>
                    <a:pt x="74" y="23"/>
                  </a:cubicBezTo>
                  <a:close/>
                  <a:moveTo>
                    <a:pt x="74" y="23"/>
                  </a:moveTo>
                  <a:cubicBezTo>
                    <a:pt x="74" y="23"/>
                    <a:pt x="73" y="22"/>
                    <a:pt x="73" y="22"/>
                  </a:cubicBezTo>
                  <a:cubicBezTo>
                    <a:pt x="73" y="23"/>
                    <a:pt x="74" y="23"/>
                    <a:pt x="74" y="23"/>
                  </a:cubicBezTo>
                  <a:close/>
                  <a:moveTo>
                    <a:pt x="75" y="24"/>
                  </a:move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4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5" y="24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7"/>
                    <a:pt x="79" y="27"/>
                  </a:cubicBezTo>
                  <a:cubicBezTo>
                    <a:pt x="79" y="27"/>
                    <a:pt x="79" y="27"/>
                    <a:pt x="79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7"/>
                    <a:pt x="78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8" y="27"/>
                    <a:pt x="78" y="26"/>
                    <a:pt x="78" y="26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3"/>
                    <a:pt x="66" y="23"/>
                    <a:pt x="67" y="23"/>
                  </a:cubicBezTo>
                  <a:close/>
                  <a:moveTo>
                    <a:pt x="69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lose/>
                  <a:moveTo>
                    <a:pt x="70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69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69" y="24"/>
                    <a:pt x="69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0" y="24"/>
                    <a:pt x="70" y="25"/>
                    <a:pt x="69" y="24"/>
                  </a:cubicBezTo>
                  <a:cubicBezTo>
                    <a:pt x="70" y="25"/>
                    <a:pt x="70" y="24"/>
                    <a:pt x="70" y="24"/>
                  </a:cubicBezTo>
                  <a:close/>
                  <a:moveTo>
                    <a:pt x="72" y="25"/>
                  </a:moveTo>
                  <a:cubicBezTo>
                    <a:pt x="71" y="25"/>
                    <a:pt x="71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2" y="25"/>
                    <a:pt x="72" y="25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5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4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5" y="26"/>
                    <a:pt x="75" y="27"/>
                    <a:pt x="75" y="27"/>
                  </a:cubicBezTo>
                  <a:cubicBezTo>
                    <a:pt x="75" y="27"/>
                    <a:pt x="75" y="26"/>
                    <a:pt x="75" y="26"/>
                  </a:cubicBezTo>
                  <a:cubicBezTo>
                    <a:pt x="75" y="26"/>
                    <a:pt x="75" y="26"/>
                    <a:pt x="75" y="27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lose/>
                  <a:moveTo>
                    <a:pt x="73" y="26"/>
                  </a:moveTo>
                  <a:cubicBezTo>
                    <a:pt x="73" y="26"/>
                    <a:pt x="74" y="26"/>
                    <a:pt x="74" y="26"/>
                  </a:cubicBezTo>
                  <a:cubicBezTo>
                    <a:pt x="74" y="26"/>
                    <a:pt x="74" y="26"/>
                    <a:pt x="73" y="26"/>
                  </a:cubicBezTo>
                  <a:close/>
                  <a:moveTo>
                    <a:pt x="73" y="25"/>
                  </a:move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5"/>
                    <a:pt x="73" y="25"/>
                  </a:cubicBezTo>
                  <a:cubicBezTo>
                    <a:pt x="73" y="26"/>
                    <a:pt x="73" y="26"/>
                    <a:pt x="73" y="25"/>
                  </a:cubicBezTo>
                  <a:close/>
                  <a:moveTo>
                    <a:pt x="70" y="25"/>
                  </a:move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0" y="24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5"/>
                  </a:cubicBezTo>
                  <a:close/>
                  <a:moveTo>
                    <a:pt x="71" y="25"/>
                  </a:move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lose/>
                  <a:moveTo>
                    <a:pt x="72" y="26"/>
                  </a:moveTo>
                  <a:cubicBezTo>
                    <a:pt x="73" y="26"/>
                    <a:pt x="73" y="26"/>
                    <a:pt x="72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7"/>
                    <a:pt x="74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ubicBezTo>
                    <a:pt x="72" y="26"/>
                    <a:pt x="72" y="26"/>
                    <a:pt x="72" y="25"/>
                  </a:cubicBezTo>
                  <a:cubicBezTo>
                    <a:pt x="72" y="25"/>
                    <a:pt x="72" y="26"/>
                    <a:pt x="72" y="2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26"/>
                    <a:pt x="72" y="25"/>
                    <a:pt x="72" y="26"/>
                  </a:cubicBezTo>
                  <a:cubicBezTo>
                    <a:pt x="72" y="26"/>
                    <a:pt x="72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4" y="27"/>
                    <a:pt x="74" y="26"/>
                  </a:cubicBezTo>
                  <a:cubicBezTo>
                    <a:pt x="74" y="26"/>
                    <a:pt x="74" y="27"/>
                    <a:pt x="74" y="26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7" y="27"/>
                  </a:moveTo>
                  <a:cubicBezTo>
                    <a:pt x="77" y="28"/>
                    <a:pt x="77" y="27"/>
                    <a:pt x="77" y="28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7" y="27"/>
                    <a:pt x="77" y="27"/>
                  </a:cubicBezTo>
                  <a:close/>
                  <a:moveTo>
                    <a:pt x="78" y="28"/>
                  </a:moveTo>
                  <a:cubicBezTo>
                    <a:pt x="78" y="28"/>
                    <a:pt x="79" y="28"/>
                    <a:pt x="79" y="28"/>
                  </a:cubicBezTo>
                  <a:cubicBezTo>
                    <a:pt x="79" y="28"/>
                    <a:pt x="79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1" y="26"/>
                  </a:moveTo>
                  <a:cubicBezTo>
                    <a:pt x="71" y="26"/>
                    <a:pt x="72" y="26"/>
                    <a:pt x="72" y="26"/>
                  </a:cubicBezTo>
                  <a:cubicBezTo>
                    <a:pt x="72" y="26"/>
                    <a:pt x="71" y="26"/>
                    <a:pt x="72" y="26"/>
                  </a:cubicBezTo>
                  <a:cubicBezTo>
                    <a:pt x="71" y="26"/>
                    <a:pt x="71" y="25"/>
                    <a:pt x="71" y="25"/>
                  </a:cubicBezTo>
                  <a:cubicBezTo>
                    <a:pt x="71" y="26"/>
                    <a:pt x="72" y="26"/>
                    <a:pt x="71" y="26"/>
                  </a:cubicBezTo>
                  <a:close/>
                  <a:moveTo>
                    <a:pt x="73" y="27"/>
                  </a:moveTo>
                  <a:cubicBezTo>
                    <a:pt x="73" y="27"/>
                    <a:pt x="73" y="27"/>
                    <a:pt x="73" y="26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3" y="27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6"/>
                    <a:pt x="68" y="26"/>
                  </a:cubicBezTo>
                  <a:cubicBezTo>
                    <a:pt x="68" y="26"/>
                    <a:pt x="68" y="26"/>
                    <a:pt x="68" y="25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6"/>
                  </a:moveTo>
                  <a:cubicBezTo>
                    <a:pt x="70" y="26"/>
                    <a:pt x="69" y="26"/>
                    <a:pt x="69" y="26"/>
                  </a:cubicBezTo>
                  <a:cubicBezTo>
                    <a:pt x="69" y="26"/>
                    <a:pt x="70" y="26"/>
                    <a:pt x="70" y="26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4"/>
                    <a:pt x="67" y="24"/>
                    <a:pt x="67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9" y="25"/>
                    <a:pt x="69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  <a:moveTo>
                    <a:pt x="67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7" y="25"/>
                  </a:cubicBezTo>
                  <a:close/>
                  <a:moveTo>
                    <a:pt x="70" y="25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66" y="24"/>
                  </a:moveTo>
                  <a:cubicBezTo>
                    <a:pt x="66" y="24"/>
                    <a:pt x="67" y="24"/>
                    <a:pt x="67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5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6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lose/>
                  <a:moveTo>
                    <a:pt x="64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8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8" y="25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5"/>
                    <a:pt x="65" y="25"/>
                  </a:cubicBezTo>
                  <a:cubicBezTo>
                    <a:pt x="66" y="26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5" y="25"/>
                    <a:pt x="65" y="26"/>
                  </a:cubicBezTo>
                  <a:cubicBezTo>
                    <a:pt x="65" y="26"/>
                    <a:pt x="65" y="26"/>
                    <a:pt x="66" y="26"/>
                  </a:cubicBezTo>
                  <a:close/>
                  <a:moveTo>
                    <a:pt x="63" y="25"/>
                  </a:move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lose/>
                  <a:moveTo>
                    <a:pt x="63" y="25"/>
                  </a:move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lose/>
                  <a:moveTo>
                    <a:pt x="65" y="25"/>
                  </a:moveTo>
                  <a:cubicBezTo>
                    <a:pt x="65" y="25"/>
                    <a:pt x="65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3" y="25"/>
                    <a:pt x="64" y="26"/>
                    <a:pt x="64" y="26"/>
                  </a:cubicBezTo>
                  <a:cubicBezTo>
                    <a:pt x="64" y="26"/>
                    <a:pt x="64" y="26"/>
                    <a:pt x="64" y="25"/>
                  </a:cubicBezTo>
                  <a:cubicBezTo>
                    <a:pt x="64" y="26"/>
                    <a:pt x="64" y="25"/>
                    <a:pt x="65" y="25"/>
                  </a:cubicBezTo>
                  <a:close/>
                  <a:moveTo>
                    <a:pt x="67" y="26"/>
                  </a:moveTo>
                  <a:cubicBezTo>
                    <a:pt x="67" y="26"/>
                    <a:pt x="67" y="26"/>
                    <a:pt x="66" y="26"/>
                  </a:cubicBezTo>
                  <a:cubicBezTo>
                    <a:pt x="66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lose/>
                  <a:moveTo>
                    <a:pt x="68" y="26"/>
                  </a:move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7" y="25"/>
                    <a:pt x="67" y="26"/>
                  </a:cubicBezTo>
                  <a:cubicBezTo>
                    <a:pt x="67" y="25"/>
                    <a:pt x="67" y="26"/>
                    <a:pt x="67" y="26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8" y="26"/>
                    <a:pt x="68" y="26"/>
                    <a:pt x="67" y="26"/>
                  </a:cubicBezTo>
                  <a:cubicBezTo>
                    <a:pt x="68" y="26"/>
                    <a:pt x="68" y="26"/>
                    <a:pt x="69" y="27"/>
                  </a:cubicBezTo>
                  <a:cubicBezTo>
                    <a:pt x="69" y="27"/>
                    <a:pt x="69" y="27"/>
                    <a:pt x="69" y="26"/>
                  </a:cubicBezTo>
                  <a:cubicBezTo>
                    <a:pt x="68" y="26"/>
                    <a:pt x="69" y="26"/>
                    <a:pt x="69" y="26"/>
                  </a:cubicBezTo>
                  <a:cubicBezTo>
                    <a:pt x="69" y="26"/>
                    <a:pt x="68" y="26"/>
                    <a:pt x="68" y="26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8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70" y="27"/>
                    <a:pt x="69" y="26"/>
                  </a:cubicBezTo>
                  <a:cubicBezTo>
                    <a:pt x="69" y="26"/>
                    <a:pt x="69" y="27"/>
                    <a:pt x="69" y="27"/>
                  </a:cubicBezTo>
                  <a:cubicBezTo>
                    <a:pt x="70" y="27"/>
                    <a:pt x="70" y="27"/>
                    <a:pt x="70" y="27"/>
                  </a:cubicBezTo>
                  <a:close/>
                  <a:moveTo>
                    <a:pt x="73" y="28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2" y="28"/>
                    <a:pt x="73" y="28"/>
                    <a:pt x="73" y="28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4" y="28"/>
                    <a:pt x="74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4" y="28"/>
                  </a:cubicBezTo>
                  <a:cubicBezTo>
                    <a:pt x="74" y="29"/>
                    <a:pt x="74" y="28"/>
                    <a:pt x="74" y="29"/>
                  </a:cubicBezTo>
                  <a:cubicBezTo>
                    <a:pt x="74" y="29"/>
                    <a:pt x="74" y="29"/>
                    <a:pt x="73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4" y="29"/>
                    <a:pt x="74" y="29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5" y="28"/>
                  </a:move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6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7"/>
                    <a:pt x="74" y="27"/>
                  </a:cubicBezTo>
                  <a:cubicBezTo>
                    <a:pt x="74" y="28"/>
                    <a:pt x="73" y="27"/>
                    <a:pt x="73" y="27"/>
                  </a:cubicBezTo>
                  <a:cubicBezTo>
                    <a:pt x="73" y="27"/>
                    <a:pt x="73" y="28"/>
                    <a:pt x="74" y="28"/>
                  </a:cubicBezTo>
                  <a:cubicBezTo>
                    <a:pt x="73" y="27"/>
                    <a:pt x="73" y="28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9"/>
                    <a:pt x="76" y="28"/>
                  </a:cubicBezTo>
                  <a:cubicBezTo>
                    <a:pt x="76" y="28"/>
                    <a:pt x="75" y="28"/>
                    <a:pt x="75" y="28"/>
                  </a:cubicBezTo>
                  <a:close/>
                  <a:moveTo>
                    <a:pt x="79" y="29"/>
                  </a:moveTo>
                  <a:cubicBezTo>
                    <a:pt x="79" y="29"/>
                    <a:pt x="79" y="29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lose/>
                  <a:moveTo>
                    <a:pt x="78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8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78" y="29"/>
                  </a:moveTo>
                  <a:cubicBezTo>
                    <a:pt x="79" y="29"/>
                    <a:pt x="79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80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lose/>
                  <a:moveTo>
                    <a:pt x="80" y="29"/>
                  </a:moveTo>
                  <a:cubicBezTo>
                    <a:pt x="80" y="29"/>
                    <a:pt x="81" y="29"/>
                    <a:pt x="81" y="29"/>
                  </a:cubicBezTo>
                  <a:cubicBezTo>
                    <a:pt x="81" y="29"/>
                    <a:pt x="80" y="29"/>
                    <a:pt x="80" y="29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1"/>
                    <a:pt x="84" y="31"/>
                    <a:pt x="84" y="30"/>
                  </a:cubicBezTo>
                  <a:cubicBezTo>
                    <a:pt x="84" y="30"/>
                    <a:pt x="84" y="30"/>
                    <a:pt x="84" y="31"/>
                  </a:cubicBezTo>
                  <a:close/>
                  <a:moveTo>
                    <a:pt x="85" y="30"/>
                  </a:moveTo>
                  <a:cubicBezTo>
                    <a:pt x="84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lose/>
                  <a:moveTo>
                    <a:pt x="85" y="30"/>
                  </a:moveTo>
                  <a:cubicBezTo>
                    <a:pt x="85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7" y="31"/>
                  </a:cubicBezTo>
                  <a:cubicBezTo>
                    <a:pt x="87" y="31"/>
                    <a:pt x="88" y="31"/>
                    <a:pt x="87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9" y="31"/>
                  </a:cubicBezTo>
                  <a:cubicBezTo>
                    <a:pt x="88" y="31"/>
                    <a:pt x="89" y="31"/>
                    <a:pt x="89" y="31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0"/>
                    <a:pt x="86" y="31"/>
                    <a:pt x="87" y="31"/>
                  </a:cubicBezTo>
                  <a:close/>
                  <a:moveTo>
                    <a:pt x="83" y="30"/>
                  </a:moveTo>
                  <a:cubicBezTo>
                    <a:pt x="83" y="30"/>
                    <a:pt x="84" y="30"/>
                    <a:pt x="84" y="30"/>
                  </a:cubicBezTo>
                  <a:cubicBezTo>
                    <a:pt x="84" y="30"/>
                    <a:pt x="83" y="30"/>
                    <a:pt x="83" y="30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8"/>
                    <a:pt x="80" y="28"/>
                  </a:cubicBezTo>
                  <a:cubicBezTo>
                    <a:pt x="79" y="28"/>
                    <a:pt x="80" y="28"/>
                    <a:pt x="80" y="29"/>
                  </a:cubicBezTo>
                  <a:cubicBezTo>
                    <a:pt x="80" y="29"/>
                    <a:pt x="80" y="28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30"/>
                    <a:pt x="81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3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1" y="28"/>
                    <a:pt x="80" y="29"/>
                  </a:cubicBezTo>
                  <a:close/>
                  <a:moveTo>
                    <a:pt x="79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7"/>
                    <a:pt x="78" y="28"/>
                  </a:cubicBezTo>
                  <a:close/>
                  <a:moveTo>
                    <a:pt x="76" y="27"/>
                  </a:moveTo>
                  <a:cubicBezTo>
                    <a:pt x="76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6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7" y="27"/>
                    <a:pt x="77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5" y="26"/>
                    <a:pt x="75" y="27"/>
                  </a:cubicBezTo>
                  <a:cubicBezTo>
                    <a:pt x="75" y="26"/>
                    <a:pt x="76" y="26"/>
                    <a:pt x="76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80" y="28"/>
                  </a:moveTo>
                  <a:cubicBezTo>
                    <a:pt x="80" y="28"/>
                    <a:pt x="79" y="27"/>
                    <a:pt x="79" y="28"/>
                  </a:cubicBezTo>
                  <a:cubicBezTo>
                    <a:pt x="79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lose/>
                  <a:moveTo>
                    <a:pt x="78" y="27"/>
                  </a:move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7"/>
                    <a:pt x="77" y="27"/>
                  </a:cubicBezTo>
                  <a:close/>
                  <a:moveTo>
                    <a:pt x="74" y="25"/>
                  </a:moveTo>
                  <a:cubicBezTo>
                    <a:pt x="74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4"/>
                  </a:cubicBezTo>
                  <a:cubicBezTo>
                    <a:pt x="71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4"/>
                    <a:pt x="72" y="25"/>
                    <a:pt x="72" y="25"/>
                  </a:cubicBezTo>
                  <a:close/>
                  <a:moveTo>
                    <a:pt x="71" y="24"/>
                  </a:move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2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1" y="24"/>
                  </a:moveTo>
                  <a:cubicBezTo>
                    <a:pt x="71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2" y="24"/>
                  </a:moveTo>
                  <a:cubicBezTo>
                    <a:pt x="72" y="24"/>
                    <a:pt x="73" y="25"/>
                    <a:pt x="73" y="25"/>
                  </a:cubicBezTo>
                  <a:cubicBezTo>
                    <a:pt x="72" y="24"/>
                    <a:pt x="72" y="24"/>
                    <a:pt x="72" y="24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4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4"/>
                    <a:pt x="68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3"/>
                    <a:pt x="69" y="23"/>
                  </a:cubicBezTo>
                  <a:cubicBezTo>
                    <a:pt x="68" y="24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lose/>
                  <a:moveTo>
                    <a:pt x="64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96" y="30"/>
                  </a:moveTo>
                  <a:cubicBezTo>
                    <a:pt x="97" y="30"/>
                    <a:pt x="95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7" y="29"/>
                  </a:cubicBezTo>
                  <a:cubicBezTo>
                    <a:pt x="97" y="30"/>
                    <a:pt x="96" y="30"/>
                    <a:pt x="96" y="30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5" y="31"/>
                  </a:move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6" y="31"/>
                    <a:pt x="96" y="31"/>
                  </a:cubicBezTo>
                  <a:cubicBezTo>
                    <a:pt x="96" y="31"/>
                    <a:pt x="95" y="31"/>
                    <a:pt x="95" y="31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1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9"/>
                    <a:pt x="95" y="29"/>
                    <a:pt x="95" y="30"/>
                  </a:cubicBezTo>
                  <a:close/>
                  <a:moveTo>
                    <a:pt x="95" y="32"/>
                  </a:move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1" y="31"/>
                  </a:move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0"/>
                  </a:cubicBezTo>
                  <a:cubicBezTo>
                    <a:pt x="91" y="30"/>
                    <a:pt x="90" y="30"/>
                    <a:pt x="89" y="30"/>
                  </a:cubicBezTo>
                  <a:cubicBezTo>
                    <a:pt x="89" y="30"/>
                    <a:pt x="89" y="30"/>
                    <a:pt x="89" y="29"/>
                  </a:cubicBezTo>
                  <a:cubicBezTo>
                    <a:pt x="90" y="29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1" y="30"/>
                    <a:pt x="91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3" y="31"/>
                  </a:cubicBezTo>
                  <a:cubicBezTo>
                    <a:pt x="93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5" y="31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4" y="32"/>
                    <a:pt x="94" y="32"/>
                    <a:pt x="95" y="32"/>
                  </a:cubicBezTo>
                  <a:cubicBezTo>
                    <a:pt x="94" y="32"/>
                    <a:pt x="94" y="32"/>
                    <a:pt x="94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1" y="31"/>
                    <a:pt x="92" y="31"/>
                    <a:pt x="91" y="31"/>
                  </a:cubicBezTo>
                  <a:cubicBezTo>
                    <a:pt x="91" y="31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1" y="31"/>
                    <a:pt x="90" y="31"/>
                  </a:cubicBezTo>
                  <a:cubicBezTo>
                    <a:pt x="90" y="30"/>
                    <a:pt x="91" y="31"/>
                    <a:pt x="91" y="31"/>
                  </a:cubicBezTo>
                  <a:close/>
                  <a:moveTo>
                    <a:pt x="92" y="31"/>
                  </a:move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2" y="31"/>
                  </a:cubicBezTo>
                  <a:close/>
                  <a:moveTo>
                    <a:pt x="95" y="28"/>
                  </a:move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7"/>
                    <a:pt x="94" y="28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5" y="28"/>
                    <a:pt x="95" y="28"/>
                    <a:pt x="95" y="28"/>
                  </a:cubicBezTo>
                  <a:close/>
                  <a:moveTo>
                    <a:pt x="96" y="25"/>
                  </a:moveTo>
                  <a:cubicBezTo>
                    <a:pt x="95" y="25"/>
                    <a:pt x="96" y="25"/>
                    <a:pt x="96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4" y="25"/>
                  </a:cubicBezTo>
                  <a:cubicBezTo>
                    <a:pt x="94" y="25"/>
                    <a:pt x="95" y="25"/>
                    <a:pt x="95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5" y="25"/>
                    <a:pt x="95" y="25"/>
                    <a:pt x="96" y="25"/>
                  </a:cubicBezTo>
                  <a:close/>
                  <a:moveTo>
                    <a:pt x="96" y="26"/>
                  </a:move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4" y="26"/>
                  </a:cubicBezTo>
                  <a:cubicBezTo>
                    <a:pt x="94" y="26"/>
                    <a:pt x="95" y="26"/>
                    <a:pt x="94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7"/>
                    <a:pt x="95" y="26"/>
                    <a:pt x="95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6"/>
                    <a:pt x="93" y="26"/>
                  </a:cubicBezTo>
                  <a:cubicBezTo>
                    <a:pt x="93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5"/>
                    <a:pt x="92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5"/>
                    <a:pt x="93" y="25"/>
                    <a:pt x="94" y="26"/>
                  </a:cubicBezTo>
                  <a:cubicBezTo>
                    <a:pt x="94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6" y="26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4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lose/>
                  <a:moveTo>
                    <a:pt x="93" y="27"/>
                  </a:move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7"/>
                    <a:pt x="93" y="27"/>
                    <a:pt x="93" y="27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3"/>
                    <a:pt x="90" y="32"/>
                    <a:pt x="90" y="32"/>
                  </a:cubicBezTo>
                  <a:close/>
                  <a:moveTo>
                    <a:pt x="91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1" y="28"/>
                    <a:pt x="91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2" y="27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1" y="28"/>
                    <a:pt x="91" y="28"/>
                  </a:cubicBezTo>
                  <a:close/>
                  <a:moveTo>
                    <a:pt x="91" y="26"/>
                  </a:moveTo>
                  <a:cubicBezTo>
                    <a:pt x="91" y="27"/>
                    <a:pt x="91" y="26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3"/>
                  </a:moveTo>
                  <a:cubicBezTo>
                    <a:pt x="89" y="24"/>
                    <a:pt x="90" y="23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89" y="24"/>
                  </a:cubicBezTo>
                  <a:cubicBezTo>
                    <a:pt x="89" y="24"/>
                    <a:pt x="89" y="24"/>
                    <a:pt x="89" y="23"/>
                  </a:cubicBezTo>
                  <a:close/>
                  <a:moveTo>
                    <a:pt x="90" y="24"/>
                  </a:moveTo>
                  <a:cubicBezTo>
                    <a:pt x="90" y="24"/>
                    <a:pt x="91" y="24"/>
                    <a:pt x="91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90" y="27"/>
                  </a:move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7"/>
                    <a:pt x="89" y="26"/>
                  </a:cubicBezTo>
                  <a:cubicBezTo>
                    <a:pt x="90" y="26"/>
                    <a:pt x="90" y="27"/>
                    <a:pt x="90" y="27"/>
                  </a:cubicBezTo>
                  <a:cubicBezTo>
                    <a:pt x="90" y="27"/>
                    <a:pt x="89" y="27"/>
                    <a:pt x="89" y="27"/>
                  </a:cubicBezTo>
                  <a:cubicBezTo>
                    <a:pt x="89" y="27"/>
                    <a:pt x="89" y="27"/>
                    <a:pt x="90" y="27"/>
                  </a:cubicBezTo>
                  <a:cubicBezTo>
                    <a:pt x="89" y="26"/>
                    <a:pt x="89" y="27"/>
                    <a:pt x="89" y="26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8" y="27"/>
                  </a:cubicBezTo>
                  <a:cubicBezTo>
                    <a:pt x="89" y="26"/>
                    <a:pt x="88" y="26"/>
                    <a:pt x="89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7"/>
                    <a:pt x="88" y="27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5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9" y="26"/>
                    <a:pt x="89" y="26"/>
                  </a:cubicBezTo>
                  <a:cubicBezTo>
                    <a:pt x="89" y="26"/>
                    <a:pt x="90" y="26"/>
                    <a:pt x="89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2" y="25"/>
                    <a:pt x="92" y="25"/>
                  </a:cubicBezTo>
                  <a:cubicBezTo>
                    <a:pt x="92" y="25"/>
                    <a:pt x="91" y="25"/>
                    <a:pt x="91" y="25"/>
                  </a:cubicBezTo>
                  <a:cubicBezTo>
                    <a:pt x="91" y="25"/>
                    <a:pt x="91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9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88" y="29"/>
                  </a:moveTo>
                  <a:cubicBezTo>
                    <a:pt x="88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8" y="29"/>
                    <a:pt x="88" y="29"/>
                  </a:cubicBezTo>
                  <a:cubicBezTo>
                    <a:pt x="88" y="30"/>
                    <a:pt x="88" y="29"/>
                    <a:pt x="88" y="29"/>
                  </a:cubicBezTo>
                  <a:close/>
                  <a:moveTo>
                    <a:pt x="88" y="27"/>
                  </a:move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9" y="27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8" y="27"/>
                  </a:cubicBezTo>
                  <a:cubicBezTo>
                    <a:pt x="88" y="28"/>
                    <a:pt x="87" y="27"/>
                    <a:pt x="87" y="27"/>
                  </a:cubicBezTo>
                  <a:cubicBezTo>
                    <a:pt x="87" y="27"/>
                    <a:pt x="87" y="27"/>
                    <a:pt x="88" y="27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9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90" y="25"/>
                  </a:cubicBezTo>
                  <a:cubicBezTo>
                    <a:pt x="89" y="25"/>
                    <a:pt x="89" y="25"/>
                    <a:pt x="90" y="25"/>
                  </a:cubicBezTo>
                  <a:cubicBezTo>
                    <a:pt x="90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8" y="29"/>
                  </a:cubicBezTo>
                  <a:cubicBezTo>
                    <a:pt x="87" y="29"/>
                    <a:pt x="86" y="28"/>
                    <a:pt x="86" y="29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6" y="28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8" y="24"/>
                    <a:pt x="88" y="24"/>
                  </a:cubicBezTo>
                  <a:cubicBezTo>
                    <a:pt x="88" y="24"/>
                    <a:pt x="88" y="24"/>
                    <a:pt x="89" y="24"/>
                  </a:cubicBezTo>
                  <a:cubicBezTo>
                    <a:pt x="88" y="24"/>
                    <a:pt x="88" y="24"/>
                    <a:pt x="87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3"/>
                    <a:pt x="85" y="23"/>
                  </a:cubicBezTo>
                  <a:cubicBezTo>
                    <a:pt x="85" y="23"/>
                    <a:pt x="86" y="23"/>
                    <a:pt x="86" y="23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7" y="28"/>
                    <a:pt x="88" y="28"/>
                  </a:cubicBezTo>
                  <a:cubicBezTo>
                    <a:pt x="87" y="28"/>
                    <a:pt x="86" y="28"/>
                    <a:pt x="86" y="28"/>
                  </a:cubicBezTo>
                  <a:close/>
                  <a:moveTo>
                    <a:pt x="88" y="24"/>
                  </a:moveTo>
                  <a:cubicBezTo>
                    <a:pt x="88" y="23"/>
                    <a:pt x="88" y="23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lose/>
                  <a:moveTo>
                    <a:pt x="85" y="30"/>
                  </a:move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6" y="26"/>
                  </a:moveTo>
                  <a:cubicBezTo>
                    <a:pt x="86" y="25"/>
                    <a:pt x="85" y="25"/>
                    <a:pt x="85" y="25"/>
                  </a:cubicBezTo>
                  <a:cubicBezTo>
                    <a:pt x="85" y="25"/>
                    <a:pt x="84" y="25"/>
                    <a:pt x="84" y="25"/>
                  </a:cubicBezTo>
                  <a:cubicBezTo>
                    <a:pt x="84" y="25"/>
                    <a:pt x="85" y="25"/>
                    <a:pt x="85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25"/>
                    <a:pt x="86" y="25"/>
                    <a:pt x="86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4" y="31"/>
                  </a:cubicBezTo>
                  <a:close/>
                  <a:moveTo>
                    <a:pt x="86" y="22"/>
                  </a:moveTo>
                  <a:cubicBezTo>
                    <a:pt x="86" y="22"/>
                    <a:pt x="86" y="22"/>
                    <a:pt x="86" y="22"/>
                  </a:cubicBezTo>
                  <a:cubicBezTo>
                    <a:pt x="86" y="22"/>
                    <a:pt x="86" y="22"/>
                    <a:pt x="85" y="22"/>
                  </a:cubicBezTo>
                  <a:cubicBezTo>
                    <a:pt x="85" y="22"/>
                    <a:pt x="86" y="22"/>
                    <a:pt x="86" y="22"/>
                  </a:cubicBezTo>
                  <a:close/>
                  <a:moveTo>
                    <a:pt x="85" y="25"/>
                  </a:move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5" y="25"/>
                    <a:pt x="85" y="25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2" y="31"/>
                    <a:pt x="81" y="31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80" y="30"/>
                    <a:pt x="80" y="30"/>
                    <a:pt x="81" y="30"/>
                  </a:cubicBezTo>
                  <a:cubicBezTo>
                    <a:pt x="81" y="30"/>
                    <a:pt x="81" y="30"/>
                    <a:pt x="81" y="31"/>
                  </a:cubicBezTo>
                  <a:cubicBezTo>
                    <a:pt x="81" y="31"/>
                    <a:pt x="81" y="31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lose/>
                  <a:moveTo>
                    <a:pt x="82" y="22"/>
                  </a:move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3" y="22"/>
                    <a:pt x="83" y="23"/>
                  </a:cubicBezTo>
                  <a:cubicBezTo>
                    <a:pt x="83" y="22"/>
                    <a:pt x="83" y="23"/>
                    <a:pt x="83" y="22"/>
                  </a:cubicBezTo>
                  <a:cubicBezTo>
                    <a:pt x="83" y="22"/>
                    <a:pt x="83" y="23"/>
                    <a:pt x="83" y="23"/>
                  </a:cubicBezTo>
                  <a:cubicBezTo>
                    <a:pt x="83" y="23"/>
                    <a:pt x="82" y="23"/>
                    <a:pt x="82" y="22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lose/>
                  <a:moveTo>
                    <a:pt x="80" y="21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1" y="20"/>
                    <a:pt x="82" y="21"/>
                    <a:pt x="83" y="21"/>
                  </a:cubicBezTo>
                  <a:cubicBezTo>
                    <a:pt x="83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1" y="21"/>
                    <a:pt x="81" y="21"/>
                    <a:pt x="81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0" y="21"/>
                  </a:cubicBezTo>
                  <a:close/>
                  <a:moveTo>
                    <a:pt x="82" y="22"/>
                  </a:moveTo>
                  <a:cubicBezTo>
                    <a:pt x="82" y="22"/>
                    <a:pt x="81" y="22"/>
                    <a:pt x="81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8" y="22"/>
                  </a:moveTo>
                  <a:cubicBezTo>
                    <a:pt x="79" y="22"/>
                    <a:pt x="80" y="22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3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2"/>
                    <a:pt x="77" y="22"/>
                    <a:pt x="76" y="22"/>
                  </a:cubicBezTo>
                  <a:cubicBezTo>
                    <a:pt x="76" y="22"/>
                    <a:pt x="77" y="22"/>
                    <a:pt x="77" y="22"/>
                  </a:cubicBezTo>
                  <a:cubicBezTo>
                    <a:pt x="77" y="22"/>
                    <a:pt x="78" y="22"/>
                    <a:pt x="77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8" y="22"/>
                    <a:pt x="78" y="22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2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9" y="23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8" y="23"/>
                    <a:pt x="79" y="23"/>
                  </a:cubicBezTo>
                  <a:close/>
                  <a:moveTo>
                    <a:pt x="74" y="25"/>
                  </a:moveTo>
                  <a:cubicBezTo>
                    <a:pt x="74" y="26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4" y="19"/>
                    <a:pt x="75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19"/>
                    <a:pt x="75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19"/>
                    <a:pt x="74" y="19"/>
                    <a:pt x="74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1" y="2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lose/>
                  <a:moveTo>
                    <a:pt x="71" y="22"/>
                  </a:moveTo>
                  <a:cubicBezTo>
                    <a:pt x="70" y="22"/>
                    <a:pt x="70" y="23"/>
                    <a:pt x="71" y="23"/>
                  </a:cubicBezTo>
                  <a:cubicBezTo>
                    <a:pt x="70" y="23"/>
                    <a:pt x="70" y="22"/>
                    <a:pt x="70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69" y="22"/>
                    <a:pt x="69" y="22"/>
                  </a:cubicBezTo>
                  <a:cubicBezTo>
                    <a:pt x="69" y="22"/>
                    <a:pt x="69" y="22"/>
                    <a:pt x="70" y="22"/>
                  </a:cubicBezTo>
                  <a:cubicBezTo>
                    <a:pt x="70" y="22"/>
                    <a:pt x="70" y="22"/>
                    <a:pt x="71" y="22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4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7"/>
                    <a:pt x="69" y="27"/>
                  </a:cubicBezTo>
                  <a:cubicBezTo>
                    <a:pt x="69" y="27"/>
                    <a:pt x="69" y="27"/>
                    <a:pt x="70" y="27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1" y="19"/>
                    <a:pt x="71" y="19"/>
                    <a:pt x="71" y="18"/>
                  </a:cubicBezTo>
                  <a:cubicBezTo>
                    <a:pt x="71" y="18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2" y="18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9"/>
                    <a:pt x="72" y="19"/>
                  </a:cubicBezTo>
                  <a:cubicBezTo>
                    <a:pt x="72" y="19"/>
                    <a:pt x="72" y="19"/>
                    <a:pt x="71" y="18"/>
                  </a:cubicBezTo>
                  <a:cubicBezTo>
                    <a:pt x="71" y="19"/>
                    <a:pt x="72" y="19"/>
                    <a:pt x="72" y="19"/>
                  </a:cubicBezTo>
                  <a:close/>
                  <a:moveTo>
                    <a:pt x="69" y="28"/>
                  </a:move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8" y="28"/>
                    <a:pt x="68" y="28"/>
                  </a:cubicBezTo>
                  <a:lnTo>
                    <a:pt x="69" y="28"/>
                  </a:lnTo>
                  <a:close/>
                  <a:moveTo>
                    <a:pt x="63" y="24"/>
                  </a:moveTo>
                  <a:cubicBezTo>
                    <a:pt x="63" y="25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5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4"/>
                  </a:cubicBezTo>
                  <a:close/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1" y="23"/>
                  </a:cubicBezTo>
                  <a:cubicBezTo>
                    <a:pt x="61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59" y="23"/>
                    <a:pt x="59" y="22"/>
                  </a:cubicBezTo>
                  <a:cubicBezTo>
                    <a:pt x="59" y="23"/>
                    <a:pt x="59" y="23"/>
                    <a:pt x="60" y="23"/>
                  </a:cubicBezTo>
                  <a:close/>
                  <a:moveTo>
                    <a:pt x="63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5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3" y="25"/>
                    <a:pt x="62" y="24"/>
                    <a:pt x="63" y="25"/>
                  </a:cubicBezTo>
                  <a:close/>
                  <a:moveTo>
                    <a:pt x="60" y="22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0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8" y="21"/>
                    <a:pt x="58" y="22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60" y="21"/>
                    <a:pt x="60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1"/>
                    <a:pt x="60" y="22"/>
                  </a:cubicBezTo>
                  <a:cubicBezTo>
                    <a:pt x="60" y="22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0" y="22"/>
                    <a:pt x="60" y="22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3"/>
                    <a:pt x="62" y="23"/>
                  </a:cubicBezTo>
                  <a:cubicBezTo>
                    <a:pt x="62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2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2"/>
                    <a:pt x="60" y="23"/>
                    <a:pt x="60" y="23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61" y="22"/>
                  </a:moveTo>
                  <a:cubicBezTo>
                    <a:pt x="61" y="23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lose/>
                  <a:moveTo>
                    <a:pt x="63" y="24"/>
                  </a:move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3" y="24"/>
                    <a:pt x="63" y="24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1" y="22"/>
                    <a:pt x="62" y="22"/>
                    <a:pt x="61" y="22"/>
                  </a:cubicBezTo>
                  <a:cubicBezTo>
                    <a:pt x="61" y="21"/>
                    <a:pt x="62" y="22"/>
                    <a:pt x="62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19"/>
                  </a:cubicBezTo>
                  <a:cubicBezTo>
                    <a:pt x="62" y="19"/>
                    <a:pt x="62" y="19"/>
                    <a:pt x="63" y="19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0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3"/>
                    <a:pt x="58" y="23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4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22"/>
                    <a:pt x="57" y="23"/>
                    <a:pt x="57" y="23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7" y="22"/>
                    <a:pt x="57" y="22"/>
                    <a:pt x="57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9" y="22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7" y="22"/>
                    <a:pt x="57" y="22"/>
                  </a:cubicBezTo>
                  <a:close/>
                  <a:moveTo>
                    <a:pt x="58" y="22"/>
                  </a:move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lnTo>
                    <a:pt x="58" y="23"/>
                  </a:lnTo>
                  <a:close/>
                  <a:moveTo>
                    <a:pt x="56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7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2"/>
                    <a:pt x="54" y="23"/>
                    <a:pt x="54" y="23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52" y="19"/>
                  </a:moveTo>
                  <a:cubicBezTo>
                    <a:pt x="52" y="19"/>
                    <a:pt x="52" y="19"/>
                    <a:pt x="51" y="19"/>
                  </a:cubicBezTo>
                  <a:cubicBezTo>
                    <a:pt x="52" y="19"/>
                    <a:pt x="51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2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lose/>
                  <a:moveTo>
                    <a:pt x="47" y="20"/>
                  </a:moveTo>
                  <a:cubicBezTo>
                    <a:pt x="46" y="20"/>
                    <a:pt x="46" y="19"/>
                    <a:pt x="46" y="19"/>
                  </a:cubicBezTo>
                  <a:cubicBezTo>
                    <a:pt x="45" y="19"/>
                    <a:pt x="44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5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5" y="20"/>
                    <a:pt x="45" y="20"/>
                  </a:cubicBezTo>
                  <a:cubicBezTo>
                    <a:pt x="45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20"/>
                    <a:pt x="45" y="20"/>
                  </a:cubicBezTo>
                  <a:close/>
                  <a:moveTo>
                    <a:pt x="41" y="18"/>
                  </a:move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9" y="18"/>
                    <a:pt x="39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6"/>
                    <a:pt x="37" y="16"/>
                  </a:cubicBezTo>
                  <a:cubicBezTo>
                    <a:pt x="37" y="16"/>
                    <a:pt x="37" y="17"/>
                    <a:pt x="37" y="17"/>
                  </a:cubicBezTo>
                  <a:cubicBezTo>
                    <a:pt x="37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1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3" y="19"/>
                    <a:pt x="44" y="19"/>
                    <a:pt x="45" y="19"/>
                  </a:cubicBezTo>
                  <a:cubicBezTo>
                    <a:pt x="44" y="19"/>
                    <a:pt x="42" y="19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34" y="16"/>
                  </a:moveTo>
                  <a:cubicBezTo>
                    <a:pt x="36" y="17"/>
                    <a:pt x="37" y="18"/>
                    <a:pt x="38" y="18"/>
                  </a:cubicBezTo>
                  <a:cubicBezTo>
                    <a:pt x="37" y="18"/>
                    <a:pt x="35" y="17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5"/>
                  </a:cubicBezTo>
                  <a:lnTo>
                    <a:pt x="30" y="14"/>
                  </a:lnTo>
                  <a:close/>
                  <a:moveTo>
                    <a:pt x="25" y="14"/>
                  </a:moveTo>
                  <a:cubicBezTo>
                    <a:pt x="25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lose/>
                  <a:moveTo>
                    <a:pt x="15" y="11"/>
                  </a:moveTo>
                  <a:cubicBezTo>
                    <a:pt x="16" y="12"/>
                    <a:pt x="16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9" y="12"/>
                    <a:pt x="20" y="12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3"/>
                    <a:pt x="20" y="13"/>
                  </a:cubicBezTo>
                  <a:cubicBezTo>
                    <a:pt x="20" y="13"/>
                    <a:pt x="20" y="13"/>
                    <a:pt x="21" y="13"/>
                  </a:cubicBezTo>
                  <a:cubicBezTo>
                    <a:pt x="21" y="13"/>
                    <a:pt x="20" y="13"/>
                    <a:pt x="21" y="13"/>
                  </a:cubicBezTo>
                  <a:cubicBezTo>
                    <a:pt x="21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2"/>
                    <a:pt x="19" y="13"/>
                  </a:cubicBezTo>
                  <a:cubicBezTo>
                    <a:pt x="19" y="12"/>
                    <a:pt x="19" y="13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4" y="11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2"/>
                    <a:pt x="15" y="11"/>
                  </a:cubicBezTo>
                  <a:cubicBezTo>
                    <a:pt x="15" y="11"/>
                    <a:pt x="15" y="12"/>
                    <a:pt x="16" y="12"/>
                  </a:cubicBezTo>
                  <a:cubicBezTo>
                    <a:pt x="16" y="11"/>
                    <a:pt x="15" y="12"/>
                    <a:pt x="15" y="11"/>
                  </a:cubicBezTo>
                  <a:close/>
                  <a:moveTo>
                    <a:pt x="21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1" y="12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20" y="12"/>
                    <a:pt x="19" y="12"/>
                  </a:cubicBezTo>
                  <a:close/>
                  <a:moveTo>
                    <a:pt x="19" y="11"/>
                  </a:moveTo>
                  <a:cubicBezTo>
                    <a:pt x="19" y="11"/>
                    <a:pt x="19" y="11"/>
                    <a:pt x="18" y="11"/>
                  </a:cubicBezTo>
                  <a:cubicBezTo>
                    <a:pt x="19" y="11"/>
                    <a:pt x="19" y="11"/>
                    <a:pt x="19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  <a:moveTo>
                    <a:pt x="11" y="9"/>
                  </a:moveTo>
                  <a:cubicBezTo>
                    <a:pt x="11" y="9"/>
                    <a:pt x="11" y="8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10" y="9"/>
                  </a:moveTo>
                  <a:cubicBezTo>
                    <a:pt x="10" y="9"/>
                    <a:pt x="10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7"/>
                  </a:move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6"/>
                    <a:pt x="2" y="7"/>
                  </a:cubicBezTo>
                  <a:close/>
                  <a:moveTo>
                    <a:pt x="151" y="39"/>
                  </a:moveTo>
                  <a:cubicBezTo>
                    <a:pt x="151" y="39"/>
                    <a:pt x="151" y="39"/>
                    <a:pt x="151" y="40"/>
                  </a:cubicBezTo>
                  <a:cubicBezTo>
                    <a:pt x="151" y="40"/>
                    <a:pt x="151" y="40"/>
                    <a:pt x="151" y="39"/>
                  </a:cubicBezTo>
                  <a:cubicBezTo>
                    <a:pt x="151" y="39"/>
                    <a:pt x="150" y="39"/>
                    <a:pt x="151" y="39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5"/>
                    <a:pt x="128" y="36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29" y="37"/>
                  </a:move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lose/>
                  <a:moveTo>
                    <a:pt x="127" y="37"/>
                  </a:moveTo>
                  <a:cubicBezTo>
                    <a:pt x="127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7"/>
                    <a:pt x="127" y="36"/>
                    <a:pt x="127" y="37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40"/>
                    <a:pt x="126" y="39"/>
                    <a:pt x="126" y="40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0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6" y="34"/>
                  </a:cubicBezTo>
                  <a:cubicBezTo>
                    <a:pt x="117" y="33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06" y="38"/>
                  </a:move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6" y="38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1" y="37"/>
                    <a:pt x="101" y="37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2"/>
                    <a:pt x="102" y="31"/>
                    <a:pt x="101" y="31"/>
                  </a:cubicBezTo>
                  <a:cubicBezTo>
                    <a:pt x="101" y="31"/>
                    <a:pt x="102" y="31"/>
                    <a:pt x="102" y="31"/>
                  </a:cubicBezTo>
                  <a:cubicBezTo>
                    <a:pt x="102" y="31"/>
                    <a:pt x="101" y="31"/>
                    <a:pt x="102" y="31"/>
                  </a:cubicBezTo>
                  <a:close/>
                  <a:moveTo>
                    <a:pt x="96" y="31"/>
                  </a:moveTo>
                  <a:cubicBezTo>
                    <a:pt x="96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2"/>
                    <a:pt x="96" y="31"/>
                    <a:pt x="96" y="31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5"/>
                    <a:pt x="95" y="25"/>
                  </a:cubicBezTo>
                  <a:cubicBezTo>
                    <a:pt x="95" y="25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4" y="26"/>
                    <a:pt x="94" y="25"/>
                  </a:cubicBezTo>
                  <a:close/>
                  <a:moveTo>
                    <a:pt x="90" y="29"/>
                  </a:moveTo>
                  <a:cubicBezTo>
                    <a:pt x="90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30"/>
                  </a:cubicBezTo>
                  <a:cubicBezTo>
                    <a:pt x="92" y="29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lose/>
                  <a:moveTo>
                    <a:pt x="89" y="28"/>
                  </a:move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90" y="28"/>
                  </a:cubicBezTo>
                  <a:cubicBezTo>
                    <a:pt x="90" y="29"/>
                    <a:pt x="89" y="28"/>
                    <a:pt x="89" y="29"/>
                  </a:cubicBezTo>
                  <a:cubicBezTo>
                    <a:pt x="89" y="29"/>
                    <a:pt x="89" y="28"/>
                    <a:pt x="89" y="28"/>
                  </a:cubicBezTo>
                  <a:close/>
                  <a:moveTo>
                    <a:pt x="86" y="26"/>
                  </a:moveTo>
                  <a:cubicBezTo>
                    <a:pt x="86" y="26"/>
                    <a:pt x="86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7"/>
                    <a:pt x="88" y="26"/>
                    <a:pt x="87" y="2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8" y="26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7" y="27"/>
                  </a:cubicBezTo>
                  <a:cubicBezTo>
                    <a:pt x="88" y="27"/>
                    <a:pt x="86" y="27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6" y="23"/>
                  </a:moveTo>
                  <a:cubicBezTo>
                    <a:pt x="86" y="22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6" y="23"/>
                    <a:pt x="85" y="23"/>
                  </a:cubicBezTo>
                  <a:cubicBezTo>
                    <a:pt x="86" y="23"/>
                    <a:pt x="86" y="23"/>
                    <a:pt x="86" y="23"/>
                  </a:cubicBezTo>
                  <a:close/>
                  <a:moveTo>
                    <a:pt x="84" y="28"/>
                  </a:moveTo>
                  <a:cubicBezTo>
                    <a:pt x="84" y="27"/>
                    <a:pt x="84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5" y="21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F15B484E-C939-4517-84B9-5E90D84BC42F}"/>
                </a:ext>
              </a:extLst>
            </p:cNvPr>
            <p:cNvSpPr/>
            <p:nvPr/>
          </p:nvSpPr>
          <p:spPr bwMode="auto">
            <a:xfrm>
              <a:off x="3321051" y="3827463"/>
              <a:ext cx="450850" cy="266700"/>
            </a:xfrm>
            <a:custGeom>
              <a:avLst/>
              <a:gdLst>
                <a:gd name="T0" fmla="*/ 46 w 182"/>
                <a:gd name="T1" fmla="*/ 85 h 108"/>
                <a:gd name="T2" fmla="*/ 49 w 182"/>
                <a:gd name="T3" fmla="*/ 80 h 108"/>
                <a:gd name="T4" fmla="*/ 56 w 182"/>
                <a:gd name="T5" fmla="*/ 78 h 108"/>
                <a:gd name="T6" fmla="*/ 59 w 182"/>
                <a:gd name="T7" fmla="*/ 77 h 108"/>
                <a:gd name="T8" fmla="*/ 67 w 182"/>
                <a:gd name="T9" fmla="*/ 73 h 108"/>
                <a:gd name="T10" fmla="*/ 67 w 182"/>
                <a:gd name="T11" fmla="*/ 63 h 108"/>
                <a:gd name="T12" fmla="*/ 77 w 182"/>
                <a:gd name="T13" fmla="*/ 58 h 108"/>
                <a:gd name="T14" fmla="*/ 83 w 182"/>
                <a:gd name="T15" fmla="*/ 64 h 108"/>
                <a:gd name="T16" fmla="*/ 88 w 182"/>
                <a:gd name="T17" fmla="*/ 63 h 108"/>
                <a:gd name="T18" fmla="*/ 95 w 182"/>
                <a:gd name="T19" fmla="*/ 59 h 108"/>
                <a:gd name="T20" fmla="*/ 104 w 182"/>
                <a:gd name="T21" fmla="*/ 51 h 108"/>
                <a:gd name="T22" fmla="*/ 110 w 182"/>
                <a:gd name="T23" fmla="*/ 50 h 108"/>
                <a:gd name="T24" fmla="*/ 116 w 182"/>
                <a:gd name="T25" fmla="*/ 40 h 108"/>
                <a:gd name="T26" fmla="*/ 121 w 182"/>
                <a:gd name="T27" fmla="*/ 39 h 108"/>
                <a:gd name="T28" fmla="*/ 129 w 182"/>
                <a:gd name="T29" fmla="*/ 31 h 108"/>
                <a:gd name="T30" fmla="*/ 162 w 182"/>
                <a:gd name="T31" fmla="*/ 11 h 108"/>
                <a:gd name="T32" fmla="*/ 176 w 182"/>
                <a:gd name="T33" fmla="*/ 2 h 108"/>
                <a:gd name="T34" fmla="*/ 43 w 182"/>
                <a:gd name="T35" fmla="*/ 77 h 108"/>
                <a:gd name="T36" fmla="*/ 52 w 182"/>
                <a:gd name="T37" fmla="*/ 73 h 108"/>
                <a:gd name="T38" fmla="*/ 47 w 182"/>
                <a:gd name="T39" fmla="*/ 77 h 108"/>
                <a:gd name="T40" fmla="*/ 52 w 182"/>
                <a:gd name="T41" fmla="*/ 75 h 108"/>
                <a:gd name="T42" fmla="*/ 39 w 182"/>
                <a:gd name="T43" fmla="*/ 85 h 108"/>
                <a:gd name="T44" fmla="*/ 41 w 182"/>
                <a:gd name="T45" fmla="*/ 88 h 108"/>
                <a:gd name="T46" fmla="*/ 30 w 182"/>
                <a:gd name="T47" fmla="*/ 98 h 108"/>
                <a:gd name="T48" fmla="*/ 34 w 182"/>
                <a:gd name="T49" fmla="*/ 94 h 108"/>
                <a:gd name="T50" fmla="*/ 44 w 182"/>
                <a:gd name="T51" fmla="*/ 84 h 108"/>
                <a:gd name="T52" fmla="*/ 53 w 182"/>
                <a:gd name="T53" fmla="*/ 74 h 108"/>
                <a:gd name="T54" fmla="*/ 37 w 182"/>
                <a:gd name="T55" fmla="*/ 82 h 108"/>
                <a:gd name="T56" fmla="*/ 36 w 182"/>
                <a:gd name="T57" fmla="*/ 81 h 108"/>
                <a:gd name="T58" fmla="*/ 48 w 182"/>
                <a:gd name="T59" fmla="*/ 84 h 108"/>
                <a:gd name="T60" fmla="*/ 52 w 182"/>
                <a:gd name="T61" fmla="*/ 79 h 108"/>
                <a:gd name="T62" fmla="*/ 62 w 182"/>
                <a:gd name="T63" fmla="*/ 66 h 108"/>
                <a:gd name="T64" fmla="*/ 70 w 182"/>
                <a:gd name="T65" fmla="*/ 62 h 108"/>
                <a:gd name="T66" fmla="*/ 74 w 182"/>
                <a:gd name="T67" fmla="*/ 61 h 108"/>
                <a:gd name="T68" fmla="*/ 69 w 182"/>
                <a:gd name="T69" fmla="*/ 66 h 108"/>
                <a:gd name="T70" fmla="*/ 71 w 182"/>
                <a:gd name="T71" fmla="*/ 63 h 108"/>
                <a:gd name="T72" fmla="*/ 77 w 182"/>
                <a:gd name="T73" fmla="*/ 68 h 108"/>
                <a:gd name="T74" fmla="*/ 113 w 182"/>
                <a:gd name="T75" fmla="*/ 42 h 108"/>
                <a:gd name="T76" fmla="*/ 106 w 182"/>
                <a:gd name="T77" fmla="*/ 46 h 108"/>
                <a:gd name="T78" fmla="*/ 104 w 182"/>
                <a:gd name="T79" fmla="*/ 49 h 108"/>
                <a:gd name="T80" fmla="*/ 96 w 182"/>
                <a:gd name="T81" fmla="*/ 52 h 108"/>
                <a:gd name="T82" fmla="*/ 83 w 182"/>
                <a:gd name="T83" fmla="*/ 57 h 108"/>
                <a:gd name="T84" fmla="*/ 75 w 182"/>
                <a:gd name="T85" fmla="*/ 57 h 108"/>
                <a:gd name="T86" fmla="*/ 94 w 182"/>
                <a:gd name="T87" fmla="*/ 49 h 108"/>
                <a:gd name="T88" fmla="*/ 109 w 182"/>
                <a:gd name="T89" fmla="*/ 40 h 108"/>
                <a:gd name="T90" fmla="*/ 110 w 182"/>
                <a:gd name="T91" fmla="*/ 43 h 108"/>
                <a:gd name="T92" fmla="*/ 81 w 182"/>
                <a:gd name="T93" fmla="*/ 57 h 108"/>
                <a:gd name="T94" fmla="*/ 96 w 182"/>
                <a:gd name="T95" fmla="*/ 52 h 108"/>
                <a:gd name="T96" fmla="*/ 99 w 182"/>
                <a:gd name="T97" fmla="*/ 48 h 108"/>
                <a:gd name="T98" fmla="*/ 110 w 182"/>
                <a:gd name="T99" fmla="*/ 40 h 108"/>
                <a:gd name="T100" fmla="*/ 98 w 182"/>
                <a:gd name="T101" fmla="*/ 48 h 108"/>
                <a:gd name="T102" fmla="*/ 85 w 182"/>
                <a:gd name="T103" fmla="*/ 56 h 108"/>
                <a:gd name="T104" fmla="*/ 103 w 182"/>
                <a:gd name="T105" fmla="*/ 47 h 108"/>
                <a:gd name="T106" fmla="*/ 79 w 182"/>
                <a:gd name="T107" fmla="*/ 60 h 108"/>
                <a:gd name="T108" fmla="*/ 80 w 182"/>
                <a:gd name="T109" fmla="*/ 58 h 108"/>
                <a:gd name="T110" fmla="*/ 86 w 182"/>
                <a:gd name="T111" fmla="*/ 63 h 108"/>
                <a:gd name="T112" fmla="*/ 87 w 182"/>
                <a:gd name="T113" fmla="*/ 53 h 108"/>
                <a:gd name="T114" fmla="*/ 96 w 182"/>
                <a:gd name="T115" fmla="*/ 57 h 108"/>
                <a:gd name="T116" fmla="*/ 115 w 182"/>
                <a:gd name="T117" fmla="*/ 39 h 108"/>
                <a:gd name="T118" fmla="*/ 114 w 182"/>
                <a:gd name="T119" fmla="*/ 38 h 108"/>
                <a:gd name="T120" fmla="*/ 128 w 182"/>
                <a:gd name="T121" fmla="*/ 29 h 108"/>
                <a:gd name="T122" fmla="*/ 163 w 182"/>
                <a:gd name="T123" fmla="*/ 9 h 108"/>
                <a:gd name="T124" fmla="*/ 82 w 182"/>
                <a:gd name="T125" fmla="*/ 6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08">
                  <a:moveTo>
                    <a:pt x="1" y="101"/>
                  </a:moveTo>
                  <a:cubicBezTo>
                    <a:pt x="0" y="101"/>
                    <a:pt x="1" y="101"/>
                    <a:pt x="1" y="101"/>
                  </a:cubicBezTo>
                  <a:cubicBezTo>
                    <a:pt x="1" y="101"/>
                    <a:pt x="1" y="101"/>
                    <a:pt x="1" y="100"/>
                  </a:cubicBez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21" y="104"/>
                  </a:moveTo>
                  <a:cubicBezTo>
                    <a:pt x="20" y="104"/>
                    <a:pt x="20" y="103"/>
                    <a:pt x="20" y="104"/>
                  </a:cubicBezTo>
                  <a:cubicBezTo>
                    <a:pt x="20" y="103"/>
                    <a:pt x="20" y="104"/>
                    <a:pt x="19" y="103"/>
                  </a:cubicBezTo>
                  <a:cubicBezTo>
                    <a:pt x="20" y="103"/>
                    <a:pt x="20" y="104"/>
                    <a:pt x="21" y="104"/>
                  </a:cubicBezTo>
                  <a:close/>
                  <a:moveTo>
                    <a:pt x="23" y="102"/>
                  </a:move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lose/>
                  <a:moveTo>
                    <a:pt x="25" y="101"/>
                  </a:moveTo>
                  <a:cubicBezTo>
                    <a:pt x="24" y="102"/>
                    <a:pt x="25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lose/>
                  <a:moveTo>
                    <a:pt x="28" y="100"/>
                  </a:moveTo>
                  <a:cubicBezTo>
                    <a:pt x="28" y="100"/>
                    <a:pt x="28" y="100"/>
                    <a:pt x="28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8" y="100"/>
                    <a:pt x="28" y="100"/>
                    <a:pt x="28" y="100"/>
                  </a:cubicBezTo>
                  <a:close/>
                  <a:moveTo>
                    <a:pt x="33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lose/>
                  <a:moveTo>
                    <a:pt x="34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4" y="97"/>
                    <a:pt x="34" y="97"/>
                  </a:cubicBezTo>
                  <a:close/>
                  <a:moveTo>
                    <a:pt x="34" y="95"/>
                  </a:moveTo>
                  <a:cubicBezTo>
                    <a:pt x="34" y="95"/>
                    <a:pt x="34" y="96"/>
                    <a:pt x="34" y="96"/>
                  </a:cubicBezTo>
                  <a:cubicBezTo>
                    <a:pt x="34" y="96"/>
                    <a:pt x="34" y="95"/>
                    <a:pt x="34" y="95"/>
                  </a:cubicBez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6" y="92"/>
                  </a:cubicBezTo>
                  <a:cubicBezTo>
                    <a:pt x="36" y="93"/>
                    <a:pt x="36" y="92"/>
                    <a:pt x="37" y="92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7" y="92"/>
                    <a:pt x="37" y="92"/>
                    <a:pt x="37" y="92"/>
                  </a:cubicBezTo>
                  <a:close/>
                  <a:moveTo>
                    <a:pt x="38" y="93"/>
                  </a:moveTo>
                  <a:cubicBezTo>
                    <a:pt x="38" y="93"/>
                    <a:pt x="38" y="93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1"/>
                  </a:moveTo>
                  <a:cubicBezTo>
                    <a:pt x="39" y="91"/>
                    <a:pt x="40" y="91"/>
                    <a:pt x="40" y="91"/>
                  </a:cubicBezTo>
                  <a:cubicBezTo>
                    <a:pt x="40" y="91"/>
                    <a:pt x="39" y="91"/>
                    <a:pt x="39" y="91"/>
                  </a:cubicBezTo>
                  <a:cubicBezTo>
                    <a:pt x="39" y="91"/>
                    <a:pt x="39" y="92"/>
                    <a:pt x="39" y="91"/>
                  </a:cubicBezTo>
                  <a:close/>
                  <a:moveTo>
                    <a:pt x="41" y="90"/>
                  </a:moveTo>
                  <a:cubicBezTo>
                    <a:pt x="41" y="90"/>
                    <a:pt x="41" y="90"/>
                    <a:pt x="41" y="90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1" y="90"/>
                    <a:pt x="41" y="90"/>
                    <a:pt x="41" y="90"/>
                  </a:cubicBezTo>
                  <a:close/>
                  <a:moveTo>
                    <a:pt x="42" y="91"/>
                  </a:moveTo>
                  <a:cubicBezTo>
                    <a:pt x="42" y="91"/>
                    <a:pt x="41" y="91"/>
                    <a:pt x="41" y="91"/>
                  </a:cubicBezTo>
                  <a:cubicBezTo>
                    <a:pt x="41" y="91"/>
                    <a:pt x="42" y="91"/>
                    <a:pt x="42" y="91"/>
                  </a:cubicBezTo>
                  <a:close/>
                  <a:moveTo>
                    <a:pt x="43" y="90"/>
                  </a:moveTo>
                  <a:cubicBezTo>
                    <a:pt x="43" y="91"/>
                    <a:pt x="43" y="91"/>
                    <a:pt x="43" y="91"/>
                  </a:cubicBezTo>
                  <a:cubicBezTo>
                    <a:pt x="42" y="91"/>
                    <a:pt x="43" y="90"/>
                    <a:pt x="43" y="90"/>
                  </a:cubicBezTo>
                  <a:close/>
                  <a:moveTo>
                    <a:pt x="41" y="84"/>
                  </a:moveTo>
                  <a:cubicBezTo>
                    <a:pt x="41" y="84"/>
                    <a:pt x="41" y="85"/>
                    <a:pt x="41" y="85"/>
                  </a:cubicBezTo>
                  <a:cubicBezTo>
                    <a:pt x="40" y="85"/>
                    <a:pt x="40" y="85"/>
                    <a:pt x="41" y="84"/>
                  </a:cubicBezTo>
                  <a:close/>
                  <a:moveTo>
                    <a:pt x="43" y="88"/>
                  </a:moveTo>
                  <a:cubicBezTo>
                    <a:pt x="43" y="88"/>
                    <a:pt x="43" y="88"/>
                    <a:pt x="42" y="88"/>
                  </a:cubicBezTo>
                  <a:cubicBezTo>
                    <a:pt x="43" y="88"/>
                    <a:pt x="43" y="88"/>
                    <a:pt x="43" y="87"/>
                  </a:cubicBezTo>
                  <a:cubicBezTo>
                    <a:pt x="43" y="87"/>
                    <a:pt x="43" y="87"/>
                    <a:pt x="43" y="88"/>
                  </a:cubicBezTo>
                  <a:close/>
                  <a:moveTo>
                    <a:pt x="41" y="85"/>
                  </a:move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42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lose/>
                  <a:moveTo>
                    <a:pt x="45" y="86"/>
                  </a:move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6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6" y="85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2" y="83"/>
                  </a:moveTo>
                  <a:cubicBezTo>
                    <a:pt x="42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2" y="83"/>
                    <a:pt x="43" y="82"/>
                    <a:pt x="42" y="83"/>
                  </a:cubicBezTo>
                  <a:close/>
                  <a:moveTo>
                    <a:pt x="45" y="87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6" y="86"/>
                    <a:pt x="45" y="86"/>
                    <a:pt x="45" y="87"/>
                  </a:cubicBezTo>
                  <a:close/>
                  <a:moveTo>
                    <a:pt x="44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6"/>
                    <a:pt x="45" y="86"/>
                  </a:cubicBezTo>
                  <a:cubicBezTo>
                    <a:pt x="45" y="86"/>
                    <a:pt x="46" y="85"/>
                    <a:pt x="46" y="85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1" y="77"/>
                    <a:pt x="41" y="77"/>
                  </a:cubicBezTo>
                  <a:close/>
                  <a:moveTo>
                    <a:pt x="44" y="82"/>
                  </a:moveTo>
                  <a:cubicBezTo>
                    <a:pt x="45" y="82"/>
                    <a:pt x="45" y="82"/>
                    <a:pt x="46" y="82"/>
                  </a:cubicBezTo>
                  <a:cubicBezTo>
                    <a:pt x="45" y="82"/>
                    <a:pt x="45" y="82"/>
                    <a:pt x="44" y="82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lnTo>
                    <a:pt x="47" y="85"/>
                  </a:ln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7"/>
                    <a:pt x="48" y="88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42" y="77"/>
                  </a:moveTo>
                  <a:cubicBezTo>
                    <a:pt x="42" y="76"/>
                    <a:pt x="43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lose/>
                  <a:moveTo>
                    <a:pt x="44" y="81"/>
                  </a:move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4" y="81"/>
                    <a:pt x="44" y="81"/>
                  </a:cubicBezTo>
                  <a:close/>
                  <a:moveTo>
                    <a:pt x="46" y="84"/>
                  </a:moveTo>
                  <a:cubicBezTo>
                    <a:pt x="46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5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8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lose/>
                  <a:moveTo>
                    <a:pt x="47" y="83"/>
                  </a:move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lose/>
                  <a:moveTo>
                    <a:pt x="47" y="83"/>
                  </a:moveTo>
                  <a:cubicBezTo>
                    <a:pt x="47" y="83"/>
                    <a:pt x="48" y="83"/>
                    <a:pt x="48" y="82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7" y="83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6" y="80"/>
                    <a:pt x="46" y="80"/>
                  </a:cubicBezTo>
                  <a:cubicBezTo>
                    <a:pt x="46" y="80"/>
                    <a:pt x="46" y="80"/>
                    <a:pt x="47" y="80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48" y="79"/>
                  </a:moveTo>
                  <a:cubicBezTo>
                    <a:pt x="48" y="80"/>
                    <a:pt x="48" y="79"/>
                    <a:pt x="47" y="80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46" y="76"/>
                  </a:moveTo>
                  <a:cubicBezTo>
                    <a:pt x="46" y="76"/>
                    <a:pt x="47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lose/>
                  <a:moveTo>
                    <a:pt x="48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0" y="79"/>
                  </a:moveTo>
                  <a:cubicBezTo>
                    <a:pt x="50" y="79"/>
                    <a:pt x="49" y="80"/>
                    <a:pt x="49" y="80"/>
                  </a:cubicBezTo>
                  <a:cubicBezTo>
                    <a:pt x="49" y="79"/>
                    <a:pt x="49" y="79"/>
                    <a:pt x="50" y="79"/>
                  </a:cubicBezTo>
                  <a:close/>
                  <a:moveTo>
                    <a:pt x="49" y="78"/>
                  </a:move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78"/>
                    <a:pt x="49" y="78"/>
                  </a:cubicBezTo>
                  <a:cubicBezTo>
                    <a:pt x="49" y="78"/>
                    <a:pt x="49" y="79"/>
                    <a:pt x="49" y="78"/>
                  </a:cubicBezTo>
                  <a:close/>
                  <a:moveTo>
                    <a:pt x="49" y="80"/>
                  </a:move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79"/>
                    <a:pt x="50" y="80"/>
                    <a:pt x="50" y="79"/>
                  </a:cubicBezTo>
                  <a:cubicBezTo>
                    <a:pt x="50" y="80"/>
                    <a:pt x="50" y="80"/>
                    <a:pt x="49" y="80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1" y="81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0" y="78"/>
                    <a:pt x="49" y="78"/>
                  </a:cubicBezTo>
                  <a:cubicBezTo>
                    <a:pt x="49" y="78"/>
                    <a:pt x="50" y="78"/>
                    <a:pt x="50" y="78"/>
                  </a:cubicBezTo>
                  <a:cubicBezTo>
                    <a:pt x="50" y="78"/>
                    <a:pt x="50" y="78"/>
                    <a:pt x="51" y="78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2"/>
                  </a:cubicBezTo>
                  <a:cubicBezTo>
                    <a:pt x="53" y="82"/>
                    <a:pt x="52" y="83"/>
                    <a:pt x="53" y="82"/>
                  </a:cubicBezTo>
                  <a:cubicBezTo>
                    <a:pt x="53" y="83"/>
                    <a:pt x="52" y="83"/>
                    <a:pt x="52" y="83"/>
                  </a:cubicBezTo>
                  <a:close/>
                  <a:moveTo>
                    <a:pt x="5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51" y="79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2" y="78"/>
                    <a:pt x="51" y="78"/>
                    <a:pt x="51" y="79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1" y="77"/>
                  </a:moveTo>
                  <a:cubicBezTo>
                    <a:pt x="52" y="77"/>
                    <a:pt x="51" y="78"/>
                    <a:pt x="51" y="78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54" y="82"/>
                  </a:moveTo>
                  <a:cubicBezTo>
                    <a:pt x="53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4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4" y="80"/>
                    <a:pt x="54" y="80"/>
                  </a:cubicBezTo>
                  <a:close/>
                  <a:moveTo>
                    <a:pt x="52" y="78"/>
                  </a:move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4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2" y="78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5" y="80"/>
                    <a:pt x="55" y="80"/>
                  </a:cubicBezTo>
                  <a:cubicBezTo>
                    <a:pt x="55" y="80"/>
                    <a:pt x="55" y="81"/>
                    <a:pt x="54" y="81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2"/>
                    <a:pt x="51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3"/>
                    <a:pt x="51" y="72"/>
                    <a:pt x="51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4" y="79"/>
                    <a:pt x="54" y="79"/>
                  </a:cubicBezTo>
                  <a:cubicBezTo>
                    <a:pt x="54" y="79"/>
                    <a:pt x="55" y="79"/>
                    <a:pt x="54" y="79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4" y="77"/>
                  </a:moveTo>
                  <a:cubicBezTo>
                    <a:pt x="54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lose/>
                  <a:moveTo>
                    <a:pt x="52" y="71"/>
                  </a:move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2" y="71"/>
                    <a:pt x="52" y="71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5" y="79"/>
                    <a:pt x="55" y="78"/>
                  </a:cubicBezTo>
                  <a:cubicBezTo>
                    <a:pt x="55" y="78"/>
                    <a:pt x="56" y="78"/>
                    <a:pt x="56" y="78"/>
                  </a:cubicBezTo>
                  <a:close/>
                  <a:moveTo>
                    <a:pt x="56" y="77"/>
                  </a:moveTo>
                  <a:cubicBezTo>
                    <a:pt x="56" y="77"/>
                    <a:pt x="55" y="77"/>
                    <a:pt x="55" y="78"/>
                  </a:cubicBezTo>
                  <a:cubicBezTo>
                    <a:pt x="55" y="77"/>
                    <a:pt x="56" y="77"/>
                    <a:pt x="56" y="77"/>
                  </a:cubicBezTo>
                  <a:close/>
                  <a:moveTo>
                    <a:pt x="54" y="75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4" y="75"/>
                  </a:cubicBezTo>
                  <a:close/>
                  <a:moveTo>
                    <a:pt x="52" y="72"/>
                  </a:move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2"/>
                    <a:pt x="52" y="72"/>
                  </a:cubicBezTo>
                  <a:close/>
                  <a:moveTo>
                    <a:pt x="56" y="78"/>
                  </a:moveTo>
                  <a:cubicBezTo>
                    <a:pt x="57" y="78"/>
                    <a:pt x="57" y="78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lnTo>
                    <a:pt x="56" y="78"/>
                  </a:lnTo>
                  <a:close/>
                  <a:moveTo>
                    <a:pt x="59" y="82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1"/>
                    <a:pt x="59" y="82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3" y="71"/>
                  </a:move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54" y="71"/>
                  </a:move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5" y="70"/>
                  </a:cubicBezTo>
                  <a:cubicBezTo>
                    <a:pt x="55" y="71"/>
                    <a:pt x="54" y="71"/>
                    <a:pt x="54" y="7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7"/>
                    <a:pt x="57" y="78"/>
                  </a:cubicBezTo>
                  <a:cubicBezTo>
                    <a:pt x="57" y="77"/>
                    <a:pt x="58" y="77"/>
                    <a:pt x="58" y="77"/>
                  </a:cubicBezTo>
                  <a:close/>
                  <a:moveTo>
                    <a:pt x="53" y="71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3" y="71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7"/>
                    <a:pt x="58" y="77"/>
                  </a:cubicBezTo>
                  <a:cubicBezTo>
                    <a:pt x="58" y="77"/>
                    <a:pt x="58" y="77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58" y="75"/>
                  </a:move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7" y="76"/>
                    <a:pt x="57" y="75"/>
                  </a:cubicBezTo>
                  <a:cubicBezTo>
                    <a:pt x="58" y="75"/>
                    <a:pt x="58" y="74"/>
                    <a:pt x="59" y="74"/>
                  </a:cubicBezTo>
                  <a:cubicBezTo>
                    <a:pt x="59" y="74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lose/>
                  <a:moveTo>
                    <a:pt x="54" y="70"/>
                  </a:moveTo>
                  <a:cubicBezTo>
                    <a:pt x="54" y="70"/>
                    <a:pt x="55" y="70"/>
                    <a:pt x="54" y="70"/>
                  </a:cubicBezTo>
                  <a:cubicBezTo>
                    <a:pt x="55" y="69"/>
                    <a:pt x="55" y="70"/>
                    <a:pt x="54" y="70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7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7" y="71"/>
                    <a:pt x="56" y="71"/>
                    <a:pt x="56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1"/>
                    <a:pt x="56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6" y="71"/>
                    <a:pt x="56" y="72"/>
                    <a:pt x="56" y="72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6" y="70"/>
                    <a:pt x="56" y="69"/>
                  </a:cubicBezTo>
                  <a:cubicBezTo>
                    <a:pt x="56" y="69"/>
                    <a:pt x="56" y="69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5" y="70"/>
                  </a:moveTo>
                  <a:cubicBezTo>
                    <a:pt x="55" y="69"/>
                    <a:pt x="55" y="69"/>
                    <a:pt x="56" y="69"/>
                  </a:cubicBezTo>
                  <a:cubicBezTo>
                    <a:pt x="56" y="69"/>
                    <a:pt x="55" y="69"/>
                    <a:pt x="55" y="69"/>
                  </a:cubicBezTo>
                  <a:cubicBezTo>
                    <a:pt x="55" y="70"/>
                    <a:pt x="55" y="69"/>
                    <a:pt x="55" y="70"/>
                  </a:cubicBezTo>
                  <a:close/>
                  <a:moveTo>
                    <a:pt x="60" y="77"/>
                  </a:move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lose/>
                  <a:moveTo>
                    <a:pt x="62" y="80"/>
                  </a:moveTo>
                  <a:cubicBezTo>
                    <a:pt x="62" y="80"/>
                    <a:pt x="61" y="80"/>
                    <a:pt x="62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lose/>
                  <a:moveTo>
                    <a:pt x="60" y="76"/>
                  </a:move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lose/>
                  <a:moveTo>
                    <a:pt x="5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57" y="70"/>
                    <a:pt x="58" y="70"/>
                    <a:pt x="59" y="70"/>
                  </a:cubicBezTo>
                  <a:cubicBezTo>
                    <a:pt x="59" y="70"/>
                    <a:pt x="58" y="70"/>
                    <a:pt x="57" y="71"/>
                  </a:cubicBezTo>
                  <a:cubicBezTo>
                    <a:pt x="57" y="71"/>
                    <a:pt x="58" y="71"/>
                    <a:pt x="57" y="71"/>
                  </a:cubicBezTo>
                  <a:cubicBezTo>
                    <a:pt x="57" y="71"/>
                    <a:pt x="57" y="71"/>
                    <a:pt x="57" y="71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60" y="75"/>
                  </a:moveTo>
                  <a:cubicBezTo>
                    <a:pt x="59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lose/>
                  <a:moveTo>
                    <a:pt x="61" y="76"/>
                  </a:move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lose/>
                  <a:moveTo>
                    <a:pt x="62" y="75"/>
                  </a:moveTo>
                  <a:cubicBezTo>
                    <a:pt x="62" y="75"/>
                    <a:pt x="60" y="76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2" y="75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5"/>
                  </a:cubicBezTo>
                  <a:close/>
                  <a:moveTo>
                    <a:pt x="59" y="71"/>
                  </a:move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59" y="71"/>
                    <a:pt x="59" y="71"/>
                  </a:cubicBezTo>
                  <a:close/>
                  <a:moveTo>
                    <a:pt x="61" y="75"/>
                  </a:moveTo>
                  <a:cubicBezTo>
                    <a:pt x="61" y="75"/>
                    <a:pt x="61" y="75"/>
                    <a:pt x="61" y="74"/>
                  </a:cubicBezTo>
                  <a:cubicBezTo>
                    <a:pt x="61" y="74"/>
                    <a:pt x="61" y="75"/>
                    <a:pt x="62" y="75"/>
                  </a:cubicBezTo>
                  <a:cubicBezTo>
                    <a:pt x="61" y="75"/>
                    <a:pt x="61" y="75"/>
                    <a:pt x="61" y="75"/>
                  </a:cubicBezTo>
                  <a:close/>
                  <a:moveTo>
                    <a:pt x="63" y="75"/>
                  </a:moveTo>
                  <a:cubicBezTo>
                    <a:pt x="63" y="75"/>
                    <a:pt x="63" y="75"/>
                    <a:pt x="63" y="75"/>
                  </a:cubicBezTo>
                  <a:cubicBezTo>
                    <a:pt x="64" y="75"/>
                    <a:pt x="64" y="75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5" y="74"/>
                    <a:pt x="65" y="74"/>
                  </a:cubicBezTo>
                  <a:cubicBezTo>
                    <a:pt x="66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6"/>
                  </a:cubicBezTo>
                  <a:cubicBezTo>
                    <a:pt x="62" y="75"/>
                    <a:pt x="63" y="75"/>
                    <a:pt x="63" y="75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lose/>
                  <a:moveTo>
                    <a:pt x="61" y="73"/>
                  </a:moveTo>
                  <a:cubicBezTo>
                    <a:pt x="62" y="73"/>
                    <a:pt x="62" y="72"/>
                    <a:pt x="62" y="72"/>
                  </a:cubicBezTo>
                  <a:cubicBezTo>
                    <a:pt x="62" y="73"/>
                    <a:pt x="62" y="73"/>
                    <a:pt x="61" y="73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lose/>
                  <a:moveTo>
                    <a:pt x="61" y="70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2" y="70"/>
                  </a:cubicBezTo>
                  <a:cubicBezTo>
                    <a:pt x="62" y="70"/>
                    <a:pt x="61" y="70"/>
                    <a:pt x="61" y="70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60" y="67"/>
                  </a:cubicBezTo>
                  <a:cubicBezTo>
                    <a:pt x="60" y="67"/>
                    <a:pt x="60" y="67"/>
                    <a:pt x="59" y="67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lose/>
                  <a:moveTo>
                    <a:pt x="61" y="66"/>
                  </a:move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61" y="66"/>
                    <a:pt x="60" y="67"/>
                  </a:cubicBezTo>
                  <a:cubicBezTo>
                    <a:pt x="60" y="66"/>
                    <a:pt x="61" y="66"/>
                    <a:pt x="61" y="66"/>
                  </a:cubicBezTo>
                  <a:close/>
                  <a:moveTo>
                    <a:pt x="66" y="77"/>
                  </a:moveTo>
                  <a:cubicBezTo>
                    <a:pt x="66" y="77"/>
                    <a:pt x="67" y="76"/>
                    <a:pt x="67" y="76"/>
                  </a:cubicBezTo>
                  <a:cubicBezTo>
                    <a:pt x="67" y="77"/>
                    <a:pt x="67" y="77"/>
                    <a:pt x="66" y="77"/>
                  </a:cubicBezTo>
                  <a:close/>
                  <a:moveTo>
                    <a:pt x="66" y="73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6" y="73"/>
                    <a:pt x="66" y="73"/>
                  </a:cubicBezTo>
                  <a:close/>
                  <a:moveTo>
                    <a:pt x="66" y="74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8" y="73"/>
                    <a:pt x="68" y="73"/>
                  </a:cubicBezTo>
                  <a:cubicBezTo>
                    <a:pt x="67" y="73"/>
                    <a:pt x="67" y="73"/>
                    <a:pt x="66" y="74"/>
                  </a:cubicBezTo>
                  <a:close/>
                  <a:moveTo>
                    <a:pt x="63" y="69"/>
                  </a:moveTo>
                  <a:cubicBezTo>
                    <a:pt x="64" y="69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9"/>
                    <a:pt x="64" y="69"/>
                    <a:pt x="63" y="69"/>
                  </a:cubicBezTo>
                  <a:close/>
                  <a:moveTo>
                    <a:pt x="66" y="70"/>
                  </a:move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70"/>
                    <a:pt x="66" y="70"/>
                  </a:cubicBezTo>
                  <a:close/>
                  <a:moveTo>
                    <a:pt x="67" y="72"/>
                  </a:moveTo>
                  <a:cubicBezTo>
                    <a:pt x="67" y="72"/>
                    <a:pt x="67" y="73"/>
                    <a:pt x="67" y="73"/>
                  </a:cubicBezTo>
                  <a:cubicBezTo>
                    <a:pt x="67" y="72"/>
                    <a:pt x="67" y="72"/>
                    <a:pt x="67" y="72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4" y="68"/>
                  </a:cubicBezTo>
                  <a:cubicBezTo>
                    <a:pt x="64" y="68"/>
                    <a:pt x="65" y="68"/>
                    <a:pt x="65" y="68"/>
                  </a:cubicBezTo>
                  <a:close/>
                  <a:moveTo>
                    <a:pt x="68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lose/>
                  <a:moveTo>
                    <a:pt x="66" y="69"/>
                  </a:moveTo>
                  <a:cubicBezTo>
                    <a:pt x="66" y="69"/>
                    <a:pt x="66" y="69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lose/>
                  <a:moveTo>
                    <a:pt x="67" y="71"/>
                  </a:moveTo>
                  <a:cubicBezTo>
                    <a:pt x="67" y="71"/>
                    <a:pt x="68" y="70"/>
                    <a:pt x="68" y="71"/>
                  </a:cubicBezTo>
                  <a:cubicBezTo>
                    <a:pt x="68" y="71"/>
                    <a:pt x="67" y="71"/>
                    <a:pt x="67" y="71"/>
                  </a:cubicBezTo>
                  <a:close/>
                  <a:moveTo>
                    <a:pt x="68" y="71"/>
                  </a:moveTo>
                  <a:cubicBezTo>
                    <a:pt x="68" y="71"/>
                    <a:pt x="68" y="71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lose/>
                  <a:moveTo>
                    <a:pt x="70" y="73"/>
                  </a:moveTo>
                  <a:cubicBezTo>
                    <a:pt x="70" y="74"/>
                    <a:pt x="70" y="74"/>
                    <a:pt x="69" y="74"/>
                  </a:cubicBezTo>
                  <a:cubicBezTo>
                    <a:pt x="69" y="74"/>
                    <a:pt x="70" y="74"/>
                    <a:pt x="70" y="73"/>
                  </a:cubicBezTo>
                  <a:close/>
                  <a:moveTo>
                    <a:pt x="66" y="67"/>
                  </a:moveTo>
                  <a:cubicBezTo>
                    <a:pt x="66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5" y="6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lose/>
                  <a:moveTo>
                    <a:pt x="67" y="68"/>
                  </a:moveTo>
                  <a:cubicBezTo>
                    <a:pt x="67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9" y="67"/>
                    <a:pt x="69" y="68"/>
                  </a:cubicBezTo>
                  <a:cubicBezTo>
                    <a:pt x="69" y="68"/>
                    <a:pt x="69" y="67"/>
                    <a:pt x="69" y="68"/>
                  </a:cubicBezTo>
                  <a:cubicBezTo>
                    <a:pt x="69" y="67"/>
                    <a:pt x="69" y="68"/>
                    <a:pt x="69" y="67"/>
                  </a:cubicBezTo>
                  <a:cubicBezTo>
                    <a:pt x="69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6" y="67"/>
                  </a:moveTo>
                  <a:cubicBezTo>
                    <a:pt x="67" y="67"/>
                    <a:pt x="67" y="67"/>
                    <a:pt x="67" y="6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6"/>
                    <a:pt x="67" y="67"/>
                    <a:pt x="67" y="67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8"/>
                    <a:pt x="67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lose/>
                  <a:moveTo>
                    <a:pt x="67" y="65"/>
                  </a:move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8" y="65"/>
                    <a:pt x="68" y="65"/>
                  </a:cubicBezTo>
                  <a:cubicBezTo>
                    <a:pt x="68" y="65"/>
                    <a:pt x="67" y="65"/>
                    <a:pt x="67" y="65"/>
                  </a:cubicBezTo>
                  <a:close/>
                  <a:moveTo>
                    <a:pt x="70" y="71"/>
                  </a:moveTo>
                  <a:cubicBezTo>
                    <a:pt x="70" y="71"/>
                    <a:pt x="70" y="71"/>
                    <a:pt x="71" y="70"/>
                  </a:cubicBezTo>
                  <a:cubicBezTo>
                    <a:pt x="71" y="71"/>
                    <a:pt x="70" y="71"/>
                    <a:pt x="70" y="71"/>
                  </a:cubicBezTo>
                  <a:close/>
                  <a:moveTo>
                    <a:pt x="69" y="68"/>
                  </a:moveTo>
                  <a:cubicBezTo>
                    <a:pt x="69" y="68"/>
                    <a:pt x="69" y="68"/>
                    <a:pt x="70" y="68"/>
                  </a:cubicBezTo>
                  <a:cubicBezTo>
                    <a:pt x="70" y="68"/>
                    <a:pt x="69" y="68"/>
                    <a:pt x="69" y="68"/>
                  </a:cubicBezTo>
                  <a:close/>
                  <a:moveTo>
                    <a:pt x="68" y="67"/>
                  </a:moveTo>
                  <a:cubicBezTo>
                    <a:pt x="68" y="67"/>
                    <a:pt x="69" y="66"/>
                    <a:pt x="69" y="67"/>
                  </a:cubicBezTo>
                  <a:cubicBezTo>
                    <a:pt x="69" y="67"/>
                    <a:pt x="69" y="67"/>
                    <a:pt x="68" y="67"/>
                  </a:cubicBezTo>
                  <a:close/>
                  <a:moveTo>
                    <a:pt x="70" y="68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0" y="68"/>
                    <a:pt x="70" y="68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8" y="64"/>
                  </a:moveTo>
                  <a:cubicBezTo>
                    <a:pt x="68" y="65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68" y="62"/>
                  </a:moveTo>
                  <a:cubicBezTo>
                    <a:pt x="69" y="61"/>
                    <a:pt x="70" y="61"/>
                    <a:pt x="70" y="61"/>
                  </a:cubicBezTo>
                  <a:cubicBezTo>
                    <a:pt x="69" y="61"/>
                    <a:pt x="68" y="62"/>
                    <a:pt x="67" y="62"/>
                  </a:cubicBezTo>
                  <a:cubicBezTo>
                    <a:pt x="68" y="62"/>
                    <a:pt x="68" y="62"/>
                    <a:pt x="68" y="62"/>
                  </a:cubicBezTo>
                  <a:close/>
                  <a:moveTo>
                    <a:pt x="73" y="69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3" y="69"/>
                    <a:pt x="73" y="69"/>
                  </a:cubicBezTo>
                  <a:close/>
                  <a:moveTo>
                    <a:pt x="69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69" y="65"/>
                  </a:cubicBezTo>
                  <a:cubicBezTo>
                    <a:pt x="69" y="64"/>
                    <a:pt x="70" y="64"/>
                    <a:pt x="69" y="64"/>
                  </a:cubicBezTo>
                  <a:close/>
                  <a:moveTo>
                    <a:pt x="72" y="68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3" y="67"/>
                    <a:pt x="73" y="67"/>
                  </a:cubicBezTo>
                  <a:cubicBezTo>
                    <a:pt x="73" y="67"/>
                    <a:pt x="73" y="67"/>
                    <a:pt x="72" y="68"/>
                  </a:cubicBez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lose/>
                  <a:moveTo>
                    <a:pt x="72" y="59"/>
                  </a:moveTo>
                  <a:cubicBezTo>
                    <a:pt x="72" y="60"/>
                    <a:pt x="71" y="60"/>
                    <a:pt x="72" y="59"/>
                  </a:cubicBezTo>
                  <a:close/>
                  <a:moveTo>
                    <a:pt x="74" y="63"/>
                  </a:move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76" y="65"/>
                  </a:moveTo>
                  <a:cubicBezTo>
                    <a:pt x="75" y="65"/>
                    <a:pt x="75" y="65"/>
                    <a:pt x="75" y="65"/>
                  </a:cubicBezTo>
                  <a:cubicBezTo>
                    <a:pt x="75" y="65"/>
                    <a:pt x="75" y="65"/>
                    <a:pt x="76" y="65"/>
                  </a:cubicBezTo>
                  <a:close/>
                  <a:moveTo>
                    <a:pt x="74" y="62"/>
                  </a:moveTo>
                  <a:cubicBezTo>
                    <a:pt x="73" y="62"/>
                    <a:pt x="74" y="61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lose/>
                  <a:moveTo>
                    <a:pt x="77" y="66"/>
                  </a:moveTo>
                  <a:cubicBezTo>
                    <a:pt x="77" y="66"/>
                    <a:pt x="76" y="67"/>
                    <a:pt x="76" y="67"/>
                  </a:cubicBezTo>
                  <a:cubicBezTo>
                    <a:pt x="76" y="67"/>
                    <a:pt x="76" y="66"/>
                    <a:pt x="77" y="66"/>
                  </a:cubicBezTo>
                  <a:close/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77" y="64"/>
                    <a:pt x="76" y="64"/>
                    <a:pt x="76" y="64"/>
                  </a:cubicBezTo>
                  <a:cubicBezTo>
                    <a:pt x="76" y="64"/>
                    <a:pt x="76" y="65"/>
                    <a:pt x="75" y="65"/>
                  </a:cubicBezTo>
                  <a:cubicBezTo>
                    <a:pt x="75" y="64"/>
                    <a:pt x="76" y="64"/>
                    <a:pt x="77" y="64"/>
                  </a:cubicBezTo>
                  <a:close/>
                  <a:moveTo>
                    <a:pt x="77" y="65"/>
                  </a:move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7" y="65"/>
                  </a:cubicBezTo>
                  <a:close/>
                  <a:moveTo>
                    <a:pt x="75" y="63"/>
                  </a:moveTo>
                  <a:cubicBezTo>
                    <a:pt x="75" y="62"/>
                    <a:pt x="75" y="62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lose/>
                  <a:moveTo>
                    <a:pt x="75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6" y="62"/>
                    <a:pt x="75" y="62"/>
                  </a:cubicBezTo>
                  <a:close/>
                  <a:moveTo>
                    <a:pt x="76" y="63"/>
                  </a:move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3"/>
                    <a:pt x="76" y="63"/>
                  </a:cubicBezTo>
                  <a:close/>
                  <a:moveTo>
                    <a:pt x="74" y="58"/>
                  </a:move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9" y="68"/>
                  </a:moveTo>
                  <a:cubicBezTo>
                    <a:pt x="79" y="68"/>
                    <a:pt x="80" y="68"/>
                    <a:pt x="80" y="68"/>
                  </a:cubicBezTo>
                  <a:cubicBezTo>
                    <a:pt x="80" y="68"/>
                    <a:pt x="80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lose/>
                  <a:moveTo>
                    <a:pt x="76" y="62"/>
                  </a:moveTo>
                  <a:cubicBezTo>
                    <a:pt x="76" y="62"/>
                    <a:pt x="76" y="62"/>
                    <a:pt x="76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6" y="62"/>
                    <a:pt x="76" y="62"/>
                  </a:cubicBezTo>
                  <a:cubicBezTo>
                    <a:pt x="76" y="63"/>
                    <a:pt x="76" y="62"/>
                    <a:pt x="76" y="62"/>
                  </a:cubicBezTo>
                  <a:close/>
                  <a:moveTo>
                    <a:pt x="79" y="66"/>
                  </a:moveTo>
                  <a:cubicBezTo>
                    <a:pt x="79" y="66"/>
                    <a:pt x="79" y="66"/>
                    <a:pt x="79" y="66"/>
                  </a:cubicBezTo>
                  <a:cubicBezTo>
                    <a:pt x="79" y="66"/>
                    <a:pt x="79" y="66"/>
                    <a:pt x="78" y="66"/>
                  </a:cubicBezTo>
                  <a:cubicBezTo>
                    <a:pt x="79" y="66"/>
                    <a:pt x="78" y="66"/>
                    <a:pt x="79" y="66"/>
                  </a:cubicBezTo>
                  <a:close/>
                  <a:moveTo>
                    <a:pt x="78" y="65"/>
                  </a:moveTo>
                  <a:cubicBezTo>
                    <a:pt x="78" y="64"/>
                    <a:pt x="78" y="64"/>
                    <a:pt x="78" y="64"/>
                  </a:cubicBezTo>
                  <a:cubicBezTo>
                    <a:pt x="78" y="65"/>
                    <a:pt x="78" y="65"/>
                    <a:pt x="78" y="65"/>
                  </a:cubicBezTo>
                  <a:close/>
                  <a:moveTo>
                    <a:pt x="75" y="59"/>
                  </a:moveTo>
                  <a:cubicBezTo>
                    <a:pt x="75" y="59"/>
                    <a:pt x="76" y="59"/>
                    <a:pt x="76" y="59"/>
                  </a:cubicBezTo>
                  <a:cubicBezTo>
                    <a:pt x="76" y="59"/>
                    <a:pt x="76" y="59"/>
                    <a:pt x="75" y="59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lose/>
                  <a:moveTo>
                    <a:pt x="78" y="6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lose/>
                  <a:moveTo>
                    <a:pt x="81" y="66"/>
                  </a:move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1" y="66"/>
                  </a:cubicBezTo>
                  <a:close/>
                  <a:moveTo>
                    <a:pt x="76" y="59"/>
                  </a:move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6" y="58"/>
                    <a:pt x="76" y="59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lose/>
                  <a:moveTo>
                    <a:pt x="81" y="68"/>
                  </a:moveTo>
                  <a:cubicBezTo>
                    <a:pt x="82" y="68"/>
                    <a:pt x="82" y="68"/>
                    <a:pt x="82" y="67"/>
                  </a:cubicBezTo>
                  <a:cubicBezTo>
                    <a:pt x="82" y="68"/>
                    <a:pt x="82" y="68"/>
                    <a:pt x="81" y="68"/>
                  </a:cubicBezTo>
                  <a:cubicBezTo>
                    <a:pt x="82" y="68"/>
                    <a:pt x="81" y="68"/>
                    <a:pt x="81" y="68"/>
                  </a:cubicBezTo>
                  <a:close/>
                  <a:moveTo>
                    <a:pt x="83" y="66"/>
                  </a:moveTo>
                  <a:cubicBezTo>
                    <a:pt x="83" y="66"/>
                    <a:pt x="84" y="65"/>
                    <a:pt x="85" y="65"/>
                  </a:cubicBezTo>
                  <a:cubicBezTo>
                    <a:pt x="84" y="66"/>
                    <a:pt x="83" y="66"/>
                    <a:pt x="82" y="67"/>
                  </a:cubicBezTo>
                  <a:cubicBezTo>
                    <a:pt x="82" y="67"/>
                    <a:pt x="82" y="67"/>
                    <a:pt x="81" y="67"/>
                  </a:cubicBezTo>
                  <a:cubicBezTo>
                    <a:pt x="82" y="67"/>
                    <a:pt x="82" y="67"/>
                    <a:pt x="83" y="66"/>
                  </a:cubicBezTo>
                  <a:close/>
                  <a:moveTo>
                    <a:pt x="80" y="64"/>
                  </a:move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lose/>
                  <a:moveTo>
                    <a:pt x="80" y="64"/>
                  </a:moveTo>
                  <a:cubicBezTo>
                    <a:pt x="79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4"/>
                  </a:cubicBezTo>
                  <a:close/>
                  <a:moveTo>
                    <a:pt x="82" y="67"/>
                  </a:moveTo>
                  <a:cubicBezTo>
                    <a:pt x="82" y="67"/>
                    <a:pt x="82" y="67"/>
                    <a:pt x="82" y="67"/>
                  </a:cubicBezTo>
                  <a:cubicBezTo>
                    <a:pt x="83" y="67"/>
                    <a:pt x="82" y="68"/>
                    <a:pt x="82" y="67"/>
                  </a:cubicBezTo>
                  <a:close/>
                  <a:moveTo>
                    <a:pt x="81" y="65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5"/>
                    <a:pt x="81" y="65"/>
                  </a:cubicBezTo>
                  <a:cubicBezTo>
                    <a:pt x="81" y="65"/>
                    <a:pt x="81" y="64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lnTo>
                    <a:pt x="81" y="64"/>
                  </a:lnTo>
                  <a:close/>
                  <a:moveTo>
                    <a:pt x="83" y="66"/>
                  </a:moveTo>
                  <a:cubicBezTo>
                    <a:pt x="82" y="66"/>
                    <a:pt x="82" y="66"/>
                    <a:pt x="82" y="67"/>
                  </a:cubicBezTo>
                  <a:cubicBezTo>
                    <a:pt x="82" y="67"/>
                    <a:pt x="82" y="66"/>
                    <a:pt x="82" y="66"/>
                  </a:cubicBezTo>
                  <a:cubicBezTo>
                    <a:pt x="82" y="66"/>
                    <a:pt x="83" y="66"/>
                    <a:pt x="83" y="66"/>
                  </a:cubicBezTo>
                  <a:close/>
                  <a:moveTo>
                    <a:pt x="82" y="66"/>
                  </a:move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lose/>
                  <a:moveTo>
                    <a:pt x="80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lose/>
                  <a:moveTo>
                    <a:pt x="79" y="61"/>
                  </a:moveTo>
                  <a:cubicBezTo>
                    <a:pt x="79" y="61"/>
                    <a:pt x="79" y="61"/>
                    <a:pt x="79" y="60"/>
                  </a:cubicBezTo>
                  <a:cubicBezTo>
                    <a:pt x="80" y="61"/>
                    <a:pt x="79" y="61"/>
                    <a:pt x="79" y="61"/>
                  </a:cubicBezTo>
                  <a:close/>
                  <a:moveTo>
                    <a:pt x="80" y="61"/>
                  </a:move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80" y="60"/>
                    <a:pt x="80" y="61"/>
                  </a:cubicBezTo>
                  <a:close/>
                  <a:moveTo>
                    <a:pt x="81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lose/>
                  <a:moveTo>
                    <a:pt x="81" y="62"/>
                  </a:move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lose/>
                  <a:moveTo>
                    <a:pt x="80" y="61"/>
                  </a:moveTo>
                  <a:cubicBezTo>
                    <a:pt x="80" y="61"/>
                    <a:pt x="81" y="61"/>
                    <a:pt x="81" y="61"/>
                  </a:cubicBezTo>
                  <a:cubicBezTo>
                    <a:pt x="81" y="61"/>
                    <a:pt x="80" y="61"/>
                    <a:pt x="80" y="61"/>
                  </a:cubicBezTo>
                  <a:close/>
                  <a:moveTo>
                    <a:pt x="80" y="61"/>
                  </a:moveTo>
                  <a:cubicBezTo>
                    <a:pt x="80" y="61"/>
                    <a:pt x="80" y="60"/>
                    <a:pt x="80" y="60"/>
                  </a:cubicBezTo>
                  <a:cubicBezTo>
                    <a:pt x="80" y="60"/>
                    <a:pt x="80" y="60"/>
                    <a:pt x="80" y="61"/>
                  </a:cubicBezTo>
                  <a:close/>
                  <a:moveTo>
                    <a:pt x="83" y="65"/>
                  </a:moveTo>
                  <a:cubicBezTo>
                    <a:pt x="83" y="66"/>
                    <a:pt x="83" y="66"/>
                    <a:pt x="83" y="66"/>
                  </a:cubicBezTo>
                  <a:cubicBezTo>
                    <a:pt x="83" y="66"/>
                    <a:pt x="83" y="65"/>
                    <a:pt x="83" y="65"/>
                  </a:cubicBezTo>
                  <a:close/>
                  <a:moveTo>
                    <a:pt x="83" y="65"/>
                  </a:moveTo>
                  <a:cubicBezTo>
                    <a:pt x="83" y="65"/>
                    <a:pt x="83" y="65"/>
                    <a:pt x="84" y="65"/>
                  </a:cubicBezTo>
                  <a:cubicBezTo>
                    <a:pt x="84" y="65"/>
                    <a:pt x="83" y="65"/>
                    <a:pt x="83" y="65"/>
                  </a:cubicBezTo>
                  <a:close/>
                  <a:moveTo>
                    <a:pt x="82" y="61"/>
                  </a:move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1"/>
                    <a:pt x="82" y="61"/>
                  </a:cubicBezTo>
                  <a:close/>
                  <a:moveTo>
                    <a:pt x="84" y="63"/>
                  </a:moveTo>
                  <a:cubicBezTo>
                    <a:pt x="83" y="64"/>
                    <a:pt x="84" y="64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3"/>
                    <a:pt x="84" y="63"/>
                    <a:pt x="84" y="63"/>
                  </a:cubicBezTo>
                  <a:cubicBezTo>
                    <a:pt x="84" y="63"/>
                    <a:pt x="85" y="63"/>
                    <a:pt x="85" y="63"/>
                  </a:cubicBezTo>
                  <a:cubicBezTo>
                    <a:pt x="84" y="63"/>
                    <a:pt x="84" y="64"/>
                    <a:pt x="83" y="64"/>
                  </a:cubicBezTo>
                  <a:cubicBezTo>
                    <a:pt x="83" y="64"/>
                    <a:pt x="84" y="64"/>
                    <a:pt x="84" y="63"/>
                  </a:cubicBezTo>
                  <a:close/>
                  <a:moveTo>
                    <a:pt x="84" y="63"/>
                  </a:move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lose/>
                  <a:moveTo>
                    <a:pt x="82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lose/>
                  <a:moveTo>
                    <a:pt x="84" y="64"/>
                  </a:moveTo>
                  <a:cubicBezTo>
                    <a:pt x="84" y="64"/>
                    <a:pt x="85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lose/>
                  <a:moveTo>
                    <a:pt x="82" y="59"/>
                  </a:moveTo>
                  <a:cubicBezTo>
                    <a:pt x="82" y="59"/>
                    <a:pt x="82" y="59"/>
                    <a:pt x="81" y="59"/>
                  </a:cubicBezTo>
                  <a:cubicBezTo>
                    <a:pt x="81" y="59"/>
                    <a:pt x="82" y="59"/>
                    <a:pt x="82" y="59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8"/>
                  </a:cubicBezTo>
                  <a:cubicBezTo>
                    <a:pt x="81" y="58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8"/>
                    <a:pt x="81" y="58"/>
                    <a:pt x="81" y="58"/>
                  </a:cubicBezTo>
                  <a:cubicBezTo>
                    <a:pt x="81" y="58"/>
                    <a:pt x="81" y="58"/>
                    <a:pt x="80" y="58"/>
                  </a:cubicBezTo>
                  <a:cubicBezTo>
                    <a:pt x="80" y="58"/>
                    <a:pt x="81" y="58"/>
                    <a:pt x="81" y="58"/>
                  </a:cubicBezTo>
                  <a:cubicBezTo>
                    <a:pt x="80" y="58"/>
                    <a:pt x="80" y="58"/>
                    <a:pt x="79" y="59"/>
                  </a:cubicBezTo>
                  <a:cubicBezTo>
                    <a:pt x="80" y="58"/>
                    <a:pt x="79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59"/>
                    <a:pt x="80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7"/>
                    <a:pt x="81" y="57"/>
                  </a:cubicBezTo>
                  <a:cubicBezTo>
                    <a:pt x="81" y="57"/>
                    <a:pt x="81" y="58"/>
                    <a:pt x="81" y="57"/>
                  </a:cubicBezTo>
                  <a:close/>
                  <a:moveTo>
                    <a:pt x="86" y="64"/>
                  </a:move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6" y="65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lose/>
                  <a:moveTo>
                    <a:pt x="86" y="64"/>
                  </a:moveTo>
                  <a:cubicBezTo>
                    <a:pt x="86" y="65"/>
                    <a:pt x="86" y="64"/>
                    <a:pt x="86" y="64"/>
                  </a:cubicBezTo>
                  <a:cubicBezTo>
                    <a:pt x="86" y="64"/>
                    <a:pt x="86" y="64"/>
                    <a:pt x="85" y="65"/>
                  </a:cubicBezTo>
                  <a:cubicBezTo>
                    <a:pt x="85" y="65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4" y="61"/>
                  </a:moveTo>
                  <a:cubicBezTo>
                    <a:pt x="85" y="61"/>
                    <a:pt x="84" y="61"/>
                    <a:pt x="84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4" y="62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83" y="58"/>
                  </a:moveTo>
                  <a:cubicBezTo>
                    <a:pt x="83" y="57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2" y="58"/>
                    <a:pt x="82" y="58"/>
                  </a:cubicBezTo>
                  <a:cubicBezTo>
                    <a:pt x="83" y="58"/>
                    <a:pt x="82" y="58"/>
                    <a:pt x="83" y="58"/>
                  </a:cubicBezTo>
                  <a:cubicBezTo>
                    <a:pt x="83" y="57"/>
                    <a:pt x="83" y="57"/>
                    <a:pt x="84" y="57"/>
                  </a:cubicBezTo>
                  <a:cubicBezTo>
                    <a:pt x="83" y="58"/>
                    <a:pt x="83" y="57"/>
                    <a:pt x="83" y="58"/>
                  </a:cubicBezTo>
                  <a:close/>
                  <a:moveTo>
                    <a:pt x="84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9"/>
                    <a:pt x="84" y="60"/>
                    <a:pt x="84" y="60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lose/>
                  <a:moveTo>
                    <a:pt x="87" y="64"/>
                  </a:move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7" y="63"/>
                    <a:pt x="87" y="64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7" y="62"/>
                    <a:pt x="86" y="62"/>
                  </a:cubicBezTo>
                  <a:close/>
                  <a:moveTo>
                    <a:pt x="86" y="58"/>
                  </a:move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9"/>
                    <a:pt x="85" y="58"/>
                  </a:cubicBezTo>
                  <a:cubicBezTo>
                    <a:pt x="85" y="59"/>
                    <a:pt x="86" y="58"/>
                    <a:pt x="86" y="58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8" y="63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lose/>
                  <a:moveTo>
                    <a:pt x="85" y="57"/>
                  </a:move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5" y="57"/>
                    <a:pt x="85" y="57"/>
                  </a:cubicBezTo>
                  <a:close/>
                  <a:moveTo>
                    <a:pt x="86" y="58"/>
                  </a:move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7" y="58"/>
                    <a:pt x="88" y="58"/>
                  </a:cubicBezTo>
                  <a:cubicBezTo>
                    <a:pt x="87" y="58"/>
                    <a:pt x="86" y="58"/>
                    <a:pt x="86" y="58"/>
                  </a:cubicBezTo>
                  <a:close/>
                  <a:moveTo>
                    <a:pt x="88" y="60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0"/>
                  </a:cubicBezTo>
                  <a:close/>
                  <a:moveTo>
                    <a:pt x="87" y="56"/>
                  </a:moveTo>
                  <a:cubicBezTo>
                    <a:pt x="86" y="56"/>
                    <a:pt x="86" y="57"/>
                    <a:pt x="85" y="57"/>
                  </a:cubicBezTo>
                  <a:cubicBezTo>
                    <a:pt x="85" y="56"/>
                    <a:pt x="86" y="56"/>
                    <a:pt x="87" y="56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lose/>
                  <a:moveTo>
                    <a:pt x="89" y="62"/>
                  </a:move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lose/>
                  <a:moveTo>
                    <a:pt x="91" y="62"/>
                  </a:moveTo>
                  <a:cubicBezTo>
                    <a:pt x="90" y="62"/>
                    <a:pt x="91" y="61"/>
                    <a:pt x="91" y="61"/>
                  </a:cubicBezTo>
                  <a:cubicBezTo>
                    <a:pt x="91" y="61"/>
                    <a:pt x="91" y="62"/>
                    <a:pt x="91" y="62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88" y="57"/>
                  </a:moveTo>
                  <a:cubicBezTo>
                    <a:pt x="88" y="57"/>
                    <a:pt x="89" y="56"/>
                    <a:pt x="89" y="56"/>
                  </a:cubicBezTo>
                  <a:cubicBezTo>
                    <a:pt x="89" y="57"/>
                    <a:pt x="89" y="57"/>
                    <a:pt x="88" y="57"/>
                  </a:cubicBezTo>
                  <a:close/>
                  <a:moveTo>
                    <a:pt x="90" y="59"/>
                  </a:moveTo>
                  <a:cubicBezTo>
                    <a:pt x="90" y="59"/>
                    <a:pt x="90" y="59"/>
                    <a:pt x="91" y="59"/>
                  </a:cubicBezTo>
                  <a:cubicBezTo>
                    <a:pt x="91" y="59"/>
                    <a:pt x="90" y="59"/>
                    <a:pt x="90" y="59"/>
                  </a:cubicBezTo>
                  <a:close/>
                  <a:moveTo>
                    <a:pt x="89" y="57"/>
                  </a:moveTo>
                  <a:cubicBezTo>
                    <a:pt x="89" y="57"/>
                    <a:pt x="90" y="57"/>
                    <a:pt x="90" y="57"/>
                  </a:cubicBezTo>
                  <a:cubicBezTo>
                    <a:pt x="90" y="57"/>
                    <a:pt x="90" y="57"/>
                    <a:pt x="89" y="57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lose/>
                  <a:moveTo>
                    <a:pt x="93" y="59"/>
                  </a:moveTo>
                  <a:cubicBezTo>
                    <a:pt x="93" y="60"/>
                    <a:pt x="93" y="60"/>
                    <a:pt x="92" y="60"/>
                  </a:cubicBezTo>
                  <a:cubicBezTo>
                    <a:pt x="92" y="60"/>
                    <a:pt x="93" y="60"/>
                    <a:pt x="93" y="59"/>
                  </a:cubicBezTo>
                  <a:close/>
                  <a:moveTo>
                    <a:pt x="92" y="58"/>
                  </a:move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2" y="58"/>
                    <a:pt x="93" y="58"/>
                  </a:cubicBezTo>
                  <a:cubicBezTo>
                    <a:pt x="92" y="58"/>
                    <a:pt x="93" y="58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1" y="53"/>
                  </a:moveTo>
                  <a:cubicBezTo>
                    <a:pt x="91" y="54"/>
                    <a:pt x="90" y="54"/>
                    <a:pt x="90" y="54"/>
                  </a:cubicBezTo>
                  <a:cubicBezTo>
                    <a:pt x="90" y="53"/>
                    <a:pt x="90" y="54"/>
                    <a:pt x="91" y="53"/>
                  </a:cubicBezTo>
                  <a:close/>
                  <a:moveTo>
                    <a:pt x="93" y="57"/>
                  </a:moveTo>
                  <a:cubicBezTo>
                    <a:pt x="92" y="57"/>
                    <a:pt x="93" y="57"/>
                    <a:pt x="93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4" y="60"/>
                  </a:moveTo>
                  <a:cubicBezTo>
                    <a:pt x="94" y="60"/>
                    <a:pt x="94" y="60"/>
                    <a:pt x="94" y="60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93" y="58"/>
                  </a:moveTo>
                  <a:cubicBezTo>
                    <a:pt x="93" y="58"/>
                    <a:pt x="94" y="58"/>
                    <a:pt x="93" y="59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8"/>
                    <a:pt x="94" y="58"/>
                    <a:pt x="93" y="58"/>
                  </a:cubicBezTo>
                  <a:close/>
                  <a:moveTo>
                    <a:pt x="92" y="55"/>
                  </a:moveTo>
                  <a:cubicBezTo>
                    <a:pt x="92" y="55"/>
                    <a:pt x="91" y="55"/>
                    <a:pt x="91" y="55"/>
                  </a:cubicBezTo>
                  <a:cubicBezTo>
                    <a:pt x="91" y="55"/>
                    <a:pt x="92" y="55"/>
                    <a:pt x="92" y="55"/>
                  </a:cubicBezTo>
                  <a:close/>
                  <a:moveTo>
                    <a:pt x="93" y="58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lose/>
                  <a:moveTo>
                    <a:pt x="95" y="56"/>
                  </a:moveTo>
                  <a:cubicBezTo>
                    <a:pt x="94" y="56"/>
                    <a:pt x="94" y="56"/>
                    <a:pt x="93" y="57"/>
                  </a:cubicBezTo>
                  <a:cubicBezTo>
                    <a:pt x="93" y="57"/>
                    <a:pt x="94" y="56"/>
                    <a:pt x="95" y="56"/>
                  </a:cubicBezTo>
                  <a:close/>
                  <a:moveTo>
                    <a:pt x="92" y="54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lose/>
                  <a:moveTo>
                    <a:pt x="95" y="59"/>
                  </a:move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3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3" y="54"/>
                    <a:pt x="93" y="54"/>
                  </a:cubicBezTo>
                  <a:close/>
                  <a:moveTo>
                    <a:pt x="96" y="57"/>
                  </a:move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7"/>
                  </a:cubicBezTo>
                  <a:close/>
                  <a:moveTo>
                    <a:pt x="91" y="48"/>
                  </a:move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8"/>
                    <a:pt x="91" y="48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49"/>
                    <a:pt x="92" y="50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2" y="49"/>
                    <a:pt x="92" y="49"/>
                    <a:pt x="92" y="49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lose/>
                  <a:moveTo>
                    <a:pt x="92" y="50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2" y="50"/>
                  </a:cubicBezTo>
                  <a:close/>
                  <a:moveTo>
                    <a:pt x="96" y="54"/>
                  </a:moveTo>
                  <a:cubicBezTo>
                    <a:pt x="96" y="55"/>
                    <a:pt x="96" y="55"/>
                    <a:pt x="95" y="55"/>
                  </a:cubicBezTo>
                  <a:cubicBezTo>
                    <a:pt x="95" y="55"/>
                    <a:pt x="96" y="54"/>
                    <a:pt x="96" y="54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7"/>
                    <a:pt x="97" y="57"/>
                  </a:cubicBezTo>
                  <a:close/>
                  <a:moveTo>
                    <a:pt x="94" y="48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4" y="48"/>
                  </a:cubicBezTo>
                  <a:close/>
                  <a:moveTo>
                    <a:pt x="99" y="56"/>
                  </a:moveTo>
                  <a:cubicBezTo>
                    <a:pt x="99" y="56"/>
                    <a:pt x="98" y="56"/>
                    <a:pt x="98" y="57"/>
                  </a:cubicBezTo>
                  <a:cubicBezTo>
                    <a:pt x="98" y="56"/>
                    <a:pt x="99" y="56"/>
                    <a:pt x="99" y="56"/>
                  </a:cubicBezTo>
                  <a:close/>
                  <a:moveTo>
                    <a:pt x="99" y="55"/>
                  </a:move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6"/>
                  </a:cubicBezTo>
                  <a:cubicBezTo>
                    <a:pt x="99" y="56"/>
                    <a:pt x="99" y="55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10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1" y="55"/>
                    <a:pt x="100" y="55"/>
                    <a:pt x="100" y="55"/>
                  </a:cubicBezTo>
                  <a:close/>
                  <a:moveTo>
                    <a:pt x="100" y="52"/>
                  </a:moveTo>
                  <a:cubicBezTo>
                    <a:pt x="100" y="52"/>
                    <a:pt x="99" y="53"/>
                    <a:pt x="99" y="53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lose/>
                  <a:moveTo>
                    <a:pt x="101" y="54"/>
                  </a:moveTo>
                  <a:cubicBezTo>
                    <a:pt x="101" y="54"/>
                    <a:pt x="101" y="54"/>
                    <a:pt x="101" y="55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1" y="54"/>
                    <a:pt x="101" y="54"/>
                    <a:pt x="101" y="54"/>
                  </a:cubicBezTo>
                  <a:close/>
                  <a:moveTo>
                    <a:pt x="99" y="50"/>
                  </a:move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99" y="50"/>
                    <a:pt x="99" y="50"/>
                  </a:cubicBezTo>
                  <a:close/>
                  <a:moveTo>
                    <a:pt x="100" y="44"/>
                  </a:moveTo>
                  <a:cubicBezTo>
                    <a:pt x="100" y="43"/>
                    <a:pt x="101" y="43"/>
                    <a:pt x="101" y="43"/>
                  </a:cubicBezTo>
                  <a:cubicBezTo>
                    <a:pt x="100" y="44"/>
                    <a:pt x="98" y="45"/>
                    <a:pt x="97" y="4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4"/>
                    <a:pt x="100" y="44"/>
                  </a:cubicBezTo>
                  <a:cubicBezTo>
                    <a:pt x="100" y="43"/>
                    <a:pt x="100" y="44"/>
                    <a:pt x="100" y="44"/>
                  </a:cubicBezTo>
                  <a:close/>
                  <a:moveTo>
                    <a:pt x="103" y="52"/>
                  </a:move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2" y="52"/>
                    <a:pt x="102" y="53"/>
                  </a:cubicBezTo>
                  <a:cubicBezTo>
                    <a:pt x="102" y="53"/>
                    <a:pt x="102" y="53"/>
                    <a:pt x="101" y="53"/>
                  </a:cubicBezTo>
                  <a:cubicBezTo>
                    <a:pt x="102" y="53"/>
                    <a:pt x="102" y="52"/>
                    <a:pt x="102" y="52"/>
                  </a:cubicBezTo>
                  <a:cubicBezTo>
                    <a:pt x="101" y="52"/>
                    <a:pt x="102" y="53"/>
                    <a:pt x="101" y="53"/>
                  </a:cubicBezTo>
                  <a:cubicBezTo>
                    <a:pt x="101" y="52"/>
                    <a:pt x="102" y="52"/>
                    <a:pt x="103" y="52"/>
                  </a:cubicBezTo>
                  <a:close/>
                  <a:moveTo>
                    <a:pt x="103" y="52"/>
                  </a:moveTo>
                  <a:cubicBezTo>
                    <a:pt x="103" y="52"/>
                    <a:pt x="103" y="52"/>
                    <a:pt x="103" y="52"/>
                  </a:cubicBezTo>
                  <a:cubicBezTo>
                    <a:pt x="104" y="51"/>
                    <a:pt x="104" y="51"/>
                    <a:pt x="105" y="51"/>
                  </a:cubicBezTo>
                  <a:cubicBezTo>
                    <a:pt x="105" y="51"/>
                    <a:pt x="104" y="51"/>
                    <a:pt x="105" y="51"/>
                  </a:cubicBezTo>
                  <a:cubicBezTo>
                    <a:pt x="105" y="51"/>
                    <a:pt x="104" y="52"/>
                    <a:pt x="104" y="51"/>
                  </a:cubicBezTo>
                  <a:cubicBezTo>
                    <a:pt x="104" y="52"/>
                    <a:pt x="104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lose/>
                  <a:moveTo>
                    <a:pt x="102" y="49"/>
                  </a:move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49"/>
                    <a:pt x="102" y="49"/>
                  </a:cubicBezTo>
                  <a:close/>
                  <a:moveTo>
                    <a:pt x="103" y="51"/>
                  </a:moveTo>
                  <a:cubicBezTo>
                    <a:pt x="103" y="51"/>
                    <a:pt x="103" y="51"/>
                    <a:pt x="103" y="51"/>
                  </a:cubicBezTo>
                  <a:cubicBezTo>
                    <a:pt x="104" y="51"/>
                    <a:pt x="104" y="51"/>
                    <a:pt x="103" y="52"/>
                  </a:cubicBezTo>
                  <a:cubicBezTo>
                    <a:pt x="103" y="51"/>
                    <a:pt x="103" y="51"/>
                    <a:pt x="103" y="51"/>
                  </a:cubicBezTo>
                  <a:close/>
                  <a:moveTo>
                    <a:pt x="104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5" y="52"/>
                    <a:pt x="105" y="52"/>
                  </a:cubicBezTo>
                  <a:close/>
                  <a:moveTo>
                    <a:pt x="104" y="48"/>
                  </a:move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9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6" y="51"/>
                  </a:move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1"/>
                    <a:pt x="106" y="51"/>
                  </a:cubicBezTo>
                  <a:close/>
                  <a:moveTo>
                    <a:pt x="105" y="50"/>
                  </a:move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6" y="51"/>
                  </a:moveTo>
                  <a:cubicBezTo>
                    <a:pt x="107" y="51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7" y="51"/>
                    <a:pt x="107" y="51"/>
                  </a:cubicBezTo>
                  <a:cubicBezTo>
                    <a:pt x="107" y="51"/>
                    <a:pt x="106" y="51"/>
                    <a:pt x="106" y="51"/>
                  </a:cubicBezTo>
                  <a:close/>
                  <a:moveTo>
                    <a:pt x="107" y="51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7" y="51"/>
                  </a:cubicBezTo>
                  <a:close/>
                  <a:moveTo>
                    <a:pt x="105" y="47"/>
                  </a:moveTo>
                  <a:cubicBezTo>
                    <a:pt x="105" y="47"/>
                    <a:pt x="106" y="46"/>
                    <a:pt x="106" y="46"/>
                  </a:cubicBezTo>
                  <a:cubicBezTo>
                    <a:pt x="106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lose/>
                  <a:moveTo>
                    <a:pt x="106" y="48"/>
                  </a:moveTo>
                  <a:cubicBezTo>
                    <a:pt x="106" y="48"/>
                    <a:pt x="106" y="48"/>
                    <a:pt x="106" y="48"/>
                  </a:cubicBezTo>
                  <a:cubicBezTo>
                    <a:pt x="106" y="49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lose/>
                  <a:moveTo>
                    <a:pt x="107" y="48"/>
                  </a:moveTo>
                  <a:cubicBezTo>
                    <a:pt x="107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7" y="48"/>
                    <a:pt x="107" y="48"/>
                  </a:cubicBezTo>
                  <a:close/>
                  <a:moveTo>
                    <a:pt x="107" y="49"/>
                  </a:moveTo>
                  <a:cubicBezTo>
                    <a:pt x="107" y="49"/>
                    <a:pt x="107" y="49"/>
                    <a:pt x="107" y="48"/>
                  </a:cubicBezTo>
                  <a:cubicBezTo>
                    <a:pt x="107" y="49"/>
                    <a:pt x="107" y="49"/>
                    <a:pt x="107" y="49"/>
                  </a:cubicBezTo>
                  <a:close/>
                  <a:moveTo>
                    <a:pt x="108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lose/>
                  <a:moveTo>
                    <a:pt x="107" y="47"/>
                  </a:moveTo>
                  <a:cubicBezTo>
                    <a:pt x="108" y="47"/>
                    <a:pt x="107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8" y="47"/>
                    <a:pt x="107" y="47"/>
                    <a:pt x="108" y="47"/>
                  </a:cubicBezTo>
                  <a:cubicBezTo>
                    <a:pt x="108" y="47"/>
                    <a:pt x="109" y="46"/>
                    <a:pt x="109" y="46"/>
                  </a:cubicBezTo>
                  <a:cubicBezTo>
                    <a:pt x="110" y="46"/>
                    <a:pt x="110" y="45"/>
                    <a:pt x="111" y="45"/>
                  </a:cubicBezTo>
                  <a:cubicBezTo>
                    <a:pt x="110" y="46"/>
                    <a:pt x="108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10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lose/>
                  <a:moveTo>
                    <a:pt x="108" y="47"/>
                  </a:moveTo>
                  <a:cubicBezTo>
                    <a:pt x="108" y="48"/>
                    <a:pt x="108" y="48"/>
                    <a:pt x="107" y="48"/>
                  </a:cubicBezTo>
                  <a:cubicBezTo>
                    <a:pt x="107" y="48"/>
                    <a:pt x="108" y="47"/>
                    <a:pt x="108" y="47"/>
                  </a:cubicBezTo>
                  <a:close/>
                  <a:moveTo>
                    <a:pt x="109" y="49"/>
                  </a:move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49"/>
                    <a:pt x="109" y="50"/>
                  </a:cubicBezTo>
                  <a:close/>
                  <a:moveTo>
                    <a:pt x="106" y="45"/>
                  </a:moveTo>
                  <a:cubicBezTo>
                    <a:pt x="106" y="44"/>
                    <a:pt x="107" y="44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6" y="44"/>
                    <a:pt x="106" y="45"/>
                    <a:pt x="106" y="45"/>
                  </a:cubicBezTo>
                  <a:close/>
                  <a:moveTo>
                    <a:pt x="107" y="46"/>
                  </a:move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lose/>
                  <a:moveTo>
                    <a:pt x="110" y="50"/>
                  </a:moveTo>
                  <a:cubicBezTo>
                    <a:pt x="110" y="50"/>
                    <a:pt x="110" y="50"/>
                    <a:pt x="110" y="50"/>
                  </a:cubicBezTo>
                  <a:cubicBezTo>
                    <a:pt x="109" y="50"/>
                    <a:pt x="110" y="49"/>
                    <a:pt x="110" y="50"/>
                  </a:cubicBezTo>
                  <a:close/>
                  <a:moveTo>
                    <a:pt x="109" y="48"/>
                  </a:moveTo>
                  <a:cubicBezTo>
                    <a:pt x="108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8"/>
                  </a:cubicBezTo>
                  <a:close/>
                  <a:moveTo>
                    <a:pt x="111" y="48"/>
                  </a:moveTo>
                  <a:cubicBezTo>
                    <a:pt x="111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1" y="48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9" y="45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7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10" y="42"/>
                  </a:moveTo>
                  <a:cubicBezTo>
                    <a:pt x="110" y="42"/>
                    <a:pt x="109" y="42"/>
                    <a:pt x="109" y="42"/>
                  </a:cubicBezTo>
                  <a:cubicBezTo>
                    <a:pt x="110" y="42"/>
                    <a:pt x="110" y="42"/>
                    <a:pt x="110" y="42"/>
                  </a:cubicBezTo>
                  <a:close/>
                  <a:moveTo>
                    <a:pt x="110" y="42"/>
                  </a:moveTo>
                  <a:cubicBezTo>
                    <a:pt x="110" y="42"/>
                    <a:pt x="110" y="42"/>
                    <a:pt x="110" y="42"/>
                  </a:cubicBezTo>
                  <a:cubicBezTo>
                    <a:pt x="111" y="42"/>
                    <a:pt x="111" y="42"/>
                    <a:pt x="110" y="42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4" y="45"/>
                  </a:moveTo>
                  <a:cubicBezTo>
                    <a:pt x="114" y="45"/>
                    <a:pt x="114" y="45"/>
                    <a:pt x="114" y="45"/>
                  </a:cubicBezTo>
                  <a:cubicBezTo>
                    <a:pt x="114" y="45"/>
                    <a:pt x="114" y="45"/>
                    <a:pt x="114" y="45"/>
                  </a:cubicBezTo>
                  <a:close/>
                  <a:moveTo>
                    <a:pt x="113" y="39"/>
                  </a:moveTo>
                  <a:cubicBezTo>
                    <a:pt x="113" y="39"/>
                    <a:pt x="112" y="40"/>
                    <a:pt x="112" y="40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39"/>
                    <a:pt x="112" y="40"/>
                    <a:pt x="112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39"/>
                    <a:pt x="112" y="39"/>
                  </a:cubicBezTo>
                  <a:cubicBezTo>
                    <a:pt x="112" y="40"/>
                    <a:pt x="113" y="39"/>
                    <a:pt x="113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12" y="42"/>
                  </a:moveTo>
                  <a:cubicBezTo>
                    <a:pt x="112" y="42"/>
                    <a:pt x="113" y="42"/>
                    <a:pt x="113" y="42"/>
                  </a:cubicBezTo>
                  <a:lnTo>
                    <a:pt x="112" y="42"/>
                  </a:ln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15" y="43"/>
                  </a:moveTo>
                  <a:cubicBezTo>
                    <a:pt x="115" y="43"/>
                    <a:pt x="114" y="44"/>
                    <a:pt x="114" y="44"/>
                  </a:cubicBezTo>
                  <a:cubicBezTo>
                    <a:pt x="114" y="44"/>
                    <a:pt x="115" y="44"/>
                    <a:pt x="115" y="43"/>
                  </a:cubicBezTo>
                  <a:close/>
                  <a:moveTo>
                    <a:pt x="112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0"/>
                  </a:cubicBezTo>
                  <a:cubicBezTo>
                    <a:pt x="114" y="41"/>
                    <a:pt x="113" y="41"/>
                    <a:pt x="113" y="41"/>
                  </a:cubicBezTo>
                  <a:close/>
                  <a:moveTo>
                    <a:pt x="117" y="46"/>
                  </a:move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16" y="43"/>
                  </a:moveTo>
                  <a:cubicBezTo>
                    <a:pt x="115" y="43"/>
                    <a:pt x="115" y="43"/>
                    <a:pt x="115" y="43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6" y="43"/>
                    <a:pt x="116" y="43"/>
                  </a:cubicBezTo>
                  <a:close/>
                  <a:moveTo>
                    <a:pt x="118" y="45"/>
                  </a:moveTo>
                  <a:cubicBezTo>
                    <a:pt x="118" y="46"/>
                    <a:pt x="118" y="46"/>
                    <a:pt x="118" y="46"/>
                  </a:cubicBezTo>
                  <a:cubicBezTo>
                    <a:pt x="117" y="46"/>
                    <a:pt x="118" y="46"/>
                    <a:pt x="118" y="45"/>
                  </a:cubicBezTo>
                  <a:close/>
                  <a:moveTo>
                    <a:pt x="116" y="40"/>
                  </a:moveTo>
                  <a:cubicBezTo>
                    <a:pt x="115" y="40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0"/>
                    <a:pt x="115" y="40"/>
                  </a:cubicBezTo>
                  <a:cubicBezTo>
                    <a:pt x="115" y="40"/>
                    <a:pt x="115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lose/>
                  <a:moveTo>
                    <a:pt x="114" y="38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7"/>
                    <a:pt x="114" y="38"/>
                    <a:pt x="114" y="38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5" y="37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8"/>
                    <a:pt x="115" y="37"/>
                    <a:pt x="115" y="37"/>
                  </a:cubicBezTo>
                  <a:close/>
                  <a:moveTo>
                    <a:pt x="114" y="37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lose/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1"/>
                    <a:pt x="118" y="41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8" y="41"/>
                  </a:cubicBezTo>
                  <a:close/>
                  <a:moveTo>
                    <a:pt x="115" y="39"/>
                  </a:move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9"/>
                    <a:pt x="115" y="39"/>
                  </a:cubicBezTo>
                  <a:close/>
                  <a:moveTo>
                    <a:pt x="115" y="38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lose/>
                  <a:moveTo>
                    <a:pt x="117" y="40"/>
                  </a:move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40"/>
                  </a:cubicBezTo>
                  <a:cubicBezTo>
                    <a:pt x="118" y="39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lose/>
                  <a:moveTo>
                    <a:pt x="118" y="37"/>
                  </a:moveTo>
                  <a:cubicBezTo>
                    <a:pt x="117" y="37"/>
                    <a:pt x="116" y="37"/>
                    <a:pt x="116" y="38"/>
                  </a:cubicBezTo>
                  <a:cubicBezTo>
                    <a:pt x="116" y="37"/>
                    <a:pt x="117" y="37"/>
                    <a:pt x="118" y="37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6" y="35"/>
                  </a:moveTo>
                  <a:cubicBezTo>
                    <a:pt x="116" y="36"/>
                    <a:pt x="116" y="36"/>
                    <a:pt x="115" y="36"/>
                  </a:cubicBezTo>
                  <a:cubicBezTo>
                    <a:pt x="116" y="36"/>
                    <a:pt x="116" y="36"/>
                    <a:pt x="116" y="35"/>
                  </a:cubicBezTo>
                  <a:close/>
                  <a:moveTo>
                    <a:pt x="119" y="39"/>
                  </a:move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9" y="39"/>
                    <a:pt x="119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17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7" y="37"/>
                    <a:pt x="117" y="37"/>
                  </a:cubicBezTo>
                  <a:close/>
                  <a:moveTo>
                    <a:pt x="117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21" y="40"/>
                  </a:moveTo>
                  <a:cubicBezTo>
                    <a:pt x="121" y="40"/>
                    <a:pt x="120" y="40"/>
                    <a:pt x="120" y="40"/>
                  </a:cubicBezTo>
                  <a:cubicBezTo>
                    <a:pt x="120" y="40"/>
                    <a:pt x="121" y="40"/>
                    <a:pt x="121" y="40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1" y="39"/>
                  </a:cubicBezTo>
                  <a:cubicBezTo>
                    <a:pt x="120" y="40"/>
                    <a:pt x="120" y="39"/>
                    <a:pt x="120" y="40"/>
                  </a:cubicBezTo>
                  <a:cubicBezTo>
                    <a:pt x="120" y="40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0" y="40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0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2" y="41"/>
                  </a:moveTo>
                  <a:cubicBezTo>
                    <a:pt x="122" y="41"/>
                    <a:pt x="122" y="42"/>
                    <a:pt x="122" y="42"/>
                  </a:cubicBezTo>
                  <a:cubicBezTo>
                    <a:pt x="122" y="42"/>
                    <a:pt x="122" y="41"/>
                    <a:pt x="122" y="41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5"/>
                    <a:pt x="119" y="36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9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9" y="35"/>
                  </a:moveTo>
                  <a:cubicBezTo>
                    <a:pt x="119" y="35"/>
                    <a:pt x="120" y="35"/>
                    <a:pt x="120" y="35"/>
                  </a:cubicBezTo>
                  <a:cubicBezTo>
                    <a:pt x="120" y="35"/>
                    <a:pt x="119" y="35"/>
                    <a:pt x="119" y="35"/>
                  </a:cubicBezTo>
                  <a:close/>
                  <a:moveTo>
                    <a:pt x="119" y="34"/>
                  </a:moveTo>
                  <a:cubicBezTo>
                    <a:pt x="119" y="34"/>
                    <a:pt x="119" y="34"/>
                    <a:pt x="119" y="35"/>
                  </a:cubicBezTo>
                  <a:cubicBezTo>
                    <a:pt x="119" y="34"/>
                    <a:pt x="119" y="34"/>
                    <a:pt x="119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8" y="35"/>
                    <a:pt x="119" y="34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3" y="38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6" y="40"/>
                    <a:pt x="126" y="40"/>
                  </a:cubicBezTo>
                  <a:close/>
                  <a:moveTo>
                    <a:pt x="125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5" y="37"/>
                    <a:pt x="125" y="37"/>
                  </a:cubicBezTo>
                  <a:cubicBezTo>
                    <a:pt x="125" y="37"/>
                    <a:pt x="126" y="37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8" y="39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8" y="39"/>
                    <a:pt x="128" y="39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5"/>
                    <a:pt x="126" y="35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6"/>
                    <a:pt x="126" y="36"/>
                    <a:pt x="127" y="36"/>
                  </a:cubicBezTo>
                  <a:cubicBezTo>
                    <a:pt x="127" y="36"/>
                    <a:pt x="126" y="36"/>
                    <a:pt x="126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7" y="36"/>
                    <a:pt x="126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30" y="39"/>
                    <a:pt x="129" y="39"/>
                  </a:cubicBezTo>
                  <a:close/>
                  <a:moveTo>
                    <a:pt x="127" y="33"/>
                  </a:moveTo>
                  <a:cubicBezTo>
                    <a:pt x="127" y="34"/>
                    <a:pt x="126" y="34"/>
                    <a:pt x="126" y="34"/>
                  </a:cubicBezTo>
                  <a:cubicBezTo>
                    <a:pt x="126" y="34"/>
                    <a:pt x="126" y="33"/>
                    <a:pt x="127" y="33"/>
                  </a:cubicBezTo>
                  <a:close/>
                  <a:moveTo>
                    <a:pt x="128" y="32"/>
                  </a:moveTo>
                  <a:cubicBezTo>
                    <a:pt x="128" y="32"/>
                    <a:pt x="128" y="32"/>
                    <a:pt x="128" y="32"/>
                  </a:cubicBezTo>
                  <a:cubicBezTo>
                    <a:pt x="127" y="32"/>
                    <a:pt x="128" y="31"/>
                    <a:pt x="128" y="32"/>
                  </a:cubicBezTo>
                  <a:close/>
                  <a:moveTo>
                    <a:pt x="131" y="35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5"/>
                    <a:pt x="131" y="35"/>
                    <a:pt x="131" y="35"/>
                  </a:cubicBezTo>
                  <a:close/>
                  <a:moveTo>
                    <a:pt x="131" y="34"/>
                  </a:move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1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1"/>
                  </a:moveTo>
                  <a:cubicBezTo>
                    <a:pt x="129" y="31"/>
                    <a:pt x="129" y="31"/>
                    <a:pt x="129" y="31"/>
                  </a:cubicBezTo>
                  <a:cubicBezTo>
                    <a:pt x="130" y="31"/>
                    <a:pt x="129" y="31"/>
                    <a:pt x="129" y="31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8" y="29"/>
                    <a:pt x="129" y="29"/>
                  </a:cubicBezTo>
                  <a:close/>
                  <a:moveTo>
                    <a:pt x="133" y="34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3" y="34"/>
                    <a:pt x="133" y="34"/>
                  </a:cubicBezTo>
                  <a:close/>
                  <a:moveTo>
                    <a:pt x="129" y="28"/>
                  </a:moveTo>
                  <a:cubicBezTo>
                    <a:pt x="129" y="27"/>
                    <a:pt x="129" y="28"/>
                    <a:pt x="129" y="28"/>
                  </a:cubicBezTo>
                  <a:cubicBezTo>
                    <a:pt x="129" y="28"/>
                    <a:pt x="129" y="27"/>
                    <a:pt x="129" y="28"/>
                  </a:cubicBezTo>
                  <a:close/>
                  <a:moveTo>
                    <a:pt x="130" y="30"/>
                  </a:move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0" y="30"/>
                  </a:cubicBezTo>
                  <a:close/>
                  <a:moveTo>
                    <a:pt x="137" y="31"/>
                  </a:moveTo>
                  <a:cubicBezTo>
                    <a:pt x="137" y="31"/>
                    <a:pt x="137" y="31"/>
                    <a:pt x="137" y="31"/>
                  </a:cubicBezTo>
                  <a:cubicBezTo>
                    <a:pt x="138" y="31"/>
                    <a:pt x="137" y="31"/>
                    <a:pt x="137" y="31"/>
                  </a:cubicBezTo>
                  <a:close/>
                  <a:moveTo>
                    <a:pt x="141" y="24"/>
                  </a:moveTo>
                  <a:cubicBezTo>
                    <a:pt x="141" y="24"/>
                    <a:pt x="141" y="24"/>
                    <a:pt x="141" y="23"/>
                  </a:cubicBezTo>
                  <a:cubicBezTo>
                    <a:pt x="141" y="24"/>
                    <a:pt x="141" y="24"/>
                    <a:pt x="141" y="24"/>
                  </a:cubicBezTo>
                  <a:close/>
                  <a:moveTo>
                    <a:pt x="143" y="27"/>
                  </a:moveTo>
                  <a:cubicBezTo>
                    <a:pt x="143" y="26"/>
                    <a:pt x="144" y="26"/>
                    <a:pt x="144" y="26"/>
                  </a:cubicBezTo>
                  <a:cubicBezTo>
                    <a:pt x="144" y="26"/>
                    <a:pt x="144" y="26"/>
                    <a:pt x="143" y="27"/>
                  </a:cubicBezTo>
                  <a:close/>
                  <a:moveTo>
                    <a:pt x="142" y="22"/>
                  </a:moveTo>
                  <a:cubicBezTo>
                    <a:pt x="142" y="22"/>
                    <a:pt x="143" y="22"/>
                    <a:pt x="143" y="22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3"/>
                    <a:pt x="143" y="22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8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48" y="18"/>
                  </a:moveTo>
                  <a:cubicBezTo>
                    <a:pt x="148" y="18"/>
                    <a:pt x="148" y="18"/>
                    <a:pt x="149" y="17"/>
                  </a:cubicBezTo>
                  <a:cubicBezTo>
                    <a:pt x="149" y="18"/>
                    <a:pt x="148" y="18"/>
                    <a:pt x="148" y="18"/>
                  </a:cubicBezTo>
                  <a:close/>
                  <a:moveTo>
                    <a:pt x="150" y="17"/>
                  </a:moveTo>
                  <a:cubicBezTo>
                    <a:pt x="150" y="17"/>
                    <a:pt x="150" y="17"/>
                    <a:pt x="150" y="17"/>
                  </a:cubicBezTo>
                  <a:cubicBezTo>
                    <a:pt x="150" y="16"/>
                    <a:pt x="151" y="17"/>
                    <a:pt x="150" y="17"/>
                  </a:cubicBezTo>
                  <a:close/>
                  <a:moveTo>
                    <a:pt x="151" y="17"/>
                  </a:moveTo>
                  <a:cubicBezTo>
                    <a:pt x="151" y="17"/>
                    <a:pt x="151" y="16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1" y="17"/>
                    <a:pt x="151" y="17"/>
                  </a:cubicBezTo>
                  <a:close/>
                  <a:moveTo>
                    <a:pt x="152" y="17"/>
                  </a:move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1" y="17"/>
                  </a:cubicBezTo>
                  <a:cubicBezTo>
                    <a:pt x="151" y="17"/>
                    <a:pt x="152" y="17"/>
                    <a:pt x="152" y="17"/>
                  </a:cubicBezTo>
                  <a:close/>
                  <a:moveTo>
                    <a:pt x="154" y="18"/>
                  </a:move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4" y="18"/>
                    <a:pt x="154" y="18"/>
                  </a:cubicBezTo>
                  <a:close/>
                  <a:moveTo>
                    <a:pt x="155" y="14"/>
                  </a:moveTo>
                  <a:cubicBezTo>
                    <a:pt x="156" y="14"/>
                    <a:pt x="156" y="14"/>
                    <a:pt x="155" y="14"/>
                  </a:cubicBezTo>
                  <a:cubicBezTo>
                    <a:pt x="154" y="15"/>
                    <a:pt x="154" y="15"/>
                    <a:pt x="153" y="15"/>
                  </a:cubicBezTo>
                  <a:cubicBezTo>
                    <a:pt x="154" y="15"/>
                    <a:pt x="154" y="14"/>
                    <a:pt x="155" y="14"/>
                  </a:cubicBezTo>
                  <a:close/>
                  <a:moveTo>
                    <a:pt x="156" y="17"/>
                  </a:moveTo>
                  <a:cubicBezTo>
                    <a:pt x="156" y="17"/>
                    <a:pt x="156" y="17"/>
                    <a:pt x="155" y="17"/>
                  </a:cubicBezTo>
                  <a:cubicBezTo>
                    <a:pt x="155" y="17"/>
                    <a:pt x="156" y="17"/>
                    <a:pt x="156" y="17"/>
                  </a:cubicBezTo>
                  <a:close/>
                  <a:moveTo>
                    <a:pt x="156" y="14"/>
                  </a:moveTo>
                  <a:cubicBezTo>
                    <a:pt x="156" y="13"/>
                    <a:pt x="157" y="13"/>
                    <a:pt x="158" y="13"/>
                  </a:cubicBezTo>
                  <a:cubicBezTo>
                    <a:pt x="157" y="13"/>
                    <a:pt x="156" y="13"/>
                    <a:pt x="156" y="14"/>
                  </a:cubicBezTo>
                  <a:close/>
                  <a:moveTo>
                    <a:pt x="159" y="11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lose/>
                  <a:moveTo>
                    <a:pt x="159" y="11"/>
                  </a:moveTo>
                  <a:cubicBezTo>
                    <a:pt x="159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59" y="11"/>
                  </a:cubicBezTo>
                  <a:close/>
                  <a:moveTo>
                    <a:pt x="161" y="12"/>
                  </a:moveTo>
                  <a:cubicBezTo>
                    <a:pt x="161" y="12"/>
                    <a:pt x="161" y="12"/>
                    <a:pt x="161" y="12"/>
                  </a:cubicBezTo>
                  <a:cubicBezTo>
                    <a:pt x="160" y="12"/>
                    <a:pt x="161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1" y="12"/>
                    <a:pt x="160" y="12"/>
                  </a:cubicBezTo>
                  <a:lnTo>
                    <a:pt x="161" y="12"/>
                  </a:lnTo>
                  <a:close/>
                  <a:moveTo>
                    <a:pt x="163" y="16"/>
                  </a:moveTo>
                  <a:cubicBezTo>
                    <a:pt x="163" y="16"/>
                    <a:pt x="163" y="16"/>
                    <a:pt x="162" y="16"/>
                  </a:cubicBezTo>
                  <a:cubicBezTo>
                    <a:pt x="162" y="16"/>
                    <a:pt x="163" y="16"/>
                    <a:pt x="163" y="16"/>
                  </a:cubicBezTo>
                  <a:close/>
                  <a:moveTo>
                    <a:pt x="162" y="12"/>
                  </a:moveTo>
                  <a:cubicBezTo>
                    <a:pt x="162" y="12"/>
                    <a:pt x="161" y="12"/>
                    <a:pt x="161" y="12"/>
                  </a:cubicBezTo>
                  <a:cubicBezTo>
                    <a:pt x="161" y="12"/>
                    <a:pt x="162" y="12"/>
                    <a:pt x="162" y="12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2" y="11"/>
                    <a:pt x="162" y="11"/>
                  </a:cubicBezTo>
                  <a:cubicBezTo>
                    <a:pt x="162" y="11"/>
                    <a:pt x="161" y="11"/>
                    <a:pt x="161" y="11"/>
                  </a:cubicBezTo>
                  <a:close/>
                  <a:moveTo>
                    <a:pt x="163" y="11"/>
                  </a:moveTo>
                  <a:cubicBezTo>
                    <a:pt x="163" y="11"/>
                    <a:pt x="163" y="12"/>
                    <a:pt x="162" y="12"/>
                  </a:cubicBezTo>
                  <a:cubicBezTo>
                    <a:pt x="163" y="11"/>
                    <a:pt x="163" y="11"/>
                    <a:pt x="163" y="11"/>
                  </a:cubicBezTo>
                  <a:close/>
                  <a:moveTo>
                    <a:pt x="162" y="11"/>
                  </a:moveTo>
                  <a:cubicBezTo>
                    <a:pt x="162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2" y="11"/>
                  </a:cubicBezTo>
                  <a:close/>
                  <a:moveTo>
                    <a:pt x="163" y="10"/>
                  </a:moveTo>
                  <a:cubicBezTo>
                    <a:pt x="163" y="10"/>
                    <a:pt x="162" y="11"/>
                    <a:pt x="162" y="11"/>
                  </a:cubicBezTo>
                  <a:cubicBezTo>
                    <a:pt x="162" y="10"/>
                    <a:pt x="162" y="11"/>
                    <a:pt x="162" y="10"/>
                  </a:cubicBezTo>
                  <a:cubicBezTo>
                    <a:pt x="162" y="10"/>
                    <a:pt x="163" y="10"/>
                    <a:pt x="162" y="10"/>
                  </a:cubicBezTo>
                  <a:cubicBezTo>
                    <a:pt x="163" y="10"/>
                    <a:pt x="162" y="11"/>
                    <a:pt x="163" y="10"/>
                  </a:cubicBezTo>
                  <a:close/>
                  <a:moveTo>
                    <a:pt x="163" y="9"/>
                  </a:move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lose/>
                  <a:moveTo>
                    <a:pt x="167" y="14"/>
                  </a:moveTo>
                  <a:cubicBezTo>
                    <a:pt x="167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7" y="14"/>
                  </a:cubicBezTo>
                  <a:close/>
                  <a:moveTo>
                    <a:pt x="168" y="13"/>
                  </a:move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8" y="13"/>
                    <a:pt x="168" y="13"/>
                  </a:cubicBezTo>
                  <a:close/>
                  <a:moveTo>
                    <a:pt x="166" y="8"/>
                  </a:moveTo>
                  <a:cubicBezTo>
                    <a:pt x="167" y="8"/>
                    <a:pt x="168" y="7"/>
                    <a:pt x="169" y="7"/>
                  </a:cubicBezTo>
                  <a:cubicBezTo>
                    <a:pt x="170" y="6"/>
                    <a:pt x="171" y="5"/>
                    <a:pt x="172" y="5"/>
                  </a:cubicBezTo>
                  <a:cubicBezTo>
                    <a:pt x="170" y="6"/>
                    <a:pt x="168" y="7"/>
                    <a:pt x="166" y="8"/>
                  </a:cubicBezTo>
                  <a:close/>
                  <a:moveTo>
                    <a:pt x="166" y="7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7"/>
                    <a:pt x="166" y="7"/>
                    <a:pt x="166" y="7"/>
                  </a:cubicBezTo>
                  <a:close/>
                  <a:moveTo>
                    <a:pt x="168" y="9"/>
                  </a:moveTo>
                  <a:cubicBezTo>
                    <a:pt x="168" y="9"/>
                    <a:pt x="169" y="8"/>
                    <a:pt x="168" y="9"/>
                  </a:cubicBezTo>
                  <a:cubicBezTo>
                    <a:pt x="169" y="8"/>
                    <a:pt x="168" y="8"/>
                    <a:pt x="169" y="8"/>
                  </a:cubicBezTo>
                  <a:cubicBezTo>
                    <a:pt x="169" y="8"/>
                    <a:pt x="169" y="9"/>
                    <a:pt x="168" y="9"/>
                  </a:cubicBezTo>
                  <a:close/>
                  <a:moveTo>
                    <a:pt x="167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6"/>
                    <a:pt x="167" y="6"/>
                    <a:pt x="167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7"/>
                    <a:pt x="167" y="7"/>
                  </a:cubicBezTo>
                  <a:cubicBezTo>
                    <a:pt x="168" y="6"/>
                    <a:pt x="168" y="6"/>
                    <a:pt x="168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6"/>
                    <a:pt x="169" y="5"/>
                  </a:cubicBezTo>
                  <a:cubicBezTo>
                    <a:pt x="169" y="5"/>
                    <a:pt x="169" y="5"/>
                    <a:pt x="168" y="6"/>
                  </a:cubicBezTo>
                  <a:cubicBezTo>
                    <a:pt x="169" y="6"/>
                    <a:pt x="168" y="6"/>
                    <a:pt x="168" y="6"/>
                  </a:cubicBezTo>
                  <a:close/>
                  <a:moveTo>
                    <a:pt x="170" y="8"/>
                  </a:moveTo>
                  <a:cubicBezTo>
                    <a:pt x="170" y="8"/>
                    <a:pt x="169" y="8"/>
                    <a:pt x="169" y="8"/>
                  </a:cubicBezTo>
                  <a:cubicBezTo>
                    <a:pt x="169" y="8"/>
                    <a:pt x="170" y="8"/>
                    <a:pt x="170" y="8"/>
                  </a:cubicBezTo>
                  <a:close/>
                  <a:moveTo>
                    <a:pt x="173" y="11"/>
                  </a:moveTo>
                  <a:cubicBezTo>
                    <a:pt x="173" y="11"/>
                    <a:pt x="173" y="11"/>
                    <a:pt x="174" y="11"/>
                  </a:cubicBezTo>
                  <a:cubicBezTo>
                    <a:pt x="174" y="11"/>
                    <a:pt x="173" y="11"/>
                    <a:pt x="173" y="11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6"/>
                    <a:pt x="173" y="6"/>
                    <a:pt x="173" y="6"/>
                  </a:cubicBezTo>
                  <a:cubicBezTo>
                    <a:pt x="173" y="6"/>
                    <a:pt x="172" y="6"/>
                    <a:pt x="172" y="7"/>
                  </a:cubicBezTo>
                  <a:close/>
                  <a:moveTo>
                    <a:pt x="173" y="6"/>
                  </a:moveTo>
                  <a:cubicBezTo>
                    <a:pt x="173" y="6"/>
                    <a:pt x="173" y="6"/>
                    <a:pt x="173" y="6"/>
                  </a:cubicBezTo>
                  <a:cubicBezTo>
                    <a:pt x="173" y="6"/>
                    <a:pt x="173" y="6"/>
                    <a:pt x="174" y="6"/>
                  </a:cubicBezTo>
                  <a:cubicBezTo>
                    <a:pt x="173" y="6"/>
                    <a:pt x="173" y="6"/>
                    <a:pt x="173" y="6"/>
                  </a:cubicBezTo>
                  <a:close/>
                  <a:moveTo>
                    <a:pt x="172" y="3"/>
                  </a:moveTo>
                  <a:cubicBezTo>
                    <a:pt x="172" y="3"/>
                    <a:pt x="172" y="4"/>
                    <a:pt x="172" y="4"/>
                  </a:cubicBezTo>
                  <a:cubicBezTo>
                    <a:pt x="172" y="4"/>
                    <a:pt x="172" y="3"/>
                    <a:pt x="172" y="3"/>
                  </a:cubicBezTo>
                  <a:close/>
                  <a:moveTo>
                    <a:pt x="177" y="9"/>
                  </a:moveTo>
                  <a:cubicBezTo>
                    <a:pt x="177" y="10"/>
                    <a:pt x="176" y="10"/>
                    <a:pt x="176" y="10"/>
                  </a:cubicBezTo>
                  <a:cubicBezTo>
                    <a:pt x="176" y="10"/>
                    <a:pt x="176" y="10"/>
                    <a:pt x="177" y="9"/>
                  </a:cubicBezTo>
                  <a:close/>
                  <a:moveTo>
                    <a:pt x="173" y="5"/>
                  </a:move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6"/>
                  </a:cubicBezTo>
                  <a:cubicBezTo>
                    <a:pt x="173" y="5"/>
                    <a:pt x="174" y="5"/>
                    <a:pt x="173" y="5"/>
                  </a:cubicBezTo>
                  <a:close/>
                  <a:moveTo>
                    <a:pt x="173" y="3"/>
                  </a:moveTo>
                  <a:cubicBezTo>
                    <a:pt x="173" y="3"/>
                    <a:pt x="173" y="3"/>
                    <a:pt x="174" y="2"/>
                  </a:cubicBezTo>
                  <a:cubicBezTo>
                    <a:pt x="173" y="3"/>
                    <a:pt x="173" y="3"/>
                    <a:pt x="173" y="3"/>
                  </a:cubicBezTo>
                  <a:close/>
                  <a:moveTo>
                    <a:pt x="173" y="4"/>
                  </a:moveTo>
                  <a:cubicBezTo>
                    <a:pt x="173" y="4"/>
                    <a:pt x="174" y="4"/>
                    <a:pt x="174" y="4"/>
                  </a:cubicBezTo>
                  <a:cubicBezTo>
                    <a:pt x="174" y="4"/>
                    <a:pt x="174" y="4"/>
                    <a:pt x="173" y="4"/>
                  </a:cubicBezTo>
                  <a:close/>
                  <a:moveTo>
                    <a:pt x="176" y="9"/>
                  </a:moveTo>
                  <a:cubicBezTo>
                    <a:pt x="177" y="9"/>
                    <a:pt x="177" y="9"/>
                    <a:pt x="178" y="9"/>
                  </a:cubicBezTo>
                  <a:cubicBezTo>
                    <a:pt x="177" y="9"/>
                    <a:pt x="177" y="9"/>
                    <a:pt x="176" y="9"/>
                  </a:cubicBezTo>
                  <a:close/>
                  <a:moveTo>
                    <a:pt x="176" y="6"/>
                  </a:moveTo>
                  <a:cubicBezTo>
                    <a:pt x="176" y="7"/>
                    <a:pt x="176" y="7"/>
                    <a:pt x="175" y="7"/>
                  </a:cubicBezTo>
                  <a:cubicBezTo>
                    <a:pt x="175" y="7"/>
                    <a:pt x="176" y="7"/>
                    <a:pt x="176" y="6"/>
                  </a:cubicBezTo>
                  <a:close/>
                  <a:moveTo>
                    <a:pt x="175" y="5"/>
                  </a:moveTo>
                  <a:cubicBezTo>
                    <a:pt x="175" y="5"/>
                    <a:pt x="175" y="5"/>
                    <a:pt x="176" y="4"/>
                  </a:cubicBezTo>
                  <a:cubicBezTo>
                    <a:pt x="176" y="5"/>
                    <a:pt x="175" y="5"/>
                    <a:pt x="175" y="5"/>
                  </a:cubicBezTo>
                  <a:close/>
                  <a:moveTo>
                    <a:pt x="175" y="2"/>
                  </a:moveTo>
                  <a:cubicBezTo>
                    <a:pt x="175" y="2"/>
                    <a:pt x="174" y="2"/>
                    <a:pt x="174" y="2"/>
                  </a:cubicBezTo>
                  <a:cubicBezTo>
                    <a:pt x="174" y="2"/>
                    <a:pt x="174" y="2"/>
                    <a:pt x="175" y="2"/>
                  </a:cubicBezTo>
                  <a:close/>
                  <a:moveTo>
                    <a:pt x="177" y="6"/>
                  </a:moveTo>
                  <a:cubicBezTo>
                    <a:pt x="177" y="6"/>
                    <a:pt x="177" y="6"/>
                    <a:pt x="176" y="6"/>
                  </a:cubicBezTo>
                  <a:cubicBezTo>
                    <a:pt x="177" y="6"/>
                    <a:pt x="177" y="6"/>
                    <a:pt x="177" y="6"/>
                  </a:cubicBezTo>
                  <a:close/>
                  <a:moveTo>
                    <a:pt x="178" y="9"/>
                  </a:moveTo>
                  <a:cubicBezTo>
                    <a:pt x="178" y="9"/>
                    <a:pt x="178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lose/>
                  <a:moveTo>
                    <a:pt x="176" y="1"/>
                  </a:moveTo>
                  <a:cubicBezTo>
                    <a:pt x="176" y="1"/>
                    <a:pt x="176" y="1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5" y="2"/>
                    <a:pt x="176" y="1"/>
                    <a:pt x="176" y="1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9"/>
                  </a:cubicBezTo>
                  <a:cubicBezTo>
                    <a:pt x="180" y="9"/>
                    <a:pt x="179" y="9"/>
                    <a:pt x="179" y="9"/>
                  </a:cubicBezTo>
                  <a:cubicBezTo>
                    <a:pt x="179" y="9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81" y="8"/>
                  </a:move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0" y="8"/>
                    <a:pt x="180" y="8"/>
                  </a:cubicBezTo>
                  <a:cubicBezTo>
                    <a:pt x="180" y="8"/>
                    <a:pt x="181" y="8"/>
                    <a:pt x="181" y="8"/>
                  </a:cubicBezTo>
                  <a:close/>
                  <a:moveTo>
                    <a:pt x="180" y="4"/>
                  </a:moveTo>
                  <a:cubicBezTo>
                    <a:pt x="180" y="4"/>
                    <a:pt x="180" y="4"/>
                    <a:pt x="180" y="5"/>
                  </a:cubicBezTo>
                  <a:cubicBezTo>
                    <a:pt x="180" y="5"/>
                    <a:pt x="180" y="4"/>
                    <a:pt x="180" y="4"/>
                  </a:cubicBezTo>
                  <a:cubicBezTo>
                    <a:pt x="180" y="4"/>
                    <a:pt x="180" y="4"/>
                    <a:pt x="180" y="4"/>
                  </a:cubicBezTo>
                  <a:close/>
                  <a:moveTo>
                    <a:pt x="182" y="7"/>
                  </a:moveTo>
                  <a:cubicBezTo>
                    <a:pt x="182" y="7"/>
                    <a:pt x="182" y="7"/>
                    <a:pt x="182" y="7"/>
                  </a:cubicBezTo>
                  <a:cubicBezTo>
                    <a:pt x="182" y="7"/>
                    <a:pt x="182" y="7"/>
                    <a:pt x="182" y="7"/>
                  </a:cubicBezTo>
                  <a:close/>
                  <a:moveTo>
                    <a:pt x="179" y="1"/>
                  </a:moveTo>
                  <a:cubicBezTo>
                    <a:pt x="178" y="1"/>
                    <a:pt x="178" y="1"/>
                    <a:pt x="178" y="1"/>
                  </a:cubicBezTo>
                  <a:cubicBezTo>
                    <a:pt x="178" y="1"/>
                    <a:pt x="179" y="1"/>
                    <a:pt x="178" y="1"/>
                  </a:cubicBezTo>
                  <a:cubicBezTo>
                    <a:pt x="178" y="0"/>
                    <a:pt x="179" y="0"/>
                    <a:pt x="179" y="1"/>
                  </a:cubicBezTo>
                  <a:close/>
                  <a:moveTo>
                    <a:pt x="181" y="0"/>
                  </a:moveTo>
                  <a:cubicBezTo>
                    <a:pt x="181" y="1"/>
                    <a:pt x="180" y="1"/>
                    <a:pt x="180" y="1"/>
                  </a:cubicBezTo>
                  <a:cubicBezTo>
                    <a:pt x="180" y="1"/>
                    <a:pt x="181" y="0"/>
                    <a:pt x="181" y="0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16" y="88"/>
                  </a:moveTo>
                  <a:cubicBezTo>
                    <a:pt x="17" y="88"/>
                    <a:pt x="17" y="87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87"/>
                    <a:pt x="19" y="87"/>
                    <a:pt x="19" y="87"/>
                  </a:cubicBezTo>
                  <a:cubicBezTo>
                    <a:pt x="20" y="86"/>
                    <a:pt x="21" y="86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2" y="85"/>
                    <a:pt x="23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ubicBezTo>
                    <a:pt x="24" y="84"/>
                    <a:pt x="25" y="84"/>
                    <a:pt x="25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4"/>
                  </a:cubicBezTo>
                  <a:cubicBezTo>
                    <a:pt x="26" y="84"/>
                    <a:pt x="26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2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9" y="83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0"/>
                  </a:cubicBezTo>
                  <a:cubicBezTo>
                    <a:pt x="33" y="81"/>
                    <a:pt x="33" y="80"/>
                    <a:pt x="33" y="81"/>
                  </a:cubicBezTo>
                  <a:cubicBezTo>
                    <a:pt x="34" y="80"/>
                    <a:pt x="34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6" y="80"/>
                    <a:pt x="36" y="80"/>
                  </a:cubicBezTo>
                  <a:cubicBezTo>
                    <a:pt x="36" y="79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7" y="79"/>
                    <a:pt x="38" y="78"/>
                    <a:pt x="39" y="78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9" y="78"/>
                    <a:pt x="38" y="79"/>
                    <a:pt x="38" y="79"/>
                  </a:cubicBezTo>
                  <a:cubicBezTo>
                    <a:pt x="39" y="78"/>
                    <a:pt x="39" y="79"/>
                    <a:pt x="39" y="78"/>
                  </a:cubicBezTo>
                  <a:cubicBezTo>
                    <a:pt x="39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7"/>
                    <a:pt x="41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2" y="77"/>
                    <a:pt x="43" y="76"/>
                    <a:pt x="43" y="76"/>
                  </a:cubicBezTo>
                  <a:cubicBezTo>
                    <a:pt x="43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3" y="76"/>
                    <a:pt x="42" y="77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6" y="76"/>
                    <a:pt x="45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5" y="76"/>
                    <a:pt x="45" y="76"/>
                  </a:cubicBezTo>
                  <a:cubicBezTo>
                    <a:pt x="46" y="75"/>
                    <a:pt x="46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9" y="74"/>
                  </a:cubicBez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4"/>
                    <a:pt x="49" y="73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0" y="74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1" y="73"/>
                    <a:pt x="51" y="73"/>
                  </a:cubicBezTo>
                  <a:cubicBezTo>
                    <a:pt x="51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5" y="71"/>
                    <a:pt x="55" y="71"/>
                  </a:cubicBezTo>
                  <a:cubicBezTo>
                    <a:pt x="56" y="70"/>
                    <a:pt x="56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8" y="69"/>
                    <a:pt x="59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0" y="68"/>
                    <a:pt x="61" y="67"/>
                  </a:cubicBezTo>
                  <a:cubicBezTo>
                    <a:pt x="61" y="68"/>
                    <a:pt x="60" y="68"/>
                    <a:pt x="60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7" y="70"/>
                    <a:pt x="56" y="70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2"/>
                  </a:cubicBezTo>
                  <a:cubicBezTo>
                    <a:pt x="54" y="72"/>
                    <a:pt x="54" y="71"/>
                    <a:pt x="54" y="71"/>
                  </a:cubicBezTo>
                  <a:cubicBezTo>
                    <a:pt x="54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2" y="72"/>
                    <a:pt x="52" y="72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2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5" y="72"/>
                    <a:pt x="56" y="72"/>
                  </a:cubicBezTo>
                  <a:cubicBezTo>
                    <a:pt x="56" y="72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4"/>
                    <a:pt x="52" y="74"/>
                    <a:pt x="51" y="74"/>
                  </a:cubicBezTo>
                  <a:cubicBezTo>
                    <a:pt x="51" y="74"/>
                    <a:pt x="51" y="74"/>
                    <a:pt x="5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50" y="74"/>
                    <a:pt x="51" y="74"/>
                  </a:cubicBezTo>
                  <a:cubicBezTo>
                    <a:pt x="51" y="74"/>
                    <a:pt x="52" y="74"/>
                    <a:pt x="52" y="73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49" y="74"/>
                    <a:pt x="49" y="7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6"/>
                    <a:pt x="48" y="76"/>
                    <a:pt x="48" y="75"/>
                  </a:cubicBezTo>
                  <a:cubicBezTo>
                    <a:pt x="46" y="76"/>
                    <a:pt x="46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6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8"/>
                  </a:cubicBezTo>
                  <a:cubicBezTo>
                    <a:pt x="43" y="77"/>
                    <a:pt x="44" y="77"/>
                    <a:pt x="44" y="77"/>
                  </a:cubicBezTo>
                  <a:cubicBezTo>
                    <a:pt x="44" y="77"/>
                    <a:pt x="43" y="78"/>
                    <a:pt x="43" y="77"/>
                  </a:cubicBezTo>
                  <a:cubicBezTo>
                    <a:pt x="43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9"/>
                    <a:pt x="42" y="78"/>
                    <a:pt x="42" y="79"/>
                  </a:cubicBezTo>
                  <a:cubicBezTo>
                    <a:pt x="42" y="79"/>
                    <a:pt x="42" y="78"/>
                    <a:pt x="42" y="78"/>
                  </a:cubicBezTo>
                  <a:cubicBezTo>
                    <a:pt x="42" y="78"/>
                    <a:pt x="41" y="79"/>
                    <a:pt x="42" y="79"/>
                  </a:cubicBezTo>
                  <a:cubicBezTo>
                    <a:pt x="42" y="79"/>
                    <a:pt x="41" y="79"/>
                    <a:pt x="41" y="79"/>
                  </a:cubicBezTo>
                  <a:cubicBezTo>
                    <a:pt x="41" y="79"/>
                    <a:pt x="40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39" y="79"/>
                    <a:pt x="39" y="80"/>
                  </a:cubicBezTo>
                  <a:cubicBezTo>
                    <a:pt x="39" y="79"/>
                    <a:pt x="38" y="80"/>
                    <a:pt x="38" y="80"/>
                  </a:cubicBezTo>
                  <a:cubicBezTo>
                    <a:pt x="38" y="81"/>
                    <a:pt x="37" y="81"/>
                    <a:pt x="36" y="81"/>
                  </a:cubicBezTo>
                  <a:cubicBezTo>
                    <a:pt x="36" y="81"/>
                    <a:pt x="36" y="81"/>
                    <a:pt x="36" y="82"/>
                  </a:cubicBezTo>
                  <a:cubicBezTo>
                    <a:pt x="36" y="82"/>
                    <a:pt x="36" y="81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8" y="81"/>
                    <a:pt x="37" y="81"/>
                  </a:cubicBezTo>
                  <a:cubicBezTo>
                    <a:pt x="38" y="81"/>
                    <a:pt x="39" y="80"/>
                    <a:pt x="39" y="80"/>
                  </a:cubicBezTo>
                  <a:cubicBezTo>
                    <a:pt x="39" y="80"/>
                    <a:pt x="40" y="80"/>
                    <a:pt x="40" y="79"/>
                  </a:cubicBezTo>
                  <a:cubicBezTo>
                    <a:pt x="40" y="79"/>
                    <a:pt x="40" y="79"/>
                    <a:pt x="41" y="79"/>
                  </a:cubicBezTo>
                  <a:cubicBezTo>
                    <a:pt x="41" y="79"/>
                    <a:pt x="41" y="79"/>
                    <a:pt x="40" y="80"/>
                  </a:cubicBezTo>
                  <a:cubicBezTo>
                    <a:pt x="40" y="80"/>
                    <a:pt x="41" y="79"/>
                    <a:pt x="41" y="80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3" y="79"/>
                    <a:pt x="43" y="79"/>
                  </a:cubicBezTo>
                  <a:cubicBezTo>
                    <a:pt x="43" y="78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7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5" y="79"/>
                    <a:pt x="45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7"/>
                    <a:pt x="48" y="77"/>
                  </a:cubicBezTo>
                  <a:cubicBezTo>
                    <a:pt x="48" y="78"/>
                    <a:pt x="49" y="78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8"/>
                  </a:cubicBezTo>
                  <a:cubicBezTo>
                    <a:pt x="49" y="77"/>
                    <a:pt x="48" y="78"/>
                    <a:pt x="48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50" y="77"/>
                    <a:pt x="50" y="76"/>
                  </a:cubicBezTo>
                  <a:cubicBezTo>
                    <a:pt x="50" y="76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49" y="77"/>
                  </a:cubicBezTo>
                  <a:cubicBezTo>
                    <a:pt x="50" y="78"/>
                    <a:pt x="50" y="77"/>
                    <a:pt x="50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1" y="76"/>
                    <a:pt x="50" y="77"/>
                    <a:pt x="50" y="77"/>
                  </a:cubicBezTo>
                  <a:cubicBezTo>
                    <a:pt x="50" y="77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0" y="75"/>
                    <a:pt x="50" y="75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1" y="75"/>
                    <a:pt x="51" y="76"/>
                  </a:cubicBezTo>
                  <a:cubicBezTo>
                    <a:pt x="51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5" y="73"/>
                  </a:cubicBezTo>
                  <a:cubicBezTo>
                    <a:pt x="56" y="73"/>
                    <a:pt x="56" y="73"/>
                    <a:pt x="56" y="72"/>
                  </a:cubicBezTo>
                  <a:cubicBezTo>
                    <a:pt x="56" y="72"/>
                    <a:pt x="56" y="73"/>
                    <a:pt x="56" y="73"/>
                  </a:cubicBezTo>
                  <a:cubicBezTo>
                    <a:pt x="56" y="73"/>
                    <a:pt x="56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8" y="72"/>
                    <a:pt x="57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6" y="73"/>
                    <a:pt x="57" y="73"/>
                    <a:pt x="57" y="73"/>
                  </a:cubicBezTo>
                  <a:cubicBezTo>
                    <a:pt x="56" y="73"/>
                    <a:pt x="57" y="73"/>
                    <a:pt x="56" y="73"/>
                  </a:cubicBezTo>
                  <a:cubicBezTo>
                    <a:pt x="56" y="73"/>
                    <a:pt x="56" y="74"/>
                    <a:pt x="56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3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5"/>
                    <a:pt x="54" y="74"/>
                    <a:pt x="54" y="74"/>
                  </a:cubicBezTo>
                  <a:cubicBezTo>
                    <a:pt x="54" y="74"/>
                    <a:pt x="53" y="75"/>
                    <a:pt x="53" y="75"/>
                  </a:cubicBezTo>
                  <a:cubicBezTo>
                    <a:pt x="54" y="75"/>
                    <a:pt x="54" y="74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5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3" y="76"/>
                    <a:pt x="53" y="75"/>
                  </a:cubicBezTo>
                  <a:cubicBezTo>
                    <a:pt x="53" y="75"/>
                    <a:pt x="52" y="76"/>
                    <a:pt x="52" y="76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5"/>
                  </a:cubicBezTo>
                  <a:cubicBezTo>
                    <a:pt x="53" y="75"/>
                    <a:pt x="53" y="75"/>
                    <a:pt x="53" y="76"/>
                  </a:cubicBezTo>
                  <a:cubicBezTo>
                    <a:pt x="53" y="76"/>
                    <a:pt x="54" y="75"/>
                    <a:pt x="53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9"/>
                    <a:pt x="49" y="78"/>
                  </a:cubicBezTo>
                  <a:cubicBezTo>
                    <a:pt x="49" y="78"/>
                    <a:pt x="48" y="78"/>
                    <a:pt x="48" y="79"/>
                  </a:cubicBezTo>
                  <a:cubicBezTo>
                    <a:pt x="48" y="78"/>
                    <a:pt x="48" y="78"/>
                    <a:pt x="48" y="79"/>
                  </a:cubicBezTo>
                  <a:cubicBezTo>
                    <a:pt x="48" y="79"/>
                    <a:pt x="48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7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5" y="80"/>
                    <a:pt x="45" y="81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1"/>
                    <a:pt x="45" y="81"/>
                    <a:pt x="44" y="81"/>
                  </a:cubicBezTo>
                  <a:cubicBezTo>
                    <a:pt x="45" y="81"/>
                    <a:pt x="44" y="81"/>
                    <a:pt x="44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5" y="81"/>
                    <a:pt x="44" y="80"/>
                  </a:cubicBezTo>
                  <a:cubicBezTo>
                    <a:pt x="44" y="80"/>
                    <a:pt x="44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4" y="81"/>
                    <a:pt x="44" y="81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1"/>
                    <a:pt x="43" y="81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3" y="82"/>
                  </a:cubicBezTo>
                  <a:cubicBezTo>
                    <a:pt x="43" y="82"/>
                    <a:pt x="43" y="81"/>
                    <a:pt x="43" y="81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2"/>
                    <a:pt x="42" y="82"/>
                  </a:cubicBezTo>
                  <a:cubicBezTo>
                    <a:pt x="43" y="82"/>
                    <a:pt x="43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3" y="82"/>
                    <a:pt x="43" y="82"/>
                  </a:cubicBezTo>
                  <a:cubicBezTo>
                    <a:pt x="42" y="82"/>
                    <a:pt x="42" y="82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1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4"/>
                    <a:pt x="42" y="84"/>
                  </a:cubicBezTo>
                  <a:cubicBezTo>
                    <a:pt x="42" y="84"/>
                    <a:pt x="41" y="83"/>
                    <a:pt x="42" y="83"/>
                  </a:cubicBezTo>
                  <a:cubicBezTo>
                    <a:pt x="42" y="83"/>
                    <a:pt x="41" y="83"/>
                    <a:pt x="41" y="83"/>
                  </a:cubicBezTo>
                  <a:cubicBezTo>
                    <a:pt x="41" y="83"/>
                    <a:pt x="41" y="84"/>
                    <a:pt x="41" y="84"/>
                  </a:cubicBezTo>
                  <a:cubicBezTo>
                    <a:pt x="41" y="84"/>
                    <a:pt x="42" y="84"/>
                    <a:pt x="43" y="83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2" y="84"/>
                    <a:pt x="42" y="84"/>
                    <a:pt x="41" y="84"/>
                  </a:cubicBezTo>
                  <a:cubicBezTo>
                    <a:pt x="41" y="84"/>
                    <a:pt x="41" y="84"/>
                    <a:pt x="42" y="84"/>
                  </a:cubicBezTo>
                  <a:cubicBezTo>
                    <a:pt x="42" y="84"/>
                    <a:pt x="41" y="84"/>
                    <a:pt x="41" y="85"/>
                  </a:cubicBezTo>
                  <a:cubicBezTo>
                    <a:pt x="41" y="85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4"/>
                  </a:cubicBezTo>
                  <a:cubicBezTo>
                    <a:pt x="41" y="84"/>
                    <a:pt x="41" y="83"/>
                    <a:pt x="41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1" y="84"/>
                    <a:pt x="41" y="84"/>
                  </a:cubicBezTo>
                  <a:cubicBezTo>
                    <a:pt x="40" y="84"/>
                    <a:pt x="41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39" y="85"/>
                  </a:cubicBezTo>
                  <a:cubicBezTo>
                    <a:pt x="39" y="85"/>
                    <a:pt x="40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4"/>
                    <a:pt x="39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39" y="84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40" y="85"/>
                  </a:cubicBezTo>
                  <a:cubicBezTo>
                    <a:pt x="40" y="85"/>
                    <a:pt x="39" y="85"/>
                    <a:pt x="40" y="85"/>
                  </a:cubicBezTo>
                  <a:cubicBezTo>
                    <a:pt x="40" y="85"/>
                    <a:pt x="40" y="84"/>
                    <a:pt x="40" y="84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1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6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2" y="85"/>
                    <a:pt x="41" y="85"/>
                    <a:pt x="41" y="85"/>
                  </a:cubicBezTo>
                  <a:cubicBezTo>
                    <a:pt x="42" y="85"/>
                    <a:pt x="42" y="85"/>
                    <a:pt x="42" y="84"/>
                  </a:cubicBezTo>
                  <a:cubicBezTo>
                    <a:pt x="42" y="84"/>
                    <a:pt x="42" y="85"/>
                    <a:pt x="41" y="85"/>
                  </a:cubicBezTo>
                  <a:cubicBezTo>
                    <a:pt x="41" y="85"/>
                    <a:pt x="41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3" y="84"/>
                    <a:pt x="43" y="83"/>
                    <a:pt x="43" y="84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5" y="83"/>
                    <a:pt x="45" y="83"/>
                  </a:cubicBezTo>
                  <a:cubicBezTo>
                    <a:pt x="45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2"/>
                    <a:pt x="45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2"/>
                    <a:pt x="47" y="81"/>
                  </a:cubicBezTo>
                  <a:cubicBezTo>
                    <a:pt x="47" y="81"/>
                    <a:pt x="47" y="81"/>
                    <a:pt x="47" y="82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8" y="81"/>
                    <a:pt x="47" y="81"/>
                    <a:pt x="48" y="81"/>
                  </a:cubicBezTo>
                  <a:cubicBezTo>
                    <a:pt x="48" y="81"/>
                    <a:pt x="47" y="81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9" y="81"/>
                    <a:pt x="49" y="81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0" y="81"/>
                    <a:pt x="50" y="80"/>
                    <a:pt x="50" y="80"/>
                  </a:cubicBezTo>
                  <a:cubicBezTo>
                    <a:pt x="50" y="80"/>
                    <a:pt x="51" y="80"/>
                    <a:pt x="50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79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ubicBezTo>
                    <a:pt x="50" y="80"/>
                    <a:pt x="48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3"/>
                    <a:pt x="45" y="83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3" y="85"/>
                  </a:cubicBezTo>
                  <a:cubicBezTo>
                    <a:pt x="43" y="84"/>
                    <a:pt x="44" y="84"/>
                    <a:pt x="43" y="84"/>
                  </a:cubicBezTo>
                  <a:cubicBezTo>
                    <a:pt x="43" y="85"/>
                    <a:pt x="43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2" y="86"/>
                    <a:pt x="43" y="86"/>
                    <a:pt x="43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5" y="85"/>
                  </a:cubicBezTo>
                  <a:cubicBezTo>
                    <a:pt x="44" y="86"/>
                    <a:pt x="44" y="86"/>
                    <a:pt x="43" y="86"/>
                  </a:cubicBezTo>
                  <a:cubicBezTo>
                    <a:pt x="44" y="86"/>
                    <a:pt x="43" y="86"/>
                    <a:pt x="43" y="87"/>
                  </a:cubicBezTo>
                  <a:cubicBezTo>
                    <a:pt x="43" y="87"/>
                    <a:pt x="43" y="86"/>
                    <a:pt x="43" y="86"/>
                  </a:cubicBezTo>
                  <a:cubicBezTo>
                    <a:pt x="43" y="86"/>
                    <a:pt x="43" y="86"/>
                    <a:pt x="42" y="86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2" y="87"/>
                    <a:pt x="42" y="87"/>
                  </a:cubicBezTo>
                  <a:cubicBezTo>
                    <a:pt x="41" y="88"/>
                    <a:pt x="41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2" y="87"/>
                  </a:cubicBezTo>
                  <a:cubicBezTo>
                    <a:pt x="42" y="87"/>
                    <a:pt x="43" y="87"/>
                    <a:pt x="43" y="87"/>
                  </a:cubicBezTo>
                  <a:cubicBezTo>
                    <a:pt x="43" y="87"/>
                    <a:pt x="43" y="87"/>
                    <a:pt x="44" y="86"/>
                  </a:cubicBezTo>
                  <a:cubicBezTo>
                    <a:pt x="44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8"/>
                    <a:pt x="42" y="87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1" y="88"/>
                    <a:pt x="42" y="88"/>
                    <a:pt x="42" y="88"/>
                  </a:cubicBezTo>
                  <a:cubicBezTo>
                    <a:pt x="42" y="88"/>
                    <a:pt x="41" y="89"/>
                    <a:pt x="42" y="88"/>
                  </a:cubicBezTo>
                  <a:cubicBezTo>
                    <a:pt x="42" y="89"/>
                    <a:pt x="42" y="89"/>
                    <a:pt x="41" y="89"/>
                  </a:cubicBezTo>
                  <a:cubicBezTo>
                    <a:pt x="41" y="89"/>
                    <a:pt x="41" y="88"/>
                    <a:pt x="41" y="88"/>
                  </a:cubicBezTo>
                  <a:cubicBezTo>
                    <a:pt x="41" y="88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0" y="89"/>
                  </a:cubicBezTo>
                  <a:cubicBezTo>
                    <a:pt x="40" y="89"/>
                    <a:pt x="41" y="89"/>
                    <a:pt x="41" y="89"/>
                  </a:cubicBezTo>
                  <a:cubicBezTo>
                    <a:pt x="41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90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1"/>
                  </a:cubicBezTo>
                  <a:cubicBezTo>
                    <a:pt x="38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1"/>
                  </a:cubicBezTo>
                  <a:cubicBezTo>
                    <a:pt x="38" y="91"/>
                    <a:pt x="38" y="90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7" y="91"/>
                    <a:pt x="37" y="91"/>
                  </a:cubicBezTo>
                  <a:cubicBezTo>
                    <a:pt x="37" y="91"/>
                    <a:pt x="37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5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6" y="93"/>
                    <a:pt x="35" y="93"/>
                    <a:pt x="35" y="93"/>
                  </a:cubicBezTo>
                  <a:cubicBezTo>
                    <a:pt x="35" y="93"/>
                    <a:pt x="36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6" y="93"/>
                    <a:pt x="35" y="94"/>
                    <a:pt x="35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7" y="93"/>
                    <a:pt x="37" y="93"/>
                    <a:pt x="37" y="92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6" y="94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5" y="94"/>
                    <a:pt x="35" y="95"/>
                  </a:cubicBezTo>
                  <a:cubicBezTo>
                    <a:pt x="35" y="95"/>
                    <a:pt x="35" y="94"/>
                    <a:pt x="35" y="95"/>
                  </a:cubicBezTo>
                  <a:cubicBezTo>
                    <a:pt x="34" y="95"/>
                    <a:pt x="35" y="95"/>
                    <a:pt x="35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2" y="96"/>
                    <a:pt x="32" y="96"/>
                    <a:pt x="32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2" y="97"/>
                    <a:pt x="3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2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29" y="99"/>
                    <a:pt x="28" y="99"/>
                  </a:cubicBezTo>
                  <a:cubicBezTo>
                    <a:pt x="28" y="99"/>
                    <a:pt x="28" y="99"/>
                    <a:pt x="27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0"/>
                    <a:pt x="28" y="99"/>
                    <a:pt x="28" y="99"/>
                  </a:cubicBezTo>
                  <a:cubicBezTo>
                    <a:pt x="28" y="100"/>
                    <a:pt x="27" y="100"/>
                    <a:pt x="27" y="100"/>
                  </a:cubicBezTo>
                  <a:cubicBezTo>
                    <a:pt x="27" y="99"/>
                    <a:pt x="27" y="100"/>
                    <a:pt x="26" y="100"/>
                  </a:cubicBezTo>
                  <a:cubicBezTo>
                    <a:pt x="26" y="100"/>
                    <a:pt x="27" y="100"/>
                    <a:pt x="27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5" y="100"/>
                    <a:pt x="25" y="100"/>
                    <a:pt x="25" y="100"/>
                  </a:cubicBezTo>
                  <a:cubicBezTo>
                    <a:pt x="24" y="100"/>
                    <a:pt x="24" y="100"/>
                    <a:pt x="23" y="101"/>
                  </a:cubicBezTo>
                  <a:cubicBezTo>
                    <a:pt x="23" y="100"/>
                    <a:pt x="23" y="101"/>
                    <a:pt x="23" y="100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4" y="101"/>
                    <a:pt x="24" y="100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1"/>
                    <a:pt x="24" y="100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ubicBezTo>
                    <a:pt x="25" y="101"/>
                    <a:pt x="24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3" y="101"/>
                    <a:pt x="23" y="101"/>
                  </a:cubicBezTo>
                  <a:cubicBezTo>
                    <a:pt x="23" y="101"/>
                    <a:pt x="23" y="101"/>
                    <a:pt x="22" y="102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2" y="102"/>
                    <a:pt x="23" y="101"/>
                    <a:pt x="22" y="102"/>
                  </a:cubicBezTo>
                  <a:cubicBezTo>
                    <a:pt x="22" y="102"/>
                    <a:pt x="22" y="102"/>
                    <a:pt x="21" y="102"/>
                  </a:cubicBezTo>
                  <a:cubicBezTo>
                    <a:pt x="21" y="103"/>
                    <a:pt x="20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4"/>
                  </a:cubicBezTo>
                  <a:cubicBezTo>
                    <a:pt x="15" y="105"/>
                    <a:pt x="16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5" y="105"/>
                    <a:pt x="16" y="105"/>
                  </a:cubicBezTo>
                  <a:cubicBezTo>
                    <a:pt x="16" y="106"/>
                    <a:pt x="16" y="105"/>
                    <a:pt x="15" y="106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3" y="106"/>
                    <a:pt x="13" y="10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2" y="107"/>
                    <a:pt x="12" y="107"/>
                    <a:pt x="11" y="107"/>
                  </a:cubicBezTo>
                  <a:cubicBezTo>
                    <a:pt x="10" y="107"/>
                    <a:pt x="9" y="108"/>
                    <a:pt x="9" y="108"/>
                  </a:cubicBezTo>
                  <a:cubicBezTo>
                    <a:pt x="9" y="108"/>
                    <a:pt x="9" y="108"/>
                    <a:pt x="8" y="108"/>
                  </a:cubicBezTo>
                  <a:cubicBezTo>
                    <a:pt x="6" y="108"/>
                    <a:pt x="4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2" y="107"/>
                    <a:pt x="2" y="106"/>
                  </a:cubicBezTo>
                  <a:cubicBezTo>
                    <a:pt x="1" y="106"/>
                    <a:pt x="1" y="105"/>
                    <a:pt x="1" y="105"/>
                  </a:cubicBezTo>
                  <a:cubicBezTo>
                    <a:pt x="1" y="105"/>
                    <a:pt x="1" y="104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0" y="104"/>
                    <a:pt x="1" y="103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1"/>
                    <a:pt x="3" y="100"/>
                    <a:pt x="3" y="98"/>
                  </a:cubicBezTo>
                  <a:cubicBezTo>
                    <a:pt x="3" y="98"/>
                    <a:pt x="2" y="99"/>
                    <a:pt x="2" y="99"/>
                  </a:cubicBezTo>
                  <a:cubicBezTo>
                    <a:pt x="2" y="99"/>
                    <a:pt x="3" y="98"/>
                    <a:pt x="3" y="98"/>
                  </a:cubicBezTo>
                  <a:cubicBezTo>
                    <a:pt x="3" y="98"/>
                    <a:pt x="3" y="98"/>
                    <a:pt x="3" y="97"/>
                  </a:cubicBezTo>
                  <a:cubicBezTo>
                    <a:pt x="5" y="96"/>
                    <a:pt x="5" y="95"/>
                    <a:pt x="6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2"/>
                    <a:pt x="10" y="92"/>
                    <a:pt x="10" y="92"/>
                  </a:cubicBezTo>
                  <a:cubicBezTo>
                    <a:pt x="11" y="91"/>
                    <a:pt x="11" y="91"/>
                    <a:pt x="12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0"/>
                    <a:pt x="14" y="89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lose/>
                  <a:moveTo>
                    <a:pt x="32" y="96"/>
                  </a:move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2" y="96"/>
                    <a:pt x="32" y="96"/>
                  </a:cubicBezTo>
                  <a:close/>
                  <a:moveTo>
                    <a:pt x="32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96"/>
                    <a:pt x="32" y="96"/>
                    <a:pt x="32" y="96"/>
                  </a:cubicBezTo>
                  <a:close/>
                  <a:moveTo>
                    <a:pt x="36" y="93"/>
                  </a:move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3" y="95"/>
                  </a:moveTo>
                  <a:cubicBezTo>
                    <a:pt x="33" y="94"/>
                    <a:pt x="32" y="94"/>
                    <a:pt x="32" y="94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5"/>
                    <a:pt x="33" y="95"/>
                    <a:pt x="33" y="95"/>
                  </a:cubicBezTo>
                  <a:close/>
                  <a:moveTo>
                    <a:pt x="34" y="94"/>
                  </a:moveTo>
                  <a:cubicBezTo>
                    <a:pt x="33" y="94"/>
                    <a:pt x="34" y="94"/>
                    <a:pt x="34" y="94"/>
                  </a:cubicBezTo>
                  <a:cubicBezTo>
                    <a:pt x="34" y="94"/>
                    <a:pt x="33" y="94"/>
                    <a:pt x="33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lose/>
                  <a:moveTo>
                    <a:pt x="34" y="94"/>
                  </a:move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5" y="94"/>
                    <a:pt x="34" y="94"/>
                  </a:cubicBezTo>
                  <a:close/>
                  <a:moveTo>
                    <a:pt x="35" y="93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5" y="92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2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6" y="92"/>
                  </a:move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lose/>
                  <a:moveTo>
                    <a:pt x="37" y="91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lose/>
                  <a:moveTo>
                    <a:pt x="38" y="90"/>
                  </a:moveTo>
                  <a:cubicBezTo>
                    <a:pt x="38" y="90"/>
                    <a:pt x="37" y="90"/>
                    <a:pt x="37" y="90"/>
                  </a:cubicBezTo>
                  <a:cubicBezTo>
                    <a:pt x="37" y="90"/>
                    <a:pt x="37" y="91"/>
                    <a:pt x="38" y="90"/>
                  </a:cubicBezTo>
                  <a:cubicBezTo>
                    <a:pt x="37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39" y="89"/>
                    <a:pt x="39" y="89"/>
                  </a:cubicBezTo>
                  <a:close/>
                  <a:moveTo>
                    <a:pt x="38" y="89"/>
                  </a:moveTo>
                  <a:cubicBezTo>
                    <a:pt x="37" y="90"/>
                    <a:pt x="37" y="90"/>
                    <a:pt x="37" y="89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89"/>
                  </a:cubicBezTo>
                  <a:close/>
                  <a:moveTo>
                    <a:pt x="38" y="90"/>
                  </a:moveTo>
                  <a:cubicBezTo>
                    <a:pt x="37" y="90"/>
                    <a:pt x="38" y="90"/>
                    <a:pt x="38" y="89"/>
                  </a:cubicBezTo>
                  <a:cubicBezTo>
                    <a:pt x="38" y="89"/>
                    <a:pt x="37" y="90"/>
                    <a:pt x="37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9"/>
                    <a:pt x="39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40" y="88"/>
                  </a:moveTo>
                  <a:cubicBezTo>
                    <a:pt x="40" y="88"/>
                    <a:pt x="40" y="88"/>
                    <a:pt x="39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lose/>
                  <a:moveTo>
                    <a:pt x="42" y="85"/>
                  </a:moveTo>
                  <a:cubicBezTo>
                    <a:pt x="42" y="85"/>
                    <a:pt x="42" y="86"/>
                    <a:pt x="42" y="86"/>
                  </a:cubicBezTo>
                  <a:cubicBezTo>
                    <a:pt x="42" y="85"/>
                    <a:pt x="43" y="85"/>
                    <a:pt x="43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2" y="85"/>
                    <a:pt x="42" y="85"/>
                    <a:pt x="42" y="85"/>
                  </a:cubicBezTo>
                  <a:close/>
                  <a:moveTo>
                    <a:pt x="42" y="85"/>
                  </a:moveTo>
                  <a:cubicBezTo>
                    <a:pt x="41" y="86"/>
                    <a:pt x="42" y="86"/>
                    <a:pt x="41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5"/>
                    <a:pt x="42" y="85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4"/>
                    <a:pt x="45" y="83"/>
                  </a:cubicBezTo>
                  <a:cubicBezTo>
                    <a:pt x="44" y="83"/>
                    <a:pt x="44" y="84"/>
                    <a:pt x="44" y="83"/>
                  </a:cubicBezTo>
                  <a:close/>
                  <a:moveTo>
                    <a:pt x="45" y="83"/>
                  </a:moveTo>
                  <a:cubicBezTo>
                    <a:pt x="45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4" y="84"/>
                  </a:moveTo>
                  <a:cubicBezTo>
                    <a:pt x="43" y="84"/>
                    <a:pt x="43" y="83"/>
                    <a:pt x="43" y="84"/>
                  </a:cubicBezTo>
                  <a:cubicBezTo>
                    <a:pt x="43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3" y="84"/>
                    <a:pt x="43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39" y="87"/>
                  </a:moveTo>
                  <a:cubicBezTo>
                    <a:pt x="39" y="87"/>
                    <a:pt x="39" y="86"/>
                    <a:pt x="39" y="86"/>
                  </a:cubicBezTo>
                  <a:cubicBezTo>
                    <a:pt x="39" y="86"/>
                    <a:pt x="39" y="87"/>
                    <a:pt x="39" y="87"/>
                  </a:cubicBezTo>
                  <a:close/>
                  <a:moveTo>
                    <a:pt x="27" y="93"/>
                  </a:moveTo>
                  <a:cubicBezTo>
                    <a:pt x="27" y="93"/>
                    <a:pt x="28" y="92"/>
                    <a:pt x="28" y="92"/>
                  </a:cubicBezTo>
                  <a:cubicBezTo>
                    <a:pt x="27" y="92"/>
                    <a:pt x="27" y="93"/>
                    <a:pt x="27" y="93"/>
                  </a:cubicBezTo>
                  <a:close/>
                  <a:moveTo>
                    <a:pt x="37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8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37" y="86"/>
                  </a:moveTo>
                  <a:cubicBezTo>
                    <a:pt x="36" y="87"/>
                    <a:pt x="37" y="86"/>
                    <a:pt x="37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6" y="86"/>
                    <a:pt x="36" y="87"/>
                  </a:cubicBezTo>
                  <a:cubicBezTo>
                    <a:pt x="36" y="87"/>
                    <a:pt x="37" y="86"/>
                    <a:pt x="37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87"/>
                    <a:pt x="37" y="87"/>
                    <a:pt x="37" y="86"/>
                  </a:cubicBezTo>
                  <a:close/>
                  <a:moveTo>
                    <a:pt x="37" y="87"/>
                  </a:moveTo>
                  <a:cubicBezTo>
                    <a:pt x="38" y="87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7"/>
                  </a:cubicBezTo>
                  <a:close/>
                  <a:moveTo>
                    <a:pt x="38" y="86"/>
                  </a:move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5" y="88"/>
                  </a:moveTo>
                  <a:cubicBezTo>
                    <a:pt x="35" y="88"/>
                    <a:pt x="36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9" y="85"/>
                  </a:moveTo>
                  <a:cubicBezTo>
                    <a:pt x="39" y="85"/>
                    <a:pt x="39" y="85"/>
                    <a:pt x="39" y="86"/>
                  </a:cubicBezTo>
                  <a:cubicBezTo>
                    <a:pt x="39" y="85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5"/>
                  </a:cubicBezTo>
                  <a:cubicBezTo>
                    <a:pt x="39" y="86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lose/>
                  <a:moveTo>
                    <a:pt x="38" y="86"/>
                  </a:moveTo>
                  <a:cubicBezTo>
                    <a:pt x="38" y="86"/>
                    <a:pt x="39" y="85"/>
                    <a:pt x="39" y="85"/>
                  </a:cubicBezTo>
                  <a:cubicBezTo>
                    <a:pt x="38" y="85"/>
                    <a:pt x="38" y="85"/>
                    <a:pt x="38" y="86"/>
                  </a:cubicBezTo>
                  <a:close/>
                  <a:moveTo>
                    <a:pt x="38" y="86"/>
                  </a:move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8" y="85"/>
                  </a:moveTo>
                  <a:cubicBezTo>
                    <a:pt x="38" y="85"/>
                    <a:pt x="37" y="85"/>
                    <a:pt x="38" y="85"/>
                  </a:cubicBezTo>
                  <a:cubicBezTo>
                    <a:pt x="38" y="85"/>
                    <a:pt x="38" y="86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6"/>
                    <a:pt x="38" y="85"/>
                    <a:pt x="38" y="85"/>
                  </a:cubicBezTo>
                  <a:close/>
                  <a:moveTo>
                    <a:pt x="37" y="85"/>
                  </a:move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lose/>
                  <a:moveTo>
                    <a:pt x="35" y="86"/>
                  </a:moveTo>
                  <a:cubicBezTo>
                    <a:pt x="35" y="87"/>
                    <a:pt x="35" y="87"/>
                    <a:pt x="34" y="87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7"/>
                    <a:pt x="35" y="87"/>
                    <a:pt x="35" y="86"/>
                  </a:cubicBezTo>
                  <a:close/>
                  <a:moveTo>
                    <a:pt x="39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5"/>
                  </a:cubicBezTo>
                  <a:cubicBezTo>
                    <a:pt x="39" y="84"/>
                    <a:pt x="39" y="84"/>
                    <a:pt x="39" y="84"/>
                  </a:cubicBezTo>
                  <a:close/>
                  <a:moveTo>
                    <a:pt x="41" y="83"/>
                  </a:move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lose/>
                  <a:moveTo>
                    <a:pt x="42" y="82"/>
                  </a:moveTo>
                  <a:cubicBezTo>
                    <a:pt x="42" y="82"/>
                    <a:pt x="41" y="82"/>
                    <a:pt x="42" y="83"/>
                  </a:cubicBezTo>
                  <a:cubicBezTo>
                    <a:pt x="42" y="83"/>
                    <a:pt x="42" y="82"/>
                    <a:pt x="42" y="83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0" y="84"/>
                  </a:cubicBezTo>
                  <a:cubicBezTo>
                    <a:pt x="40" y="83"/>
                    <a:pt x="40" y="83"/>
                    <a:pt x="40" y="83"/>
                  </a:cubicBezTo>
                  <a:close/>
                  <a:moveTo>
                    <a:pt x="56" y="73"/>
                  </a:move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lose/>
                  <a:moveTo>
                    <a:pt x="53" y="74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4"/>
                  </a:cubicBezTo>
                  <a:close/>
                  <a:moveTo>
                    <a:pt x="51" y="77"/>
                  </a:move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41" y="83"/>
                    <a:pt x="41" y="82"/>
                    <a:pt x="41" y="82"/>
                  </a:cubicBezTo>
                  <a:cubicBezTo>
                    <a:pt x="41" y="82"/>
                    <a:pt x="41" y="83"/>
                    <a:pt x="41" y="83"/>
                  </a:cubicBezTo>
                  <a:cubicBezTo>
                    <a:pt x="41" y="82"/>
                    <a:pt x="41" y="82"/>
                    <a:pt x="40" y="83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4" y="80"/>
                    <a:pt x="45" y="80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7" y="78"/>
                  </a:moveTo>
                  <a:cubicBezTo>
                    <a:pt x="47" y="78"/>
                    <a:pt x="47" y="79"/>
                    <a:pt x="47" y="79"/>
                  </a:cubicBezTo>
                  <a:cubicBezTo>
                    <a:pt x="47" y="79"/>
                    <a:pt x="48" y="78"/>
                    <a:pt x="48" y="78"/>
                  </a:cubicBezTo>
                  <a:cubicBezTo>
                    <a:pt x="48" y="78"/>
                    <a:pt x="47" y="78"/>
                    <a:pt x="48" y="78"/>
                  </a:cubicBezTo>
                  <a:cubicBezTo>
                    <a:pt x="47" y="78"/>
                    <a:pt x="47" y="78"/>
                    <a:pt x="47" y="78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5" y="80"/>
                    <a:pt x="45" y="79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6" y="79"/>
                    <a:pt x="46" y="79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2" y="80"/>
                    <a:pt x="43" y="80"/>
                  </a:cubicBezTo>
                  <a:close/>
                  <a:moveTo>
                    <a:pt x="42" y="80"/>
                  </a:moveTo>
                  <a:cubicBezTo>
                    <a:pt x="42" y="80"/>
                    <a:pt x="42" y="80"/>
                    <a:pt x="41" y="80"/>
                  </a:cubicBezTo>
                  <a:cubicBezTo>
                    <a:pt x="41" y="81"/>
                    <a:pt x="42" y="80"/>
                    <a:pt x="42" y="80"/>
                  </a:cubicBezTo>
                  <a:close/>
                  <a:moveTo>
                    <a:pt x="43" y="79"/>
                  </a:moveTo>
                  <a:cubicBezTo>
                    <a:pt x="43" y="79"/>
                    <a:pt x="43" y="80"/>
                    <a:pt x="43" y="80"/>
                  </a:cubicBezTo>
                  <a:cubicBezTo>
                    <a:pt x="43" y="80"/>
                    <a:pt x="43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33" y="84"/>
                  </a:moveTo>
                  <a:cubicBezTo>
                    <a:pt x="34" y="84"/>
                    <a:pt x="33" y="83"/>
                    <a:pt x="33" y="83"/>
                  </a:cubicBezTo>
                  <a:cubicBezTo>
                    <a:pt x="33" y="83"/>
                    <a:pt x="33" y="84"/>
                    <a:pt x="33" y="84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7" y="82"/>
                    <a:pt x="37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7" y="81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lose/>
                  <a:moveTo>
                    <a:pt x="35" y="83"/>
                  </a:moveTo>
                  <a:cubicBezTo>
                    <a:pt x="35" y="83"/>
                    <a:pt x="35" y="83"/>
                    <a:pt x="35" y="83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5" y="83"/>
                    <a:pt x="35" y="83"/>
                  </a:cubicBezTo>
                  <a:close/>
                  <a:moveTo>
                    <a:pt x="35" y="83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6" y="82"/>
                  </a:moveTo>
                  <a:cubicBezTo>
                    <a:pt x="36" y="82"/>
                    <a:pt x="37" y="82"/>
                    <a:pt x="37" y="82"/>
                  </a:cubicBezTo>
                  <a:cubicBezTo>
                    <a:pt x="37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41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lose/>
                  <a:moveTo>
                    <a:pt x="43" y="79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3" y="79"/>
                  </a:cubicBezTo>
                  <a:close/>
                  <a:moveTo>
                    <a:pt x="43" y="79"/>
                  </a:moveTo>
                  <a:cubicBezTo>
                    <a:pt x="43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43" y="78"/>
                  </a:moveTo>
                  <a:cubicBezTo>
                    <a:pt x="43" y="78"/>
                    <a:pt x="43" y="78"/>
                    <a:pt x="43" y="78"/>
                  </a:cubicBezTo>
                  <a:cubicBezTo>
                    <a:pt x="44" y="78"/>
                    <a:pt x="43" y="78"/>
                    <a:pt x="43" y="78"/>
                  </a:cubicBezTo>
                  <a:close/>
                  <a:moveTo>
                    <a:pt x="37" y="82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38" y="81"/>
                  </a:moveTo>
                  <a:cubicBezTo>
                    <a:pt x="38" y="81"/>
                    <a:pt x="37" y="81"/>
                    <a:pt x="37" y="82"/>
                  </a:cubicBezTo>
                  <a:cubicBezTo>
                    <a:pt x="38" y="81"/>
                    <a:pt x="38" y="81"/>
                    <a:pt x="38" y="81"/>
                  </a:cubicBezTo>
                  <a:close/>
                  <a:moveTo>
                    <a:pt x="40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ubicBezTo>
                    <a:pt x="40" y="80"/>
                    <a:pt x="40" y="80"/>
                    <a:pt x="40" y="80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32" y="84"/>
                  </a:moveTo>
                  <a:cubicBezTo>
                    <a:pt x="32" y="84"/>
                    <a:pt x="32" y="84"/>
                    <a:pt x="32" y="84"/>
                  </a:cubicBezTo>
                  <a:cubicBezTo>
                    <a:pt x="33" y="84"/>
                    <a:pt x="33" y="84"/>
                    <a:pt x="33" y="84"/>
                  </a:cubicBezTo>
                  <a:lnTo>
                    <a:pt x="32" y="84"/>
                  </a:lnTo>
                  <a:close/>
                  <a:moveTo>
                    <a:pt x="34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lnTo>
                    <a:pt x="34" y="83"/>
                  </a:lnTo>
                  <a:close/>
                  <a:moveTo>
                    <a:pt x="35" y="82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53" y="73"/>
                  </a:moveTo>
                  <a:cubicBezTo>
                    <a:pt x="53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4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47" y="75"/>
                  </a:moveTo>
                  <a:cubicBezTo>
                    <a:pt x="47" y="75"/>
                    <a:pt x="48" y="75"/>
                    <a:pt x="48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49" y="74"/>
                  </a:moveTo>
                  <a:cubicBezTo>
                    <a:pt x="48" y="74"/>
                    <a:pt x="48" y="75"/>
                    <a:pt x="48" y="75"/>
                  </a:cubicBezTo>
                  <a:cubicBezTo>
                    <a:pt x="48" y="75"/>
                    <a:pt x="49" y="74"/>
                    <a:pt x="49" y="74"/>
                  </a:cubicBezTo>
                  <a:close/>
                  <a:moveTo>
                    <a:pt x="48" y="74"/>
                  </a:move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5"/>
                    <a:pt x="47" y="74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6" y="75"/>
                    <a:pt x="47" y="75"/>
                  </a:cubicBezTo>
                  <a:cubicBezTo>
                    <a:pt x="47" y="75"/>
                    <a:pt x="48" y="74"/>
                    <a:pt x="47" y="75"/>
                  </a:cubicBezTo>
                  <a:cubicBezTo>
                    <a:pt x="48" y="75"/>
                    <a:pt x="47" y="75"/>
                    <a:pt x="48" y="74"/>
                  </a:cubicBezTo>
                  <a:close/>
                  <a:moveTo>
                    <a:pt x="47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7" y="80"/>
                    <a:pt x="38" y="80"/>
                    <a:pt x="38" y="80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40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80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40" y="79"/>
                  </a:moveTo>
                  <a:cubicBezTo>
                    <a:pt x="41" y="79"/>
                    <a:pt x="41" y="78"/>
                    <a:pt x="41" y="78"/>
                  </a:cubicBezTo>
                  <a:cubicBezTo>
                    <a:pt x="41" y="78"/>
                    <a:pt x="40" y="79"/>
                    <a:pt x="40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79"/>
                    <a:pt x="38" y="79"/>
                  </a:cubicBezTo>
                  <a:cubicBezTo>
                    <a:pt x="39" y="79"/>
                    <a:pt x="38" y="79"/>
                    <a:pt x="39" y="79"/>
                  </a:cubicBezTo>
                  <a:cubicBezTo>
                    <a:pt x="38" y="80"/>
                    <a:pt x="39" y="79"/>
                    <a:pt x="40" y="79"/>
                  </a:cubicBezTo>
                  <a:cubicBezTo>
                    <a:pt x="39" y="79"/>
                    <a:pt x="38" y="79"/>
                    <a:pt x="38" y="80"/>
                  </a:cubicBezTo>
                  <a:close/>
                  <a:moveTo>
                    <a:pt x="39" y="79"/>
                  </a:moveTo>
                  <a:cubicBezTo>
                    <a:pt x="40" y="78"/>
                    <a:pt x="39" y="79"/>
                    <a:pt x="39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9"/>
                    <a:pt x="39" y="79"/>
                    <a:pt x="39" y="79"/>
                  </a:cubicBezTo>
                  <a:close/>
                  <a:moveTo>
                    <a:pt x="36" y="80"/>
                  </a:moveTo>
                  <a:cubicBezTo>
                    <a:pt x="36" y="80"/>
                    <a:pt x="37" y="80"/>
                    <a:pt x="37" y="80"/>
                  </a:cubicBezTo>
                  <a:cubicBezTo>
                    <a:pt x="36" y="80"/>
                    <a:pt x="36" y="80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7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6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39" y="79"/>
                  </a:cubicBezTo>
                  <a:cubicBezTo>
                    <a:pt x="39" y="78"/>
                    <a:pt x="39" y="79"/>
                    <a:pt x="39" y="79"/>
                  </a:cubicBezTo>
                  <a:close/>
                  <a:moveTo>
                    <a:pt x="37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37" y="79"/>
                    <a:pt x="38" y="79"/>
                    <a:pt x="38" y="79"/>
                  </a:cubicBezTo>
                  <a:cubicBezTo>
                    <a:pt x="38" y="79"/>
                    <a:pt x="37" y="79"/>
                    <a:pt x="37" y="79"/>
                  </a:cubicBezTo>
                  <a:close/>
                  <a:moveTo>
                    <a:pt x="33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lose/>
                  <a:moveTo>
                    <a:pt x="27" y="83"/>
                  </a:moveTo>
                  <a:cubicBezTo>
                    <a:pt x="27" y="83"/>
                    <a:pt x="26" y="83"/>
                    <a:pt x="26" y="84"/>
                  </a:cubicBezTo>
                  <a:cubicBezTo>
                    <a:pt x="26" y="83"/>
                    <a:pt x="26" y="84"/>
                    <a:pt x="26" y="84"/>
                  </a:cubicBezTo>
                  <a:cubicBezTo>
                    <a:pt x="27" y="84"/>
                    <a:pt x="27" y="83"/>
                    <a:pt x="27" y="83"/>
                  </a:cubicBezTo>
                  <a:close/>
                  <a:moveTo>
                    <a:pt x="24" y="8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4" y="85"/>
                    <a:pt x="24" y="85"/>
                    <a:pt x="25" y="84"/>
                  </a:cubicBezTo>
                  <a:cubicBezTo>
                    <a:pt x="25" y="85"/>
                    <a:pt x="24" y="85"/>
                    <a:pt x="24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5"/>
                    <a:pt x="25" y="84"/>
                    <a:pt x="25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4"/>
                    <a:pt x="24" y="85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4" y="86"/>
                  </a:cubicBezTo>
                  <a:cubicBezTo>
                    <a:pt x="43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3" y="86"/>
                    <a:pt x="43" y="86"/>
                  </a:cubicBezTo>
                  <a:close/>
                  <a:moveTo>
                    <a:pt x="42" y="78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8"/>
                    <a:pt x="42" y="79"/>
                    <a:pt x="42" y="78"/>
                  </a:cubicBezTo>
                  <a:cubicBezTo>
                    <a:pt x="42" y="78"/>
                    <a:pt x="42" y="79"/>
                    <a:pt x="42" y="79"/>
                  </a:cubicBezTo>
                  <a:cubicBezTo>
                    <a:pt x="42" y="78"/>
                    <a:pt x="42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3" y="79"/>
                    <a:pt x="43" y="78"/>
                    <a:pt x="42" y="78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2"/>
                    <a:pt x="1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1" y="101"/>
                    <a:pt x="1" y="101"/>
                  </a:cubicBezTo>
                  <a:cubicBezTo>
                    <a:pt x="0" y="101"/>
                    <a:pt x="1" y="101"/>
                    <a:pt x="1" y="101"/>
                  </a:cubicBezTo>
                  <a:close/>
                  <a:moveTo>
                    <a:pt x="43" y="90"/>
                  </a:moveTo>
                  <a:cubicBezTo>
                    <a:pt x="43" y="90"/>
                    <a:pt x="43" y="90"/>
                    <a:pt x="43" y="90"/>
                  </a:cubicBezTo>
                  <a:cubicBezTo>
                    <a:pt x="43" y="90"/>
                    <a:pt x="43" y="90"/>
                    <a:pt x="42" y="91"/>
                  </a:cubicBezTo>
                  <a:cubicBezTo>
                    <a:pt x="42" y="91"/>
                    <a:pt x="42" y="91"/>
                    <a:pt x="43" y="91"/>
                  </a:cubicBezTo>
                  <a:cubicBezTo>
                    <a:pt x="43" y="90"/>
                    <a:pt x="43" y="90"/>
                    <a:pt x="43" y="90"/>
                  </a:cubicBezTo>
                  <a:close/>
                  <a:moveTo>
                    <a:pt x="44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4" y="86"/>
                    <a:pt x="44" y="86"/>
                  </a:cubicBezTo>
                  <a:cubicBezTo>
                    <a:pt x="44" y="86"/>
                    <a:pt x="45" y="86"/>
                    <a:pt x="44" y="86"/>
                  </a:cubicBezTo>
                  <a:close/>
                  <a:moveTo>
                    <a:pt x="44" y="85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4"/>
                  </a:cubicBezTo>
                  <a:cubicBezTo>
                    <a:pt x="44" y="84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5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4"/>
                    <a:pt x="46" y="83"/>
                    <a:pt x="47" y="83"/>
                  </a:cubicBezTo>
                  <a:cubicBezTo>
                    <a:pt x="47" y="83"/>
                    <a:pt x="46" y="84"/>
                    <a:pt x="46" y="84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lose/>
                  <a:moveTo>
                    <a:pt x="48" y="84"/>
                  </a:moveTo>
                  <a:cubicBezTo>
                    <a:pt x="48" y="84"/>
                    <a:pt x="48" y="84"/>
                    <a:pt x="48" y="83"/>
                  </a:cubicBezTo>
                  <a:cubicBezTo>
                    <a:pt x="48" y="83"/>
                    <a:pt x="49" y="83"/>
                    <a:pt x="49" y="83"/>
                  </a:cubicBezTo>
                  <a:cubicBezTo>
                    <a:pt x="49" y="83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lose/>
                  <a:moveTo>
                    <a:pt x="47" y="83"/>
                  </a:move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7" y="83"/>
                    <a:pt x="47" y="83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1"/>
                  </a:cubicBezTo>
                  <a:cubicBezTo>
                    <a:pt x="47" y="81"/>
                    <a:pt x="47" y="81"/>
                    <a:pt x="46" y="81"/>
                  </a:cubicBezTo>
                  <a:cubicBezTo>
                    <a:pt x="46" y="81"/>
                    <a:pt x="47" y="81"/>
                    <a:pt x="47" y="81"/>
                  </a:cubicBezTo>
                  <a:cubicBezTo>
                    <a:pt x="47" y="81"/>
                    <a:pt x="47" y="80"/>
                    <a:pt x="47" y="81"/>
                  </a:cubicBezTo>
                  <a:cubicBezTo>
                    <a:pt x="47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0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7" y="80"/>
                    <a:pt x="46" y="81"/>
                  </a:cubicBezTo>
                  <a:close/>
                  <a:moveTo>
                    <a:pt x="48" y="82"/>
                  </a:moveTo>
                  <a:cubicBezTo>
                    <a:pt x="48" y="82"/>
                    <a:pt x="48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lose/>
                  <a:moveTo>
                    <a:pt x="45" y="77"/>
                  </a:move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7" y="76"/>
                    <a:pt x="47" y="76"/>
                    <a:pt x="48" y="75"/>
                  </a:cubicBezTo>
                  <a:cubicBezTo>
                    <a:pt x="49" y="76"/>
                    <a:pt x="48" y="76"/>
                    <a:pt x="49" y="76"/>
                  </a:cubicBezTo>
                  <a:cubicBezTo>
                    <a:pt x="49" y="76"/>
                    <a:pt x="49" y="75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0"/>
                  </a:cubicBezTo>
                  <a:cubicBezTo>
                    <a:pt x="47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2"/>
                  </a:moveTo>
                  <a:cubicBezTo>
                    <a:pt x="51" y="81"/>
                    <a:pt x="52" y="80"/>
                    <a:pt x="53" y="80"/>
                  </a:cubicBezTo>
                  <a:cubicBezTo>
                    <a:pt x="53" y="80"/>
                    <a:pt x="52" y="80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1" y="81"/>
                    <a:pt x="50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1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49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49" y="82"/>
                    <a:pt x="50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lose/>
                  <a:moveTo>
                    <a:pt x="49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76"/>
                    <a:pt x="49" y="77"/>
                    <a:pt x="49" y="76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8" y="77"/>
                  </a:cubicBezTo>
                  <a:cubicBezTo>
                    <a:pt x="48" y="77"/>
                    <a:pt x="48" y="77"/>
                    <a:pt x="48" y="76"/>
                  </a:cubicBezTo>
                  <a:cubicBezTo>
                    <a:pt x="48" y="77"/>
                    <a:pt x="48" y="76"/>
                    <a:pt x="48" y="77"/>
                  </a:cubicBezTo>
                  <a:cubicBezTo>
                    <a:pt x="48" y="76"/>
                    <a:pt x="49" y="76"/>
                    <a:pt x="50" y="76"/>
                  </a:cubicBezTo>
                  <a:cubicBezTo>
                    <a:pt x="50" y="76"/>
                    <a:pt x="49" y="76"/>
                    <a:pt x="50" y="76"/>
                  </a:cubicBezTo>
                  <a:cubicBezTo>
                    <a:pt x="50" y="76"/>
                    <a:pt x="49" y="76"/>
                    <a:pt x="49" y="77"/>
                  </a:cubicBezTo>
                  <a:close/>
                  <a:moveTo>
                    <a:pt x="52" y="84"/>
                  </a:moveTo>
                  <a:cubicBezTo>
                    <a:pt x="52" y="84"/>
                    <a:pt x="52" y="84"/>
                    <a:pt x="51" y="84"/>
                  </a:cubicBezTo>
                  <a:cubicBezTo>
                    <a:pt x="52" y="84"/>
                    <a:pt x="52" y="84"/>
                    <a:pt x="52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2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2" y="79"/>
                  </a:move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3" y="79"/>
                    <a:pt x="53" y="79"/>
                    <a:pt x="52" y="80"/>
                  </a:cubicBezTo>
                  <a:cubicBezTo>
                    <a:pt x="52" y="79"/>
                    <a:pt x="52" y="79"/>
                    <a:pt x="52" y="79"/>
                  </a:cubicBezTo>
                  <a:close/>
                  <a:moveTo>
                    <a:pt x="55" y="76"/>
                  </a:moveTo>
                  <a:cubicBezTo>
                    <a:pt x="55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6"/>
                    <a:pt x="55" y="77"/>
                    <a:pt x="55" y="76"/>
                  </a:cubicBezTo>
                  <a:close/>
                  <a:moveTo>
                    <a:pt x="57" y="77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7" y="77"/>
                    <a:pt x="58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8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9" y="77"/>
                  </a:moveTo>
                  <a:cubicBezTo>
                    <a:pt x="60" y="77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7"/>
                  </a:cubicBezTo>
                  <a:cubicBezTo>
                    <a:pt x="60" y="77"/>
                    <a:pt x="59" y="78"/>
                    <a:pt x="58" y="78"/>
                  </a:cubicBezTo>
                  <a:cubicBezTo>
                    <a:pt x="58" y="78"/>
                    <a:pt x="59" y="78"/>
                    <a:pt x="59" y="77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60" y="76"/>
                    <a:pt x="59" y="76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4"/>
                    <a:pt x="59" y="75"/>
                    <a:pt x="60" y="74"/>
                  </a:cubicBezTo>
                  <a:cubicBezTo>
                    <a:pt x="60" y="74"/>
                    <a:pt x="60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58" y="68"/>
                  </a:moveTo>
                  <a:cubicBezTo>
                    <a:pt x="58" y="68"/>
                    <a:pt x="57" y="69"/>
                    <a:pt x="57" y="68"/>
                  </a:cubicBezTo>
                  <a:cubicBezTo>
                    <a:pt x="57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60" y="69"/>
                  </a:moveTo>
                  <a:cubicBezTo>
                    <a:pt x="60" y="69"/>
                    <a:pt x="59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1" y="68"/>
                    <a:pt x="61" y="68"/>
                  </a:cubicBezTo>
                  <a:cubicBezTo>
                    <a:pt x="61" y="69"/>
                    <a:pt x="60" y="69"/>
                    <a:pt x="60" y="69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2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5"/>
                    <a:pt x="66" y="65"/>
                    <a:pt x="67" y="65"/>
                  </a:cubicBezTo>
                  <a:cubicBezTo>
                    <a:pt x="67" y="65"/>
                    <a:pt x="66" y="65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5"/>
                  </a:cubicBezTo>
                  <a:cubicBezTo>
                    <a:pt x="66" y="66"/>
                    <a:pt x="64" y="67"/>
                    <a:pt x="63" y="67"/>
                  </a:cubicBezTo>
                  <a:cubicBezTo>
                    <a:pt x="63" y="68"/>
                    <a:pt x="62" y="68"/>
                    <a:pt x="61" y="68"/>
                  </a:cubicBezTo>
                  <a:cubicBezTo>
                    <a:pt x="61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7"/>
                    <a:pt x="64" y="67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3" y="67"/>
                  </a:move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lose/>
                  <a:moveTo>
                    <a:pt x="62" y="66"/>
                  </a:move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lose/>
                  <a:moveTo>
                    <a:pt x="61" y="65"/>
                  </a:moveTo>
                  <a:cubicBezTo>
                    <a:pt x="62" y="65"/>
                    <a:pt x="62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6"/>
                  </a:cubicBezTo>
                  <a:cubicBezTo>
                    <a:pt x="63" y="66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5"/>
                  </a:cubicBezTo>
                  <a:cubicBezTo>
                    <a:pt x="63" y="65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5"/>
                    <a:pt x="62" y="66"/>
                    <a:pt x="62" y="66"/>
                  </a:cubicBezTo>
                  <a:cubicBezTo>
                    <a:pt x="62" y="65"/>
                    <a:pt x="61" y="66"/>
                    <a:pt x="61" y="65"/>
                  </a:cubicBezTo>
                  <a:close/>
                  <a:moveTo>
                    <a:pt x="64" y="65"/>
                  </a:move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6" y="68"/>
                    <a:pt x="66" y="68"/>
                  </a:cubicBezTo>
                  <a:cubicBezTo>
                    <a:pt x="66" y="68"/>
                    <a:pt x="66" y="67"/>
                    <a:pt x="66" y="67"/>
                  </a:cubicBezTo>
                  <a:cubicBezTo>
                    <a:pt x="66" y="67"/>
                    <a:pt x="66" y="67"/>
                    <a:pt x="65" y="67"/>
                  </a:cubicBezTo>
                  <a:cubicBezTo>
                    <a:pt x="65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8"/>
                    <a:pt x="67" y="68"/>
                    <a:pt x="68" y="67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7" y="68"/>
                  </a:moveTo>
                  <a:cubicBezTo>
                    <a:pt x="67" y="67"/>
                    <a:pt x="67" y="67"/>
                    <a:pt x="66" y="67"/>
                  </a:cubicBezTo>
                  <a:cubicBezTo>
                    <a:pt x="67" y="67"/>
                    <a:pt x="66" y="67"/>
                    <a:pt x="67" y="68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7"/>
                    <a:pt x="65" y="67"/>
                  </a:cubicBezTo>
                  <a:cubicBezTo>
                    <a:pt x="65" y="67"/>
                    <a:pt x="65" y="68"/>
                    <a:pt x="65" y="68"/>
                  </a:cubicBezTo>
                  <a:close/>
                  <a:moveTo>
                    <a:pt x="67" y="67"/>
                  </a:moveTo>
                  <a:cubicBezTo>
                    <a:pt x="67" y="67"/>
                    <a:pt x="67" y="67"/>
                    <a:pt x="68" y="66"/>
                  </a:cubicBezTo>
                  <a:cubicBezTo>
                    <a:pt x="67" y="67"/>
                    <a:pt x="68" y="67"/>
                    <a:pt x="67" y="67"/>
                  </a:cubicBezTo>
                  <a:close/>
                  <a:moveTo>
                    <a:pt x="68" y="66"/>
                  </a:move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8" y="66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5"/>
                    <a:pt x="68" y="65"/>
                  </a:cubicBezTo>
                  <a:cubicBezTo>
                    <a:pt x="68" y="65"/>
                    <a:pt x="68" y="66"/>
                    <a:pt x="68" y="65"/>
                  </a:cubicBezTo>
                  <a:cubicBezTo>
                    <a:pt x="68" y="66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71" y="64"/>
                  </a:moveTo>
                  <a:cubicBezTo>
                    <a:pt x="71" y="63"/>
                    <a:pt x="70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5"/>
                    <a:pt x="69" y="64"/>
                    <a:pt x="69" y="65"/>
                  </a:cubicBezTo>
                  <a:cubicBezTo>
                    <a:pt x="68" y="65"/>
                    <a:pt x="69" y="64"/>
                    <a:pt x="68" y="64"/>
                  </a:cubicBezTo>
                  <a:cubicBezTo>
                    <a:pt x="68" y="64"/>
                    <a:pt x="68" y="64"/>
                    <a:pt x="69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7" y="65"/>
                    <a:pt x="66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8" y="64"/>
                    <a:pt x="68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70" y="62"/>
                    <a:pt x="70" y="62"/>
                  </a:cubicBezTo>
                  <a:cubicBezTo>
                    <a:pt x="70" y="62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1" y="61"/>
                    <a:pt x="70" y="61"/>
                  </a:cubicBezTo>
                  <a:cubicBezTo>
                    <a:pt x="70" y="62"/>
                    <a:pt x="71" y="61"/>
                    <a:pt x="71" y="61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72" y="60"/>
                    <a:pt x="72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8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59"/>
                    <a:pt x="75" y="59"/>
                    <a:pt x="75" y="59"/>
                  </a:cubicBezTo>
                  <a:cubicBezTo>
                    <a:pt x="75" y="59"/>
                    <a:pt x="74" y="59"/>
                    <a:pt x="74" y="59"/>
                  </a:cubicBezTo>
                  <a:cubicBezTo>
                    <a:pt x="74" y="60"/>
                    <a:pt x="74" y="59"/>
                    <a:pt x="74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60"/>
                    <a:pt x="75" y="60"/>
                    <a:pt x="74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59"/>
                  </a:cubicBezTo>
                  <a:cubicBezTo>
                    <a:pt x="75" y="59"/>
                    <a:pt x="76" y="59"/>
                    <a:pt x="75" y="60"/>
                  </a:cubicBezTo>
                  <a:cubicBezTo>
                    <a:pt x="75" y="60"/>
                    <a:pt x="75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59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60"/>
                    <a:pt x="76" y="60"/>
                  </a:cubicBezTo>
                  <a:cubicBezTo>
                    <a:pt x="76" y="60"/>
                    <a:pt x="76" y="59"/>
                    <a:pt x="76" y="59"/>
                  </a:cubicBezTo>
                  <a:cubicBezTo>
                    <a:pt x="76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7" y="59"/>
                    <a:pt x="77" y="58"/>
                  </a:cubicBezTo>
                  <a:cubicBezTo>
                    <a:pt x="77" y="58"/>
                    <a:pt x="77" y="59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60"/>
                    <a:pt x="76" y="60"/>
                  </a:cubicBezTo>
                  <a:cubicBezTo>
                    <a:pt x="76" y="60"/>
                    <a:pt x="76" y="59"/>
                    <a:pt x="77" y="59"/>
                  </a:cubicBezTo>
                  <a:cubicBezTo>
                    <a:pt x="77" y="59"/>
                    <a:pt x="77" y="60"/>
                    <a:pt x="77" y="59"/>
                  </a:cubicBezTo>
                  <a:cubicBezTo>
                    <a:pt x="77" y="60"/>
                    <a:pt x="76" y="60"/>
                    <a:pt x="76" y="60"/>
                  </a:cubicBezTo>
                  <a:cubicBezTo>
                    <a:pt x="76" y="60"/>
                    <a:pt x="75" y="60"/>
                    <a:pt x="75" y="60"/>
                  </a:cubicBezTo>
                  <a:cubicBezTo>
                    <a:pt x="75" y="60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3" y="61"/>
                  </a:cubicBezTo>
                  <a:cubicBezTo>
                    <a:pt x="74" y="61"/>
                    <a:pt x="73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4" y="61"/>
                  </a:cubicBezTo>
                  <a:cubicBezTo>
                    <a:pt x="74" y="61"/>
                    <a:pt x="74" y="61"/>
                    <a:pt x="73" y="62"/>
                  </a:cubicBezTo>
                  <a:cubicBezTo>
                    <a:pt x="73" y="62"/>
                    <a:pt x="73" y="62"/>
                    <a:pt x="73" y="61"/>
                  </a:cubicBezTo>
                  <a:cubicBezTo>
                    <a:pt x="73" y="61"/>
                    <a:pt x="73" y="62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1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1"/>
                    <a:pt x="76" y="61"/>
                  </a:cubicBezTo>
                  <a:cubicBezTo>
                    <a:pt x="76" y="61"/>
                    <a:pt x="77" y="61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2"/>
                    <a:pt x="73" y="62"/>
                    <a:pt x="72" y="63"/>
                  </a:cubicBezTo>
                  <a:cubicBezTo>
                    <a:pt x="72" y="64"/>
                    <a:pt x="72" y="63"/>
                    <a:pt x="72" y="64"/>
                  </a:cubicBezTo>
                  <a:cubicBezTo>
                    <a:pt x="72" y="64"/>
                    <a:pt x="71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3"/>
                    <a:pt x="73" y="63"/>
                    <a:pt x="73" y="64"/>
                  </a:cubicBezTo>
                  <a:cubicBezTo>
                    <a:pt x="73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4"/>
                    <a:pt x="73" y="64"/>
                    <a:pt x="74" y="63"/>
                  </a:cubicBezTo>
                  <a:cubicBezTo>
                    <a:pt x="74" y="64"/>
                    <a:pt x="75" y="63"/>
                    <a:pt x="74" y="63"/>
                  </a:cubicBezTo>
                  <a:cubicBezTo>
                    <a:pt x="74" y="63"/>
                    <a:pt x="75" y="63"/>
                    <a:pt x="74" y="63"/>
                  </a:cubicBezTo>
                  <a:cubicBezTo>
                    <a:pt x="75" y="63"/>
                    <a:pt x="74" y="64"/>
                    <a:pt x="74" y="63"/>
                  </a:cubicBezTo>
                  <a:cubicBezTo>
                    <a:pt x="74" y="64"/>
                    <a:pt x="73" y="64"/>
                    <a:pt x="74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5"/>
                    <a:pt x="73" y="64"/>
                    <a:pt x="73" y="64"/>
                  </a:cubicBezTo>
                  <a:cubicBezTo>
                    <a:pt x="73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66"/>
                    <a:pt x="74" y="65"/>
                    <a:pt x="74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3" y="66"/>
                    <a:pt x="73" y="66"/>
                  </a:cubicBezTo>
                  <a:cubicBezTo>
                    <a:pt x="73" y="67"/>
                    <a:pt x="73" y="66"/>
                    <a:pt x="73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3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1" y="68"/>
                    <a:pt x="72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2" y="67"/>
                    <a:pt x="71" y="67"/>
                    <a:pt x="72" y="67"/>
                  </a:cubicBezTo>
                  <a:cubicBezTo>
                    <a:pt x="71" y="67"/>
                    <a:pt x="72" y="66"/>
                    <a:pt x="71" y="67"/>
                  </a:cubicBezTo>
                  <a:cubicBezTo>
                    <a:pt x="71" y="67"/>
                    <a:pt x="71" y="67"/>
                    <a:pt x="72" y="66"/>
                  </a:cubicBezTo>
                  <a:cubicBezTo>
                    <a:pt x="71" y="66"/>
                    <a:pt x="71" y="67"/>
                    <a:pt x="71" y="67"/>
                  </a:cubicBezTo>
                  <a:cubicBezTo>
                    <a:pt x="71" y="66"/>
                    <a:pt x="71" y="67"/>
                    <a:pt x="70" y="67"/>
                  </a:cubicBezTo>
                  <a:cubicBezTo>
                    <a:pt x="70" y="66"/>
                    <a:pt x="70" y="66"/>
                    <a:pt x="71" y="66"/>
                  </a:cubicBezTo>
                  <a:cubicBezTo>
                    <a:pt x="70" y="66"/>
                    <a:pt x="70" y="67"/>
                    <a:pt x="69" y="67"/>
                  </a:cubicBezTo>
                  <a:cubicBezTo>
                    <a:pt x="69" y="66"/>
                    <a:pt x="70" y="66"/>
                    <a:pt x="70" y="66"/>
                  </a:cubicBezTo>
                  <a:cubicBezTo>
                    <a:pt x="70" y="66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0" y="65"/>
                    <a:pt x="70" y="65"/>
                  </a:cubicBezTo>
                  <a:cubicBezTo>
                    <a:pt x="70" y="65"/>
                    <a:pt x="71" y="65"/>
                    <a:pt x="70" y="65"/>
                  </a:cubicBezTo>
                  <a:cubicBezTo>
                    <a:pt x="71" y="65"/>
                    <a:pt x="69" y="65"/>
                    <a:pt x="70" y="65"/>
                  </a:cubicBezTo>
                  <a:cubicBezTo>
                    <a:pt x="69" y="65"/>
                    <a:pt x="69" y="65"/>
                    <a:pt x="69" y="66"/>
                  </a:cubicBezTo>
                  <a:cubicBezTo>
                    <a:pt x="69" y="65"/>
                    <a:pt x="69" y="66"/>
                    <a:pt x="69" y="65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8" y="66"/>
                    <a:pt x="69" y="65"/>
                    <a:pt x="68" y="66"/>
                  </a:cubicBezTo>
                  <a:cubicBezTo>
                    <a:pt x="68" y="65"/>
                    <a:pt x="69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1" y="64"/>
                    <a:pt x="71" y="64"/>
                  </a:cubicBezTo>
                  <a:cubicBezTo>
                    <a:pt x="70" y="64"/>
                    <a:pt x="70" y="64"/>
                    <a:pt x="71" y="64"/>
                  </a:cubicBezTo>
                  <a:close/>
                  <a:moveTo>
                    <a:pt x="72" y="67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lose/>
                  <a:moveTo>
                    <a:pt x="72" y="66"/>
                  </a:moveTo>
                  <a:cubicBezTo>
                    <a:pt x="72" y="66"/>
                    <a:pt x="72" y="67"/>
                    <a:pt x="72" y="67"/>
                  </a:cubicBezTo>
                  <a:cubicBezTo>
                    <a:pt x="72" y="67"/>
                    <a:pt x="72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lose/>
                  <a:moveTo>
                    <a:pt x="72" y="65"/>
                  </a:moveTo>
                  <a:cubicBezTo>
                    <a:pt x="72" y="66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lose/>
                  <a:moveTo>
                    <a:pt x="71" y="64"/>
                  </a:move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4"/>
                  </a:cubicBezTo>
                  <a:close/>
                  <a:moveTo>
                    <a:pt x="76" y="60"/>
                  </a:move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7" y="59"/>
                    <a:pt x="76" y="59"/>
                  </a:cubicBezTo>
                  <a:cubicBezTo>
                    <a:pt x="76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60"/>
                  </a:cubicBezTo>
                  <a:close/>
                  <a:moveTo>
                    <a:pt x="74" y="61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lose/>
                  <a:moveTo>
                    <a:pt x="75" y="60"/>
                  </a:moveTo>
                  <a:cubicBezTo>
                    <a:pt x="75" y="60"/>
                    <a:pt x="75" y="61"/>
                    <a:pt x="74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60"/>
                  </a:moveTo>
                  <a:cubicBezTo>
                    <a:pt x="74" y="60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0" y="62"/>
                  </a:moveTo>
                  <a:cubicBezTo>
                    <a:pt x="70" y="62"/>
                    <a:pt x="69" y="62"/>
                    <a:pt x="69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4" y="60"/>
                  </a:move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3" y="61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lose/>
                  <a:moveTo>
                    <a:pt x="73" y="61"/>
                  </a:moveTo>
                  <a:cubicBezTo>
                    <a:pt x="73" y="61"/>
                    <a:pt x="73" y="61"/>
                    <a:pt x="73" y="60"/>
                  </a:cubicBezTo>
                  <a:cubicBezTo>
                    <a:pt x="73" y="60"/>
                    <a:pt x="73" y="60"/>
                    <a:pt x="74" y="60"/>
                  </a:cubicBezTo>
                  <a:cubicBezTo>
                    <a:pt x="74" y="60"/>
                    <a:pt x="73" y="60"/>
                    <a:pt x="73" y="60"/>
                  </a:cubicBezTo>
                  <a:cubicBezTo>
                    <a:pt x="73" y="60"/>
                    <a:pt x="72" y="60"/>
                    <a:pt x="72" y="60"/>
                  </a:cubicBezTo>
                  <a:cubicBezTo>
                    <a:pt x="73" y="60"/>
                    <a:pt x="72" y="61"/>
                    <a:pt x="72" y="60"/>
                  </a:cubicBezTo>
                  <a:cubicBezTo>
                    <a:pt x="72" y="61"/>
                    <a:pt x="72" y="61"/>
                    <a:pt x="73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0"/>
                    <a:pt x="73" y="61"/>
                    <a:pt x="72" y="61"/>
                  </a:cubicBezTo>
                  <a:cubicBezTo>
                    <a:pt x="73" y="60"/>
                    <a:pt x="72" y="61"/>
                    <a:pt x="73" y="61"/>
                  </a:cubicBezTo>
                  <a:close/>
                  <a:moveTo>
                    <a:pt x="70" y="62"/>
                  </a:moveTo>
                  <a:cubicBezTo>
                    <a:pt x="70" y="62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lose/>
                  <a:moveTo>
                    <a:pt x="73" y="62"/>
                  </a:moveTo>
                  <a:cubicBezTo>
                    <a:pt x="73" y="63"/>
                    <a:pt x="73" y="62"/>
                    <a:pt x="73" y="63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2"/>
                    <a:pt x="73" y="62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3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70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3"/>
                  </a:cubicBezTo>
                  <a:cubicBezTo>
                    <a:pt x="70" y="63"/>
                    <a:pt x="70" y="63"/>
                    <a:pt x="70" y="64"/>
                  </a:cubicBezTo>
                  <a:cubicBezTo>
                    <a:pt x="70" y="64"/>
                    <a:pt x="70" y="63"/>
                    <a:pt x="70" y="64"/>
                  </a:cubicBezTo>
                  <a:close/>
                  <a:moveTo>
                    <a:pt x="70" y="63"/>
                  </a:moveTo>
                  <a:cubicBezTo>
                    <a:pt x="71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0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69" y="63"/>
                    <a:pt x="69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69" y="64"/>
                    <a:pt x="70" y="63"/>
                  </a:cubicBezTo>
                  <a:close/>
                  <a:moveTo>
                    <a:pt x="70" y="64"/>
                  </a:moveTo>
                  <a:cubicBezTo>
                    <a:pt x="70" y="64"/>
                    <a:pt x="69" y="64"/>
                    <a:pt x="69" y="64"/>
                  </a:cubicBezTo>
                  <a:cubicBezTo>
                    <a:pt x="69" y="64"/>
                    <a:pt x="70" y="64"/>
                    <a:pt x="70" y="64"/>
                  </a:cubicBezTo>
                  <a:close/>
                  <a:moveTo>
                    <a:pt x="72" y="63"/>
                  </a:move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1" y="63"/>
                    <a:pt x="71" y="63"/>
                  </a:cubicBezTo>
                  <a:cubicBezTo>
                    <a:pt x="71" y="63"/>
                    <a:pt x="72" y="63"/>
                    <a:pt x="72" y="63"/>
                  </a:cubicBezTo>
                  <a:close/>
                  <a:moveTo>
                    <a:pt x="76" y="6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lose/>
                  <a:moveTo>
                    <a:pt x="72" y="61"/>
                  </a:move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2" y="61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7"/>
                    <a:pt x="67" y="67"/>
                  </a:cubicBezTo>
                  <a:cubicBezTo>
                    <a:pt x="68" y="67"/>
                    <a:pt x="69" y="66"/>
                    <a:pt x="68" y="67"/>
                  </a:cubicBezTo>
                  <a:close/>
                  <a:moveTo>
                    <a:pt x="68" y="69"/>
                  </a:moveTo>
                  <a:cubicBezTo>
                    <a:pt x="68" y="68"/>
                    <a:pt x="69" y="68"/>
                    <a:pt x="69" y="68"/>
                  </a:cubicBezTo>
                  <a:cubicBezTo>
                    <a:pt x="69" y="68"/>
                    <a:pt x="69" y="68"/>
                    <a:pt x="70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69" y="68"/>
                    <a:pt x="69" y="68"/>
                    <a:pt x="69" y="69"/>
                  </a:cubicBezTo>
                  <a:cubicBezTo>
                    <a:pt x="69" y="69"/>
                    <a:pt x="69" y="68"/>
                    <a:pt x="68" y="69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8"/>
                  </a:cubicBezTo>
                  <a:lnTo>
                    <a:pt x="69" y="67"/>
                  </a:lnTo>
                  <a:close/>
                  <a:moveTo>
                    <a:pt x="73" y="71"/>
                  </a:moveTo>
                  <a:cubicBezTo>
                    <a:pt x="72" y="72"/>
                    <a:pt x="73" y="72"/>
                    <a:pt x="72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71"/>
                    <a:pt x="72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2" y="71"/>
                    <a:pt x="73" y="71"/>
                  </a:cubicBezTo>
                  <a:close/>
                  <a:moveTo>
                    <a:pt x="71" y="69"/>
                  </a:moveTo>
                  <a:cubicBezTo>
                    <a:pt x="71" y="69"/>
                    <a:pt x="72" y="69"/>
                    <a:pt x="72" y="68"/>
                  </a:cubicBezTo>
                  <a:cubicBezTo>
                    <a:pt x="72" y="68"/>
                    <a:pt x="72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2" y="68"/>
                    <a:pt x="72" y="68"/>
                    <a:pt x="73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8"/>
                    <a:pt x="73" y="68"/>
                    <a:pt x="73" y="67"/>
                  </a:cubicBezTo>
                  <a:cubicBezTo>
                    <a:pt x="73" y="67"/>
                    <a:pt x="73" y="68"/>
                    <a:pt x="73" y="68"/>
                  </a:cubicBezTo>
                  <a:cubicBezTo>
                    <a:pt x="73" y="68"/>
                    <a:pt x="73" y="67"/>
                    <a:pt x="73" y="68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3" y="68"/>
                  </a:cubicBezTo>
                  <a:cubicBezTo>
                    <a:pt x="74" y="68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5" y="67"/>
                    <a:pt x="75" y="67"/>
                  </a:cubicBezTo>
                  <a:cubicBezTo>
                    <a:pt x="75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5" y="67"/>
                    <a:pt x="74" y="67"/>
                    <a:pt x="75" y="67"/>
                  </a:cubicBezTo>
                  <a:cubicBezTo>
                    <a:pt x="74" y="67"/>
                    <a:pt x="74" y="67"/>
                    <a:pt x="74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5" y="67"/>
                    <a:pt x="75" y="67"/>
                    <a:pt x="76" y="67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6" y="66"/>
                    <a:pt x="76" y="67"/>
                    <a:pt x="76" y="66"/>
                  </a:cubicBezTo>
                  <a:cubicBezTo>
                    <a:pt x="76" y="67"/>
                    <a:pt x="76" y="67"/>
                    <a:pt x="75" y="67"/>
                  </a:cubicBezTo>
                  <a:cubicBezTo>
                    <a:pt x="76" y="67"/>
                    <a:pt x="75" y="67"/>
                    <a:pt x="76" y="67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7"/>
                  </a:cubicBezTo>
                  <a:cubicBezTo>
                    <a:pt x="75" y="67"/>
                    <a:pt x="76" y="67"/>
                    <a:pt x="76" y="67"/>
                  </a:cubicBezTo>
                  <a:cubicBezTo>
                    <a:pt x="76" y="67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7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8" y="68"/>
                    <a:pt x="77" y="68"/>
                    <a:pt x="77" y="68"/>
                  </a:cubicBezTo>
                  <a:cubicBezTo>
                    <a:pt x="77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8" y="69"/>
                    <a:pt x="77" y="68"/>
                  </a:cubicBezTo>
                  <a:cubicBezTo>
                    <a:pt x="77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6" y="69"/>
                    <a:pt x="76" y="68"/>
                  </a:cubicBezTo>
                  <a:cubicBezTo>
                    <a:pt x="76" y="68"/>
                    <a:pt x="76" y="68"/>
                    <a:pt x="77" y="68"/>
                  </a:cubicBezTo>
                  <a:cubicBezTo>
                    <a:pt x="77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9"/>
                    <a:pt x="76" y="68"/>
                    <a:pt x="76" y="69"/>
                  </a:cubicBezTo>
                  <a:cubicBezTo>
                    <a:pt x="76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8"/>
                    <a:pt x="76" y="68"/>
                  </a:cubicBezTo>
                  <a:cubicBezTo>
                    <a:pt x="75" y="68"/>
                    <a:pt x="75" y="68"/>
                    <a:pt x="75" y="69"/>
                  </a:cubicBezTo>
                  <a:cubicBezTo>
                    <a:pt x="75" y="69"/>
                    <a:pt x="74" y="68"/>
                    <a:pt x="75" y="68"/>
                  </a:cubicBezTo>
                  <a:cubicBezTo>
                    <a:pt x="74" y="68"/>
                    <a:pt x="74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4" y="68"/>
                    <a:pt x="74" y="68"/>
                  </a:cubicBezTo>
                  <a:cubicBezTo>
                    <a:pt x="74" y="68"/>
                    <a:pt x="73" y="69"/>
                    <a:pt x="73" y="68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2" y="69"/>
                  </a:cubicBezTo>
                  <a:cubicBezTo>
                    <a:pt x="73" y="69"/>
                    <a:pt x="72" y="69"/>
                    <a:pt x="72" y="69"/>
                  </a:cubicBezTo>
                  <a:cubicBezTo>
                    <a:pt x="73" y="69"/>
                    <a:pt x="73" y="69"/>
                    <a:pt x="73" y="68"/>
                  </a:cubicBezTo>
                  <a:cubicBezTo>
                    <a:pt x="73" y="68"/>
                    <a:pt x="72" y="69"/>
                    <a:pt x="72" y="69"/>
                  </a:cubicBezTo>
                  <a:cubicBezTo>
                    <a:pt x="72" y="69"/>
                    <a:pt x="71" y="69"/>
                    <a:pt x="71" y="69"/>
                  </a:cubicBezTo>
                  <a:close/>
                  <a:moveTo>
                    <a:pt x="76" y="68"/>
                  </a:move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lose/>
                  <a:moveTo>
                    <a:pt x="75" y="68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6" y="68"/>
                    <a:pt x="75" y="68"/>
                    <a:pt x="75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4" y="68"/>
                    <a:pt x="74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69" y="66"/>
                  </a:moveTo>
                  <a:cubicBezTo>
                    <a:pt x="69" y="65"/>
                    <a:pt x="70" y="66"/>
                    <a:pt x="70" y="65"/>
                  </a:cubicBezTo>
                  <a:cubicBezTo>
                    <a:pt x="70" y="66"/>
                    <a:pt x="70" y="65"/>
                    <a:pt x="69" y="66"/>
                  </a:cubicBezTo>
                  <a:close/>
                  <a:moveTo>
                    <a:pt x="74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3"/>
                  </a:cubicBezTo>
                  <a:cubicBezTo>
                    <a:pt x="74" y="73"/>
                    <a:pt x="74" y="73"/>
                    <a:pt x="74" y="72"/>
                  </a:cubicBezTo>
                  <a:close/>
                  <a:moveTo>
                    <a:pt x="75" y="64"/>
                  </a:moveTo>
                  <a:cubicBezTo>
                    <a:pt x="75" y="64"/>
                    <a:pt x="74" y="64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6" y="63"/>
                    <a:pt x="76" y="64"/>
                  </a:cubicBezTo>
                  <a:cubicBezTo>
                    <a:pt x="76" y="64"/>
                    <a:pt x="75" y="64"/>
                    <a:pt x="75" y="64"/>
                  </a:cubicBezTo>
                  <a:close/>
                  <a:moveTo>
                    <a:pt x="74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3" y="63"/>
                    <a:pt x="74" y="63"/>
                    <a:pt x="74" y="62"/>
                  </a:cubicBezTo>
                  <a:close/>
                  <a:moveTo>
                    <a:pt x="110" y="44"/>
                  </a:moveTo>
                  <a:cubicBezTo>
                    <a:pt x="110" y="44"/>
                    <a:pt x="111" y="43"/>
                    <a:pt x="111" y="43"/>
                  </a:cubicBezTo>
                  <a:cubicBezTo>
                    <a:pt x="112" y="43"/>
                    <a:pt x="111" y="43"/>
                    <a:pt x="111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2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2"/>
                    <a:pt x="115" y="41"/>
                    <a:pt x="116" y="41"/>
                  </a:cubicBezTo>
                  <a:cubicBezTo>
                    <a:pt x="115" y="42"/>
                    <a:pt x="114" y="42"/>
                    <a:pt x="114" y="42"/>
                  </a:cubicBezTo>
                  <a:cubicBezTo>
                    <a:pt x="114" y="42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6" y="42"/>
                    <a:pt x="115" y="42"/>
                  </a:cubicBezTo>
                  <a:cubicBezTo>
                    <a:pt x="114" y="42"/>
                    <a:pt x="115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3"/>
                  </a:cubicBezTo>
                  <a:cubicBezTo>
                    <a:pt x="114" y="43"/>
                    <a:pt x="114" y="42"/>
                    <a:pt x="113" y="43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5" y="42"/>
                    <a:pt x="115" y="42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5" y="42"/>
                    <a:pt x="115" y="42"/>
                  </a:cubicBezTo>
                  <a:cubicBezTo>
                    <a:pt x="114" y="43"/>
                    <a:pt x="114" y="43"/>
                    <a:pt x="113" y="44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3" y="44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5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4" y="44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4"/>
                    <a:pt x="113" y="44"/>
                    <a:pt x="112" y="44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2" y="44"/>
                  </a:cubicBezTo>
                  <a:cubicBezTo>
                    <a:pt x="112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4"/>
                  </a:cubicBezTo>
                  <a:cubicBezTo>
                    <a:pt x="111" y="45"/>
                    <a:pt x="111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09" y="45"/>
                  </a:cubicBezTo>
                  <a:cubicBezTo>
                    <a:pt x="110" y="45"/>
                    <a:pt x="109" y="45"/>
                    <a:pt x="109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1" y="44"/>
                    <a:pt x="111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3"/>
                  </a:cubicBezTo>
                  <a:cubicBezTo>
                    <a:pt x="112" y="43"/>
                    <a:pt x="111" y="44"/>
                    <a:pt x="111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1" y="43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0" y="45"/>
                    <a:pt x="110" y="44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7" y="45"/>
                    <a:pt x="108" y="45"/>
                    <a:pt x="108" y="46"/>
                  </a:cubicBezTo>
                  <a:cubicBezTo>
                    <a:pt x="108" y="46"/>
                    <a:pt x="107" y="46"/>
                    <a:pt x="107" y="46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7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5" y="47"/>
                    <a:pt x="105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6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6" y="46"/>
                    <a:pt x="106" y="46"/>
                  </a:cubicBezTo>
                  <a:cubicBezTo>
                    <a:pt x="105" y="46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4" y="47"/>
                    <a:pt x="104" y="48"/>
                    <a:pt x="103" y="48"/>
                  </a:cubicBez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2" y="48"/>
                    <a:pt x="103" y="48"/>
                  </a:cubicBezTo>
                  <a:cubicBezTo>
                    <a:pt x="102" y="48"/>
                    <a:pt x="102" y="48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8"/>
                  </a:cubicBezTo>
                  <a:cubicBezTo>
                    <a:pt x="101" y="48"/>
                    <a:pt x="101" y="49"/>
                    <a:pt x="101" y="49"/>
                  </a:cubicBezTo>
                  <a:cubicBezTo>
                    <a:pt x="100" y="49"/>
                    <a:pt x="99" y="50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8" y="50"/>
                    <a:pt x="98" y="50"/>
                  </a:cubicBezTo>
                  <a:cubicBezTo>
                    <a:pt x="98" y="50"/>
                    <a:pt x="99" y="50"/>
                    <a:pt x="98" y="50"/>
                  </a:cubicBezTo>
                  <a:cubicBezTo>
                    <a:pt x="98" y="50"/>
                    <a:pt x="99" y="50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100" y="49"/>
                  </a:cubicBezTo>
                  <a:cubicBezTo>
                    <a:pt x="100" y="49"/>
                    <a:pt x="101" y="48"/>
                    <a:pt x="102" y="48"/>
                  </a:cubicBezTo>
                  <a:cubicBezTo>
                    <a:pt x="102" y="48"/>
                    <a:pt x="102" y="48"/>
                    <a:pt x="101" y="48"/>
                  </a:cubicBezTo>
                  <a:cubicBezTo>
                    <a:pt x="101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1" y="48"/>
                    <a:pt x="101" y="48"/>
                    <a:pt x="101" y="49"/>
                  </a:cubicBezTo>
                  <a:cubicBezTo>
                    <a:pt x="101" y="49"/>
                    <a:pt x="101" y="48"/>
                    <a:pt x="100" y="49"/>
                  </a:cubicBezTo>
                  <a:cubicBezTo>
                    <a:pt x="100" y="48"/>
                    <a:pt x="101" y="48"/>
                    <a:pt x="101" y="48"/>
                  </a:cubicBezTo>
                  <a:cubicBezTo>
                    <a:pt x="100" y="48"/>
                    <a:pt x="100" y="49"/>
                    <a:pt x="100" y="49"/>
                  </a:cubicBezTo>
                  <a:cubicBezTo>
                    <a:pt x="100" y="49"/>
                    <a:pt x="100" y="49"/>
                    <a:pt x="99" y="49"/>
                  </a:cubicBezTo>
                  <a:cubicBezTo>
                    <a:pt x="99" y="49"/>
                    <a:pt x="100" y="49"/>
                    <a:pt x="100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8" y="49"/>
                    <a:pt x="98" y="50"/>
                    <a:pt x="97" y="50"/>
                  </a:cubicBezTo>
                  <a:cubicBezTo>
                    <a:pt x="97" y="51"/>
                    <a:pt x="97" y="50"/>
                    <a:pt x="98" y="50"/>
                  </a:cubicBezTo>
                  <a:cubicBezTo>
                    <a:pt x="97" y="51"/>
                    <a:pt x="98" y="50"/>
                    <a:pt x="97" y="50"/>
                  </a:cubicBezTo>
                  <a:cubicBezTo>
                    <a:pt x="97" y="51"/>
                    <a:pt x="98" y="50"/>
                    <a:pt x="97" y="51"/>
                  </a:cubicBezTo>
                  <a:cubicBezTo>
                    <a:pt x="97" y="51"/>
                    <a:pt x="98" y="50"/>
                    <a:pt x="98" y="50"/>
                  </a:cubicBezTo>
                  <a:cubicBezTo>
                    <a:pt x="97" y="51"/>
                    <a:pt x="98" y="51"/>
                    <a:pt x="97" y="51"/>
                  </a:cubicBezTo>
                  <a:cubicBezTo>
                    <a:pt x="97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0"/>
                    <a:pt x="99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9"/>
                  </a:cubicBezTo>
                  <a:cubicBezTo>
                    <a:pt x="101" y="49"/>
                    <a:pt x="101" y="49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2" y="50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4" y="49"/>
                    <a:pt x="104" y="48"/>
                  </a:cubicBezTo>
                  <a:cubicBezTo>
                    <a:pt x="105" y="48"/>
                    <a:pt x="105" y="48"/>
                    <a:pt x="106" y="48"/>
                  </a:cubicBezTo>
                  <a:cubicBezTo>
                    <a:pt x="106" y="48"/>
                    <a:pt x="106" y="48"/>
                    <a:pt x="107" y="47"/>
                  </a:cubicBezTo>
                  <a:cubicBezTo>
                    <a:pt x="107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5" y="48"/>
                  </a:cubicBezTo>
                  <a:cubicBezTo>
                    <a:pt x="105" y="48"/>
                    <a:pt x="106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9"/>
                    <a:pt x="105" y="48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3" y="49"/>
                    <a:pt x="104" y="50"/>
                    <a:pt x="104" y="50"/>
                  </a:cubicBezTo>
                  <a:cubicBezTo>
                    <a:pt x="104" y="50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50"/>
                    <a:pt x="104" y="50"/>
                  </a:cubicBezTo>
                  <a:cubicBezTo>
                    <a:pt x="104" y="50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5" y="49"/>
                    <a:pt x="105" y="49"/>
                  </a:cubicBezTo>
                  <a:cubicBezTo>
                    <a:pt x="105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4" y="51"/>
                    <a:pt x="104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0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2" y="51"/>
                  </a:cubicBezTo>
                  <a:cubicBezTo>
                    <a:pt x="102" y="51"/>
                    <a:pt x="102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0" y="52"/>
                  </a:cubicBezTo>
                  <a:cubicBezTo>
                    <a:pt x="100" y="52"/>
                    <a:pt x="100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1" y="51"/>
                    <a:pt x="101" y="51"/>
                  </a:cubicBezTo>
                  <a:cubicBezTo>
                    <a:pt x="101" y="51"/>
                    <a:pt x="102" y="51"/>
                    <a:pt x="102" y="51"/>
                  </a:cubicBezTo>
                  <a:cubicBezTo>
                    <a:pt x="102" y="50"/>
                    <a:pt x="101" y="51"/>
                    <a:pt x="101" y="51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1" y="50"/>
                    <a:pt x="102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1"/>
                    <a:pt x="101" y="51"/>
                  </a:cubicBezTo>
                  <a:cubicBezTo>
                    <a:pt x="101" y="51"/>
                    <a:pt x="101" y="50"/>
                    <a:pt x="101" y="51"/>
                  </a:cubicBezTo>
                  <a:cubicBezTo>
                    <a:pt x="101" y="51"/>
                    <a:pt x="101" y="51"/>
                    <a:pt x="101" y="50"/>
                  </a:cubicBez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2"/>
                    <a:pt x="99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99" y="52"/>
                    <a:pt x="99" y="52"/>
                    <a:pt x="98" y="52"/>
                  </a:cubicBezTo>
                  <a:cubicBezTo>
                    <a:pt x="98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2"/>
                    <a:pt x="98" y="52"/>
                  </a:cubicBezTo>
                  <a:cubicBezTo>
                    <a:pt x="98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7" y="53"/>
                    <a:pt x="98" y="53"/>
                  </a:cubicBezTo>
                  <a:cubicBezTo>
                    <a:pt x="98" y="53"/>
                    <a:pt x="98" y="52"/>
                    <a:pt x="99" y="52"/>
                  </a:cubicBezTo>
                  <a:cubicBezTo>
                    <a:pt x="99" y="52"/>
                    <a:pt x="99" y="52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8" y="52"/>
                    <a:pt x="99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6" y="52"/>
                    <a:pt x="97" y="52"/>
                    <a:pt x="97" y="53"/>
                  </a:cubicBezTo>
                  <a:cubicBezTo>
                    <a:pt x="97" y="53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6" y="52"/>
                    <a:pt x="96" y="53"/>
                    <a:pt x="96" y="53"/>
                  </a:cubicBezTo>
                  <a:cubicBezTo>
                    <a:pt x="96" y="52"/>
                    <a:pt x="97" y="52"/>
                    <a:pt x="98" y="52"/>
                  </a:cubicBezTo>
                  <a:cubicBezTo>
                    <a:pt x="98" y="51"/>
                    <a:pt x="98" y="51"/>
                    <a:pt x="98" y="52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8" y="51"/>
                    <a:pt x="97" y="52"/>
                    <a:pt x="97" y="52"/>
                  </a:cubicBezTo>
                  <a:cubicBezTo>
                    <a:pt x="96" y="52"/>
                    <a:pt x="97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5" y="52"/>
                    <a:pt x="95" y="52"/>
                    <a:pt x="95" y="53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4"/>
                  </a:cubicBezTo>
                  <a:cubicBezTo>
                    <a:pt x="93" y="54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4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4" y="52"/>
                    <a:pt x="95" y="5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2" y="52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2" y="52"/>
                    <a:pt x="92" y="52"/>
                    <a:pt x="91" y="52"/>
                  </a:cubicBezTo>
                  <a:cubicBezTo>
                    <a:pt x="91" y="52"/>
                    <a:pt x="92" y="52"/>
                    <a:pt x="92" y="52"/>
                  </a:cubicBezTo>
                  <a:cubicBezTo>
                    <a:pt x="92" y="53"/>
                    <a:pt x="92" y="53"/>
                    <a:pt x="91" y="53"/>
                  </a:cubicBezTo>
                  <a:cubicBezTo>
                    <a:pt x="91" y="53"/>
                    <a:pt x="92" y="53"/>
                    <a:pt x="91" y="52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4"/>
                    <a:pt x="89" y="54"/>
                  </a:cubicBezTo>
                  <a:cubicBezTo>
                    <a:pt x="89" y="54"/>
                    <a:pt x="89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5"/>
                    <a:pt x="88" y="55"/>
                  </a:cubicBezTo>
                  <a:cubicBezTo>
                    <a:pt x="88" y="55"/>
                    <a:pt x="87" y="55"/>
                    <a:pt x="87" y="56"/>
                  </a:cubicBezTo>
                  <a:cubicBezTo>
                    <a:pt x="87" y="56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7" y="55"/>
                    <a:pt x="87" y="55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5" y="55"/>
                    <a:pt x="86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7"/>
                    <a:pt x="84" y="56"/>
                  </a:cubicBezTo>
                  <a:cubicBezTo>
                    <a:pt x="84" y="56"/>
                    <a:pt x="84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2" y="57"/>
                    <a:pt x="82" y="57"/>
                    <a:pt x="81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6"/>
                    <a:pt x="83" y="56"/>
                  </a:cubicBezTo>
                  <a:cubicBezTo>
                    <a:pt x="83" y="56"/>
                    <a:pt x="84" y="56"/>
                    <a:pt x="84" y="55"/>
                  </a:cubicBezTo>
                  <a:cubicBezTo>
                    <a:pt x="84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4"/>
                    <a:pt x="87" y="54"/>
                  </a:cubicBezTo>
                  <a:cubicBezTo>
                    <a:pt x="87" y="54"/>
                    <a:pt x="86" y="54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5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5"/>
                    <a:pt x="85" y="55"/>
                  </a:cubicBezTo>
                  <a:cubicBezTo>
                    <a:pt x="85" y="55"/>
                    <a:pt x="85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6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6"/>
                    <a:pt x="83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3" y="55"/>
                    <a:pt x="83" y="55"/>
                  </a:cubicBezTo>
                  <a:cubicBezTo>
                    <a:pt x="82" y="55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1" y="56"/>
                    <a:pt x="81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2" y="56"/>
                    <a:pt x="82" y="56"/>
                    <a:pt x="81" y="56"/>
                  </a:cubicBezTo>
                  <a:cubicBezTo>
                    <a:pt x="81" y="57"/>
                    <a:pt x="82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7"/>
                    <a:pt x="79" y="58"/>
                  </a:cubicBezTo>
                  <a:cubicBezTo>
                    <a:pt x="79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79" y="58"/>
                    <a:pt x="79" y="58"/>
                  </a:cubicBezTo>
                  <a:cubicBezTo>
                    <a:pt x="79" y="58"/>
                    <a:pt x="80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8"/>
                  </a:cubicBezTo>
                  <a:cubicBezTo>
                    <a:pt x="78" y="58"/>
                    <a:pt x="78" y="57"/>
                    <a:pt x="78" y="58"/>
                  </a:cubicBezTo>
                  <a:cubicBezTo>
                    <a:pt x="78" y="58"/>
                    <a:pt x="78" y="58"/>
                    <a:pt x="78" y="57"/>
                  </a:cubicBezTo>
                  <a:cubicBezTo>
                    <a:pt x="79" y="57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7" y="58"/>
                    <a:pt x="78" y="57"/>
                  </a:cubicBezTo>
                  <a:cubicBezTo>
                    <a:pt x="78" y="57"/>
                    <a:pt x="77" y="57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6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6" y="58"/>
                    <a:pt x="76" y="58"/>
                  </a:cubicBezTo>
                  <a:cubicBezTo>
                    <a:pt x="76" y="58"/>
                    <a:pt x="77" y="58"/>
                    <a:pt x="76" y="58"/>
                  </a:cubicBezTo>
                  <a:cubicBezTo>
                    <a:pt x="76" y="58"/>
                    <a:pt x="76" y="58"/>
                    <a:pt x="76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5" y="58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73" y="59"/>
                    <a:pt x="74" y="59"/>
                    <a:pt x="74" y="58"/>
                  </a:cubicBezTo>
                  <a:cubicBezTo>
                    <a:pt x="74" y="58"/>
                    <a:pt x="74" y="58"/>
                    <a:pt x="75" y="58"/>
                  </a:cubicBezTo>
                  <a:cubicBezTo>
                    <a:pt x="75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5"/>
                  </a:cubicBezTo>
                  <a:cubicBezTo>
                    <a:pt x="78" y="55"/>
                    <a:pt x="78" y="56"/>
                    <a:pt x="78" y="5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4"/>
                    <a:pt x="80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2"/>
                    <a:pt x="87" y="51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90" y="50"/>
                    <a:pt x="89" y="50"/>
                    <a:pt x="89" y="50"/>
                  </a:cubicBezTo>
                  <a:cubicBezTo>
                    <a:pt x="89" y="50"/>
                    <a:pt x="89" y="49"/>
                    <a:pt x="90" y="49"/>
                  </a:cubicBezTo>
                  <a:cubicBezTo>
                    <a:pt x="90" y="49"/>
                    <a:pt x="90" y="50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49"/>
                  </a:cubicBezTo>
                  <a:cubicBezTo>
                    <a:pt x="92" y="49"/>
                    <a:pt x="91" y="49"/>
                    <a:pt x="92" y="48"/>
                  </a:cubicBezTo>
                  <a:cubicBezTo>
                    <a:pt x="92" y="48"/>
                    <a:pt x="91" y="49"/>
                    <a:pt x="91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3" y="48"/>
                    <a:pt x="93" y="47"/>
                  </a:cubicBezTo>
                  <a:cubicBezTo>
                    <a:pt x="93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6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6" y="47"/>
                    <a:pt x="96" y="46"/>
                  </a:cubicBezTo>
                  <a:cubicBezTo>
                    <a:pt x="96" y="46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4" y="48"/>
                    <a:pt x="93" y="48"/>
                    <a:pt x="92" y="49"/>
                  </a:cubicBezTo>
                  <a:cubicBezTo>
                    <a:pt x="92" y="49"/>
                    <a:pt x="92" y="48"/>
                    <a:pt x="92" y="49"/>
                  </a:cubicBezTo>
                  <a:cubicBezTo>
                    <a:pt x="91" y="49"/>
                    <a:pt x="89" y="50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6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1"/>
                  </a:cubicBezTo>
                  <a:cubicBezTo>
                    <a:pt x="88" y="52"/>
                    <a:pt x="89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ubicBezTo>
                    <a:pt x="88" y="52"/>
                    <a:pt x="89" y="51"/>
                    <a:pt x="89" y="51"/>
                  </a:cubicBezTo>
                  <a:cubicBezTo>
                    <a:pt x="89" y="52"/>
                    <a:pt x="89" y="52"/>
                    <a:pt x="88" y="52"/>
                  </a:cubicBezTo>
                  <a:cubicBezTo>
                    <a:pt x="89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7" y="52"/>
                    <a:pt x="86" y="52"/>
                  </a:cubicBezTo>
                  <a:cubicBezTo>
                    <a:pt x="86" y="53"/>
                    <a:pt x="87" y="52"/>
                    <a:pt x="87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8" y="53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1"/>
                  </a:cubicBezTo>
                  <a:cubicBezTo>
                    <a:pt x="90" y="51"/>
                    <a:pt x="90" y="51"/>
                    <a:pt x="90" y="52"/>
                  </a:cubicBezTo>
                  <a:cubicBezTo>
                    <a:pt x="90" y="51"/>
                    <a:pt x="90" y="51"/>
                    <a:pt x="91" y="51"/>
                  </a:cubicBezTo>
                  <a:cubicBezTo>
                    <a:pt x="91" y="51"/>
                    <a:pt x="91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0"/>
                    <a:pt x="93" y="50"/>
                    <a:pt x="94" y="5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2" y="50"/>
                    <a:pt x="92" y="51"/>
                    <a:pt x="92" y="50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1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5" y="49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7"/>
                    <a:pt x="97" y="47"/>
                  </a:cubicBezTo>
                  <a:cubicBezTo>
                    <a:pt x="96" y="47"/>
                    <a:pt x="96" y="48"/>
                    <a:pt x="96" y="47"/>
                  </a:cubicBezTo>
                  <a:cubicBezTo>
                    <a:pt x="96" y="47"/>
                    <a:pt x="96" y="47"/>
                    <a:pt x="97" y="47"/>
                  </a:cubicBezTo>
                  <a:cubicBezTo>
                    <a:pt x="97" y="47"/>
                    <a:pt x="96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6"/>
                    <a:pt x="97" y="46"/>
                  </a:cubicBezTo>
                  <a:cubicBezTo>
                    <a:pt x="97" y="46"/>
                    <a:pt x="97" y="46"/>
                    <a:pt x="98" y="46"/>
                  </a:cubicBezTo>
                  <a:cubicBezTo>
                    <a:pt x="98" y="46"/>
                    <a:pt x="97" y="46"/>
                    <a:pt x="97" y="46"/>
                  </a:cubicBezTo>
                  <a:cubicBezTo>
                    <a:pt x="97" y="46"/>
                    <a:pt x="98" y="46"/>
                    <a:pt x="98" y="46"/>
                  </a:cubicBezTo>
                  <a:cubicBezTo>
                    <a:pt x="99" y="45"/>
                    <a:pt x="100" y="45"/>
                    <a:pt x="101" y="44"/>
                  </a:cubicBezTo>
                  <a:cubicBezTo>
                    <a:pt x="101" y="45"/>
                    <a:pt x="101" y="44"/>
                    <a:pt x="101" y="44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0" y="45"/>
                  </a:cubicBezTo>
                  <a:cubicBezTo>
                    <a:pt x="100" y="45"/>
                    <a:pt x="101" y="45"/>
                    <a:pt x="101" y="45"/>
                  </a:cubicBezTo>
                  <a:cubicBezTo>
                    <a:pt x="100" y="45"/>
                    <a:pt x="99" y="45"/>
                    <a:pt x="100" y="46"/>
                  </a:cubicBezTo>
                  <a:cubicBezTo>
                    <a:pt x="100" y="46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6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4"/>
                    <a:pt x="102" y="45"/>
                    <a:pt x="102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4" y="44"/>
                    <a:pt x="103" y="44"/>
                  </a:cubicBezTo>
                  <a:cubicBezTo>
                    <a:pt x="104" y="43"/>
                    <a:pt x="103" y="44"/>
                    <a:pt x="103" y="44"/>
                  </a:cubicBezTo>
                  <a:cubicBezTo>
                    <a:pt x="103" y="44"/>
                    <a:pt x="103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2"/>
                    <a:pt x="105" y="42"/>
                    <a:pt x="105" y="42"/>
                  </a:cubicBezTo>
                  <a:cubicBezTo>
                    <a:pt x="105" y="42"/>
                    <a:pt x="106" y="42"/>
                    <a:pt x="106" y="41"/>
                  </a:cubicBezTo>
                  <a:cubicBezTo>
                    <a:pt x="106" y="41"/>
                    <a:pt x="107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8" y="40"/>
                    <a:pt x="108" y="41"/>
                  </a:cubicBezTo>
                  <a:cubicBezTo>
                    <a:pt x="108" y="40"/>
                    <a:pt x="108" y="41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8" y="40"/>
                    <a:pt x="108" y="40"/>
                  </a:cubicBezTo>
                  <a:cubicBezTo>
                    <a:pt x="108" y="40"/>
                    <a:pt x="107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2"/>
                    <a:pt x="105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2" y="43"/>
                    <a:pt x="100" y="45"/>
                    <a:pt x="97" y="46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7" y="46"/>
                    <a:pt x="97" y="46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6"/>
                    <a:pt x="97" y="45"/>
                  </a:cubicBezTo>
                  <a:cubicBezTo>
                    <a:pt x="97" y="45"/>
                    <a:pt x="97" y="45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5"/>
                    <a:pt x="98" y="45"/>
                    <a:pt x="98" y="45"/>
                  </a:cubicBezTo>
                  <a:cubicBezTo>
                    <a:pt x="99" y="45"/>
                    <a:pt x="99" y="44"/>
                    <a:pt x="99" y="44"/>
                  </a:cubicBezTo>
                  <a:cubicBezTo>
                    <a:pt x="99" y="44"/>
                    <a:pt x="99" y="44"/>
                    <a:pt x="99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3"/>
                  </a:cubicBezTo>
                  <a:cubicBezTo>
                    <a:pt x="101" y="43"/>
                    <a:pt x="101" y="43"/>
                    <a:pt x="102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3" y="43"/>
                    <a:pt x="102" y="43"/>
                  </a:cubicBezTo>
                  <a:cubicBezTo>
                    <a:pt x="104" y="42"/>
                    <a:pt x="107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9" y="40"/>
                    <a:pt x="109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8"/>
                  </a:cubicBezTo>
                  <a:cubicBezTo>
                    <a:pt x="111" y="38"/>
                    <a:pt x="111" y="39"/>
                    <a:pt x="111" y="39"/>
                  </a:cubicBezTo>
                  <a:cubicBezTo>
                    <a:pt x="110" y="39"/>
                    <a:pt x="109" y="39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8"/>
                    <a:pt x="112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2" y="39"/>
                  </a:cubicBezTo>
                  <a:cubicBezTo>
                    <a:pt x="112" y="39"/>
                    <a:pt x="113" y="38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9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9"/>
                    <a:pt x="113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8" y="42"/>
                    <a:pt x="107" y="42"/>
                  </a:cubicBezTo>
                  <a:cubicBezTo>
                    <a:pt x="107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1"/>
                  </a:cubicBezTo>
                  <a:cubicBezTo>
                    <a:pt x="109" y="41"/>
                    <a:pt x="108" y="42"/>
                    <a:pt x="108" y="42"/>
                  </a:cubicBezTo>
                  <a:cubicBezTo>
                    <a:pt x="108" y="42"/>
                    <a:pt x="108" y="41"/>
                    <a:pt x="109" y="42"/>
                  </a:cubicBezTo>
                  <a:cubicBezTo>
                    <a:pt x="109" y="41"/>
                    <a:pt x="108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2"/>
                    <a:pt x="108" y="42"/>
                  </a:cubicBezTo>
                  <a:cubicBezTo>
                    <a:pt x="109" y="42"/>
                    <a:pt x="109" y="42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1"/>
                  </a:cubicBezTo>
                  <a:cubicBezTo>
                    <a:pt x="110" y="41"/>
                    <a:pt x="111" y="41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0" y="41"/>
                    <a:pt x="110" y="41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1"/>
                    <a:pt x="112" y="41"/>
                  </a:cubicBezTo>
                  <a:cubicBezTo>
                    <a:pt x="112" y="42"/>
                    <a:pt x="111" y="42"/>
                    <a:pt x="111" y="42"/>
                  </a:cubicBezTo>
                  <a:cubicBezTo>
                    <a:pt x="110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09" y="42"/>
                    <a:pt x="109" y="42"/>
                  </a:cubicBezTo>
                  <a:cubicBezTo>
                    <a:pt x="109" y="42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8" y="43"/>
                    <a:pt x="107" y="44"/>
                    <a:pt x="108" y="43"/>
                  </a:cubicBezTo>
                  <a:cubicBezTo>
                    <a:pt x="107" y="44"/>
                    <a:pt x="107" y="43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4"/>
                    <a:pt x="106" y="44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ubicBezTo>
                    <a:pt x="106" y="44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5" y="45"/>
                    <a:pt x="105" y="45"/>
                  </a:cubicBezTo>
                  <a:cubicBezTo>
                    <a:pt x="105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5" y="45"/>
                  </a:cubicBezTo>
                  <a:cubicBezTo>
                    <a:pt x="106" y="45"/>
                    <a:pt x="107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3"/>
                    <a:pt x="108" y="43"/>
                    <a:pt x="108" y="44"/>
                  </a:cubicBezTo>
                  <a:cubicBezTo>
                    <a:pt x="108" y="43"/>
                    <a:pt x="108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10" y="43"/>
                    <a:pt x="110" y="43"/>
                  </a:cubicBezTo>
                  <a:cubicBezTo>
                    <a:pt x="110" y="43"/>
                    <a:pt x="110" y="44"/>
                    <a:pt x="110" y="43"/>
                  </a:cubicBezTo>
                  <a:cubicBezTo>
                    <a:pt x="109" y="44"/>
                    <a:pt x="108" y="44"/>
                    <a:pt x="108" y="45"/>
                  </a:cubicBezTo>
                  <a:cubicBezTo>
                    <a:pt x="108" y="45"/>
                    <a:pt x="108" y="44"/>
                    <a:pt x="108" y="44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9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10" y="44"/>
                    <a:pt x="110" y="44"/>
                    <a:pt x="111" y="43"/>
                  </a:cubicBezTo>
                  <a:cubicBezTo>
                    <a:pt x="110" y="44"/>
                    <a:pt x="109" y="45"/>
                    <a:pt x="108" y="45"/>
                  </a:cubicBezTo>
                  <a:cubicBezTo>
                    <a:pt x="108" y="44"/>
                    <a:pt x="110" y="44"/>
                    <a:pt x="111" y="43"/>
                  </a:cubicBezTo>
                  <a:cubicBezTo>
                    <a:pt x="111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0" y="43"/>
                    <a:pt x="110" y="44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0" y="55"/>
                    <a:pt x="80" y="55"/>
                  </a:cubicBezTo>
                  <a:cubicBezTo>
                    <a:pt x="81" y="55"/>
                    <a:pt x="81" y="54"/>
                    <a:pt x="81" y="54"/>
                  </a:cubicBezTo>
                  <a:close/>
                  <a:moveTo>
                    <a:pt x="91" y="49"/>
                  </a:moveTo>
                  <a:cubicBezTo>
                    <a:pt x="91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lose/>
                  <a:moveTo>
                    <a:pt x="81" y="55"/>
                  </a:moveTo>
                  <a:cubicBezTo>
                    <a:pt x="80" y="55"/>
                    <a:pt x="80" y="56"/>
                    <a:pt x="80" y="56"/>
                  </a:cubicBezTo>
                  <a:cubicBezTo>
                    <a:pt x="80" y="56"/>
                    <a:pt x="80" y="55"/>
                    <a:pt x="81" y="55"/>
                  </a:cubicBezTo>
                  <a:close/>
                  <a:moveTo>
                    <a:pt x="83" y="54"/>
                  </a:moveTo>
                  <a:cubicBezTo>
                    <a:pt x="84" y="54"/>
                    <a:pt x="84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4"/>
                    <a:pt x="84" y="54"/>
                  </a:cubicBezTo>
                  <a:cubicBezTo>
                    <a:pt x="84" y="54"/>
                    <a:pt x="84" y="53"/>
                    <a:pt x="84" y="53"/>
                  </a:cubicBezTo>
                  <a:cubicBezTo>
                    <a:pt x="83" y="54"/>
                    <a:pt x="82" y="54"/>
                    <a:pt x="81" y="55"/>
                  </a:cubicBezTo>
                  <a:cubicBezTo>
                    <a:pt x="82" y="55"/>
                    <a:pt x="83" y="54"/>
                    <a:pt x="83" y="54"/>
                  </a:cubicBezTo>
                  <a:cubicBezTo>
                    <a:pt x="83" y="54"/>
                    <a:pt x="84" y="54"/>
                    <a:pt x="83" y="54"/>
                  </a:cubicBezTo>
                  <a:close/>
                  <a:moveTo>
                    <a:pt x="78" y="57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6"/>
                    <a:pt x="79" y="56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6"/>
                  </a:cubicBezTo>
                  <a:cubicBezTo>
                    <a:pt x="79" y="57"/>
                    <a:pt x="78" y="57"/>
                    <a:pt x="78" y="57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6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0" y="57"/>
                  </a:moveTo>
                  <a:cubicBezTo>
                    <a:pt x="80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79" y="57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6"/>
                    <a:pt x="81" y="57"/>
                    <a:pt x="81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1" y="57"/>
                    <a:pt x="81" y="57"/>
                  </a:cubicBezTo>
                  <a:cubicBezTo>
                    <a:pt x="81" y="57"/>
                    <a:pt x="80" y="57"/>
                    <a:pt x="80" y="57"/>
                  </a:cubicBezTo>
                  <a:cubicBezTo>
                    <a:pt x="81" y="56"/>
                    <a:pt x="81" y="57"/>
                    <a:pt x="81" y="56"/>
                  </a:cubicBezTo>
                  <a:cubicBezTo>
                    <a:pt x="81" y="56"/>
                    <a:pt x="80" y="57"/>
                    <a:pt x="80" y="57"/>
                  </a:cubicBezTo>
                  <a:close/>
                  <a:moveTo>
                    <a:pt x="86" y="53"/>
                  </a:moveTo>
                  <a:cubicBezTo>
                    <a:pt x="87" y="54"/>
                    <a:pt x="87" y="53"/>
                    <a:pt x="88" y="53"/>
                  </a:cubicBezTo>
                  <a:cubicBezTo>
                    <a:pt x="88" y="52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5" y="54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4"/>
                    <a:pt x="85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5" y="54"/>
                    <a:pt x="85" y="53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3" y="55"/>
                    <a:pt x="83" y="55"/>
                  </a:cubicBezTo>
                  <a:cubicBezTo>
                    <a:pt x="84" y="54"/>
                    <a:pt x="84" y="54"/>
                    <a:pt x="85" y="54"/>
                  </a:cubicBezTo>
                  <a:cubicBezTo>
                    <a:pt x="85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3"/>
                  </a:cubicBezTo>
                  <a:close/>
                  <a:moveTo>
                    <a:pt x="86" y="54"/>
                  </a:moveTo>
                  <a:cubicBezTo>
                    <a:pt x="86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lose/>
                  <a:moveTo>
                    <a:pt x="103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lose/>
                  <a:moveTo>
                    <a:pt x="105" y="50"/>
                  </a:move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50"/>
                  </a:cubicBezTo>
                  <a:close/>
                  <a:moveTo>
                    <a:pt x="102" y="50"/>
                  </a:moveTo>
                  <a:cubicBezTo>
                    <a:pt x="102" y="50"/>
                    <a:pt x="102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1"/>
                    <a:pt x="102" y="51"/>
                  </a:cubicBezTo>
                  <a:cubicBezTo>
                    <a:pt x="102" y="51"/>
                    <a:pt x="103" y="50"/>
                    <a:pt x="102" y="51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1"/>
                    <a:pt x="102" y="50"/>
                    <a:pt x="102" y="50"/>
                  </a:cubicBezTo>
                  <a:close/>
                  <a:moveTo>
                    <a:pt x="102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lose/>
                  <a:moveTo>
                    <a:pt x="100" y="50"/>
                  </a:move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0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lose/>
                  <a:moveTo>
                    <a:pt x="95" y="52"/>
                  </a:move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lose/>
                  <a:moveTo>
                    <a:pt x="97" y="51"/>
                  </a:moveTo>
                  <a:cubicBezTo>
                    <a:pt x="97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2"/>
                    <a:pt x="96" y="52"/>
                    <a:pt x="95" y="52"/>
                  </a:cubicBezTo>
                  <a:cubicBezTo>
                    <a:pt x="96" y="52"/>
                    <a:pt x="95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1"/>
                    <a:pt x="96" y="52"/>
                    <a:pt x="96" y="51"/>
                  </a:cubicBezTo>
                  <a:close/>
                  <a:moveTo>
                    <a:pt x="97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6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9" y="44"/>
                    <a:pt x="109" y="44"/>
                  </a:cubicBezTo>
                  <a:cubicBezTo>
                    <a:pt x="109" y="44"/>
                    <a:pt x="109" y="44"/>
                    <a:pt x="108" y="44"/>
                  </a:cubicBezTo>
                  <a:close/>
                  <a:moveTo>
                    <a:pt x="106" y="45"/>
                  </a:move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6" y="45"/>
                    <a:pt x="106" y="45"/>
                  </a:cubicBezTo>
                  <a:close/>
                  <a:moveTo>
                    <a:pt x="104" y="46"/>
                  </a:moveTo>
                  <a:cubicBezTo>
                    <a:pt x="105" y="46"/>
                    <a:pt x="104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5"/>
                  </a:cubicBez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5" y="45"/>
                    <a:pt x="105" y="45"/>
                  </a:cubicBezTo>
                  <a:cubicBezTo>
                    <a:pt x="104" y="45"/>
                    <a:pt x="104" y="46"/>
                    <a:pt x="104" y="46"/>
                  </a:cubicBezTo>
                  <a:close/>
                  <a:moveTo>
                    <a:pt x="102" y="47"/>
                  </a:moveTo>
                  <a:cubicBezTo>
                    <a:pt x="103" y="47"/>
                    <a:pt x="103" y="47"/>
                    <a:pt x="104" y="47"/>
                  </a:cubicBezTo>
                  <a:cubicBezTo>
                    <a:pt x="104" y="47"/>
                    <a:pt x="104" y="47"/>
                    <a:pt x="104" y="46"/>
                  </a:cubicBez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2" y="47"/>
                  </a:cubicBezTo>
                  <a:close/>
                  <a:moveTo>
                    <a:pt x="99" y="48"/>
                  </a:moveTo>
                  <a:cubicBezTo>
                    <a:pt x="99" y="49"/>
                    <a:pt x="99" y="49"/>
                    <a:pt x="99" y="49"/>
                  </a:cubicBezTo>
                  <a:cubicBezTo>
                    <a:pt x="99" y="48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8"/>
                  </a:cubicBezTo>
                  <a:cubicBezTo>
                    <a:pt x="99" y="49"/>
                    <a:pt x="99" y="48"/>
                    <a:pt x="99" y="48"/>
                  </a:cubicBezTo>
                  <a:cubicBezTo>
                    <a:pt x="99" y="49"/>
                    <a:pt x="99" y="48"/>
                    <a:pt x="98" y="49"/>
                  </a:cubicBezTo>
                  <a:cubicBezTo>
                    <a:pt x="98" y="49"/>
                    <a:pt x="99" y="49"/>
                    <a:pt x="99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9" y="49"/>
                  </a:cubicBezTo>
                  <a:cubicBezTo>
                    <a:pt x="99" y="49"/>
                    <a:pt x="100" y="49"/>
                    <a:pt x="99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99" y="48"/>
                    <a:pt x="100" y="48"/>
                  </a:cubicBezTo>
                  <a:cubicBezTo>
                    <a:pt x="100" y="48"/>
                    <a:pt x="100" y="48"/>
                    <a:pt x="101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7"/>
                    <a:pt x="101" y="47"/>
                  </a:cubicBezTo>
                  <a:cubicBezTo>
                    <a:pt x="101" y="47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104" y="45"/>
                  </a:move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5"/>
                  </a:cubicBezTo>
                  <a:close/>
                  <a:moveTo>
                    <a:pt x="102" y="47"/>
                  </a:move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2" y="47"/>
                    <a:pt x="102" y="47"/>
                  </a:cubicBezTo>
                  <a:close/>
                  <a:moveTo>
                    <a:pt x="103" y="46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lose/>
                  <a:moveTo>
                    <a:pt x="101" y="47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7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8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1" y="47"/>
                  </a:cubicBezTo>
                  <a:cubicBezTo>
                    <a:pt x="101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1" y="47"/>
                  </a:cubicBezTo>
                  <a:close/>
                  <a:moveTo>
                    <a:pt x="99" y="48"/>
                  </a:moveTo>
                  <a:cubicBezTo>
                    <a:pt x="100" y="48"/>
                    <a:pt x="100" y="48"/>
                    <a:pt x="100" y="48"/>
                  </a:cubicBezTo>
                  <a:cubicBezTo>
                    <a:pt x="100" y="48"/>
                    <a:pt x="100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8" y="48"/>
                    <a:pt x="98" y="48"/>
                  </a:cubicBezTo>
                  <a:cubicBezTo>
                    <a:pt x="98" y="49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97" y="49"/>
                  </a:moveTo>
                  <a:cubicBezTo>
                    <a:pt x="97" y="49"/>
                    <a:pt x="97" y="49"/>
                    <a:pt x="97" y="49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96" y="50"/>
                  </a:moveTo>
                  <a:cubicBezTo>
                    <a:pt x="95" y="50"/>
                    <a:pt x="96" y="50"/>
                    <a:pt x="96" y="50"/>
                  </a:cubicBezTo>
                  <a:cubicBezTo>
                    <a:pt x="96" y="50"/>
                    <a:pt x="95" y="50"/>
                    <a:pt x="95" y="50"/>
                  </a:cubicBezTo>
                  <a:cubicBezTo>
                    <a:pt x="95" y="50"/>
                    <a:pt x="95" y="50"/>
                    <a:pt x="96" y="50"/>
                  </a:cubicBezTo>
                  <a:close/>
                  <a:moveTo>
                    <a:pt x="94" y="50"/>
                  </a:moveTo>
                  <a:cubicBezTo>
                    <a:pt x="94" y="50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0"/>
                    <a:pt x="94" y="50"/>
                  </a:cubicBezTo>
                  <a:close/>
                  <a:moveTo>
                    <a:pt x="102" y="46"/>
                  </a:moveTo>
                  <a:cubicBezTo>
                    <a:pt x="102" y="46"/>
                    <a:pt x="101" y="46"/>
                    <a:pt x="101" y="46"/>
                  </a:cubicBezTo>
                  <a:cubicBezTo>
                    <a:pt x="101" y="46"/>
                    <a:pt x="102" y="46"/>
                    <a:pt x="102" y="47"/>
                  </a:cubicBezTo>
                  <a:cubicBezTo>
                    <a:pt x="102" y="46"/>
                    <a:pt x="103" y="46"/>
                    <a:pt x="103" y="46"/>
                  </a:cubicBezTo>
                  <a:cubicBezTo>
                    <a:pt x="103" y="46"/>
                    <a:pt x="102" y="46"/>
                    <a:pt x="102" y="46"/>
                  </a:cubicBezTo>
                  <a:close/>
                  <a:moveTo>
                    <a:pt x="100" y="47"/>
                  </a:move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1" y="47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1" y="46"/>
                    <a:pt x="100" y="46"/>
                    <a:pt x="100" y="47"/>
                  </a:cubicBezTo>
                  <a:cubicBezTo>
                    <a:pt x="100" y="47"/>
                    <a:pt x="100" y="46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8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100" y="47"/>
                  </a:cubicBezTo>
                  <a:close/>
                  <a:moveTo>
                    <a:pt x="105" y="44"/>
                  </a:moveTo>
                  <a:cubicBezTo>
                    <a:pt x="105" y="44"/>
                    <a:pt x="105" y="44"/>
                    <a:pt x="106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lose/>
                  <a:moveTo>
                    <a:pt x="104" y="44"/>
                  </a:moveTo>
                  <a:cubicBezTo>
                    <a:pt x="104" y="44"/>
                    <a:pt x="105" y="44"/>
                    <a:pt x="104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4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4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8" y="43"/>
                    <a:pt x="107" y="43"/>
                  </a:cubicBez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6" y="44"/>
                  </a:cubicBezTo>
                  <a:close/>
                  <a:moveTo>
                    <a:pt x="106" y="43"/>
                  </a:move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7" y="44"/>
                    <a:pt x="106" y="43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8" y="43"/>
                  </a:moveTo>
                  <a:cubicBezTo>
                    <a:pt x="108" y="43"/>
                    <a:pt x="107" y="43"/>
                    <a:pt x="107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lose/>
                  <a:moveTo>
                    <a:pt x="109" y="42"/>
                  </a:moveTo>
                  <a:cubicBezTo>
                    <a:pt x="109" y="42"/>
                    <a:pt x="108" y="42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3"/>
                    <a:pt x="108" y="43"/>
                  </a:cubicBezTo>
                  <a:cubicBezTo>
                    <a:pt x="109" y="42"/>
                    <a:pt x="108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lose/>
                  <a:moveTo>
                    <a:pt x="110" y="41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lose/>
                  <a:moveTo>
                    <a:pt x="106" y="43"/>
                  </a:moveTo>
                  <a:cubicBezTo>
                    <a:pt x="106" y="43"/>
                    <a:pt x="106" y="43"/>
                    <a:pt x="106" y="44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6" y="43"/>
                    <a:pt x="106" y="43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8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lose/>
                  <a:moveTo>
                    <a:pt x="110" y="40"/>
                  </a:move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lose/>
                  <a:moveTo>
                    <a:pt x="108" y="41"/>
                  </a:move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ubicBezTo>
                    <a:pt x="109" y="40"/>
                    <a:pt x="109" y="40"/>
                    <a:pt x="108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06" y="42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lose/>
                  <a:moveTo>
                    <a:pt x="105" y="43"/>
                  </a:move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4"/>
                    <a:pt x="105" y="43"/>
                  </a:cubicBezTo>
                  <a:cubicBezTo>
                    <a:pt x="105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2"/>
                    <a:pt x="107" y="42"/>
                  </a:cubicBezTo>
                  <a:cubicBezTo>
                    <a:pt x="106" y="42"/>
                    <a:pt x="106" y="43"/>
                    <a:pt x="106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3"/>
                    <a:pt x="104" y="43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4"/>
                    <a:pt x="104" y="43"/>
                    <a:pt x="105" y="43"/>
                  </a:cubicBezTo>
                  <a:close/>
                  <a:moveTo>
                    <a:pt x="103" y="44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5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3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2" y="44"/>
                  </a:moveTo>
                  <a:cubicBezTo>
                    <a:pt x="103" y="44"/>
                    <a:pt x="103" y="44"/>
                    <a:pt x="103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2" y="44"/>
                  </a:cubicBezTo>
                  <a:close/>
                  <a:moveTo>
                    <a:pt x="99" y="46"/>
                  </a:move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99" y="46"/>
                    <a:pt x="99" y="46"/>
                  </a:cubicBezTo>
                  <a:close/>
                  <a:moveTo>
                    <a:pt x="99" y="46"/>
                  </a:move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8" y="46"/>
                    <a:pt x="99" y="47"/>
                  </a:cubicBezTo>
                  <a:cubicBezTo>
                    <a:pt x="99" y="46"/>
                    <a:pt x="99" y="47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lose/>
                  <a:moveTo>
                    <a:pt x="97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100" y="46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5"/>
                    <a:pt x="99" y="45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7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7" y="46"/>
                    <a:pt x="97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7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6" y="49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8" y="49"/>
                    <a:pt x="98" y="4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9" y="47"/>
                    <a:pt x="99" y="47"/>
                  </a:cubicBezTo>
                  <a:cubicBezTo>
                    <a:pt x="99" y="47"/>
                    <a:pt x="98" y="48"/>
                    <a:pt x="98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6"/>
                    <a:pt x="100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6"/>
                  </a:cubicBezTo>
                  <a:cubicBezTo>
                    <a:pt x="99" y="47"/>
                    <a:pt x="98" y="47"/>
                    <a:pt x="98" y="47"/>
                  </a:cubicBezTo>
                  <a:cubicBezTo>
                    <a:pt x="98" y="47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7" y="48"/>
                    <a:pt x="97" y="48"/>
                    <a:pt x="98" y="47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lose/>
                  <a:moveTo>
                    <a:pt x="95" y="50"/>
                  </a:moveTo>
                  <a:cubicBezTo>
                    <a:pt x="95" y="50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49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lose/>
                  <a:moveTo>
                    <a:pt x="96" y="49"/>
                  </a:moveTo>
                  <a:cubicBezTo>
                    <a:pt x="96" y="49"/>
                    <a:pt x="95" y="49"/>
                    <a:pt x="95" y="50"/>
                  </a:cubicBezTo>
                  <a:cubicBezTo>
                    <a:pt x="95" y="49"/>
                    <a:pt x="95" y="50"/>
                    <a:pt x="95" y="50"/>
                  </a:cubicBezTo>
                  <a:cubicBezTo>
                    <a:pt x="95" y="49"/>
                    <a:pt x="96" y="49"/>
                    <a:pt x="96" y="49"/>
                  </a:cubicBezTo>
                  <a:close/>
                  <a:moveTo>
                    <a:pt x="94" y="50"/>
                  </a:moveTo>
                  <a:cubicBezTo>
                    <a:pt x="93" y="50"/>
                    <a:pt x="93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1"/>
                    <a:pt x="92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0"/>
                    <a:pt x="94" y="50"/>
                  </a:cubicBezTo>
                  <a:cubicBezTo>
                    <a:pt x="94" y="51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lose/>
                  <a:moveTo>
                    <a:pt x="92" y="51"/>
                  </a:moveTo>
                  <a:cubicBezTo>
                    <a:pt x="92" y="51"/>
                    <a:pt x="91" y="51"/>
                    <a:pt x="91" y="52"/>
                  </a:cubicBezTo>
                  <a:cubicBezTo>
                    <a:pt x="91" y="51"/>
                    <a:pt x="92" y="51"/>
                    <a:pt x="92" y="51"/>
                  </a:cubicBezTo>
                  <a:close/>
                  <a:moveTo>
                    <a:pt x="88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8" y="53"/>
                  </a:cubicBezTo>
                  <a:cubicBezTo>
                    <a:pt x="87" y="53"/>
                    <a:pt x="88" y="53"/>
                    <a:pt x="88" y="53"/>
                  </a:cubicBezTo>
                  <a:close/>
                  <a:moveTo>
                    <a:pt x="87" y="54"/>
                  </a:moveTo>
                  <a:cubicBezTo>
                    <a:pt x="87" y="54"/>
                    <a:pt x="86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5"/>
                  </a:cubicBezTo>
                  <a:cubicBezTo>
                    <a:pt x="84" y="56"/>
                    <a:pt x="84" y="55"/>
                    <a:pt x="85" y="55"/>
                  </a:cubicBezTo>
                  <a:cubicBezTo>
                    <a:pt x="84" y="55"/>
                    <a:pt x="84" y="55"/>
                    <a:pt x="84" y="56"/>
                  </a:cubicBez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5"/>
                  </a:moveTo>
                  <a:cubicBezTo>
                    <a:pt x="85" y="55"/>
                    <a:pt x="85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lose/>
                  <a:moveTo>
                    <a:pt x="89" y="53"/>
                  </a:move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9" y="53"/>
                    <a:pt x="89" y="53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3" y="51"/>
                    <a:pt x="93" y="51"/>
                    <a:pt x="92" y="51"/>
                  </a:cubicBezTo>
                  <a:cubicBezTo>
                    <a:pt x="92" y="51"/>
                    <a:pt x="93" y="51"/>
                    <a:pt x="92" y="51"/>
                  </a:cubicBezTo>
                  <a:cubicBezTo>
                    <a:pt x="92" y="51"/>
                    <a:pt x="92" y="52"/>
                    <a:pt x="92" y="51"/>
                  </a:cubicBezTo>
                  <a:cubicBezTo>
                    <a:pt x="92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0" y="53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0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0" y="53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2"/>
                    <a:pt x="92" y="52"/>
                    <a:pt x="92" y="52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lnTo>
                    <a:pt x="94" y="51"/>
                  </a:lnTo>
                  <a:close/>
                  <a:moveTo>
                    <a:pt x="95" y="50"/>
                  </a:moveTo>
                  <a:cubicBezTo>
                    <a:pt x="95" y="50"/>
                    <a:pt x="95" y="50"/>
                    <a:pt x="94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5" y="51"/>
                    <a:pt x="95" y="51"/>
                    <a:pt x="95" y="50"/>
                  </a:cubicBezTo>
                  <a:close/>
                  <a:moveTo>
                    <a:pt x="98" y="49"/>
                  </a:move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lose/>
                  <a:moveTo>
                    <a:pt x="97" y="49"/>
                  </a:moveTo>
                  <a:cubicBezTo>
                    <a:pt x="98" y="49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8" y="50"/>
                    <a:pt x="98" y="50"/>
                  </a:cubicBezTo>
                  <a:cubicBezTo>
                    <a:pt x="98" y="49"/>
                    <a:pt x="99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7" y="49"/>
                    <a:pt x="97" y="49"/>
                  </a:cubicBezTo>
                  <a:cubicBezTo>
                    <a:pt x="97" y="50"/>
                    <a:pt x="97" y="49"/>
                    <a:pt x="97" y="49"/>
                  </a:cubicBezTo>
                  <a:close/>
                  <a:moveTo>
                    <a:pt x="93" y="52"/>
                  </a:moveTo>
                  <a:cubicBezTo>
                    <a:pt x="93" y="52"/>
                    <a:pt x="94" y="51"/>
                    <a:pt x="94" y="51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7" y="50"/>
                  </a:moveTo>
                  <a:cubicBezTo>
                    <a:pt x="97" y="50"/>
                    <a:pt x="97" y="50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7" y="50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96" y="50"/>
                  </a:moveTo>
                  <a:cubicBezTo>
                    <a:pt x="96" y="50"/>
                    <a:pt x="96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7" y="50"/>
                    <a:pt x="97" y="50"/>
                    <a:pt x="96" y="50"/>
                  </a:cubicBezTo>
                  <a:close/>
                  <a:moveTo>
                    <a:pt x="100" y="48"/>
                  </a:moveTo>
                  <a:cubicBezTo>
                    <a:pt x="100" y="48"/>
                    <a:pt x="101" y="48"/>
                    <a:pt x="101" y="48"/>
                  </a:cubicBezTo>
                  <a:cubicBezTo>
                    <a:pt x="101" y="48"/>
                    <a:pt x="100" y="48"/>
                    <a:pt x="100" y="48"/>
                  </a:cubicBezTo>
                  <a:close/>
                  <a:moveTo>
                    <a:pt x="103" y="47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3" y="47"/>
                  </a:move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4" y="47"/>
                  </a:moveTo>
                  <a:cubicBezTo>
                    <a:pt x="104" y="47"/>
                    <a:pt x="104" y="46"/>
                    <a:pt x="104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lose/>
                  <a:moveTo>
                    <a:pt x="103" y="47"/>
                  </a:moveTo>
                  <a:cubicBezTo>
                    <a:pt x="103" y="48"/>
                    <a:pt x="102" y="48"/>
                    <a:pt x="102" y="48"/>
                  </a:cubicBezTo>
                  <a:cubicBezTo>
                    <a:pt x="102" y="48"/>
                    <a:pt x="103" y="48"/>
                    <a:pt x="103" y="47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7" y="44"/>
                    <a:pt x="107" y="45"/>
                  </a:cubicBezTo>
                  <a:cubicBezTo>
                    <a:pt x="107" y="44"/>
                    <a:pt x="108" y="44"/>
                    <a:pt x="108" y="44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lose/>
                  <a:moveTo>
                    <a:pt x="112" y="43"/>
                  </a:move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lose/>
                  <a:moveTo>
                    <a:pt x="95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5" y="53"/>
                    <a:pt x="95" y="53"/>
                  </a:cubicBezTo>
                  <a:close/>
                  <a:moveTo>
                    <a:pt x="77" y="64"/>
                  </a:moveTo>
                  <a:cubicBezTo>
                    <a:pt x="77" y="64"/>
                    <a:pt x="78" y="64"/>
                    <a:pt x="78" y="64"/>
                  </a:cubicBezTo>
                  <a:cubicBezTo>
                    <a:pt x="78" y="64"/>
                    <a:pt x="78" y="64"/>
                    <a:pt x="77" y="64"/>
                  </a:cubicBezTo>
                  <a:cubicBezTo>
                    <a:pt x="77" y="64"/>
                    <a:pt x="78" y="65"/>
                    <a:pt x="77" y="65"/>
                  </a:cubicBezTo>
                  <a:cubicBezTo>
                    <a:pt x="77" y="64"/>
                    <a:pt x="77" y="64"/>
                    <a:pt x="77" y="64"/>
                  </a:cubicBezTo>
                  <a:close/>
                  <a:moveTo>
                    <a:pt x="80" y="68"/>
                  </a:moveTo>
                  <a:cubicBezTo>
                    <a:pt x="80" y="67"/>
                    <a:pt x="80" y="68"/>
                    <a:pt x="80" y="68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77" y="62"/>
                  </a:move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2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3"/>
                    <a:pt x="77" y="64"/>
                  </a:cubicBezTo>
                  <a:cubicBezTo>
                    <a:pt x="77" y="64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2"/>
                  </a:cubicBezTo>
                  <a:cubicBezTo>
                    <a:pt x="79" y="62"/>
                    <a:pt x="79" y="62"/>
                    <a:pt x="80" y="63"/>
                  </a:cubicBezTo>
                  <a:cubicBezTo>
                    <a:pt x="79" y="63"/>
                    <a:pt x="79" y="63"/>
                    <a:pt x="78" y="63"/>
                  </a:cubicBezTo>
                  <a:close/>
                  <a:moveTo>
                    <a:pt x="76" y="62"/>
                  </a:move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7" y="62"/>
                    <a:pt x="76" y="62"/>
                  </a:cubicBezTo>
                  <a:close/>
                  <a:moveTo>
                    <a:pt x="80" y="68"/>
                  </a:move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81" y="59"/>
                  </a:move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59"/>
                    <a:pt x="82" y="59"/>
                    <a:pt x="83" y="58"/>
                  </a:cubicBezTo>
                  <a:cubicBezTo>
                    <a:pt x="83" y="58"/>
                    <a:pt x="83" y="58"/>
                    <a:pt x="84" y="58"/>
                  </a:cubicBezTo>
                  <a:cubicBezTo>
                    <a:pt x="83" y="59"/>
                    <a:pt x="83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1" y="59"/>
                    <a:pt x="82" y="59"/>
                    <a:pt x="82" y="59"/>
                  </a:cubicBezTo>
                  <a:cubicBezTo>
                    <a:pt x="81" y="60"/>
                    <a:pt x="81" y="59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0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1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8" y="61"/>
                    <a:pt x="78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7" y="61"/>
                    <a:pt x="77" y="61"/>
                  </a:cubicBezTo>
                  <a:cubicBezTo>
                    <a:pt x="77" y="61"/>
                    <a:pt x="78" y="60"/>
                    <a:pt x="78" y="61"/>
                  </a:cubicBezTo>
                  <a:cubicBezTo>
                    <a:pt x="78" y="61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0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2" y="58"/>
                    <a:pt x="82" y="58"/>
                  </a:cubicBezTo>
                  <a:cubicBezTo>
                    <a:pt x="82" y="58"/>
                    <a:pt x="81" y="59"/>
                    <a:pt x="82" y="59"/>
                  </a:cubicBezTo>
                  <a:cubicBezTo>
                    <a:pt x="82" y="59"/>
                    <a:pt x="81" y="59"/>
                    <a:pt x="81" y="59"/>
                  </a:cubicBezTo>
                  <a:close/>
                  <a:moveTo>
                    <a:pt x="79" y="60"/>
                  </a:move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0" y="64"/>
                    <a:pt x="80" y="64"/>
                    <a:pt x="80" y="65"/>
                  </a:cubicBezTo>
                  <a:close/>
                  <a:moveTo>
                    <a:pt x="81" y="67"/>
                  </a:moveTo>
                  <a:cubicBezTo>
                    <a:pt x="81" y="66"/>
                    <a:pt x="81" y="66"/>
                    <a:pt x="81" y="67"/>
                  </a:cubicBezTo>
                  <a:cubicBezTo>
                    <a:pt x="81" y="67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2" y="66"/>
                    <a:pt x="81" y="66"/>
                    <a:pt x="81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5"/>
                    <a:pt x="83" y="65"/>
                    <a:pt x="83" y="66"/>
                  </a:cubicBezTo>
                  <a:cubicBezTo>
                    <a:pt x="82" y="66"/>
                    <a:pt x="82" y="66"/>
                    <a:pt x="81" y="67"/>
                  </a:cubicBezTo>
                  <a:close/>
                  <a:moveTo>
                    <a:pt x="81" y="66"/>
                  </a:move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5"/>
                    <a:pt x="82" y="65"/>
                  </a:cubicBezTo>
                  <a:cubicBezTo>
                    <a:pt x="82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4"/>
                  </a:cubicBezTo>
                  <a:cubicBezTo>
                    <a:pt x="81" y="64"/>
                    <a:pt x="81" y="64"/>
                    <a:pt x="81" y="65"/>
                  </a:cubicBezTo>
                  <a:cubicBezTo>
                    <a:pt x="81" y="64"/>
                    <a:pt x="81" y="64"/>
                    <a:pt x="82" y="64"/>
                  </a:cubicBezTo>
                  <a:cubicBezTo>
                    <a:pt x="82" y="64"/>
                    <a:pt x="81" y="64"/>
                    <a:pt x="81" y="65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3" y="64"/>
                    <a:pt x="82" y="64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2" y="64"/>
                    <a:pt x="82" y="64"/>
                  </a:cubicBezTo>
                  <a:cubicBezTo>
                    <a:pt x="82" y="64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3" y="64"/>
                    <a:pt x="84" y="64"/>
                    <a:pt x="84" y="63"/>
                  </a:cubicBezTo>
                  <a:cubicBezTo>
                    <a:pt x="84" y="63"/>
                    <a:pt x="84" y="64"/>
                    <a:pt x="85" y="64"/>
                  </a:cubicBezTo>
                  <a:cubicBezTo>
                    <a:pt x="84" y="64"/>
                    <a:pt x="83" y="65"/>
                    <a:pt x="82" y="65"/>
                  </a:cubicBezTo>
                  <a:cubicBezTo>
                    <a:pt x="82" y="65"/>
                    <a:pt x="81" y="65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lose/>
                  <a:moveTo>
                    <a:pt x="81" y="63"/>
                  </a:moveTo>
                  <a:cubicBezTo>
                    <a:pt x="81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2" y="62"/>
                  </a:cubicBezTo>
                  <a:cubicBezTo>
                    <a:pt x="82" y="62"/>
                    <a:pt x="82" y="62"/>
                    <a:pt x="81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3"/>
                    <a:pt x="82" y="63"/>
                    <a:pt x="81" y="63"/>
                  </a:cubicBezTo>
                  <a:close/>
                  <a:moveTo>
                    <a:pt x="82" y="63"/>
                  </a:move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3" y="63"/>
                    <a:pt x="83" y="63"/>
                  </a:cubicBezTo>
                  <a:cubicBezTo>
                    <a:pt x="83" y="63"/>
                    <a:pt x="83" y="63"/>
                    <a:pt x="82" y="63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8"/>
                    <a:pt x="81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7"/>
                    <a:pt x="80" y="58"/>
                  </a:cubicBezTo>
                  <a:cubicBezTo>
                    <a:pt x="80" y="57"/>
                    <a:pt x="80" y="58"/>
                    <a:pt x="80" y="58"/>
                  </a:cubicBezTo>
                  <a:cubicBezTo>
                    <a:pt x="80" y="57"/>
                    <a:pt x="80" y="57"/>
                    <a:pt x="81" y="57"/>
                  </a:cubicBezTo>
                  <a:close/>
                  <a:moveTo>
                    <a:pt x="83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4" y="61"/>
                  </a:cubicBezTo>
                  <a:cubicBezTo>
                    <a:pt x="84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0"/>
                    <a:pt x="84" y="60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3" y="61"/>
                  </a:cubicBezTo>
                  <a:cubicBezTo>
                    <a:pt x="83" y="62"/>
                    <a:pt x="84" y="61"/>
                    <a:pt x="84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3" y="61"/>
                    <a:pt x="83" y="61"/>
                  </a:cubicBezTo>
                  <a:close/>
                  <a:moveTo>
                    <a:pt x="84" y="62"/>
                  </a:move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3" y="62"/>
                    <a:pt x="83" y="62"/>
                  </a:cubicBezTo>
                  <a:cubicBezTo>
                    <a:pt x="83" y="63"/>
                    <a:pt x="83" y="62"/>
                    <a:pt x="83" y="62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9" y="62"/>
                  </a:moveTo>
                  <a:cubicBezTo>
                    <a:pt x="88" y="62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4"/>
                    <a:pt x="87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3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3"/>
                    <a:pt x="86" y="63"/>
                  </a:cubicBezTo>
                  <a:cubicBezTo>
                    <a:pt x="86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8" y="63"/>
                    <a:pt x="88" y="62"/>
                  </a:cubicBezTo>
                  <a:cubicBezTo>
                    <a:pt x="88" y="63"/>
                    <a:pt x="88" y="62"/>
                    <a:pt x="89" y="62"/>
                  </a:cubicBezTo>
                  <a:close/>
                  <a:moveTo>
                    <a:pt x="87" y="63"/>
                  </a:move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lose/>
                  <a:moveTo>
                    <a:pt x="84" y="61"/>
                  </a:move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4" y="61"/>
                    <a:pt x="84" y="61"/>
                  </a:cubicBezTo>
                  <a:close/>
                  <a:moveTo>
                    <a:pt x="86" y="61"/>
                  </a:move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5" y="61"/>
                    <a:pt x="85" y="61"/>
                  </a:cubicBezTo>
                  <a:cubicBezTo>
                    <a:pt x="85" y="61"/>
                    <a:pt x="85" y="60"/>
                    <a:pt x="86" y="60"/>
                  </a:cubicBezTo>
                  <a:cubicBezTo>
                    <a:pt x="86" y="60"/>
                    <a:pt x="86" y="61"/>
                    <a:pt x="86" y="61"/>
                  </a:cubicBezTo>
                  <a:cubicBezTo>
                    <a:pt x="86" y="61"/>
                    <a:pt x="86" y="60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0"/>
                    <a:pt x="86" y="61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8"/>
                    <a:pt x="89" y="58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60"/>
                  </a:cubicBezTo>
                  <a:cubicBezTo>
                    <a:pt x="88" y="60"/>
                    <a:pt x="88" y="60"/>
                    <a:pt x="88" y="59"/>
                  </a:cubicBezTo>
                  <a:cubicBezTo>
                    <a:pt x="87" y="60"/>
                    <a:pt x="87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5" y="63"/>
                    <a:pt x="85" y="63"/>
                    <a:pt x="85" y="64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6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3"/>
                  </a:cubicBezTo>
                  <a:cubicBezTo>
                    <a:pt x="86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85" y="57"/>
                  </a:moveTo>
                  <a:cubicBezTo>
                    <a:pt x="85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5" y="58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lose/>
                  <a:moveTo>
                    <a:pt x="86" y="59"/>
                  </a:move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59"/>
                    <a:pt x="85" y="59"/>
                    <a:pt x="86" y="59"/>
                  </a:cubicBezTo>
                  <a:cubicBezTo>
                    <a:pt x="86" y="59"/>
                    <a:pt x="87" y="58"/>
                    <a:pt x="87" y="58"/>
                  </a:cubicBezTo>
                  <a:cubicBezTo>
                    <a:pt x="87" y="59"/>
                    <a:pt x="87" y="59"/>
                    <a:pt x="86" y="59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4" y="59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6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3" y="57"/>
                  </a:moveTo>
                  <a:cubicBezTo>
                    <a:pt x="83" y="56"/>
                    <a:pt x="84" y="57"/>
                    <a:pt x="84" y="57"/>
                  </a:cubicBezTo>
                  <a:cubicBezTo>
                    <a:pt x="83" y="57"/>
                    <a:pt x="84" y="57"/>
                    <a:pt x="83" y="57"/>
                  </a:cubicBezTo>
                  <a:cubicBezTo>
                    <a:pt x="83" y="57"/>
                    <a:pt x="84" y="57"/>
                    <a:pt x="83" y="57"/>
                  </a:cubicBezTo>
                  <a:close/>
                  <a:moveTo>
                    <a:pt x="87" y="61"/>
                  </a:moveTo>
                  <a:cubicBezTo>
                    <a:pt x="87" y="62"/>
                    <a:pt x="87" y="61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7" y="61"/>
                    <a:pt x="87" y="61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7"/>
                    <a:pt x="88" y="57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6" y="57"/>
                  </a:cubicBezTo>
                  <a:cubicBezTo>
                    <a:pt x="86" y="57"/>
                    <a:pt x="86" y="57"/>
                    <a:pt x="85" y="58"/>
                  </a:cubicBezTo>
                  <a:cubicBezTo>
                    <a:pt x="85" y="57"/>
                    <a:pt x="87" y="57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lose/>
                  <a:moveTo>
                    <a:pt x="88" y="61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1"/>
                    <a:pt x="89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1" y="60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2" y="59"/>
                  </a:cubicBezTo>
                  <a:cubicBezTo>
                    <a:pt x="92" y="60"/>
                    <a:pt x="91" y="60"/>
                    <a:pt x="91" y="60"/>
                  </a:cubicBezTo>
                  <a:cubicBezTo>
                    <a:pt x="90" y="60"/>
                    <a:pt x="89" y="61"/>
                    <a:pt x="89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7" y="58"/>
                    <a:pt x="86" y="58"/>
                  </a:cubicBezTo>
                  <a:cubicBezTo>
                    <a:pt x="87" y="58"/>
                    <a:pt x="87" y="57"/>
                    <a:pt x="88" y="57"/>
                  </a:cubicBezTo>
                  <a:close/>
                  <a:moveTo>
                    <a:pt x="90" y="61"/>
                  </a:moveTo>
                  <a:cubicBezTo>
                    <a:pt x="89" y="61"/>
                    <a:pt x="89" y="61"/>
                    <a:pt x="89" y="62"/>
                  </a:cubicBezTo>
                  <a:cubicBezTo>
                    <a:pt x="89" y="61"/>
                    <a:pt x="89" y="61"/>
                    <a:pt x="90" y="61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7" y="55"/>
                    <a:pt x="87" y="55"/>
                  </a:cubicBezTo>
                  <a:close/>
                  <a:moveTo>
                    <a:pt x="90" y="58"/>
                  </a:move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2" y="57"/>
                    <a:pt x="92" y="57"/>
                  </a:cubicBezTo>
                  <a:cubicBezTo>
                    <a:pt x="91" y="57"/>
                    <a:pt x="91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0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8" y="52"/>
                    <a:pt x="87" y="53"/>
                  </a:cubicBezTo>
                  <a:close/>
                  <a:moveTo>
                    <a:pt x="93" y="61"/>
                  </a:moveTo>
                  <a:cubicBezTo>
                    <a:pt x="92" y="61"/>
                    <a:pt x="92" y="61"/>
                    <a:pt x="92" y="61"/>
                  </a:cubicBezTo>
                  <a:cubicBezTo>
                    <a:pt x="92" y="61"/>
                    <a:pt x="93" y="61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0"/>
                    <a:pt x="90" y="50"/>
                  </a:cubicBezTo>
                  <a:cubicBezTo>
                    <a:pt x="90" y="50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0" y="51"/>
                  </a:move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0"/>
                    <a:pt x="92" y="50"/>
                  </a:cubicBezTo>
                  <a:cubicBezTo>
                    <a:pt x="91" y="50"/>
                    <a:pt x="91" y="51"/>
                    <a:pt x="90" y="51"/>
                  </a:cubicBezTo>
                  <a:cubicBezTo>
                    <a:pt x="91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6" y="59"/>
                  </a:move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7"/>
                  </a:cubicBezTo>
                  <a:cubicBezTo>
                    <a:pt x="98" y="58"/>
                    <a:pt x="97" y="58"/>
                    <a:pt x="96" y="59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6" y="57"/>
                  </a:move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5" y="57"/>
                    <a:pt x="96" y="57"/>
                    <a:pt x="96" y="57"/>
                  </a:cubicBezTo>
                  <a:close/>
                  <a:moveTo>
                    <a:pt x="99" y="55"/>
                  </a:moveTo>
                  <a:cubicBezTo>
                    <a:pt x="98" y="55"/>
                    <a:pt x="97" y="56"/>
                    <a:pt x="96" y="56"/>
                  </a:cubicBezTo>
                  <a:cubicBezTo>
                    <a:pt x="96" y="56"/>
                    <a:pt x="96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7" y="55"/>
                  </a:cubicBezTo>
                  <a:cubicBezTo>
                    <a:pt x="96" y="55"/>
                    <a:pt x="96" y="56"/>
                    <a:pt x="96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6"/>
                    <a:pt x="96" y="56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100" y="53"/>
                    <a:pt x="101" y="53"/>
                  </a:cubicBezTo>
                  <a:cubicBezTo>
                    <a:pt x="101" y="53"/>
                    <a:pt x="100" y="53"/>
                    <a:pt x="100" y="53"/>
                  </a:cubicBezTo>
                  <a:cubicBezTo>
                    <a:pt x="100" y="54"/>
                    <a:pt x="99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8" y="54"/>
                    <a:pt x="98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9" y="55"/>
                    <a:pt x="99" y="54"/>
                    <a:pt x="99" y="54"/>
                  </a:cubicBezTo>
                  <a:cubicBezTo>
                    <a:pt x="99" y="55"/>
                    <a:pt x="99" y="54"/>
                    <a:pt x="99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7" y="57"/>
                    <a:pt x="97" y="56"/>
                  </a:cubicBezTo>
                  <a:close/>
                  <a:moveTo>
                    <a:pt x="98" y="54"/>
                  </a:moveTo>
                  <a:cubicBezTo>
                    <a:pt x="98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3"/>
                    <a:pt x="99" y="53"/>
                  </a:cubicBezTo>
                  <a:cubicBezTo>
                    <a:pt x="98" y="54"/>
                    <a:pt x="98" y="54"/>
                    <a:pt x="98" y="54"/>
                  </a:cubicBezTo>
                  <a:close/>
                  <a:moveTo>
                    <a:pt x="100" y="49"/>
                  </a:moveTo>
                  <a:cubicBezTo>
                    <a:pt x="100" y="49"/>
                    <a:pt x="100" y="49"/>
                    <a:pt x="100" y="48"/>
                  </a:cubicBezTo>
                  <a:cubicBezTo>
                    <a:pt x="100" y="49"/>
                    <a:pt x="100" y="49"/>
                    <a:pt x="100" y="49"/>
                  </a:cubicBezTo>
                  <a:cubicBezTo>
                    <a:pt x="100" y="49"/>
                    <a:pt x="100" y="49"/>
                    <a:pt x="100" y="49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3"/>
                  </a:cubicBezTo>
                  <a:cubicBezTo>
                    <a:pt x="104" y="53"/>
                    <a:pt x="105" y="52"/>
                    <a:pt x="105" y="52"/>
                  </a:cubicBezTo>
                  <a:cubicBezTo>
                    <a:pt x="105" y="53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5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3" y="53"/>
                  </a:cubicBezTo>
                  <a:cubicBezTo>
                    <a:pt x="103" y="53"/>
                    <a:pt x="104" y="53"/>
                    <a:pt x="103" y="53"/>
                  </a:cubicBezTo>
                  <a:cubicBezTo>
                    <a:pt x="104" y="53"/>
                    <a:pt x="104" y="52"/>
                    <a:pt x="105" y="52"/>
                  </a:cubicBezTo>
                  <a:close/>
                  <a:moveTo>
                    <a:pt x="105" y="53"/>
                  </a:moveTo>
                  <a:cubicBezTo>
                    <a:pt x="105" y="52"/>
                    <a:pt x="104" y="53"/>
                    <a:pt x="105" y="53"/>
                  </a:cubicBezTo>
                  <a:cubicBezTo>
                    <a:pt x="105" y="53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3"/>
                  </a:cubicBezTo>
                  <a:close/>
                  <a:moveTo>
                    <a:pt x="101" y="44"/>
                  </a:move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lose/>
                  <a:moveTo>
                    <a:pt x="105" y="48"/>
                  </a:moveTo>
                  <a:cubicBezTo>
                    <a:pt x="106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5" y="47"/>
                    <a:pt x="104" y="48"/>
                    <a:pt x="105" y="48"/>
                  </a:cubicBezTo>
                  <a:cubicBezTo>
                    <a:pt x="104" y="48"/>
                    <a:pt x="104" y="48"/>
                    <a:pt x="105" y="48"/>
                  </a:cubicBezTo>
                  <a:cubicBezTo>
                    <a:pt x="105" y="48"/>
                    <a:pt x="105" y="47"/>
                    <a:pt x="105" y="47"/>
                  </a:cubicBezTo>
                  <a:cubicBezTo>
                    <a:pt x="105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8" y="46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7"/>
                    <a:pt x="105" y="48"/>
                  </a:cubicBezTo>
                  <a:close/>
                  <a:moveTo>
                    <a:pt x="103" y="48"/>
                  </a:move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ubicBezTo>
                    <a:pt x="103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lose/>
                  <a:moveTo>
                    <a:pt x="103" y="44"/>
                  </a:move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3"/>
                    <a:pt x="102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4" y="43"/>
                  </a:cubicBezTo>
                  <a:cubicBezTo>
                    <a:pt x="103" y="43"/>
                    <a:pt x="103" y="43"/>
                    <a:pt x="103" y="44"/>
                  </a:cubicBezTo>
                  <a:close/>
                  <a:moveTo>
                    <a:pt x="107" y="51"/>
                  </a:moveTo>
                  <a:cubicBezTo>
                    <a:pt x="107" y="51"/>
                    <a:pt x="108" y="51"/>
                    <a:pt x="108" y="50"/>
                  </a:cubicBezTo>
                  <a:cubicBezTo>
                    <a:pt x="108" y="50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7" y="51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7" y="52"/>
                    <a:pt x="107" y="51"/>
                    <a:pt x="107" y="52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lose/>
                  <a:moveTo>
                    <a:pt x="103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2"/>
                    <a:pt x="102" y="42"/>
                    <a:pt x="102" y="43"/>
                  </a:cubicBezTo>
                  <a:cubicBezTo>
                    <a:pt x="102" y="42"/>
                    <a:pt x="103" y="42"/>
                    <a:pt x="103" y="42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10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0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8"/>
                    <a:pt x="116" y="38"/>
                  </a:cubicBezTo>
                  <a:cubicBezTo>
                    <a:pt x="115" y="38"/>
                    <a:pt x="115" y="38"/>
                    <a:pt x="115" y="39"/>
                  </a:cubicBezTo>
                  <a:close/>
                  <a:moveTo>
                    <a:pt x="111" y="40"/>
                  </a:moveTo>
                  <a:cubicBezTo>
                    <a:pt x="111" y="39"/>
                    <a:pt x="111" y="40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9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7" y="39"/>
                  </a:cubicBezTo>
                  <a:cubicBezTo>
                    <a:pt x="117" y="39"/>
                    <a:pt x="117" y="39"/>
                    <a:pt x="118" y="38"/>
                  </a:cubicBezTo>
                  <a:cubicBezTo>
                    <a:pt x="117" y="39"/>
                    <a:pt x="117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39"/>
                    <a:pt x="115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7" y="38"/>
                  </a:cubicBezTo>
                  <a:close/>
                  <a:moveTo>
                    <a:pt x="114" y="39"/>
                  </a:moveTo>
                  <a:cubicBezTo>
                    <a:pt x="114" y="39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lose/>
                  <a:moveTo>
                    <a:pt x="111" y="40"/>
                  </a:move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6" y="43"/>
                  </a:moveTo>
                  <a:cubicBezTo>
                    <a:pt x="116" y="43"/>
                    <a:pt x="116" y="43"/>
                    <a:pt x="116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6" y="42"/>
                    <a:pt x="116" y="43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7"/>
                    <a:pt x="113" y="37"/>
                  </a:cubicBezTo>
                  <a:cubicBezTo>
                    <a:pt x="113" y="38"/>
                    <a:pt x="113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4" y="38"/>
                  </a:move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3" y="38"/>
                    <a:pt x="114" y="38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7" y="36"/>
                  </a:cubicBezTo>
                  <a:cubicBezTo>
                    <a:pt x="116" y="36"/>
                    <a:pt x="116" y="37"/>
                    <a:pt x="115" y="37"/>
                  </a:cubicBezTo>
                  <a:cubicBezTo>
                    <a:pt x="115" y="37"/>
                    <a:pt x="114" y="38"/>
                    <a:pt x="114" y="37"/>
                  </a:cubicBezTo>
                  <a:cubicBezTo>
                    <a:pt x="114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5"/>
                  </a:cubicBezTo>
                  <a:cubicBezTo>
                    <a:pt x="118" y="35"/>
                    <a:pt x="117" y="35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5"/>
                    <a:pt x="118" y="36"/>
                    <a:pt x="118" y="35"/>
                  </a:cubicBezTo>
                  <a:cubicBezTo>
                    <a:pt x="118" y="36"/>
                    <a:pt x="117" y="36"/>
                    <a:pt x="117" y="36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7"/>
                    <a:pt x="118" y="37"/>
                    <a:pt x="118" y="37"/>
                  </a:cubicBezTo>
                  <a:close/>
                  <a:moveTo>
                    <a:pt x="116" y="38"/>
                  </a:moveTo>
                  <a:cubicBezTo>
                    <a:pt x="116" y="38"/>
                    <a:pt x="116" y="38"/>
                    <a:pt x="116" y="37"/>
                  </a:cubicBezTo>
                  <a:cubicBezTo>
                    <a:pt x="117" y="37"/>
                    <a:pt x="116" y="38"/>
                    <a:pt x="117" y="38"/>
                  </a:cubicBezTo>
                  <a:cubicBezTo>
                    <a:pt x="117" y="38"/>
                    <a:pt x="116" y="38"/>
                    <a:pt x="116" y="38"/>
                  </a:cubicBezTo>
                  <a:close/>
                  <a:moveTo>
                    <a:pt x="118" y="37"/>
                  </a:moveTo>
                  <a:cubicBezTo>
                    <a:pt x="118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8" y="37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7"/>
                  </a:cubicBezTo>
                  <a:cubicBezTo>
                    <a:pt x="117" y="37"/>
                    <a:pt x="117" y="38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17" y="37"/>
                  </a:moveTo>
                  <a:cubicBezTo>
                    <a:pt x="117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6"/>
                    <a:pt x="120" y="36"/>
                  </a:cubicBezTo>
                  <a:cubicBezTo>
                    <a:pt x="120" y="36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8" y="37"/>
                    <a:pt x="119" y="37"/>
                    <a:pt x="119" y="37"/>
                  </a:cubicBezTo>
                  <a:close/>
                  <a:moveTo>
                    <a:pt x="120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19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25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5"/>
                    <a:pt x="125" y="34"/>
                    <a:pt x="124" y="34"/>
                  </a:cubicBezTo>
                  <a:cubicBezTo>
                    <a:pt x="124" y="34"/>
                    <a:pt x="125" y="34"/>
                    <a:pt x="125" y="34"/>
                  </a:cubicBezTo>
                  <a:close/>
                  <a:moveTo>
                    <a:pt x="125" y="34"/>
                  </a:moveTo>
                  <a:cubicBezTo>
                    <a:pt x="125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5" y="34"/>
                    <a:pt x="125" y="34"/>
                  </a:cubicBezTo>
                  <a:cubicBezTo>
                    <a:pt x="125" y="34"/>
                    <a:pt x="126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9" y="30"/>
                  </a:moveTo>
                  <a:cubicBezTo>
                    <a:pt x="129" y="30"/>
                    <a:pt x="129" y="30"/>
                    <a:pt x="130" y="29"/>
                  </a:cubicBezTo>
                  <a:cubicBezTo>
                    <a:pt x="130" y="29"/>
                    <a:pt x="131" y="28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lose/>
                  <a:moveTo>
                    <a:pt x="130" y="29"/>
                  </a:moveTo>
                  <a:cubicBezTo>
                    <a:pt x="129" y="29"/>
                    <a:pt x="129" y="29"/>
                    <a:pt x="128" y="29"/>
                  </a:cubicBezTo>
                  <a:cubicBezTo>
                    <a:pt x="128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30" y="29"/>
                    <a:pt x="130" y="29"/>
                  </a:cubicBezTo>
                  <a:close/>
                  <a:moveTo>
                    <a:pt x="130" y="28"/>
                  </a:moveTo>
                  <a:cubicBezTo>
                    <a:pt x="131" y="28"/>
                    <a:pt x="130" y="28"/>
                    <a:pt x="130" y="29"/>
                  </a:cubicBezTo>
                  <a:cubicBezTo>
                    <a:pt x="130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0" y="28"/>
                  </a:cubicBezTo>
                  <a:close/>
                  <a:moveTo>
                    <a:pt x="135" y="26"/>
                  </a:moveTo>
                  <a:cubicBezTo>
                    <a:pt x="135" y="26"/>
                    <a:pt x="136" y="26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8" y="25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40" y="24"/>
                  </a:cubicBezTo>
                  <a:cubicBezTo>
                    <a:pt x="140" y="24"/>
                    <a:pt x="140" y="24"/>
                    <a:pt x="140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0" y="23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4"/>
                    <a:pt x="139" y="24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5"/>
                    <a:pt x="137" y="25"/>
                  </a:cubicBezTo>
                  <a:cubicBezTo>
                    <a:pt x="136" y="26"/>
                    <a:pt x="135" y="26"/>
                    <a:pt x="135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8"/>
                    <a:pt x="131" y="28"/>
                    <a:pt x="130" y="29"/>
                  </a:cubicBezTo>
                  <a:cubicBezTo>
                    <a:pt x="131" y="28"/>
                    <a:pt x="134" y="27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lose/>
                  <a:moveTo>
                    <a:pt x="131" y="29"/>
                  </a:move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lose/>
                  <a:moveTo>
                    <a:pt x="142" y="22"/>
                  </a:moveTo>
                  <a:cubicBezTo>
                    <a:pt x="141" y="23"/>
                    <a:pt x="139" y="23"/>
                    <a:pt x="138" y="24"/>
                  </a:cubicBezTo>
                  <a:cubicBezTo>
                    <a:pt x="139" y="23"/>
                    <a:pt x="141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7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0"/>
                    <a:pt x="147" y="20"/>
                    <a:pt x="147" y="20"/>
                  </a:cubicBezTo>
                  <a:cubicBezTo>
                    <a:pt x="147" y="20"/>
                    <a:pt x="146" y="20"/>
                    <a:pt x="146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6" y="21"/>
                    <a:pt x="146" y="20"/>
                    <a:pt x="146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52" y="16"/>
                  </a:moveTo>
                  <a:cubicBezTo>
                    <a:pt x="152" y="15"/>
                    <a:pt x="153" y="15"/>
                    <a:pt x="153" y="15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53" y="15"/>
                    <a:pt x="153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1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5"/>
                    <a:pt x="152" y="16"/>
                    <a:pt x="152" y="16"/>
                  </a:cubicBezTo>
                  <a:close/>
                  <a:moveTo>
                    <a:pt x="163" y="10"/>
                  </a:move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1" y="11"/>
                    <a:pt x="161" y="11"/>
                  </a:cubicBezTo>
                  <a:cubicBezTo>
                    <a:pt x="159" y="11"/>
                    <a:pt x="159" y="12"/>
                    <a:pt x="158" y="13"/>
                  </a:cubicBezTo>
                  <a:cubicBezTo>
                    <a:pt x="158" y="13"/>
                    <a:pt x="158" y="12"/>
                    <a:pt x="158" y="12"/>
                  </a:cubicBezTo>
                  <a:cubicBezTo>
                    <a:pt x="159" y="12"/>
                    <a:pt x="158" y="12"/>
                    <a:pt x="159" y="12"/>
                  </a:cubicBezTo>
                  <a:cubicBezTo>
                    <a:pt x="158" y="12"/>
                    <a:pt x="158" y="13"/>
                    <a:pt x="157" y="12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3"/>
                    <a:pt x="157" y="13"/>
                    <a:pt x="157" y="12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9" y="12"/>
                    <a:pt x="158" y="12"/>
                    <a:pt x="158" y="12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1"/>
                    <a:pt x="159" y="12"/>
                    <a:pt x="159" y="12"/>
                  </a:cubicBezTo>
                  <a:cubicBezTo>
                    <a:pt x="159" y="12"/>
                    <a:pt x="159" y="11"/>
                    <a:pt x="159" y="11"/>
                  </a:cubicBezTo>
                  <a:cubicBezTo>
                    <a:pt x="159" y="12"/>
                    <a:pt x="159" y="11"/>
                    <a:pt x="160" y="11"/>
                  </a:cubicBezTo>
                  <a:cubicBezTo>
                    <a:pt x="160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0"/>
                    <a:pt x="160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9"/>
                    <a:pt x="161" y="10"/>
                    <a:pt x="161" y="10"/>
                  </a:cubicBezTo>
                  <a:cubicBezTo>
                    <a:pt x="162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2" y="9"/>
                    <a:pt x="162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10"/>
                    <a:pt x="162" y="9"/>
                    <a:pt x="162" y="10"/>
                  </a:cubicBezTo>
                  <a:cubicBezTo>
                    <a:pt x="162" y="10"/>
                    <a:pt x="163" y="9"/>
                    <a:pt x="163" y="10"/>
                  </a:cubicBezTo>
                  <a:close/>
                  <a:moveTo>
                    <a:pt x="157" y="14"/>
                  </a:moveTo>
                  <a:cubicBezTo>
                    <a:pt x="158" y="13"/>
                    <a:pt x="158" y="13"/>
                    <a:pt x="158" y="13"/>
                  </a:cubicBezTo>
                  <a:cubicBezTo>
                    <a:pt x="158" y="13"/>
                    <a:pt x="158" y="13"/>
                    <a:pt x="157" y="14"/>
                  </a:cubicBezTo>
                  <a:close/>
                  <a:moveTo>
                    <a:pt x="159" y="13"/>
                  </a:moveTo>
                  <a:cubicBezTo>
                    <a:pt x="159" y="13"/>
                    <a:pt x="159" y="13"/>
                    <a:pt x="159" y="12"/>
                  </a:cubicBezTo>
                  <a:cubicBezTo>
                    <a:pt x="159" y="13"/>
                    <a:pt x="158" y="13"/>
                    <a:pt x="159" y="13"/>
                  </a:cubicBezTo>
                  <a:close/>
                  <a:moveTo>
                    <a:pt x="159" y="13"/>
                  </a:moveTo>
                  <a:cubicBezTo>
                    <a:pt x="160" y="13"/>
                    <a:pt x="160" y="12"/>
                    <a:pt x="160" y="12"/>
                  </a:cubicBezTo>
                  <a:cubicBezTo>
                    <a:pt x="160" y="12"/>
                    <a:pt x="159" y="13"/>
                    <a:pt x="159" y="13"/>
                  </a:cubicBezTo>
                  <a:close/>
                  <a:moveTo>
                    <a:pt x="166" y="7"/>
                  </a:moveTo>
                  <a:cubicBezTo>
                    <a:pt x="166" y="7"/>
                    <a:pt x="166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lose/>
                  <a:moveTo>
                    <a:pt x="169" y="8"/>
                  </a:moveTo>
                  <a:cubicBezTo>
                    <a:pt x="169" y="8"/>
                    <a:pt x="169" y="8"/>
                    <a:pt x="169" y="8"/>
                  </a:cubicBezTo>
                  <a:cubicBezTo>
                    <a:pt x="169" y="8"/>
                    <a:pt x="169" y="8"/>
                    <a:pt x="168" y="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8"/>
                    <a:pt x="169" y="8"/>
                    <a:pt x="169" y="8"/>
                  </a:cubicBezTo>
                  <a:close/>
                  <a:moveTo>
                    <a:pt x="169" y="7"/>
                  </a:moveTo>
                  <a:cubicBezTo>
                    <a:pt x="169" y="7"/>
                    <a:pt x="169" y="7"/>
                    <a:pt x="169" y="7"/>
                  </a:cubicBezTo>
                  <a:cubicBezTo>
                    <a:pt x="169" y="8"/>
                    <a:pt x="169" y="7"/>
                    <a:pt x="170" y="7"/>
                  </a:cubicBezTo>
                  <a:cubicBezTo>
                    <a:pt x="170" y="7"/>
                    <a:pt x="169" y="8"/>
                    <a:pt x="169" y="8"/>
                  </a:cubicBezTo>
                  <a:cubicBezTo>
                    <a:pt x="169" y="8"/>
                    <a:pt x="169" y="7"/>
                    <a:pt x="169" y="7"/>
                  </a:cubicBezTo>
                  <a:close/>
                  <a:moveTo>
                    <a:pt x="178" y="5"/>
                  </a:move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9" y="5"/>
                  </a:cubicBezTo>
                  <a:cubicBezTo>
                    <a:pt x="179" y="5"/>
                    <a:pt x="178" y="5"/>
                    <a:pt x="178" y="5"/>
                  </a:cubicBezTo>
                  <a:close/>
                  <a:moveTo>
                    <a:pt x="179" y="1"/>
                  </a:moveTo>
                  <a:cubicBezTo>
                    <a:pt x="179" y="1"/>
                    <a:pt x="179" y="1"/>
                    <a:pt x="180" y="1"/>
                  </a:cubicBezTo>
                  <a:cubicBezTo>
                    <a:pt x="179" y="1"/>
                    <a:pt x="179" y="1"/>
                    <a:pt x="179" y="1"/>
                  </a:cubicBezTo>
                  <a:close/>
                  <a:moveTo>
                    <a:pt x="22" y="103"/>
                  </a:moveTo>
                  <a:cubicBezTo>
                    <a:pt x="22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2" y="103"/>
                    <a:pt x="22" y="103"/>
                    <a:pt x="22" y="103"/>
                  </a:cubicBezTo>
                  <a:close/>
                  <a:moveTo>
                    <a:pt x="44" y="87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5" y="85"/>
                    <a:pt x="46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lose/>
                  <a:moveTo>
                    <a:pt x="44" y="82"/>
                  </a:moveTo>
                  <a:cubicBezTo>
                    <a:pt x="44" y="82"/>
                    <a:pt x="44" y="82"/>
                    <a:pt x="44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4" y="82"/>
                    <a:pt x="44" y="82"/>
                  </a:cubicBezTo>
                  <a:cubicBezTo>
                    <a:pt x="44" y="82"/>
                    <a:pt x="45" y="81"/>
                    <a:pt x="45" y="81"/>
                  </a:cubicBezTo>
                  <a:cubicBezTo>
                    <a:pt x="45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lose/>
                  <a:moveTo>
                    <a:pt x="50" y="74"/>
                  </a:move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50" y="75"/>
                    <a:pt x="50" y="74"/>
                  </a:cubicBezTo>
                  <a:close/>
                  <a:moveTo>
                    <a:pt x="55" y="79"/>
                  </a:moveTo>
                  <a:cubicBezTo>
                    <a:pt x="56" y="78"/>
                    <a:pt x="56" y="78"/>
                    <a:pt x="57" y="78"/>
                  </a:cubicBezTo>
                  <a:cubicBezTo>
                    <a:pt x="56" y="78"/>
                    <a:pt x="56" y="78"/>
                    <a:pt x="55" y="79"/>
                  </a:cubicBezTo>
                  <a:cubicBezTo>
                    <a:pt x="55" y="79"/>
                    <a:pt x="56" y="79"/>
                    <a:pt x="55" y="79"/>
                  </a:cubicBezTo>
                  <a:close/>
                  <a:moveTo>
                    <a:pt x="62" y="67"/>
                  </a:move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7"/>
                    <a:pt x="62" y="67"/>
                    <a:pt x="62" y="67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8" y="63"/>
                    <a:pt x="68" y="62"/>
                    <a:pt x="69" y="62"/>
                  </a:cubicBezTo>
                  <a:cubicBezTo>
                    <a:pt x="68" y="63"/>
                    <a:pt x="67" y="63"/>
                    <a:pt x="67" y="63"/>
                  </a:cubicBezTo>
                  <a:close/>
                  <a:moveTo>
                    <a:pt x="71" y="68"/>
                  </a:moveTo>
                  <a:cubicBezTo>
                    <a:pt x="71" y="68"/>
                    <a:pt x="71" y="67"/>
                    <a:pt x="71" y="6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lose/>
                  <a:moveTo>
                    <a:pt x="76" y="63"/>
                  </a:moveTo>
                  <a:cubicBezTo>
                    <a:pt x="76" y="63"/>
                    <a:pt x="76" y="63"/>
                    <a:pt x="76" y="64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5" y="63"/>
                    <a:pt x="76" y="63"/>
                    <a:pt x="76" y="63"/>
                  </a:cubicBezTo>
                  <a:close/>
                  <a:moveTo>
                    <a:pt x="83" y="65"/>
                  </a:moveTo>
                  <a:cubicBezTo>
                    <a:pt x="83" y="65"/>
                    <a:pt x="82" y="65"/>
                    <a:pt x="82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6"/>
                    <a:pt x="82" y="66"/>
                    <a:pt x="81" y="66"/>
                  </a:cubicBezTo>
                  <a:cubicBezTo>
                    <a:pt x="82" y="65"/>
                    <a:pt x="82" y="65"/>
                    <a:pt x="83" y="65"/>
                  </a:cubicBezTo>
                  <a:close/>
                  <a:moveTo>
                    <a:pt x="84" y="59"/>
                  </a:moveTo>
                  <a:cubicBezTo>
                    <a:pt x="83" y="60"/>
                    <a:pt x="83" y="60"/>
                    <a:pt x="82" y="60"/>
                  </a:cubicBezTo>
                  <a:cubicBezTo>
                    <a:pt x="82" y="60"/>
                    <a:pt x="82" y="60"/>
                    <a:pt x="82" y="61"/>
                  </a:cubicBezTo>
                  <a:cubicBezTo>
                    <a:pt x="82" y="61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1" y="61"/>
                    <a:pt x="81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1"/>
                    <a:pt x="81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0" y="61"/>
                    <a:pt x="81" y="61"/>
                    <a:pt x="80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2" y="60"/>
                    <a:pt x="81" y="61"/>
                    <a:pt x="82" y="60"/>
                  </a:cubicBezTo>
                  <a:cubicBezTo>
                    <a:pt x="81" y="60"/>
                    <a:pt x="81" y="60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2" y="60"/>
                    <a:pt x="82" y="59"/>
                  </a:cubicBezTo>
                  <a:cubicBezTo>
                    <a:pt x="82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4" y="59"/>
                  </a:cubicBezTo>
                  <a:close/>
                  <a:moveTo>
                    <a:pt x="84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59"/>
                    <a:pt x="84" y="59"/>
                    <a:pt x="84" y="60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9"/>
                    <a:pt x="84" y="59"/>
                    <a:pt x="84" y="59"/>
                  </a:cubicBezTo>
                  <a:close/>
                  <a:moveTo>
                    <a:pt x="89" y="58"/>
                  </a:moveTo>
                  <a:cubicBezTo>
                    <a:pt x="88" y="58"/>
                    <a:pt x="89" y="58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8"/>
                    <a:pt x="88" y="58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8"/>
                  </a:cubicBezTo>
                  <a:cubicBezTo>
                    <a:pt x="87" y="59"/>
                    <a:pt x="88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lose/>
                  <a:moveTo>
                    <a:pt x="92" y="60"/>
                  </a:moveTo>
                  <a:cubicBezTo>
                    <a:pt x="92" y="61"/>
                    <a:pt x="91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3" y="41"/>
                    <a:pt x="112" y="41"/>
                    <a:pt x="113" y="41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0057FA43-D171-4137-BEDB-C017169B1B97}"/>
                </a:ext>
              </a:extLst>
            </p:cNvPr>
            <p:cNvSpPr/>
            <p:nvPr/>
          </p:nvSpPr>
          <p:spPr bwMode="auto">
            <a:xfrm>
              <a:off x="6337768" y="3086100"/>
              <a:ext cx="2051014" cy="1674813"/>
            </a:xfrm>
            <a:custGeom>
              <a:avLst/>
              <a:gdLst>
                <a:gd name="connsiteX0" fmla="*/ 1084317 w 2051014"/>
                <a:gd name="connsiteY0" fmla="*/ 1449027 h 1674813"/>
                <a:gd name="connsiteX1" fmla="*/ 1106021 w 2051014"/>
                <a:gd name="connsiteY1" fmla="*/ 1452707 h 1674813"/>
                <a:gd name="connsiteX2" fmla="*/ 1083697 w 2051014"/>
                <a:gd name="connsiteY2" fmla="*/ 1464974 h 1674813"/>
                <a:gd name="connsiteX3" fmla="*/ 1066333 w 2051014"/>
                <a:gd name="connsiteY3" fmla="*/ 1452707 h 1674813"/>
                <a:gd name="connsiteX4" fmla="*/ 1084317 w 2051014"/>
                <a:gd name="connsiteY4" fmla="*/ 1449027 h 1674813"/>
                <a:gd name="connsiteX5" fmla="*/ 1105026 w 2051014"/>
                <a:gd name="connsiteY5" fmla="*/ 1235113 h 1674813"/>
                <a:gd name="connsiteX6" fmla="*/ 1057882 w 2051014"/>
                <a:gd name="connsiteY6" fmla="*/ 1250172 h 1674813"/>
                <a:gd name="connsiteX7" fmla="*/ 1059197 w 2051014"/>
                <a:gd name="connsiteY7" fmla="*/ 1259916 h 1674813"/>
                <a:gd name="connsiteX8" fmla="*/ 1057943 w 2051014"/>
                <a:gd name="connsiteY8" fmla="*/ 1264099 h 1674813"/>
                <a:gd name="connsiteX9" fmla="*/ 1062955 w 2051014"/>
                <a:gd name="connsiteY9" fmla="*/ 1267226 h 1674813"/>
                <a:gd name="connsiteX10" fmla="*/ 1102551 w 2051014"/>
                <a:gd name="connsiteY10" fmla="*/ 1279577 h 1674813"/>
                <a:gd name="connsiteX11" fmla="*/ 1105026 w 2051014"/>
                <a:gd name="connsiteY11" fmla="*/ 1235113 h 1674813"/>
                <a:gd name="connsiteX12" fmla="*/ 879820 w 2051014"/>
                <a:gd name="connsiteY12" fmla="*/ 1148655 h 1674813"/>
                <a:gd name="connsiteX13" fmla="*/ 892194 w 2051014"/>
                <a:gd name="connsiteY13" fmla="*/ 1195589 h 1674813"/>
                <a:gd name="connsiteX14" fmla="*/ 907043 w 2051014"/>
                <a:gd name="connsiteY14" fmla="*/ 1183238 h 1674813"/>
                <a:gd name="connsiteX15" fmla="*/ 879820 w 2051014"/>
                <a:gd name="connsiteY15" fmla="*/ 1148655 h 1674813"/>
                <a:gd name="connsiteX16" fmla="*/ 1540589 w 2051014"/>
                <a:gd name="connsiteY16" fmla="*/ 1106661 h 1674813"/>
                <a:gd name="connsiteX17" fmla="*/ 1508417 w 2051014"/>
                <a:gd name="connsiteY17" fmla="*/ 1116542 h 1674813"/>
                <a:gd name="connsiteX18" fmla="*/ 1406950 w 2051014"/>
                <a:gd name="connsiteY18" fmla="*/ 1148655 h 1674813"/>
                <a:gd name="connsiteX19" fmla="*/ 1340131 w 2051014"/>
                <a:gd name="connsiteY19" fmla="*/ 1173357 h 1674813"/>
                <a:gd name="connsiteX20" fmla="*/ 1330232 w 2051014"/>
                <a:gd name="connsiteY20" fmla="*/ 1188179 h 1674813"/>
                <a:gd name="connsiteX21" fmla="*/ 1332707 w 2051014"/>
                <a:gd name="connsiteY21" fmla="*/ 1249934 h 1674813"/>
                <a:gd name="connsiteX22" fmla="*/ 1337656 w 2051014"/>
                <a:gd name="connsiteY22" fmla="*/ 1284518 h 1674813"/>
                <a:gd name="connsiteX23" fmla="*/ 1345081 w 2051014"/>
                <a:gd name="connsiteY23" fmla="*/ 1343803 h 1674813"/>
                <a:gd name="connsiteX24" fmla="*/ 1540589 w 2051014"/>
                <a:gd name="connsiteY24" fmla="*/ 1106661 h 1674813"/>
                <a:gd name="connsiteX25" fmla="*/ 371323 w 2051014"/>
                <a:gd name="connsiteY25" fmla="*/ 983024 h 1674813"/>
                <a:gd name="connsiteX26" fmla="*/ 467817 w 2051014"/>
                <a:gd name="connsiteY26" fmla="*/ 1074471 h 1674813"/>
                <a:gd name="connsiteX27" fmla="*/ 217922 w 2051014"/>
                <a:gd name="connsiteY27" fmla="*/ 1353753 h 1674813"/>
                <a:gd name="connsiteX28" fmla="*/ 517301 w 2051014"/>
                <a:gd name="connsiteY28" fmla="*/ 1198047 h 1674813"/>
                <a:gd name="connsiteX29" fmla="*/ 490085 w 2051014"/>
                <a:gd name="connsiteY29" fmla="*/ 1566303 h 1674813"/>
                <a:gd name="connsiteX30" fmla="*/ 282251 w 2051014"/>
                <a:gd name="connsiteY30" fmla="*/ 1450142 h 1674813"/>
                <a:gd name="connsiteX31" fmla="*/ 262458 w 2051014"/>
                <a:gd name="connsiteY31" fmla="*/ 1603376 h 1674813"/>
                <a:gd name="connsiteX32" fmla="*/ 86789 w 2051014"/>
                <a:gd name="connsiteY32" fmla="*/ 1413069 h 1674813"/>
                <a:gd name="connsiteX33" fmla="*/ 257509 w 2051014"/>
                <a:gd name="connsiteY33" fmla="*/ 1153559 h 1674813"/>
                <a:gd name="connsiteX34" fmla="*/ 101634 w 2051014"/>
                <a:gd name="connsiteY34" fmla="*/ 1254892 h 1674813"/>
                <a:gd name="connsiteX35" fmla="*/ 39779 w 2051014"/>
                <a:gd name="connsiteY35" fmla="*/ 1205461 h 1674813"/>
                <a:gd name="connsiteX36" fmla="*/ 106582 w 2051014"/>
                <a:gd name="connsiteY36" fmla="*/ 1111543 h 1674813"/>
                <a:gd name="connsiteX37" fmla="*/ 371323 w 2051014"/>
                <a:gd name="connsiteY37" fmla="*/ 983024 h 1674813"/>
                <a:gd name="connsiteX38" fmla="*/ 1072854 w 2051014"/>
                <a:gd name="connsiteY38" fmla="*/ 958448 h 1674813"/>
                <a:gd name="connsiteX39" fmla="*/ 872396 w 2051014"/>
                <a:gd name="connsiteY39" fmla="*/ 1094310 h 1674813"/>
                <a:gd name="connsiteX40" fmla="*/ 902093 w 2051014"/>
                <a:gd name="connsiteY40" fmla="*/ 1148655 h 1674813"/>
                <a:gd name="connsiteX41" fmla="*/ 909518 w 2051014"/>
                <a:gd name="connsiteY41" fmla="*/ 1156066 h 1674813"/>
                <a:gd name="connsiteX42" fmla="*/ 951589 w 2051014"/>
                <a:gd name="connsiteY42" fmla="*/ 1156066 h 1674813"/>
                <a:gd name="connsiteX43" fmla="*/ 1020883 w 2051014"/>
                <a:gd name="connsiteY43" fmla="*/ 1116542 h 1674813"/>
                <a:gd name="connsiteX44" fmla="*/ 1087703 w 2051014"/>
                <a:gd name="connsiteY44" fmla="*/ 1079489 h 1674813"/>
                <a:gd name="connsiteX45" fmla="*/ 1072854 w 2051014"/>
                <a:gd name="connsiteY45" fmla="*/ 958448 h 1674813"/>
                <a:gd name="connsiteX46" fmla="*/ 294376 w 2051014"/>
                <a:gd name="connsiteY46" fmla="*/ 654981 h 1674813"/>
                <a:gd name="connsiteX47" fmla="*/ 385303 w 2051014"/>
                <a:gd name="connsiteY47" fmla="*/ 692078 h 1674813"/>
                <a:gd name="connsiteX48" fmla="*/ 516603 w 2051014"/>
                <a:gd name="connsiteY48" fmla="*/ 805488 h 1674813"/>
                <a:gd name="connsiteX49" fmla="*/ 541376 w 2051014"/>
                <a:gd name="connsiteY49" fmla="*/ 840004 h 1674813"/>
                <a:gd name="connsiteX50" fmla="*/ 526512 w 2051014"/>
                <a:gd name="connsiteY50" fmla="*/ 869590 h 1674813"/>
                <a:gd name="connsiteX51" fmla="*/ 496784 w 2051014"/>
                <a:gd name="connsiteY51" fmla="*/ 879451 h 1674813"/>
                <a:gd name="connsiteX52" fmla="*/ 372916 w 2051014"/>
                <a:gd name="connsiteY52" fmla="*/ 911502 h 1674813"/>
                <a:gd name="connsiteX53" fmla="*/ 338233 w 2051014"/>
                <a:gd name="connsiteY53" fmla="*/ 936157 h 1674813"/>
                <a:gd name="connsiteX54" fmla="*/ 382825 w 2051014"/>
                <a:gd name="connsiteY54" fmla="*/ 946018 h 1674813"/>
                <a:gd name="connsiteX55" fmla="*/ 360529 w 2051014"/>
                <a:gd name="connsiteY55" fmla="*/ 963276 h 1674813"/>
                <a:gd name="connsiteX56" fmla="*/ 251526 w 2051014"/>
                <a:gd name="connsiteY56" fmla="*/ 943553 h 1674813"/>
                <a:gd name="connsiteX57" fmla="*/ 73156 w 2051014"/>
                <a:gd name="connsiteY57" fmla="*/ 807954 h 1674813"/>
                <a:gd name="connsiteX58" fmla="*/ 6268 w 2051014"/>
                <a:gd name="connsiteY58" fmla="*/ 729060 h 1674813"/>
                <a:gd name="connsiteX59" fmla="*/ 3790 w 2051014"/>
                <a:gd name="connsiteY59" fmla="*/ 699474 h 1674813"/>
                <a:gd name="connsiteX60" fmla="*/ 21132 w 2051014"/>
                <a:gd name="connsiteY60" fmla="*/ 692078 h 1674813"/>
                <a:gd name="connsiteX61" fmla="*/ 157386 w 2051014"/>
                <a:gd name="connsiteY61" fmla="*/ 664958 h 1674813"/>
                <a:gd name="connsiteX62" fmla="*/ 236662 w 2051014"/>
                <a:gd name="connsiteY62" fmla="*/ 660027 h 1674813"/>
                <a:gd name="connsiteX63" fmla="*/ 258958 w 2051014"/>
                <a:gd name="connsiteY63" fmla="*/ 657562 h 1674813"/>
                <a:gd name="connsiteX64" fmla="*/ 294376 w 2051014"/>
                <a:gd name="connsiteY64" fmla="*/ 654981 h 1674813"/>
                <a:gd name="connsiteX65" fmla="*/ 1033257 w 2051014"/>
                <a:gd name="connsiteY65" fmla="*/ 195148 h 1674813"/>
                <a:gd name="connsiteX66" fmla="*/ 1038207 w 2051014"/>
                <a:gd name="connsiteY66" fmla="*/ 402647 h 1674813"/>
                <a:gd name="connsiteX67" fmla="*/ 1050581 w 2051014"/>
                <a:gd name="connsiteY67" fmla="*/ 343361 h 1674813"/>
                <a:gd name="connsiteX68" fmla="*/ 1050581 w 2051014"/>
                <a:gd name="connsiteY68" fmla="*/ 335951 h 1674813"/>
                <a:gd name="connsiteX69" fmla="*/ 1040682 w 2051014"/>
                <a:gd name="connsiteY69" fmla="*/ 212439 h 1674813"/>
                <a:gd name="connsiteX70" fmla="*/ 1033257 w 2051014"/>
                <a:gd name="connsiteY70" fmla="*/ 195148 h 1674813"/>
                <a:gd name="connsiteX71" fmla="*/ 1040682 w 2051014"/>
                <a:gd name="connsiteY71" fmla="*/ 0 h 1674813"/>
                <a:gd name="connsiteX72" fmla="*/ 1053055 w 2051014"/>
                <a:gd name="connsiteY72" fmla="*/ 2470 h 1674813"/>
                <a:gd name="connsiteX73" fmla="*/ 1152047 w 2051014"/>
                <a:gd name="connsiteY73" fmla="*/ 61756 h 1674813"/>
                <a:gd name="connsiteX74" fmla="*/ 1278261 w 2051014"/>
                <a:gd name="connsiteY74" fmla="*/ 153154 h 1674813"/>
                <a:gd name="connsiteX75" fmla="*/ 1332707 w 2051014"/>
                <a:gd name="connsiteY75" fmla="*/ 182797 h 1674813"/>
                <a:gd name="connsiteX76" fmla="*/ 1476244 w 2051014"/>
                <a:gd name="connsiteY76" fmla="*/ 293957 h 1674813"/>
                <a:gd name="connsiteX77" fmla="*/ 1491093 w 2051014"/>
                <a:gd name="connsiteY77" fmla="*/ 316189 h 1674813"/>
                <a:gd name="connsiteX78" fmla="*/ 1488618 w 2051014"/>
                <a:gd name="connsiteY78" fmla="*/ 321129 h 1674813"/>
                <a:gd name="connsiteX79" fmla="*/ 1444072 w 2051014"/>
                <a:gd name="connsiteY79" fmla="*/ 306308 h 1674813"/>
                <a:gd name="connsiteX80" fmla="*/ 1421799 w 2051014"/>
                <a:gd name="connsiteY80" fmla="*/ 345831 h 1674813"/>
                <a:gd name="connsiteX81" fmla="*/ 1409425 w 2051014"/>
                <a:gd name="connsiteY81" fmla="*/ 370534 h 1674813"/>
                <a:gd name="connsiteX82" fmla="*/ 1394576 w 2051014"/>
                <a:gd name="connsiteY82" fmla="*/ 419938 h 1674813"/>
                <a:gd name="connsiteX83" fmla="*/ 1392102 w 2051014"/>
                <a:gd name="connsiteY83" fmla="*/ 429819 h 1674813"/>
                <a:gd name="connsiteX84" fmla="*/ 1382202 w 2051014"/>
                <a:gd name="connsiteY84" fmla="*/ 489105 h 1674813"/>
                <a:gd name="connsiteX85" fmla="*/ 1374778 w 2051014"/>
                <a:gd name="connsiteY85" fmla="*/ 543449 h 1674813"/>
                <a:gd name="connsiteX86" fmla="*/ 1503467 w 2051014"/>
                <a:gd name="connsiteY86" fmla="*/ 595324 h 1674813"/>
                <a:gd name="connsiteX87" fmla="*/ 1788068 w 2051014"/>
                <a:gd name="connsiteY87" fmla="*/ 758359 h 1674813"/>
                <a:gd name="connsiteX88" fmla="*/ 1983576 w 2051014"/>
                <a:gd name="connsiteY88" fmla="*/ 943626 h 1674813"/>
                <a:gd name="connsiteX89" fmla="*/ 2040496 w 2051014"/>
                <a:gd name="connsiteY89" fmla="*/ 1025144 h 1674813"/>
                <a:gd name="connsiteX90" fmla="*/ 2042971 w 2051014"/>
                <a:gd name="connsiteY90" fmla="*/ 1096780 h 1674813"/>
                <a:gd name="connsiteX91" fmla="*/ 2045446 w 2051014"/>
                <a:gd name="connsiteY91" fmla="*/ 1114072 h 1674813"/>
                <a:gd name="connsiteX92" fmla="*/ 2042971 w 2051014"/>
                <a:gd name="connsiteY92" fmla="*/ 1126423 h 1674813"/>
                <a:gd name="connsiteX93" fmla="*/ 1934080 w 2051014"/>
                <a:gd name="connsiteY93" fmla="*/ 1353684 h 1674813"/>
                <a:gd name="connsiteX94" fmla="*/ 1815291 w 2051014"/>
                <a:gd name="connsiteY94" fmla="*/ 1551302 h 1674813"/>
                <a:gd name="connsiteX95" fmla="*/ 1721249 w 2051014"/>
                <a:gd name="connsiteY95" fmla="*/ 1669873 h 1674813"/>
                <a:gd name="connsiteX96" fmla="*/ 1713824 w 2051014"/>
                <a:gd name="connsiteY96" fmla="*/ 1674813 h 1674813"/>
                <a:gd name="connsiteX97" fmla="*/ 1763320 w 2051014"/>
                <a:gd name="connsiteY97" fmla="*/ 1578474 h 1674813"/>
                <a:gd name="connsiteX98" fmla="*/ 1708875 w 2051014"/>
                <a:gd name="connsiteY98" fmla="*/ 1650111 h 1674813"/>
                <a:gd name="connsiteX99" fmla="*/ 1731148 w 2051014"/>
                <a:gd name="connsiteY99" fmla="*/ 1561183 h 1674813"/>
                <a:gd name="connsiteX100" fmla="*/ 1671753 w 2051014"/>
                <a:gd name="connsiteY100" fmla="*/ 1613058 h 1674813"/>
                <a:gd name="connsiteX101" fmla="*/ 1686602 w 2051014"/>
                <a:gd name="connsiteY101" fmla="*/ 1524129 h 1674813"/>
                <a:gd name="connsiteX102" fmla="*/ 1671753 w 2051014"/>
                <a:gd name="connsiteY102" fmla="*/ 1536481 h 1674813"/>
                <a:gd name="connsiteX103" fmla="*/ 1595034 w 2051014"/>
                <a:gd name="connsiteY103" fmla="*/ 1620468 h 1674813"/>
                <a:gd name="connsiteX104" fmla="*/ 1548013 w 2051014"/>
                <a:gd name="connsiteY104" fmla="*/ 1642700 h 1674813"/>
                <a:gd name="connsiteX105" fmla="*/ 1471295 w 2051014"/>
                <a:gd name="connsiteY105" fmla="*/ 1640230 h 1674813"/>
                <a:gd name="connsiteX106" fmla="*/ 1426749 w 2051014"/>
                <a:gd name="connsiteY106" fmla="*/ 1632819 h 1674813"/>
                <a:gd name="connsiteX107" fmla="*/ 1354980 w 2051014"/>
                <a:gd name="connsiteY107" fmla="*/ 1610587 h 1674813"/>
                <a:gd name="connsiteX108" fmla="*/ 1295585 w 2051014"/>
                <a:gd name="connsiteY108" fmla="*/ 1583415 h 1674813"/>
                <a:gd name="connsiteX109" fmla="*/ 1288160 w 2051014"/>
                <a:gd name="connsiteY109" fmla="*/ 1561183 h 1674813"/>
                <a:gd name="connsiteX110" fmla="*/ 1305484 w 2051014"/>
                <a:gd name="connsiteY110" fmla="*/ 1536481 h 1674813"/>
                <a:gd name="connsiteX111" fmla="*/ 1342606 w 2051014"/>
                <a:gd name="connsiteY111" fmla="*/ 1457433 h 1674813"/>
                <a:gd name="connsiteX112" fmla="*/ 1340131 w 2051014"/>
                <a:gd name="connsiteY112" fmla="*/ 1447552 h 1674813"/>
                <a:gd name="connsiteX113" fmla="*/ 1295585 w 2051014"/>
                <a:gd name="connsiteY113" fmla="*/ 1477195 h 1674813"/>
                <a:gd name="connsiteX114" fmla="*/ 1260938 w 2051014"/>
                <a:gd name="connsiteY114" fmla="*/ 1487076 h 1674813"/>
                <a:gd name="connsiteX115" fmla="*/ 1196593 w 2051014"/>
                <a:gd name="connsiteY115" fmla="*/ 1496957 h 1674813"/>
                <a:gd name="connsiteX116" fmla="*/ 1152047 w 2051014"/>
                <a:gd name="connsiteY116" fmla="*/ 1501897 h 1674813"/>
                <a:gd name="connsiteX117" fmla="*/ 1137198 w 2051014"/>
                <a:gd name="connsiteY117" fmla="*/ 1484606 h 1674813"/>
                <a:gd name="connsiteX118" fmla="*/ 1142148 w 2051014"/>
                <a:gd name="connsiteY118" fmla="*/ 1447552 h 1674813"/>
                <a:gd name="connsiteX119" fmla="*/ 1186694 w 2051014"/>
                <a:gd name="connsiteY119" fmla="*/ 1435201 h 1674813"/>
                <a:gd name="connsiteX120" fmla="*/ 1154522 w 2051014"/>
                <a:gd name="connsiteY120" fmla="*/ 1408029 h 1674813"/>
                <a:gd name="connsiteX121" fmla="*/ 1010984 w 2051014"/>
                <a:gd name="connsiteY121" fmla="*/ 1277107 h 1674813"/>
                <a:gd name="connsiteX122" fmla="*/ 997992 w 2051014"/>
                <a:gd name="connsiteY122" fmla="*/ 1261668 h 1674813"/>
                <a:gd name="connsiteX123" fmla="*/ 997474 w 2051014"/>
                <a:gd name="connsiteY123" fmla="*/ 1256324 h 1674813"/>
                <a:gd name="connsiteX124" fmla="*/ 994895 w 2051014"/>
                <a:gd name="connsiteY124" fmla="*/ 1254703 h 1674813"/>
                <a:gd name="connsiteX125" fmla="*/ 997243 w 2051014"/>
                <a:gd name="connsiteY125" fmla="*/ 1253947 h 1674813"/>
                <a:gd name="connsiteX126" fmla="*/ 996135 w 2051014"/>
                <a:gd name="connsiteY126" fmla="*/ 1242524 h 1674813"/>
                <a:gd name="connsiteX127" fmla="*/ 996135 w 2051014"/>
                <a:gd name="connsiteY127" fmla="*/ 1227702 h 1674813"/>
                <a:gd name="connsiteX128" fmla="*/ 978812 w 2051014"/>
                <a:gd name="connsiteY128" fmla="*/ 1207941 h 1674813"/>
                <a:gd name="connsiteX129" fmla="*/ 956539 w 2051014"/>
                <a:gd name="connsiteY129" fmla="*/ 1230173 h 1674813"/>
                <a:gd name="connsiteX130" fmla="*/ 919417 w 2051014"/>
                <a:gd name="connsiteY130" fmla="*/ 1264756 h 1674813"/>
                <a:gd name="connsiteX131" fmla="*/ 902093 w 2051014"/>
                <a:gd name="connsiteY131" fmla="*/ 1267226 h 1674813"/>
                <a:gd name="connsiteX132" fmla="*/ 902093 w 2051014"/>
                <a:gd name="connsiteY132" fmla="*/ 1316630 h 1674813"/>
                <a:gd name="connsiteX133" fmla="*/ 897144 w 2051014"/>
                <a:gd name="connsiteY133" fmla="*/ 1375916 h 1674813"/>
                <a:gd name="connsiteX134" fmla="*/ 894669 w 2051014"/>
                <a:gd name="connsiteY134" fmla="*/ 1405559 h 1674813"/>
                <a:gd name="connsiteX135" fmla="*/ 889719 w 2051014"/>
                <a:gd name="connsiteY135" fmla="*/ 1427791 h 1674813"/>
                <a:gd name="connsiteX136" fmla="*/ 862497 w 2051014"/>
                <a:gd name="connsiteY136" fmla="*/ 1452493 h 1674813"/>
                <a:gd name="connsiteX137" fmla="*/ 845173 w 2051014"/>
                <a:gd name="connsiteY137" fmla="*/ 1445082 h 1674813"/>
                <a:gd name="connsiteX138" fmla="*/ 803102 w 2051014"/>
                <a:gd name="connsiteY138" fmla="*/ 1417910 h 1674813"/>
                <a:gd name="connsiteX139" fmla="*/ 778354 w 2051014"/>
                <a:gd name="connsiteY139" fmla="*/ 1432731 h 1674813"/>
                <a:gd name="connsiteX140" fmla="*/ 780829 w 2051014"/>
                <a:gd name="connsiteY140" fmla="*/ 1454963 h 1674813"/>
                <a:gd name="connsiteX141" fmla="*/ 785778 w 2051014"/>
                <a:gd name="connsiteY141" fmla="*/ 1472255 h 1674813"/>
                <a:gd name="connsiteX142" fmla="*/ 763505 w 2051014"/>
                <a:gd name="connsiteY142" fmla="*/ 1487076 h 1674813"/>
                <a:gd name="connsiteX143" fmla="*/ 716484 w 2051014"/>
                <a:gd name="connsiteY143" fmla="*/ 1482136 h 1674813"/>
                <a:gd name="connsiteX144" fmla="*/ 610068 w 2051014"/>
                <a:gd name="connsiteY144" fmla="*/ 1361095 h 1674813"/>
                <a:gd name="connsiteX145" fmla="*/ 590270 w 2051014"/>
                <a:gd name="connsiteY145" fmla="*/ 1296869 h 1674813"/>
                <a:gd name="connsiteX146" fmla="*/ 595219 w 2051014"/>
                <a:gd name="connsiteY146" fmla="*/ 1175828 h 1674813"/>
                <a:gd name="connsiteX147" fmla="*/ 607593 w 2051014"/>
                <a:gd name="connsiteY147" fmla="*/ 1158536 h 1674813"/>
                <a:gd name="connsiteX148" fmla="*/ 654614 w 2051014"/>
                <a:gd name="connsiteY148" fmla="*/ 1131364 h 1674813"/>
                <a:gd name="connsiteX149" fmla="*/ 669463 w 2051014"/>
                <a:gd name="connsiteY149" fmla="*/ 1104191 h 1674813"/>
                <a:gd name="connsiteX150" fmla="*/ 679362 w 2051014"/>
                <a:gd name="connsiteY150" fmla="*/ 1010322 h 1674813"/>
                <a:gd name="connsiteX151" fmla="*/ 681837 w 2051014"/>
                <a:gd name="connsiteY151" fmla="*/ 886811 h 1674813"/>
                <a:gd name="connsiteX152" fmla="*/ 679362 w 2051014"/>
                <a:gd name="connsiteY152" fmla="*/ 847288 h 1674813"/>
                <a:gd name="connsiteX153" fmla="*/ 674413 w 2051014"/>
                <a:gd name="connsiteY153" fmla="*/ 800353 h 1674813"/>
                <a:gd name="connsiteX154" fmla="*/ 657089 w 2051014"/>
                <a:gd name="connsiteY154" fmla="*/ 681782 h 1674813"/>
                <a:gd name="connsiteX155" fmla="*/ 639766 w 2051014"/>
                <a:gd name="connsiteY155" fmla="*/ 560741 h 1674813"/>
                <a:gd name="connsiteX156" fmla="*/ 644715 w 2051014"/>
                <a:gd name="connsiteY156" fmla="*/ 518747 h 1674813"/>
                <a:gd name="connsiteX157" fmla="*/ 676887 w 2051014"/>
                <a:gd name="connsiteY157" fmla="*/ 526158 h 1674813"/>
                <a:gd name="connsiteX158" fmla="*/ 822900 w 2051014"/>
                <a:gd name="connsiteY158" fmla="*/ 644729 h 1674813"/>
                <a:gd name="connsiteX159" fmla="*/ 872396 w 2051014"/>
                <a:gd name="connsiteY159" fmla="*/ 706485 h 1674813"/>
                <a:gd name="connsiteX160" fmla="*/ 882295 w 2051014"/>
                <a:gd name="connsiteY160" fmla="*/ 743538 h 1674813"/>
                <a:gd name="connsiteX161" fmla="*/ 862497 w 2051014"/>
                <a:gd name="connsiteY161" fmla="*/ 748479 h 1674813"/>
                <a:gd name="connsiteX162" fmla="*/ 867446 w 2051014"/>
                <a:gd name="connsiteY162" fmla="*/ 768240 h 1674813"/>
                <a:gd name="connsiteX163" fmla="*/ 864971 w 2051014"/>
                <a:gd name="connsiteY163" fmla="*/ 770711 h 1674813"/>
                <a:gd name="connsiteX164" fmla="*/ 850123 w 2051014"/>
                <a:gd name="connsiteY164" fmla="*/ 750949 h 1674813"/>
                <a:gd name="connsiteX165" fmla="*/ 845173 w 2051014"/>
                <a:gd name="connsiteY165" fmla="*/ 753419 h 1674813"/>
                <a:gd name="connsiteX166" fmla="*/ 850123 w 2051014"/>
                <a:gd name="connsiteY166" fmla="*/ 785532 h 1674813"/>
                <a:gd name="connsiteX167" fmla="*/ 860022 w 2051014"/>
                <a:gd name="connsiteY167" fmla="*/ 891752 h 1674813"/>
                <a:gd name="connsiteX168" fmla="*/ 852598 w 2051014"/>
                <a:gd name="connsiteY168" fmla="*/ 936216 h 1674813"/>
                <a:gd name="connsiteX169" fmla="*/ 867446 w 2051014"/>
                <a:gd name="connsiteY169" fmla="*/ 928805 h 1674813"/>
                <a:gd name="connsiteX170" fmla="*/ 941690 w 2051014"/>
                <a:gd name="connsiteY170" fmla="*/ 874460 h 1674813"/>
                <a:gd name="connsiteX171" fmla="*/ 1030782 w 2051014"/>
                <a:gd name="connsiteY171" fmla="*/ 807764 h 1674813"/>
                <a:gd name="connsiteX172" fmla="*/ 1045631 w 2051014"/>
                <a:gd name="connsiteY172" fmla="*/ 775651 h 1674813"/>
                <a:gd name="connsiteX173" fmla="*/ 1025833 w 2051014"/>
                <a:gd name="connsiteY173" fmla="*/ 595324 h 1674813"/>
                <a:gd name="connsiteX174" fmla="*/ 991186 w 2051014"/>
                <a:gd name="connsiteY174" fmla="*/ 368063 h 1674813"/>
                <a:gd name="connsiteX175" fmla="*/ 976337 w 2051014"/>
                <a:gd name="connsiteY175" fmla="*/ 224790 h 1674813"/>
                <a:gd name="connsiteX176" fmla="*/ 986236 w 2051014"/>
                <a:gd name="connsiteY176" fmla="*/ 83988 h 1674813"/>
                <a:gd name="connsiteX177" fmla="*/ 988711 w 2051014"/>
                <a:gd name="connsiteY177" fmla="*/ 61756 h 1674813"/>
                <a:gd name="connsiteX178" fmla="*/ 1035732 w 2051014"/>
                <a:gd name="connsiteY178" fmla="*/ 12351 h 1674813"/>
                <a:gd name="connsiteX179" fmla="*/ 1040682 w 2051014"/>
                <a:gd name="connsiteY179" fmla="*/ 0 h 167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051014" h="1674813">
                  <a:moveTo>
                    <a:pt x="1084317" y="1449027"/>
                  </a:moveTo>
                  <a:cubicBezTo>
                    <a:pt x="1089278" y="1449027"/>
                    <a:pt x="1094859" y="1450254"/>
                    <a:pt x="1106021" y="1452707"/>
                  </a:cubicBezTo>
                  <a:cubicBezTo>
                    <a:pt x="1101060" y="1469881"/>
                    <a:pt x="1098580" y="1474788"/>
                    <a:pt x="1083697" y="1464974"/>
                  </a:cubicBezTo>
                  <a:cubicBezTo>
                    <a:pt x="1078736" y="1462521"/>
                    <a:pt x="1073775" y="1457614"/>
                    <a:pt x="1066333" y="1452707"/>
                  </a:cubicBezTo>
                  <a:cubicBezTo>
                    <a:pt x="1075015" y="1450254"/>
                    <a:pt x="1079356" y="1449027"/>
                    <a:pt x="1084317" y="1449027"/>
                  </a:cubicBezTo>
                  <a:close/>
                  <a:moveTo>
                    <a:pt x="1105026" y="1235113"/>
                  </a:moveTo>
                  <a:lnTo>
                    <a:pt x="1057882" y="1250172"/>
                  </a:lnTo>
                  <a:lnTo>
                    <a:pt x="1059197" y="1259916"/>
                  </a:lnTo>
                  <a:lnTo>
                    <a:pt x="1057943" y="1264099"/>
                  </a:lnTo>
                  <a:lnTo>
                    <a:pt x="1062955" y="1267226"/>
                  </a:lnTo>
                  <a:cubicBezTo>
                    <a:pt x="1075329" y="1274637"/>
                    <a:pt x="1090177" y="1289458"/>
                    <a:pt x="1102551" y="1279577"/>
                  </a:cubicBezTo>
                  <a:cubicBezTo>
                    <a:pt x="1112450" y="1269696"/>
                    <a:pt x="1109976" y="1252405"/>
                    <a:pt x="1105026" y="1235113"/>
                  </a:cubicBezTo>
                  <a:close/>
                  <a:moveTo>
                    <a:pt x="879820" y="1148655"/>
                  </a:moveTo>
                  <a:cubicBezTo>
                    <a:pt x="877345" y="1170887"/>
                    <a:pt x="879820" y="1183238"/>
                    <a:pt x="892194" y="1195589"/>
                  </a:cubicBezTo>
                  <a:cubicBezTo>
                    <a:pt x="897144" y="1190649"/>
                    <a:pt x="904568" y="1185709"/>
                    <a:pt x="907043" y="1183238"/>
                  </a:cubicBezTo>
                  <a:cubicBezTo>
                    <a:pt x="897144" y="1170887"/>
                    <a:pt x="889719" y="1163476"/>
                    <a:pt x="879820" y="1148655"/>
                  </a:cubicBezTo>
                  <a:close/>
                  <a:moveTo>
                    <a:pt x="1540589" y="1106661"/>
                  </a:moveTo>
                  <a:cubicBezTo>
                    <a:pt x="1525740" y="1111602"/>
                    <a:pt x="1518316" y="1114072"/>
                    <a:pt x="1508417" y="1116542"/>
                  </a:cubicBezTo>
                  <a:cubicBezTo>
                    <a:pt x="1476244" y="1128893"/>
                    <a:pt x="1444072" y="1143715"/>
                    <a:pt x="1406950" y="1148655"/>
                  </a:cubicBezTo>
                  <a:cubicBezTo>
                    <a:pt x="1384677" y="1153596"/>
                    <a:pt x="1362404" y="1163476"/>
                    <a:pt x="1340131" y="1173357"/>
                  </a:cubicBezTo>
                  <a:cubicBezTo>
                    <a:pt x="1335181" y="1175828"/>
                    <a:pt x="1330232" y="1183238"/>
                    <a:pt x="1330232" y="1188179"/>
                  </a:cubicBezTo>
                  <a:cubicBezTo>
                    <a:pt x="1330232" y="1210411"/>
                    <a:pt x="1330232" y="1230173"/>
                    <a:pt x="1332707" y="1249934"/>
                  </a:cubicBezTo>
                  <a:cubicBezTo>
                    <a:pt x="1332707" y="1262286"/>
                    <a:pt x="1335181" y="1272166"/>
                    <a:pt x="1337656" y="1284518"/>
                  </a:cubicBezTo>
                  <a:cubicBezTo>
                    <a:pt x="1340131" y="1304279"/>
                    <a:pt x="1342606" y="1324041"/>
                    <a:pt x="1345081" y="1343803"/>
                  </a:cubicBezTo>
                  <a:cubicBezTo>
                    <a:pt x="1424274" y="1277107"/>
                    <a:pt x="1486144" y="1198060"/>
                    <a:pt x="1540589" y="1106661"/>
                  </a:cubicBezTo>
                  <a:close/>
                  <a:moveTo>
                    <a:pt x="371323" y="983024"/>
                  </a:moveTo>
                  <a:cubicBezTo>
                    <a:pt x="440601" y="973138"/>
                    <a:pt x="472766" y="1039869"/>
                    <a:pt x="467817" y="1074471"/>
                  </a:cubicBezTo>
                  <a:cubicBezTo>
                    <a:pt x="462869" y="1111543"/>
                    <a:pt x="212973" y="1309265"/>
                    <a:pt x="217922" y="1353753"/>
                  </a:cubicBezTo>
                  <a:cubicBezTo>
                    <a:pt x="225344" y="1400711"/>
                    <a:pt x="457920" y="1188161"/>
                    <a:pt x="517301" y="1198047"/>
                  </a:cubicBezTo>
                  <a:cubicBezTo>
                    <a:pt x="574208" y="1207933"/>
                    <a:pt x="544518" y="1541588"/>
                    <a:pt x="490085" y="1566303"/>
                  </a:cubicBezTo>
                  <a:cubicBezTo>
                    <a:pt x="438127" y="1588547"/>
                    <a:pt x="306993" y="1514401"/>
                    <a:pt x="282251" y="1450142"/>
                  </a:cubicBezTo>
                  <a:cubicBezTo>
                    <a:pt x="255035" y="1385882"/>
                    <a:pt x="262458" y="1603376"/>
                    <a:pt x="262458" y="1603376"/>
                  </a:cubicBezTo>
                  <a:cubicBezTo>
                    <a:pt x="262458" y="1603376"/>
                    <a:pt x="66995" y="1519344"/>
                    <a:pt x="86789" y="1413069"/>
                  </a:cubicBezTo>
                  <a:cubicBezTo>
                    <a:pt x="89263" y="1403183"/>
                    <a:pt x="158541" y="1262306"/>
                    <a:pt x="257509" y="1153559"/>
                  </a:cubicBezTo>
                  <a:cubicBezTo>
                    <a:pt x="257509" y="1153559"/>
                    <a:pt x="148644" y="1269721"/>
                    <a:pt x="101634" y="1254892"/>
                  </a:cubicBezTo>
                  <a:cubicBezTo>
                    <a:pt x="89263" y="1252420"/>
                    <a:pt x="54624" y="1254892"/>
                    <a:pt x="39779" y="1205461"/>
                  </a:cubicBezTo>
                  <a:cubicBezTo>
                    <a:pt x="24933" y="1158502"/>
                    <a:pt x="106582" y="1111543"/>
                    <a:pt x="106582" y="1111543"/>
                  </a:cubicBezTo>
                  <a:cubicBezTo>
                    <a:pt x="106582" y="1111543"/>
                    <a:pt x="299571" y="992910"/>
                    <a:pt x="371323" y="983024"/>
                  </a:cubicBezTo>
                  <a:close/>
                  <a:moveTo>
                    <a:pt x="1072854" y="958448"/>
                  </a:moveTo>
                  <a:cubicBezTo>
                    <a:pt x="1003560" y="1005382"/>
                    <a:pt x="936740" y="1049846"/>
                    <a:pt x="872396" y="1094310"/>
                  </a:cubicBezTo>
                  <a:cubicBezTo>
                    <a:pt x="869921" y="1121483"/>
                    <a:pt x="879820" y="1138774"/>
                    <a:pt x="902093" y="1148655"/>
                  </a:cubicBezTo>
                  <a:cubicBezTo>
                    <a:pt x="904568" y="1151125"/>
                    <a:pt x="907043" y="1153596"/>
                    <a:pt x="909518" y="1156066"/>
                  </a:cubicBezTo>
                  <a:cubicBezTo>
                    <a:pt x="929316" y="1168417"/>
                    <a:pt x="931791" y="1168417"/>
                    <a:pt x="951589" y="1156066"/>
                  </a:cubicBezTo>
                  <a:cubicBezTo>
                    <a:pt x="973862" y="1141244"/>
                    <a:pt x="993661" y="1123953"/>
                    <a:pt x="1020883" y="1116542"/>
                  </a:cubicBezTo>
                  <a:cubicBezTo>
                    <a:pt x="1045631" y="1106661"/>
                    <a:pt x="1062955" y="1089370"/>
                    <a:pt x="1087703" y="1079489"/>
                  </a:cubicBezTo>
                  <a:cubicBezTo>
                    <a:pt x="1082753" y="1039965"/>
                    <a:pt x="1080278" y="1002912"/>
                    <a:pt x="1072854" y="958448"/>
                  </a:cubicBezTo>
                  <a:close/>
                  <a:moveTo>
                    <a:pt x="294376" y="654981"/>
                  </a:moveTo>
                  <a:cubicBezTo>
                    <a:pt x="328169" y="656946"/>
                    <a:pt x="357433" y="671738"/>
                    <a:pt x="385303" y="692078"/>
                  </a:cubicBezTo>
                  <a:cubicBezTo>
                    <a:pt x="434850" y="724129"/>
                    <a:pt x="479442" y="761110"/>
                    <a:pt x="516603" y="805488"/>
                  </a:cubicBezTo>
                  <a:cubicBezTo>
                    <a:pt x="526512" y="815350"/>
                    <a:pt x="533944" y="827677"/>
                    <a:pt x="541376" y="840004"/>
                  </a:cubicBezTo>
                  <a:cubicBezTo>
                    <a:pt x="548808" y="857262"/>
                    <a:pt x="546331" y="864659"/>
                    <a:pt x="526512" y="869590"/>
                  </a:cubicBezTo>
                  <a:cubicBezTo>
                    <a:pt x="516603" y="874521"/>
                    <a:pt x="506693" y="876986"/>
                    <a:pt x="496784" y="879451"/>
                  </a:cubicBezTo>
                  <a:cubicBezTo>
                    <a:pt x="454669" y="889313"/>
                    <a:pt x="415031" y="899175"/>
                    <a:pt x="372916" y="911502"/>
                  </a:cubicBezTo>
                  <a:cubicBezTo>
                    <a:pt x="358052" y="913968"/>
                    <a:pt x="348143" y="923829"/>
                    <a:pt x="338233" y="936157"/>
                  </a:cubicBezTo>
                  <a:cubicBezTo>
                    <a:pt x="355575" y="941087"/>
                    <a:pt x="367961" y="943553"/>
                    <a:pt x="382825" y="946018"/>
                  </a:cubicBezTo>
                  <a:cubicBezTo>
                    <a:pt x="377871" y="958346"/>
                    <a:pt x="370439" y="960811"/>
                    <a:pt x="360529" y="963276"/>
                  </a:cubicBezTo>
                  <a:cubicBezTo>
                    <a:pt x="323369" y="973138"/>
                    <a:pt x="286209" y="960811"/>
                    <a:pt x="251526" y="943553"/>
                  </a:cubicBezTo>
                  <a:cubicBezTo>
                    <a:pt x="184637" y="909037"/>
                    <a:pt x="127658" y="859728"/>
                    <a:pt x="73156" y="807954"/>
                  </a:cubicBezTo>
                  <a:cubicBezTo>
                    <a:pt x="48383" y="783299"/>
                    <a:pt x="23609" y="758645"/>
                    <a:pt x="6268" y="729060"/>
                  </a:cubicBezTo>
                  <a:cubicBezTo>
                    <a:pt x="1313" y="719198"/>
                    <a:pt x="-3642" y="711802"/>
                    <a:pt x="3790" y="699474"/>
                  </a:cubicBezTo>
                  <a:cubicBezTo>
                    <a:pt x="8745" y="697009"/>
                    <a:pt x="13700" y="692078"/>
                    <a:pt x="21132" y="692078"/>
                  </a:cubicBezTo>
                  <a:cubicBezTo>
                    <a:pt x="65724" y="682216"/>
                    <a:pt x="112794" y="672355"/>
                    <a:pt x="157386" y="664958"/>
                  </a:cubicBezTo>
                  <a:cubicBezTo>
                    <a:pt x="184637" y="660027"/>
                    <a:pt x="209411" y="662493"/>
                    <a:pt x="236662" y="660027"/>
                  </a:cubicBezTo>
                  <a:cubicBezTo>
                    <a:pt x="244094" y="660027"/>
                    <a:pt x="251526" y="660027"/>
                    <a:pt x="258958" y="657562"/>
                  </a:cubicBezTo>
                  <a:cubicBezTo>
                    <a:pt x="271345" y="655096"/>
                    <a:pt x="283112" y="654326"/>
                    <a:pt x="294376" y="654981"/>
                  </a:cubicBezTo>
                  <a:close/>
                  <a:moveTo>
                    <a:pt x="1033257" y="195148"/>
                  </a:moveTo>
                  <a:cubicBezTo>
                    <a:pt x="1028308" y="247022"/>
                    <a:pt x="1015934" y="370534"/>
                    <a:pt x="1038207" y="402647"/>
                  </a:cubicBezTo>
                  <a:cubicBezTo>
                    <a:pt x="1043156" y="382885"/>
                    <a:pt x="1048106" y="363123"/>
                    <a:pt x="1050581" y="343361"/>
                  </a:cubicBezTo>
                  <a:cubicBezTo>
                    <a:pt x="1050581" y="340891"/>
                    <a:pt x="1050581" y="338421"/>
                    <a:pt x="1050581" y="335951"/>
                  </a:cubicBezTo>
                  <a:cubicBezTo>
                    <a:pt x="1048106" y="293957"/>
                    <a:pt x="1043156" y="254433"/>
                    <a:pt x="1040682" y="212439"/>
                  </a:cubicBezTo>
                  <a:cubicBezTo>
                    <a:pt x="1040682" y="207499"/>
                    <a:pt x="1035732" y="205029"/>
                    <a:pt x="1033257" y="195148"/>
                  </a:cubicBezTo>
                  <a:close/>
                  <a:moveTo>
                    <a:pt x="1040682" y="0"/>
                  </a:moveTo>
                  <a:cubicBezTo>
                    <a:pt x="1045631" y="0"/>
                    <a:pt x="1050581" y="0"/>
                    <a:pt x="1053055" y="2470"/>
                  </a:cubicBezTo>
                  <a:cubicBezTo>
                    <a:pt x="1085228" y="22232"/>
                    <a:pt x="1119875" y="39523"/>
                    <a:pt x="1152047" y="61756"/>
                  </a:cubicBezTo>
                  <a:cubicBezTo>
                    <a:pt x="1194118" y="88928"/>
                    <a:pt x="1236190" y="123511"/>
                    <a:pt x="1278261" y="153154"/>
                  </a:cubicBezTo>
                  <a:cubicBezTo>
                    <a:pt x="1295585" y="165505"/>
                    <a:pt x="1315383" y="175386"/>
                    <a:pt x="1332707" y="182797"/>
                  </a:cubicBezTo>
                  <a:cubicBezTo>
                    <a:pt x="1389627" y="209969"/>
                    <a:pt x="1436648" y="247022"/>
                    <a:pt x="1476244" y="293957"/>
                  </a:cubicBezTo>
                  <a:cubicBezTo>
                    <a:pt x="1483669" y="301367"/>
                    <a:pt x="1486144" y="308778"/>
                    <a:pt x="1491093" y="316189"/>
                  </a:cubicBezTo>
                  <a:cubicBezTo>
                    <a:pt x="1491093" y="318659"/>
                    <a:pt x="1488618" y="321129"/>
                    <a:pt x="1488618" y="321129"/>
                  </a:cubicBezTo>
                  <a:cubicBezTo>
                    <a:pt x="1476244" y="316189"/>
                    <a:pt x="1461396" y="311248"/>
                    <a:pt x="1444072" y="306308"/>
                  </a:cubicBezTo>
                  <a:cubicBezTo>
                    <a:pt x="1436648" y="318659"/>
                    <a:pt x="1429223" y="331010"/>
                    <a:pt x="1421799" y="345831"/>
                  </a:cubicBezTo>
                  <a:cubicBezTo>
                    <a:pt x="1416850" y="353242"/>
                    <a:pt x="1414375" y="363123"/>
                    <a:pt x="1409425" y="370534"/>
                  </a:cubicBezTo>
                  <a:cubicBezTo>
                    <a:pt x="1397051" y="385355"/>
                    <a:pt x="1389627" y="400176"/>
                    <a:pt x="1394576" y="419938"/>
                  </a:cubicBezTo>
                  <a:cubicBezTo>
                    <a:pt x="1394576" y="422408"/>
                    <a:pt x="1394576" y="427349"/>
                    <a:pt x="1392102" y="429819"/>
                  </a:cubicBezTo>
                  <a:cubicBezTo>
                    <a:pt x="1382202" y="447111"/>
                    <a:pt x="1382202" y="469343"/>
                    <a:pt x="1382202" y="489105"/>
                  </a:cubicBezTo>
                  <a:cubicBezTo>
                    <a:pt x="1379728" y="508866"/>
                    <a:pt x="1377253" y="526158"/>
                    <a:pt x="1374778" y="543449"/>
                  </a:cubicBezTo>
                  <a:cubicBezTo>
                    <a:pt x="1419324" y="560741"/>
                    <a:pt x="1461396" y="578033"/>
                    <a:pt x="1503467" y="595324"/>
                  </a:cubicBezTo>
                  <a:cubicBezTo>
                    <a:pt x="1604934" y="634848"/>
                    <a:pt x="1701450" y="689193"/>
                    <a:pt x="1788068" y="758359"/>
                  </a:cubicBezTo>
                  <a:cubicBezTo>
                    <a:pt x="1857362" y="815175"/>
                    <a:pt x="1924181" y="874460"/>
                    <a:pt x="1983576" y="943626"/>
                  </a:cubicBezTo>
                  <a:cubicBezTo>
                    <a:pt x="2005849" y="968329"/>
                    <a:pt x="2023173" y="995501"/>
                    <a:pt x="2040496" y="1025144"/>
                  </a:cubicBezTo>
                  <a:cubicBezTo>
                    <a:pt x="2055345" y="1047376"/>
                    <a:pt x="2052870" y="1072078"/>
                    <a:pt x="2042971" y="1096780"/>
                  </a:cubicBezTo>
                  <a:cubicBezTo>
                    <a:pt x="2040496" y="1101721"/>
                    <a:pt x="2030597" y="1109132"/>
                    <a:pt x="2045446" y="1114072"/>
                  </a:cubicBezTo>
                  <a:cubicBezTo>
                    <a:pt x="2045446" y="1114072"/>
                    <a:pt x="2042971" y="1121483"/>
                    <a:pt x="2042971" y="1126423"/>
                  </a:cubicBezTo>
                  <a:cubicBezTo>
                    <a:pt x="2005849" y="1203000"/>
                    <a:pt x="1971202" y="1279577"/>
                    <a:pt x="1934080" y="1353684"/>
                  </a:cubicBezTo>
                  <a:cubicBezTo>
                    <a:pt x="1899433" y="1422850"/>
                    <a:pt x="1862312" y="1489546"/>
                    <a:pt x="1815291" y="1551302"/>
                  </a:cubicBezTo>
                  <a:cubicBezTo>
                    <a:pt x="1785593" y="1590826"/>
                    <a:pt x="1753421" y="1630349"/>
                    <a:pt x="1721249" y="1669873"/>
                  </a:cubicBezTo>
                  <a:cubicBezTo>
                    <a:pt x="1718774" y="1672343"/>
                    <a:pt x="1716299" y="1672343"/>
                    <a:pt x="1713824" y="1674813"/>
                  </a:cubicBezTo>
                  <a:cubicBezTo>
                    <a:pt x="1728673" y="1640230"/>
                    <a:pt x="1750946" y="1613058"/>
                    <a:pt x="1763320" y="1578474"/>
                  </a:cubicBezTo>
                  <a:cubicBezTo>
                    <a:pt x="1736097" y="1595766"/>
                    <a:pt x="1728673" y="1627879"/>
                    <a:pt x="1708875" y="1650111"/>
                  </a:cubicBezTo>
                  <a:cubicBezTo>
                    <a:pt x="1711349" y="1620468"/>
                    <a:pt x="1733623" y="1595766"/>
                    <a:pt x="1731148" y="1561183"/>
                  </a:cubicBezTo>
                  <a:cubicBezTo>
                    <a:pt x="1703925" y="1568593"/>
                    <a:pt x="1698975" y="1603177"/>
                    <a:pt x="1671753" y="1613058"/>
                  </a:cubicBezTo>
                  <a:cubicBezTo>
                    <a:pt x="1664328" y="1580945"/>
                    <a:pt x="1694026" y="1558713"/>
                    <a:pt x="1686602" y="1524129"/>
                  </a:cubicBezTo>
                  <a:cubicBezTo>
                    <a:pt x="1679177" y="1529070"/>
                    <a:pt x="1674228" y="1534010"/>
                    <a:pt x="1671753" y="1536481"/>
                  </a:cubicBezTo>
                  <a:cubicBezTo>
                    <a:pt x="1649480" y="1568593"/>
                    <a:pt x="1624732" y="1595766"/>
                    <a:pt x="1595034" y="1620468"/>
                  </a:cubicBezTo>
                  <a:cubicBezTo>
                    <a:pt x="1580186" y="1632819"/>
                    <a:pt x="1565337" y="1640230"/>
                    <a:pt x="1548013" y="1642700"/>
                  </a:cubicBezTo>
                  <a:cubicBezTo>
                    <a:pt x="1523265" y="1642700"/>
                    <a:pt x="1496043" y="1645170"/>
                    <a:pt x="1471295" y="1640230"/>
                  </a:cubicBezTo>
                  <a:cubicBezTo>
                    <a:pt x="1456446" y="1635290"/>
                    <a:pt x="1441597" y="1635290"/>
                    <a:pt x="1426749" y="1632819"/>
                  </a:cubicBezTo>
                  <a:cubicBezTo>
                    <a:pt x="1399526" y="1632819"/>
                    <a:pt x="1377253" y="1625409"/>
                    <a:pt x="1354980" y="1610587"/>
                  </a:cubicBezTo>
                  <a:cubicBezTo>
                    <a:pt x="1335181" y="1600706"/>
                    <a:pt x="1320333" y="1585885"/>
                    <a:pt x="1295585" y="1583415"/>
                  </a:cubicBezTo>
                  <a:cubicBezTo>
                    <a:pt x="1280736" y="1583415"/>
                    <a:pt x="1280736" y="1573534"/>
                    <a:pt x="1288160" y="1561183"/>
                  </a:cubicBezTo>
                  <a:cubicBezTo>
                    <a:pt x="1293110" y="1553772"/>
                    <a:pt x="1300534" y="1546361"/>
                    <a:pt x="1305484" y="1536481"/>
                  </a:cubicBezTo>
                  <a:cubicBezTo>
                    <a:pt x="1325282" y="1514249"/>
                    <a:pt x="1335181" y="1487076"/>
                    <a:pt x="1342606" y="1457433"/>
                  </a:cubicBezTo>
                  <a:cubicBezTo>
                    <a:pt x="1342606" y="1457433"/>
                    <a:pt x="1340131" y="1454963"/>
                    <a:pt x="1340131" y="1447552"/>
                  </a:cubicBezTo>
                  <a:cubicBezTo>
                    <a:pt x="1325282" y="1457433"/>
                    <a:pt x="1310434" y="1467314"/>
                    <a:pt x="1295585" y="1477195"/>
                  </a:cubicBezTo>
                  <a:cubicBezTo>
                    <a:pt x="1285686" y="1484606"/>
                    <a:pt x="1275787" y="1489546"/>
                    <a:pt x="1260938" y="1487076"/>
                  </a:cubicBezTo>
                  <a:cubicBezTo>
                    <a:pt x="1238665" y="1487076"/>
                    <a:pt x="1218866" y="1487076"/>
                    <a:pt x="1196593" y="1496957"/>
                  </a:cubicBezTo>
                  <a:cubicBezTo>
                    <a:pt x="1184219" y="1504368"/>
                    <a:pt x="1166896" y="1501897"/>
                    <a:pt x="1152047" y="1501897"/>
                  </a:cubicBezTo>
                  <a:cubicBezTo>
                    <a:pt x="1139673" y="1501897"/>
                    <a:pt x="1137198" y="1496957"/>
                    <a:pt x="1137198" y="1484606"/>
                  </a:cubicBezTo>
                  <a:cubicBezTo>
                    <a:pt x="1137198" y="1472255"/>
                    <a:pt x="1139673" y="1462374"/>
                    <a:pt x="1142148" y="1447552"/>
                  </a:cubicBezTo>
                  <a:cubicBezTo>
                    <a:pt x="1154522" y="1445082"/>
                    <a:pt x="1169371" y="1440142"/>
                    <a:pt x="1186694" y="1435201"/>
                  </a:cubicBezTo>
                  <a:cubicBezTo>
                    <a:pt x="1174320" y="1422850"/>
                    <a:pt x="1164421" y="1415439"/>
                    <a:pt x="1154522" y="1408029"/>
                  </a:cubicBezTo>
                  <a:cubicBezTo>
                    <a:pt x="1107501" y="1363565"/>
                    <a:pt x="1058005" y="1321571"/>
                    <a:pt x="1010984" y="1277107"/>
                  </a:cubicBezTo>
                  <a:cubicBezTo>
                    <a:pt x="1004797" y="1272167"/>
                    <a:pt x="1000467" y="1267226"/>
                    <a:pt x="997992" y="1261668"/>
                  </a:cubicBezTo>
                  <a:lnTo>
                    <a:pt x="997474" y="1256324"/>
                  </a:lnTo>
                  <a:lnTo>
                    <a:pt x="994895" y="1254703"/>
                  </a:lnTo>
                  <a:lnTo>
                    <a:pt x="997243" y="1253947"/>
                  </a:lnTo>
                  <a:lnTo>
                    <a:pt x="996135" y="1242524"/>
                  </a:lnTo>
                  <a:cubicBezTo>
                    <a:pt x="996135" y="1237583"/>
                    <a:pt x="996135" y="1232643"/>
                    <a:pt x="996135" y="1227702"/>
                  </a:cubicBezTo>
                  <a:cubicBezTo>
                    <a:pt x="993661" y="1220292"/>
                    <a:pt x="991186" y="1207941"/>
                    <a:pt x="978812" y="1207941"/>
                  </a:cubicBezTo>
                  <a:cubicBezTo>
                    <a:pt x="966438" y="1210411"/>
                    <a:pt x="956539" y="1217821"/>
                    <a:pt x="956539" y="1230173"/>
                  </a:cubicBezTo>
                  <a:cubicBezTo>
                    <a:pt x="951589" y="1264756"/>
                    <a:pt x="951589" y="1264756"/>
                    <a:pt x="919417" y="1264756"/>
                  </a:cubicBezTo>
                  <a:cubicBezTo>
                    <a:pt x="914467" y="1264756"/>
                    <a:pt x="907043" y="1264756"/>
                    <a:pt x="902093" y="1267226"/>
                  </a:cubicBezTo>
                  <a:cubicBezTo>
                    <a:pt x="892194" y="1284518"/>
                    <a:pt x="897144" y="1301809"/>
                    <a:pt x="902093" y="1316630"/>
                  </a:cubicBezTo>
                  <a:cubicBezTo>
                    <a:pt x="907043" y="1338862"/>
                    <a:pt x="911992" y="1356154"/>
                    <a:pt x="897144" y="1375916"/>
                  </a:cubicBezTo>
                  <a:cubicBezTo>
                    <a:pt x="892194" y="1383327"/>
                    <a:pt x="894669" y="1395678"/>
                    <a:pt x="894669" y="1405559"/>
                  </a:cubicBezTo>
                  <a:cubicBezTo>
                    <a:pt x="892194" y="1412969"/>
                    <a:pt x="894669" y="1422850"/>
                    <a:pt x="889719" y="1427791"/>
                  </a:cubicBezTo>
                  <a:cubicBezTo>
                    <a:pt x="882295" y="1437672"/>
                    <a:pt x="872396" y="1445082"/>
                    <a:pt x="862497" y="1452493"/>
                  </a:cubicBezTo>
                  <a:cubicBezTo>
                    <a:pt x="857547" y="1452493"/>
                    <a:pt x="850123" y="1447552"/>
                    <a:pt x="845173" y="1445082"/>
                  </a:cubicBezTo>
                  <a:cubicBezTo>
                    <a:pt x="830324" y="1435201"/>
                    <a:pt x="817950" y="1425320"/>
                    <a:pt x="803102" y="1417910"/>
                  </a:cubicBezTo>
                  <a:cubicBezTo>
                    <a:pt x="788253" y="1410499"/>
                    <a:pt x="778354" y="1415439"/>
                    <a:pt x="778354" y="1432731"/>
                  </a:cubicBezTo>
                  <a:cubicBezTo>
                    <a:pt x="778354" y="1440142"/>
                    <a:pt x="778354" y="1447552"/>
                    <a:pt x="780829" y="1454963"/>
                  </a:cubicBezTo>
                  <a:cubicBezTo>
                    <a:pt x="780829" y="1459904"/>
                    <a:pt x="783303" y="1464844"/>
                    <a:pt x="785778" y="1472255"/>
                  </a:cubicBezTo>
                  <a:cubicBezTo>
                    <a:pt x="778354" y="1477195"/>
                    <a:pt x="770929" y="1484606"/>
                    <a:pt x="763505" y="1487076"/>
                  </a:cubicBezTo>
                  <a:cubicBezTo>
                    <a:pt x="741232" y="1499427"/>
                    <a:pt x="736282" y="1499427"/>
                    <a:pt x="716484" y="1482136"/>
                  </a:cubicBezTo>
                  <a:cubicBezTo>
                    <a:pt x="676887" y="1445082"/>
                    <a:pt x="642240" y="1405559"/>
                    <a:pt x="610068" y="1361095"/>
                  </a:cubicBezTo>
                  <a:cubicBezTo>
                    <a:pt x="595219" y="1341333"/>
                    <a:pt x="595219" y="1319101"/>
                    <a:pt x="590270" y="1296869"/>
                  </a:cubicBezTo>
                  <a:cubicBezTo>
                    <a:pt x="585320" y="1254875"/>
                    <a:pt x="587795" y="1215351"/>
                    <a:pt x="595219" y="1175828"/>
                  </a:cubicBezTo>
                  <a:cubicBezTo>
                    <a:pt x="597694" y="1168417"/>
                    <a:pt x="602644" y="1163476"/>
                    <a:pt x="607593" y="1158536"/>
                  </a:cubicBezTo>
                  <a:cubicBezTo>
                    <a:pt x="622442" y="1148655"/>
                    <a:pt x="637291" y="1138774"/>
                    <a:pt x="654614" y="1131364"/>
                  </a:cubicBezTo>
                  <a:cubicBezTo>
                    <a:pt x="664514" y="1123953"/>
                    <a:pt x="669463" y="1116542"/>
                    <a:pt x="669463" y="1104191"/>
                  </a:cubicBezTo>
                  <a:cubicBezTo>
                    <a:pt x="671938" y="1072078"/>
                    <a:pt x="676887" y="1039965"/>
                    <a:pt x="679362" y="1010322"/>
                  </a:cubicBezTo>
                  <a:cubicBezTo>
                    <a:pt x="681837" y="968329"/>
                    <a:pt x="681837" y="928805"/>
                    <a:pt x="681837" y="886811"/>
                  </a:cubicBezTo>
                  <a:cubicBezTo>
                    <a:pt x="681837" y="874460"/>
                    <a:pt x="681837" y="859639"/>
                    <a:pt x="679362" y="847288"/>
                  </a:cubicBezTo>
                  <a:cubicBezTo>
                    <a:pt x="679362" y="832466"/>
                    <a:pt x="674413" y="815175"/>
                    <a:pt x="674413" y="800353"/>
                  </a:cubicBezTo>
                  <a:cubicBezTo>
                    <a:pt x="666988" y="760830"/>
                    <a:pt x="662039" y="721306"/>
                    <a:pt x="657089" y="681782"/>
                  </a:cubicBezTo>
                  <a:cubicBezTo>
                    <a:pt x="652140" y="639788"/>
                    <a:pt x="644715" y="600265"/>
                    <a:pt x="639766" y="560741"/>
                  </a:cubicBezTo>
                  <a:cubicBezTo>
                    <a:pt x="637291" y="545920"/>
                    <a:pt x="634816" y="531098"/>
                    <a:pt x="644715" y="518747"/>
                  </a:cubicBezTo>
                  <a:cubicBezTo>
                    <a:pt x="657089" y="513807"/>
                    <a:pt x="666988" y="521217"/>
                    <a:pt x="676887" y="526158"/>
                  </a:cubicBezTo>
                  <a:cubicBezTo>
                    <a:pt x="731333" y="558271"/>
                    <a:pt x="780829" y="597794"/>
                    <a:pt x="822900" y="644729"/>
                  </a:cubicBezTo>
                  <a:cubicBezTo>
                    <a:pt x="840224" y="664491"/>
                    <a:pt x="852598" y="686723"/>
                    <a:pt x="872396" y="706485"/>
                  </a:cubicBezTo>
                  <a:cubicBezTo>
                    <a:pt x="882295" y="718836"/>
                    <a:pt x="877345" y="733657"/>
                    <a:pt x="882295" y="743538"/>
                  </a:cubicBezTo>
                  <a:cubicBezTo>
                    <a:pt x="877345" y="746008"/>
                    <a:pt x="869921" y="748479"/>
                    <a:pt x="862497" y="748479"/>
                  </a:cubicBezTo>
                  <a:cubicBezTo>
                    <a:pt x="862497" y="755889"/>
                    <a:pt x="864971" y="760830"/>
                    <a:pt x="867446" y="768240"/>
                  </a:cubicBezTo>
                  <a:cubicBezTo>
                    <a:pt x="867446" y="768240"/>
                    <a:pt x="867446" y="768240"/>
                    <a:pt x="864971" y="770711"/>
                  </a:cubicBezTo>
                  <a:cubicBezTo>
                    <a:pt x="860022" y="763300"/>
                    <a:pt x="855072" y="758359"/>
                    <a:pt x="850123" y="750949"/>
                  </a:cubicBezTo>
                  <a:cubicBezTo>
                    <a:pt x="847648" y="750949"/>
                    <a:pt x="847648" y="750949"/>
                    <a:pt x="845173" y="753419"/>
                  </a:cubicBezTo>
                  <a:cubicBezTo>
                    <a:pt x="847648" y="763300"/>
                    <a:pt x="850123" y="775651"/>
                    <a:pt x="850123" y="785532"/>
                  </a:cubicBezTo>
                  <a:cubicBezTo>
                    <a:pt x="855072" y="820115"/>
                    <a:pt x="857547" y="857168"/>
                    <a:pt x="860022" y="891752"/>
                  </a:cubicBezTo>
                  <a:cubicBezTo>
                    <a:pt x="860022" y="904103"/>
                    <a:pt x="855072" y="918924"/>
                    <a:pt x="852598" y="936216"/>
                  </a:cubicBezTo>
                  <a:cubicBezTo>
                    <a:pt x="860022" y="933745"/>
                    <a:pt x="864971" y="931275"/>
                    <a:pt x="867446" y="928805"/>
                  </a:cubicBezTo>
                  <a:cubicBezTo>
                    <a:pt x="892194" y="911513"/>
                    <a:pt x="916942" y="891752"/>
                    <a:pt x="941690" y="874460"/>
                  </a:cubicBezTo>
                  <a:cubicBezTo>
                    <a:pt x="971387" y="852228"/>
                    <a:pt x="1001085" y="829996"/>
                    <a:pt x="1030782" y="807764"/>
                  </a:cubicBezTo>
                  <a:cubicBezTo>
                    <a:pt x="1045631" y="800353"/>
                    <a:pt x="1048106" y="790472"/>
                    <a:pt x="1045631" y="775651"/>
                  </a:cubicBezTo>
                  <a:cubicBezTo>
                    <a:pt x="1040682" y="716366"/>
                    <a:pt x="1033257" y="654610"/>
                    <a:pt x="1025833" y="595324"/>
                  </a:cubicBezTo>
                  <a:cubicBezTo>
                    <a:pt x="1015934" y="521217"/>
                    <a:pt x="1001085" y="444640"/>
                    <a:pt x="991186" y="368063"/>
                  </a:cubicBezTo>
                  <a:cubicBezTo>
                    <a:pt x="983761" y="321129"/>
                    <a:pt x="973862" y="271725"/>
                    <a:pt x="976337" y="224790"/>
                  </a:cubicBezTo>
                  <a:cubicBezTo>
                    <a:pt x="978812" y="177856"/>
                    <a:pt x="976337" y="130922"/>
                    <a:pt x="986236" y="83988"/>
                  </a:cubicBezTo>
                  <a:cubicBezTo>
                    <a:pt x="988711" y="76577"/>
                    <a:pt x="988711" y="69166"/>
                    <a:pt x="988711" y="61756"/>
                  </a:cubicBezTo>
                  <a:cubicBezTo>
                    <a:pt x="991186" y="32113"/>
                    <a:pt x="1003560" y="17291"/>
                    <a:pt x="1035732" y="12351"/>
                  </a:cubicBezTo>
                  <a:cubicBezTo>
                    <a:pt x="1035732" y="9881"/>
                    <a:pt x="1038207" y="4940"/>
                    <a:pt x="10406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2B870BC2-C30C-4440-85DE-4B1421758102}"/>
                </a:ext>
              </a:extLst>
            </p:cNvPr>
            <p:cNvSpPr/>
            <p:nvPr/>
          </p:nvSpPr>
          <p:spPr bwMode="auto">
            <a:xfrm>
              <a:off x="5486401" y="4868863"/>
              <a:ext cx="239713" cy="207963"/>
            </a:xfrm>
            <a:custGeom>
              <a:avLst/>
              <a:gdLst>
                <a:gd name="T0" fmla="*/ 3 w 97"/>
                <a:gd name="T1" fmla="*/ 79 h 84"/>
                <a:gd name="T2" fmla="*/ 0 w 97"/>
                <a:gd name="T3" fmla="*/ 76 h 84"/>
                <a:gd name="T4" fmla="*/ 5 w 97"/>
                <a:gd name="T5" fmla="*/ 71 h 84"/>
                <a:gd name="T6" fmla="*/ 10 w 97"/>
                <a:gd name="T7" fmla="*/ 66 h 84"/>
                <a:gd name="T8" fmla="*/ 15 w 97"/>
                <a:gd name="T9" fmla="*/ 59 h 84"/>
                <a:gd name="T10" fmla="*/ 19 w 97"/>
                <a:gd name="T11" fmla="*/ 49 h 84"/>
                <a:gd name="T12" fmla="*/ 22 w 97"/>
                <a:gd name="T13" fmla="*/ 38 h 84"/>
                <a:gd name="T14" fmla="*/ 22 w 97"/>
                <a:gd name="T15" fmla="*/ 22 h 84"/>
                <a:gd name="T16" fmla="*/ 31 w 97"/>
                <a:gd name="T17" fmla="*/ 22 h 84"/>
                <a:gd name="T18" fmla="*/ 31 w 97"/>
                <a:gd name="T19" fmla="*/ 39 h 84"/>
                <a:gd name="T20" fmla="*/ 30 w 97"/>
                <a:gd name="T21" fmla="*/ 39 h 84"/>
                <a:gd name="T22" fmla="*/ 27 w 97"/>
                <a:gd name="T23" fmla="*/ 53 h 84"/>
                <a:gd name="T24" fmla="*/ 33 w 97"/>
                <a:gd name="T25" fmla="*/ 49 h 84"/>
                <a:gd name="T26" fmla="*/ 47 w 97"/>
                <a:gd name="T27" fmla="*/ 68 h 84"/>
                <a:gd name="T28" fmla="*/ 40 w 97"/>
                <a:gd name="T29" fmla="*/ 73 h 84"/>
                <a:gd name="T30" fmla="*/ 27 w 97"/>
                <a:gd name="T31" fmla="*/ 55 h 84"/>
                <a:gd name="T32" fmla="*/ 20 w 97"/>
                <a:gd name="T33" fmla="*/ 67 h 84"/>
                <a:gd name="T34" fmla="*/ 14 w 97"/>
                <a:gd name="T35" fmla="*/ 75 h 84"/>
                <a:gd name="T36" fmla="*/ 8 w 97"/>
                <a:gd name="T37" fmla="*/ 81 h 84"/>
                <a:gd name="T38" fmla="*/ 5 w 97"/>
                <a:gd name="T39" fmla="*/ 83 h 84"/>
                <a:gd name="T40" fmla="*/ 3 w 97"/>
                <a:gd name="T41" fmla="*/ 79 h 84"/>
                <a:gd name="T42" fmla="*/ 4 w 97"/>
                <a:gd name="T43" fmla="*/ 30 h 84"/>
                <a:gd name="T44" fmla="*/ 1 w 97"/>
                <a:gd name="T45" fmla="*/ 27 h 84"/>
                <a:gd name="T46" fmla="*/ 8 w 97"/>
                <a:gd name="T47" fmla="*/ 19 h 84"/>
                <a:gd name="T48" fmla="*/ 13 w 97"/>
                <a:gd name="T49" fmla="*/ 10 h 84"/>
                <a:gd name="T50" fmla="*/ 19 w 97"/>
                <a:gd name="T51" fmla="*/ 0 h 84"/>
                <a:gd name="T52" fmla="*/ 27 w 97"/>
                <a:gd name="T53" fmla="*/ 3 h 84"/>
                <a:gd name="T54" fmla="*/ 21 w 97"/>
                <a:gd name="T55" fmla="*/ 15 h 84"/>
                <a:gd name="T56" fmla="*/ 15 w 97"/>
                <a:gd name="T57" fmla="*/ 24 h 84"/>
                <a:gd name="T58" fmla="*/ 10 w 97"/>
                <a:gd name="T59" fmla="*/ 30 h 84"/>
                <a:gd name="T60" fmla="*/ 7 w 97"/>
                <a:gd name="T61" fmla="*/ 33 h 84"/>
                <a:gd name="T62" fmla="*/ 4 w 97"/>
                <a:gd name="T63" fmla="*/ 30 h 84"/>
                <a:gd name="T64" fmla="*/ 76 w 97"/>
                <a:gd name="T65" fmla="*/ 9 h 84"/>
                <a:gd name="T66" fmla="*/ 28 w 97"/>
                <a:gd name="T67" fmla="*/ 9 h 84"/>
                <a:gd name="T68" fmla="*/ 28 w 97"/>
                <a:gd name="T69" fmla="*/ 1 h 84"/>
                <a:gd name="T70" fmla="*/ 80 w 97"/>
                <a:gd name="T71" fmla="*/ 1 h 84"/>
                <a:gd name="T72" fmla="*/ 97 w 97"/>
                <a:gd name="T73" fmla="*/ 26 h 84"/>
                <a:gd name="T74" fmla="*/ 90 w 97"/>
                <a:gd name="T75" fmla="*/ 31 h 84"/>
                <a:gd name="T76" fmla="*/ 76 w 97"/>
                <a:gd name="T77" fmla="*/ 9 h 84"/>
                <a:gd name="T78" fmla="*/ 71 w 97"/>
                <a:gd name="T79" fmla="*/ 39 h 84"/>
                <a:gd name="T80" fmla="*/ 70 w 97"/>
                <a:gd name="T81" fmla="*/ 45 h 84"/>
                <a:gd name="T82" fmla="*/ 69 w 97"/>
                <a:gd name="T83" fmla="*/ 50 h 84"/>
                <a:gd name="T84" fmla="*/ 73 w 97"/>
                <a:gd name="T85" fmla="*/ 47 h 84"/>
                <a:gd name="T86" fmla="*/ 94 w 97"/>
                <a:gd name="T87" fmla="*/ 78 h 84"/>
                <a:gd name="T88" fmla="*/ 87 w 97"/>
                <a:gd name="T89" fmla="*/ 83 h 84"/>
                <a:gd name="T90" fmla="*/ 67 w 97"/>
                <a:gd name="T91" fmla="*/ 54 h 84"/>
                <a:gd name="T92" fmla="*/ 61 w 97"/>
                <a:gd name="T93" fmla="*/ 66 h 84"/>
                <a:gd name="T94" fmla="*/ 54 w 97"/>
                <a:gd name="T95" fmla="*/ 75 h 84"/>
                <a:gd name="T96" fmla="*/ 48 w 97"/>
                <a:gd name="T97" fmla="*/ 81 h 84"/>
                <a:gd name="T98" fmla="*/ 46 w 97"/>
                <a:gd name="T99" fmla="*/ 84 h 84"/>
                <a:gd name="T100" fmla="*/ 43 w 97"/>
                <a:gd name="T101" fmla="*/ 80 h 84"/>
                <a:gd name="T102" fmla="*/ 40 w 97"/>
                <a:gd name="T103" fmla="*/ 77 h 84"/>
                <a:gd name="T104" fmla="*/ 45 w 97"/>
                <a:gd name="T105" fmla="*/ 72 h 84"/>
                <a:gd name="T106" fmla="*/ 51 w 97"/>
                <a:gd name="T107" fmla="*/ 66 h 84"/>
                <a:gd name="T108" fmla="*/ 56 w 97"/>
                <a:gd name="T109" fmla="*/ 58 h 84"/>
                <a:gd name="T110" fmla="*/ 60 w 97"/>
                <a:gd name="T111" fmla="*/ 49 h 84"/>
                <a:gd name="T112" fmla="*/ 63 w 97"/>
                <a:gd name="T113" fmla="*/ 38 h 84"/>
                <a:gd name="T114" fmla="*/ 63 w 97"/>
                <a:gd name="T115" fmla="*/ 22 h 84"/>
                <a:gd name="T116" fmla="*/ 71 w 97"/>
                <a:gd name="T117" fmla="*/ 22 h 84"/>
                <a:gd name="T118" fmla="*/ 71 w 97"/>
                <a:gd name="T11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84">
                  <a:moveTo>
                    <a:pt x="3" y="7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4"/>
                    <a:pt x="4" y="73"/>
                    <a:pt x="5" y="71"/>
                  </a:cubicBezTo>
                  <a:cubicBezTo>
                    <a:pt x="7" y="70"/>
                    <a:pt x="9" y="68"/>
                    <a:pt x="10" y="66"/>
                  </a:cubicBezTo>
                  <a:cubicBezTo>
                    <a:pt x="12" y="64"/>
                    <a:pt x="14" y="61"/>
                    <a:pt x="15" y="59"/>
                  </a:cubicBezTo>
                  <a:cubicBezTo>
                    <a:pt x="17" y="56"/>
                    <a:pt x="18" y="53"/>
                    <a:pt x="19" y="49"/>
                  </a:cubicBezTo>
                  <a:cubicBezTo>
                    <a:pt x="21" y="46"/>
                    <a:pt x="21" y="42"/>
                    <a:pt x="22" y="38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4"/>
                    <a:pt x="29" y="49"/>
                    <a:pt x="27" y="53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5" y="59"/>
                    <a:pt x="23" y="63"/>
                    <a:pt x="20" y="67"/>
                  </a:cubicBezTo>
                  <a:cubicBezTo>
                    <a:pt x="18" y="70"/>
                    <a:pt x="16" y="73"/>
                    <a:pt x="14" y="75"/>
                  </a:cubicBezTo>
                  <a:cubicBezTo>
                    <a:pt x="11" y="78"/>
                    <a:pt x="9" y="80"/>
                    <a:pt x="8" y="81"/>
                  </a:cubicBezTo>
                  <a:cubicBezTo>
                    <a:pt x="6" y="82"/>
                    <a:pt x="6" y="83"/>
                    <a:pt x="5" y="83"/>
                  </a:cubicBezTo>
                  <a:lnTo>
                    <a:pt x="3" y="79"/>
                  </a:lnTo>
                  <a:close/>
                  <a:moveTo>
                    <a:pt x="4" y="30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4" y="24"/>
                    <a:pt x="6" y="22"/>
                    <a:pt x="8" y="19"/>
                  </a:cubicBezTo>
                  <a:cubicBezTo>
                    <a:pt x="9" y="17"/>
                    <a:pt x="11" y="14"/>
                    <a:pt x="13" y="10"/>
                  </a:cubicBezTo>
                  <a:cubicBezTo>
                    <a:pt x="15" y="7"/>
                    <a:pt x="17" y="4"/>
                    <a:pt x="19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5" y="7"/>
                    <a:pt x="23" y="11"/>
                    <a:pt x="21" y="15"/>
                  </a:cubicBezTo>
                  <a:cubicBezTo>
                    <a:pt x="19" y="18"/>
                    <a:pt x="17" y="21"/>
                    <a:pt x="15" y="24"/>
                  </a:cubicBezTo>
                  <a:cubicBezTo>
                    <a:pt x="13" y="27"/>
                    <a:pt x="11" y="29"/>
                    <a:pt x="10" y="30"/>
                  </a:cubicBezTo>
                  <a:cubicBezTo>
                    <a:pt x="8" y="32"/>
                    <a:pt x="8" y="33"/>
                    <a:pt x="7" y="33"/>
                  </a:cubicBezTo>
                  <a:lnTo>
                    <a:pt x="4" y="30"/>
                  </a:lnTo>
                  <a:close/>
                  <a:moveTo>
                    <a:pt x="76" y="9"/>
                  </a:moveTo>
                  <a:cubicBezTo>
                    <a:pt x="28" y="9"/>
                    <a:pt x="28" y="9"/>
                    <a:pt x="28" y="9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0" y="31"/>
                    <a:pt x="90" y="31"/>
                    <a:pt x="90" y="31"/>
                  </a:cubicBezTo>
                  <a:lnTo>
                    <a:pt x="76" y="9"/>
                  </a:lnTo>
                  <a:close/>
                  <a:moveTo>
                    <a:pt x="71" y="39"/>
                  </a:moveTo>
                  <a:cubicBezTo>
                    <a:pt x="71" y="41"/>
                    <a:pt x="71" y="43"/>
                    <a:pt x="70" y="45"/>
                  </a:cubicBezTo>
                  <a:cubicBezTo>
                    <a:pt x="70" y="47"/>
                    <a:pt x="69" y="48"/>
                    <a:pt x="69" y="50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9"/>
                    <a:pt x="63" y="63"/>
                    <a:pt x="61" y="66"/>
                  </a:cubicBezTo>
                  <a:cubicBezTo>
                    <a:pt x="58" y="70"/>
                    <a:pt x="56" y="73"/>
                    <a:pt x="54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7" y="83"/>
                    <a:pt x="46" y="83"/>
                    <a:pt x="46" y="84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2" y="75"/>
                    <a:pt x="44" y="73"/>
                    <a:pt x="45" y="72"/>
                  </a:cubicBezTo>
                  <a:cubicBezTo>
                    <a:pt x="47" y="70"/>
                    <a:pt x="49" y="68"/>
                    <a:pt x="51" y="66"/>
                  </a:cubicBezTo>
                  <a:cubicBezTo>
                    <a:pt x="52" y="63"/>
                    <a:pt x="54" y="61"/>
                    <a:pt x="56" y="58"/>
                  </a:cubicBezTo>
                  <a:cubicBezTo>
                    <a:pt x="57" y="55"/>
                    <a:pt x="59" y="52"/>
                    <a:pt x="60" y="49"/>
                  </a:cubicBezTo>
                  <a:cubicBezTo>
                    <a:pt x="61" y="45"/>
                    <a:pt x="62" y="42"/>
                    <a:pt x="63" y="3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39"/>
                    <a:pt x="71" y="39"/>
                    <a:pt x="71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102F04A-C19F-4146-880A-2C4746947076}"/>
                </a:ext>
              </a:extLst>
            </p:cNvPr>
            <p:cNvSpPr/>
            <p:nvPr/>
          </p:nvSpPr>
          <p:spPr bwMode="auto">
            <a:xfrm>
              <a:off x="5756276" y="4868863"/>
              <a:ext cx="239713" cy="207963"/>
            </a:xfrm>
            <a:custGeom>
              <a:avLst/>
              <a:gdLst>
                <a:gd name="T0" fmla="*/ 82 w 151"/>
                <a:gd name="T1" fmla="*/ 14 h 131"/>
                <a:gd name="T2" fmla="*/ 151 w 151"/>
                <a:gd name="T3" fmla="*/ 14 h 131"/>
                <a:gd name="T4" fmla="*/ 151 w 151"/>
                <a:gd name="T5" fmla="*/ 28 h 131"/>
                <a:gd name="T6" fmla="*/ 82 w 151"/>
                <a:gd name="T7" fmla="*/ 28 h 131"/>
                <a:gd name="T8" fmla="*/ 82 w 151"/>
                <a:gd name="T9" fmla="*/ 47 h 131"/>
                <a:gd name="T10" fmla="*/ 140 w 151"/>
                <a:gd name="T11" fmla="*/ 47 h 131"/>
                <a:gd name="T12" fmla="*/ 140 w 151"/>
                <a:gd name="T13" fmla="*/ 61 h 131"/>
                <a:gd name="T14" fmla="*/ 11 w 151"/>
                <a:gd name="T15" fmla="*/ 61 h 131"/>
                <a:gd name="T16" fmla="*/ 11 w 151"/>
                <a:gd name="T17" fmla="*/ 47 h 131"/>
                <a:gd name="T18" fmla="*/ 68 w 151"/>
                <a:gd name="T19" fmla="*/ 47 h 131"/>
                <a:gd name="T20" fmla="*/ 68 w 151"/>
                <a:gd name="T21" fmla="*/ 28 h 131"/>
                <a:gd name="T22" fmla="*/ 0 w 151"/>
                <a:gd name="T23" fmla="*/ 28 h 131"/>
                <a:gd name="T24" fmla="*/ 0 w 151"/>
                <a:gd name="T25" fmla="*/ 14 h 131"/>
                <a:gd name="T26" fmla="*/ 68 w 151"/>
                <a:gd name="T27" fmla="*/ 14 h 131"/>
                <a:gd name="T28" fmla="*/ 68 w 151"/>
                <a:gd name="T29" fmla="*/ 0 h 131"/>
                <a:gd name="T30" fmla="*/ 82 w 151"/>
                <a:gd name="T31" fmla="*/ 0 h 131"/>
                <a:gd name="T32" fmla="*/ 82 w 151"/>
                <a:gd name="T33" fmla="*/ 14 h 131"/>
                <a:gd name="T34" fmla="*/ 0 w 151"/>
                <a:gd name="T35" fmla="*/ 125 h 131"/>
                <a:gd name="T36" fmla="*/ 17 w 151"/>
                <a:gd name="T37" fmla="*/ 80 h 131"/>
                <a:gd name="T38" fmla="*/ 29 w 151"/>
                <a:gd name="T39" fmla="*/ 84 h 131"/>
                <a:gd name="T40" fmla="*/ 14 w 151"/>
                <a:gd name="T41" fmla="*/ 128 h 131"/>
                <a:gd name="T42" fmla="*/ 0 w 151"/>
                <a:gd name="T43" fmla="*/ 125 h 131"/>
                <a:gd name="T44" fmla="*/ 51 w 151"/>
                <a:gd name="T45" fmla="*/ 80 h 131"/>
                <a:gd name="T46" fmla="*/ 51 w 151"/>
                <a:gd name="T47" fmla="*/ 117 h 131"/>
                <a:gd name="T48" fmla="*/ 123 w 151"/>
                <a:gd name="T49" fmla="*/ 117 h 131"/>
                <a:gd name="T50" fmla="*/ 123 w 151"/>
                <a:gd name="T51" fmla="*/ 131 h 131"/>
                <a:gd name="T52" fmla="*/ 37 w 151"/>
                <a:gd name="T53" fmla="*/ 131 h 131"/>
                <a:gd name="T54" fmla="*/ 37 w 151"/>
                <a:gd name="T55" fmla="*/ 80 h 131"/>
                <a:gd name="T56" fmla="*/ 51 w 151"/>
                <a:gd name="T57" fmla="*/ 80 h 131"/>
                <a:gd name="T58" fmla="*/ 82 w 151"/>
                <a:gd name="T59" fmla="*/ 72 h 131"/>
                <a:gd name="T60" fmla="*/ 99 w 151"/>
                <a:gd name="T61" fmla="*/ 105 h 131"/>
                <a:gd name="T62" fmla="*/ 87 w 151"/>
                <a:gd name="T63" fmla="*/ 111 h 131"/>
                <a:gd name="T64" fmla="*/ 71 w 151"/>
                <a:gd name="T65" fmla="*/ 77 h 131"/>
                <a:gd name="T66" fmla="*/ 82 w 151"/>
                <a:gd name="T67" fmla="*/ 72 h 131"/>
                <a:gd name="T68" fmla="*/ 121 w 151"/>
                <a:gd name="T69" fmla="*/ 84 h 131"/>
                <a:gd name="T70" fmla="*/ 134 w 151"/>
                <a:gd name="T71" fmla="*/ 80 h 131"/>
                <a:gd name="T72" fmla="*/ 149 w 151"/>
                <a:gd name="T73" fmla="*/ 125 h 131"/>
                <a:gd name="T74" fmla="*/ 137 w 151"/>
                <a:gd name="T75" fmla="*/ 128 h 131"/>
                <a:gd name="T76" fmla="*/ 121 w 151"/>
                <a:gd name="T77" fmla="*/ 8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131">
                  <a:moveTo>
                    <a:pt x="82" y="14"/>
                  </a:moveTo>
                  <a:lnTo>
                    <a:pt x="151" y="14"/>
                  </a:lnTo>
                  <a:lnTo>
                    <a:pt x="151" y="28"/>
                  </a:lnTo>
                  <a:lnTo>
                    <a:pt x="82" y="28"/>
                  </a:lnTo>
                  <a:lnTo>
                    <a:pt x="82" y="47"/>
                  </a:lnTo>
                  <a:lnTo>
                    <a:pt x="140" y="47"/>
                  </a:lnTo>
                  <a:lnTo>
                    <a:pt x="140" y="61"/>
                  </a:lnTo>
                  <a:lnTo>
                    <a:pt x="11" y="61"/>
                  </a:lnTo>
                  <a:lnTo>
                    <a:pt x="11" y="47"/>
                  </a:lnTo>
                  <a:lnTo>
                    <a:pt x="68" y="47"/>
                  </a:lnTo>
                  <a:lnTo>
                    <a:pt x="68" y="28"/>
                  </a:lnTo>
                  <a:lnTo>
                    <a:pt x="0" y="28"/>
                  </a:lnTo>
                  <a:lnTo>
                    <a:pt x="0" y="14"/>
                  </a:lnTo>
                  <a:lnTo>
                    <a:pt x="68" y="14"/>
                  </a:lnTo>
                  <a:lnTo>
                    <a:pt x="68" y="0"/>
                  </a:lnTo>
                  <a:lnTo>
                    <a:pt x="82" y="0"/>
                  </a:lnTo>
                  <a:lnTo>
                    <a:pt x="82" y="14"/>
                  </a:lnTo>
                  <a:close/>
                  <a:moveTo>
                    <a:pt x="0" y="125"/>
                  </a:moveTo>
                  <a:lnTo>
                    <a:pt x="17" y="80"/>
                  </a:lnTo>
                  <a:lnTo>
                    <a:pt x="29" y="84"/>
                  </a:lnTo>
                  <a:lnTo>
                    <a:pt x="14" y="128"/>
                  </a:lnTo>
                  <a:lnTo>
                    <a:pt x="0" y="125"/>
                  </a:lnTo>
                  <a:close/>
                  <a:moveTo>
                    <a:pt x="51" y="80"/>
                  </a:moveTo>
                  <a:lnTo>
                    <a:pt x="51" y="117"/>
                  </a:lnTo>
                  <a:lnTo>
                    <a:pt x="123" y="117"/>
                  </a:lnTo>
                  <a:lnTo>
                    <a:pt x="123" y="131"/>
                  </a:lnTo>
                  <a:lnTo>
                    <a:pt x="37" y="131"/>
                  </a:lnTo>
                  <a:lnTo>
                    <a:pt x="37" y="80"/>
                  </a:lnTo>
                  <a:lnTo>
                    <a:pt x="51" y="80"/>
                  </a:lnTo>
                  <a:close/>
                  <a:moveTo>
                    <a:pt x="82" y="72"/>
                  </a:moveTo>
                  <a:lnTo>
                    <a:pt x="99" y="105"/>
                  </a:lnTo>
                  <a:lnTo>
                    <a:pt x="87" y="111"/>
                  </a:lnTo>
                  <a:lnTo>
                    <a:pt x="71" y="77"/>
                  </a:lnTo>
                  <a:lnTo>
                    <a:pt x="82" y="72"/>
                  </a:lnTo>
                  <a:close/>
                  <a:moveTo>
                    <a:pt x="121" y="84"/>
                  </a:moveTo>
                  <a:lnTo>
                    <a:pt x="134" y="80"/>
                  </a:lnTo>
                  <a:lnTo>
                    <a:pt x="149" y="125"/>
                  </a:lnTo>
                  <a:lnTo>
                    <a:pt x="137" y="128"/>
                  </a:lnTo>
                  <a:lnTo>
                    <a:pt x="121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7C68470C-14AF-4601-A978-1B992939607F}"/>
                </a:ext>
              </a:extLst>
            </p:cNvPr>
            <p:cNvSpPr/>
            <p:nvPr/>
          </p:nvSpPr>
          <p:spPr bwMode="auto">
            <a:xfrm>
              <a:off x="6022976" y="4868863"/>
              <a:ext cx="244475" cy="211138"/>
            </a:xfrm>
            <a:custGeom>
              <a:avLst/>
              <a:gdLst>
                <a:gd name="T0" fmla="*/ 99 w 99"/>
                <a:gd name="T1" fmla="*/ 71 h 85"/>
                <a:gd name="T2" fmla="*/ 87 w 99"/>
                <a:gd name="T3" fmla="*/ 83 h 85"/>
                <a:gd name="T4" fmla="*/ 83 w 99"/>
                <a:gd name="T5" fmla="*/ 81 h 85"/>
                <a:gd name="T6" fmla="*/ 73 w 99"/>
                <a:gd name="T7" fmla="*/ 73 h 85"/>
                <a:gd name="T8" fmla="*/ 62 w 99"/>
                <a:gd name="T9" fmla="*/ 75 h 85"/>
                <a:gd name="T10" fmla="*/ 49 w 99"/>
                <a:gd name="T11" fmla="*/ 77 h 85"/>
                <a:gd name="T12" fmla="*/ 65 w 99"/>
                <a:gd name="T13" fmla="*/ 60 h 85"/>
                <a:gd name="T14" fmla="*/ 60 w 99"/>
                <a:gd name="T15" fmla="*/ 38 h 85"/>
                <a:gd name="T16" fmla="*/ 16 w 99"/>
                <a:gd name="T17" fmla="*/ 20 h 85"/>
                <a:gd name="T18" fmla="*/ 38 w 99"/>
                <a:gd name="T19" fmla="*/ 34 h 85"/>
                <a:gd name="T20" fmla="*/ 47 w 99"/>
                <a:gd name="T21" fmla="*/ 32 h 85"/>
                <a:gd name="T22" fmla="*/ 44 w 99"/>
                <a:gd name="T23" fmla="*/ 74 h 85"/>
                <a:gd name="T24" fmla="*/ 23 w 99"/>
                <a:gd name="T25" fmla="*/ 77 h 85"/>
                <a:gd name="T26" fmla="*/ 37 w 99"/>
                <a:gd name="T27" fmla="*/ 68 h 85"/>
                <a:gd name="T28" fmla="*/ 38 w 99"/>
                <a:gd name="T29" fmla="*/ 43 h 85"/>
                <a:gd name="T30" fmla="*/ 14 w 99"/>
                <a:gd name="T31" fmla="*/ 60 h 85"/>
                <a:gd name="T32" fmla="*/ 9 w 99"/>
                <a:gd name="T33" fmla="*/ 81 h 85"/>
                <a:gd name="T34" fmla="*/ 4 w 99"/>
                <a:gd name="T35" fmla="*/ 83 h 85"/>
                <a:gd name="T36" fmla="*/ 3 w 99"/>
                <a:gd name="T37" fmla="*/ 70 h 85"/>
                <a:gd name="T38" fmla="*/ 7 w 99"/>
                <a:gd name="T39" fmla="*/ 40 h 85"/>
                <a:gd name="T40" fmla="*/ 60 w 99"/>
                <a:gd name="T41" fmla="*/ 12 h 85"/>
                <a:gd name="T42" fmla="*/ 69 w 99"/>
                <a:gd name="T43" fmla="*/ 0 h 85"/>
                <a:gd name="T44" fmla="*/ 79 w 99"/>
                <a:gd name="T45" fmla="*/ 12 h 85"/>
                <a:gd name="T46" fmla="*/ 83 w 99"/>
                <a:gd name="T47" fmla="*/ 0 h 85"/>
                <a:gd name="T48" fmla="*/ 96 w 99"/>
                <a:gd name="T49" fmla="*/ 12 h 85"/>
                <a:gd name="T50" fmla="*/ 69 w 99"/>
                <a:gd name="T51" fmla="*/ 20 h 85"/>
                <a:gd name="T52" fmla="*/ 69 w 99"/>
                <a:gd name="T53" fmla="*/ 45 h 85"/>
                <a:gd name="T54" fmla="*/ 76 w 99"/>
                <a:gd name="T55" fmla="*/ 44 h 85"/>
                <a:gd name="T56" fmla="*/ 83 w 99"/>
                <a:gd name="T57" fmla="*/ 34 h 85"/>
                <a:gd name="T58" fmla="*/ 91 w 99"/>
                <a:gd name="T59" fmla="*/ 37 h 85"/>
                <a:gd name="T60" fmla="*/ 87 w 99"/>
                <a:gd name="T61" fmla="*/ 44 h 85"/>
                <a:gd name="T62" fmla="*/ 75 w 99"/>
                <a:gd name="T63" fmla="*/ 61 h 85"/>
                <a:gd name="T64" fmla="*/ 87 w 99"/>
                <a:gd name="T6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9" h="85">
                  <a:moveTo>
                    <a:pt x="92" y="6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6" y="82"/>
                  </a:cubicBezTo>
                  <a:cubicBezTo>
                    <a:pt x="85" y="82"/>
                    <a:pt x="84" y="81"/>
                    <a:pt x="83" y="81"/>
                  </a:cubicBezTo>
                  <a:cubicBezTo>
                    <a:pt x="81" y="80"/>
                    <a:pt x="80" y="79"/>
                    <a:pt x="78" y="77"/>
                  </a:cubicBezTo>
                  <a:cubicBezTo>
                    <a:pt x="77" y="76"/>
                    <a:pt x="75" y="75"/>
                    <a:pt x="73" y="73"/>
                  </a:cubicBezTo>
                  <a:cubicBezTo>
                    <a:pt x="72" y="72"/>
                    <a:pt x="71" y="70"/>
                    <a:pt x="69" y="68"/>
                  </a:cubicBezTo>
                  <a:cubicBezTo>
                    <a:pt x="67" y="70"/>
                    <a:pt x="65" y="73"/>
                    <a:pt x="62" y="75"/>
                  </a:cubicBezTo>
                  <a:cubicBezTo>
                    <a:pt x="60" y="78"/>
                    <a:pt x="57" y="81"/>
                    <a:pt x="54" y="83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4"/>
                    <a:pt x="54" y="71"/>
                    <a:pt x="57" y="68"/>
                  </a:cubicBezTo>
                  <a:cubicBezTo>
                    <a:pt x="60" y="65"/>
                    <a:pt x="62" y="63"/>
                    <a:pt x="65" y="60"/>
                  </a:cubicBezTo>
                  <a:cubicBezTo>
                    <a:pt x="63" y="57"/>
                    <a:pt x="62" y="54"/>
                    <a:pt x="61" y="50"/>
                  </a:cubicBezTo>
                  <a:cubicBezTo>
                    <a:pt x="61" y="46"/>
                    <a:pt x="60" y="42"/>
                    <a:pt x="60" y="3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6" y="72"/>
                    <a:pt x="44" y="74"/>
                  </a:cubicBezTo>
                  <a:cubicBezTo>
                    <a:pt x="42" y="76"/>
                    <a:pt x="40" y="77"/>
                    <a:pt x="37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7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9"/>
                    <a:pt x="15" y="55"/>
                    <a:pt x="14" y="60"/>
                  </a:cubicBezTo>
                  <a:cubicBezTo>
                    <a:pt x="13" y="65"/>
                    <a:pt x="13" y="69"/>
                    <a:pt x="12" y="73"/>
                  </a:cubicBezTo>
                  <a:cubicBezTo>
                    <a:pt x="11" y="77"/>
                    <a:pt x="10" y="79"/>
                    <a:pt x="9" y="81"/>
                  </a:cubicBezTo>
                  <a:cubicBezTo>
                    <a:pt x="8" y="84"/>
                    <a:pt x="7" y="85"/>
                    <a:pt x="7" y="85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7"/>
                    <a:pt x="3" y="73"/>
                    <a:pt x="3" y="70"/>
                  </a:cubicBezTo>
                  <a:cubicBezTo>
                    <a:pt x="4" y="66"/>
                    <a:pt x="5" y="62"/>
                    <a:pt x="6" y="57"/>
                  </a:cubicBezTo>
                  <a:cubicBezTo>
                    <a:pt x="7" y="52"/>
                    <a:pt x="7" y="46"/>
                    <a:pt x="7" y="4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41"/>
                    <a:pt x="69" y="43"/>
                    <a:pt x="69" y="45"/>
                  </a:cubicBezTo>
                  <a:cubicBezTo>
                    <a:pt x="70" y="48"/>
                    <a:pt x="70" y="50"/>
                    <a:pt x="71" y="52"/>
                  </a:cubicBezTo>
                  <a:cubicBezTo>
                    <a:pt x="73" y="49"/>
                    <a:pt x="75" y="47"/>
                    <a:pt x="76" y="44"/>
                  </a:cubicBezTo>
                  <a:cubicBezTo>
                    <a:pt x="78" y="42"/>
                    <a:pt x="79" y="40"/>
                    <a:pt x="80" y="38"/>
                  </a:cubicBezTo>
                  <a:cubicBezTo>
                    <a:pt x="82" y="37"/>
                    <a:pt x="82" y="35"/>
                    <a:pt x="83" y="34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1" y="37"/>
                    <a:pt x="91" y="38"/>
                    <a:pt x="90" y="39"/>
                  </a:cubicBezTo>
                  <a:cubicBezTo>
                    <a:pt x="89" y="40"/>
                    <a:pt x="88" y="42"/>
                    <a:pt x="87" y="44"/>
                  </a:cubicBezTo>
                  <a:cubicBezTo>
                    <a:pt x="85" y="47"/>
                    <a:pt x="84" y="49"/>
                    <a:pt x="82" y="52"/>
                  </a:cubicBezTo>
                  <a:cubicBezTo>
                    <a:pt x="80" y="55"/>
                    <a:pt x="77" y="58"/>
                    <a:pt x="75" y="61"/>
                  </a:cubicBezTo>
                  <a:cubicBezTo>
                    <a:pt x="77" y="64"/>
                    <a:pt x="79" y="67"/>
                    <a:pt x="81" y="69"/>
                  </a:cubicBezTo>
                  <a:cubicBezTo>
                    <a:pt x="84" y="71"/>
                    <a:pt x="86" y="72"/>
                    <a:pt x="87" y="73"/>
                  </a:cubicBezTo>
                  <a:lnTo>
                    <a:pt x="9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6E834621-D939-437E-AC81-EEF093A4AF22}"/>
                </a:ext>
              </a:extLst>
            </p:cNvPr>
            <p:cNvSpPr/>
            <p:nvPr/>
          </p:nvSpPr>
          <p:spPr bwMode="auto">
            <a:xfrm>
              <a:off x="6294438" y="4868863"/>
              <a:ext cx="242888" cy="211138"/>
            </a:xfrm>
            <a:custGeom>
              <a:avLst/>
              <a:gdLst>
                <a:gd name="T0" fmla="*/ 98 w 98"/>
                <a:gd name="T1" fmla="*/ 73 h 85"/>
                <a:gd name="T2" fmla="*/ 85 w 98"/>
                <a:gd name="T3" fmla="*/ 82 h 85"/>
                <a:gd name="T4" fmla="*/ 77 w 98"/>
                <a:gd name="T5" fmla="*/ 72 h 85"/>
                <a:gd name="T6" fmla="*/ 69 w 98"/>
                <a:gd name="T7" fmla="*/ 84 h 85"/>
                <a:gd name="T8" fmla="*/ 68 w 98"/>
                <a:gd name="T9" fmla="*/ 71 h 85"/>
                <a:gd name="T10" fmla="*/ 70 w 98"/>
                <a:gd name="T11" fmla="*/ 51 h 85"/>
                <a:gd name="T12" fmla="*/ 68 w 98"/>
                <a:gd name="T13" fmla="*/ 18 h 85"/>
                <a:gd name="T14" fmla="*/ 42 w 98"/>
                <a:gd name="T15" fmla="*/ 29 h 85"/>
                <a:gd name="T16" fmla="*/ 55 w 98"/>
                <a:gd name="T17" fmla="*/ 27 h 85"/>
                <a:gd name="T18" fmla="*/ 64 w 98"/>
                <a:gd name="T19" fmla="*/ 68 h 85"/>
                <a:gd name="T20" fmla="*/ 54 w 98"/>
                <a:gd name="T21" fmla="*/ 78 h 85"/>
                <a:gd name="T22" fmla="*/ 43 w 98"/>
                <a:gd name="T23" fmla="*/ 69 h 85"/>
                <a:gd name="T24" fmla="*/ 55 w 98"/>
                <a:gd name="T25" fmla="*/ 68 h 85"/>
                <a:gd name="T26" fmla="*/ 42 w 98"/>
                <a:gd name="T27" fmla="*/ 37 h 85"/>
                <a:gd name="T28" fmla="*/ 41 w 98"/>
                <a:gd name="T29" fmla="*/ 60 h 85"/>
                <a:gd name="T30" fmla="*/ 36 w 98"/>
                <a:gd name="T31" fmla="*/ 81 h 85"/>
                <a:gd name="T32" fmla="*/ 26 w 98"/>
                <a:gd name="T33" fmla="*/ 82 h 85"/>
                <a:gd name="T34" fmla="*/ 29 w 98"/>
                <a:gd name="T35" fmla="*/ 74 h 85"/>
                <a:gd name="T36" fmla="*/ 0 w 98"/>
                <a:gd name="T37" fmla="*/ 75 h 85"/>
                <a:gd name="T38" fmla="*/ 10 w 98"/>
                <a:gd name="T39" fmla="*/ 24 h 85"/>
                <a:gd name="T40" fmla="*/ 1 w 98"/>
                <a:gd name="T41" fmla="*/ 15 h 85"/>
                <a:gd name="T42" fmla="*/ 10 w 98"/>
                <a:gd name="T43" fmla="*/ 3 h 85"/>
                <a:gd name="T44" fmla="*/ 19 w 98"/>
                <a:gd name="T45" fmla="*/ 15 h 85"/>
                <a:gd name="T46" fmla="*/ 28 w 98"/>
                <a:gd name="T47" fmla="*/ 24 h 85"/>
                <a:gd name="T48" fmla="*/ 19 w 98"/>
                <a:gd name="T49" fmla="*/ 69 h 85"/>
                <a:gd name="T50" fmla="*/ 29 w 98"/>
                <a:gd name="T51" fmla="*/ 74 h 85"/>
                <a:gd name="T52" fmla="*/ 32 w 98"/>
                <a:gd name="T53" fmla="*/ 61 h 85"/>
                <a:gd name="T54" fmla="*/ 33 w 98"/>
                <a:gd name="T55" fmla="*/ 46 h 85"/>
                <a:gd name="T56" fmla="*/ 68 w 98"/>
                <a:gd name="T57" fmla="*/ 9 h 85"/>
                <a:gd name="T58" fmla="*/ 77 w 98"/>
                <a:gd name="T59" fmla="*/ 0 h 85"/>
                <a:gd name="T60" fmla="*/ 81 w 98"/>
                <a:gd name="T61" fmla="*/ 9 h 85"/>
                <a:gd name="T62" fmla="*/ 86 w 98"/>
                <a:gd name="T63" fmla="*/ 0 h 85"/>
                <a:gd name="T64" fmla="*/ 94 w 98"/>
                <a:gd name="T65" fmla="*/ 9 h 85"/>
                <a:gd name="T66" fmla="*/ 77 w 98"/>
                <a:gd name="T67" fmla="*/ 18 h 85"/>
                <a:gd name="T68" fmla="*/ 77 w 98"/>
                <a:gd name="T69" fmla="*/ 44 h 85"/>
                <a:gd name="T70" fmla="*/ 81 w 98"/>
                <a:gd name="T71" fmla="*/ 43 h 85"/>
                <a:gd name="T72" fmla="*/ 85 w 98"/>
                <a:gd name="T73" fmla="*/ 32 h 85"/>
                <a:gd name="T74" fmla="*/ 94 w 98"/>
                <a:gd name="T75" fmla="*/ 33 h 85"/>
                <a:gd name="T76" fmla="*/ 91 w 98"/>
                <a:gd name="T77" fmla="*/ 42 h 85"/>
                <a:gd name="T78" fmla="*/ 82 w 98"/>
                <a:gd name="T79" fmla="*/ 63 h 85"/>
                <a:gd name="T80" fmla="*/ 88 w 98"/>
                <a:gd name="T8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8" h="85">
                  <a:moveTo>
                    <a:pt x="92" y="68"/>
                  </a:moveTo>
                  <a:cubicBezTo>
                    <a:pt x="98" y="73"/>
                    <a:pt x="98" y="73"/>
                    <a:pt x="98" y="73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5" y="82"/>
                    <a:pt x="84" y="81"/>
                    <a:pt x="82" y="79"/>
                  </a:cubicBezTo>
                  <a:cubicBezTo>
                    <a:pt x="81" y="78"/>
                    <a:pt x="79" y="75"/>
                    <a:pt x="77" y="72"/>
                  </a:cubicBezTo>
                  <a:cubicBezTo>
                    <a:pt x="76" y="74"/>
                    <a:pt x="75" y="76"/>
                    <a:pt x="73" y="78"/>
                  </a:cubicBezTo>
                  <a:cubicBezTo>
                    <a:pt x="72" y="80"/>
                    <a:pt x="70" y="82"/>
                    <a:pt x="69" y="84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4" y="76"/>
                    <a:pt x="66" y="74"/>
                    <a:pt x="68" y="71"/>
                  </a:cubicBezTo>
                  <a:cubicBezTo>
                    <a:pt x="70" y="68"/>
                    <a:pt x="71" y="65"/>
                    <a:pt x="73" y="63"/>
                  </a:cubicBezTo>
                  <a:cubicBezTo>
                    <a:pt x="71" y="59"/>
                    <a:pt x="70" y="55"/>
                    <a:pt x="70" y="51"/>
                  </a:cubicBezTo>
                  <a:cubicBezTo>
                    <a:pt x="69" y="47"/>
                    <a:pt x="68" y="42"/>
                    <a:pt x="68" y="36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71"/>
                    <a:pt x="63" y="73"/>
                    <a:pt x="61" y="75"/>
                  </a:cubicBezTo>
                  <a:cubicBezTo>
                    <a:pt x="59" y="77"/>
                    <a:pt x="57" y="78"/>
                    <a:pt x="54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5" y="69"/>
                    <a:pt x="55" y="69"/>
                    <a:pt x="55" y="6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0"/>
                    <a:pt x="41" y="55"/>
                    <a:pt x="41" y="60"/>
                  </a:cubicBezTo>
                  <a:cubicBezTo>
                    <a:pt x="40" y="64"/>
                    <a:pt x="39" y="68"/>
                    <a:pt x="38" y="72"/>
                  </a:cubicBezTo>
                  <a:cubicBezTo>
                    <a:pt x="37" y="76"/>
                    <a:pt x="37" y="78"/>
                    <a:pt x="36" y="81"/>
                  </a:cubicBezTo>
                  <a:cubicBezTo>
                    <a:pt x="35" y="83"/>
                    <a:pt x="35" y="84"/>
                    <a:pt x="35" y="85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1"/>
                    <a:pt x="27" y="80"/>
                  </a:cubicBezTo>
                  <a:cubicBezTo>
                    <a:pt x="28" y="78"/>
                    <a:pt x="28" y="77"/>
                    <a:pt x="29" y="74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2"/>
                    <a:pt x="30" y="70"/>
                    <a:pt x="30" y="68"/>
                  </a:cubicBezTo>
                  <a:cubicBezTo>
                    <a:pt x="31" y="66"/>
                    <a:pt x="31" y="64"/>
                    <a:pt x="32" y="61"/>
                  </a:cubicBezTo>
                  <a:cubicBezTo>
                    <a:pt x="32" y="59"/>
                    <a:pt x="33" y="56"/>
                    <a:pt x="33" y="54"/>
                  </a:cubicBezTo>
                  <a:cubicBezTo>
                    <a:pt x="33" y="51"/>
                    <a:pt x="33" y="48"/>
                    <a:pt x="33" y="4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39"/>
                    <a:pt x="77" y="42"/>
                    <a:pt x="77" y="44"/>
                  </a:cubicBezTo>
                  <a:cubicBezTo>
                    <a:pt x="78" y="46"/>
                    <a:pt x="78" y="49"/>
                    <a:pt x="78" y="51"/>
                  </a:cubicBezTo>
                  <a:cubicBezTo>
                    <a:pt x="79" y="48"/>
                    <a:pt x="81" y="45"/>
                    <a:pt x="81" y="43"/>
                  </a:cubicBezTo>
                  <a:cubicBezTo>
                    <a:pt x="82" y="40"/>
                    <a:pt x="83" y="38"/>
                    <a:pt x="84" y="36"/>
                  </a:cubicBezTo>
                  <a:cubicBezTo>
                    <a:pt x="84" y="34"/>
                    <a:pt x="85" y="33"/>
                    <a:pt x="85" y="32"/>
                  </a:cubicBezTo>
                  <a:cubicBezTo>
                    <a:pt x="85" y="31"/>
                    <a:pt x="86" y="30"/>
                    <a:pt x="86" y="30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4"/>
                    <a:pt x="93" y="35"/>
                  </a:cubicBezTo>
                  <a:cubicBezTo>
                    <a:pt x="93" y="37"/>
                    <a:pt x="92" y="40"/>
                    <a:pt x="91" y="42"/>
                  </a:cubicBezTo>
                  <a:cubicBezTo>
                    <a:pt x="90" y="45"/>
                    <a:pt x="89" y="48"/>
                    <a:pt x="87" y="52"/>
                  </a:cubicBezTo>
                  <a:cubicBezTo>
                    <a:pt x="86" y="55"/>
                    <a:pt x="84" y="59"/>
                    <a:pt x="82" y="63"/>
                  </a:cubicBezTo>
                  <a:cubicBezTo>
                    <a:pt x="83" y="65"/>
                    <a:pt x="84" y="67"/>
                    <a:pt x="85" y="69"/>
                  </a:cubicBezTo>
                  <a:cubicBezTo>
                    <a:pt x="86" y="70"/>
                    <a:pt x="87" y="71"/>
                    <a:pt x="88" y="72"/>
                  </a:cubicBezTo>
                  <a:lnTo>
                    <a:pt x="92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8271697-1354-48C9-A127-3296A0AAA8AD}"/>
                </a:ext>
              </a:extLst>
            </p:cNvPr>
            <p:cNvSpPr/>
            <p:nvPr/>
          </p:nvSpPr>
          <p:spPr bwMode="auto">
            <a:xfrm>
              <a:off x="6642101" y="4867275"/>
              <a:ext cx="247650" cy="209550"/>
            </a:xfrm>
            <a:custGeom>
              <a:avLst/>
              <a:gdLst>
                <a:gd name="T0" fmla="*/ 11 w 100"/>
                <a:gd name="T1" fmla="*/ 76 h 85"/>
                <a:gd name="T2" fmla="*/ 13 w 100"/>
                <a:gd name="T3" fmla="*/ 76 h 85"/>
                <a:gd name="T4" fmla="*/ 13 w 100"/>
                <a:gd name="T5" fmla="*/ 74 h 85"/>
                <a:gd name="T6" fmla="*/ 13 w 100"/>
                <a:gd name="T7" fmla="*/ 62 h 85"/>
                <a:gd name="T8" fmla="*/ 3 w 100"/>
                <a:gd name="T9" fmla="*/ 66 h 85"/>
                <a:gd name="T10" fmla="*/ 0 w 100"/>
                <a:gd name="T11" fmla="*/ 58 h 85"/>
                <a:gd name="T12" fmla="*/ 13 w 100"/>
                <a:gd name="T13" fmla="*/ 52 h 85"/>
                <a:gd name="T14" fmla="*/ 13 w 100"/>
                <a:gd name="T15" fmla="*/ 20 h 85"/>
                <a:gd name="T16" fmla="*/ 2 w 100"/>
                <a:gd name="T17" fmla="*/ 20 h 85"/>
                <a:gd name="T18" fmla="*/ 2 w 100"/>
                <a:gd name="T19" fmla="*/ 12 h 85"/>
                <a:gd name="T20" fmla="*/ 13 w 100"/>
                <a:gd name="T21" fmla="*/ 12 h 85"/>
                <a:gd name="T22" fmla="*/ 13 w 100"/>
                <a:gd name="T23" fmla="*/ 1 h 85"/>
                <a:gd name="T24" fmla="*/ 22 w 100"/>
                <a:gd name="T25" fmla="*/ 1 h 85"/>
                <a:gd name="T26" fmla="*/ 22 w 100"/>
                <a:gd name="T27" fmla="*/ 12 h 85"/>
                <a:gd name="T28" fmla="*/ 33 w 100"/>
                <a:gd name="T29" fmla="*/ 12 h 85"/>
                <a:gd name="T30" fmla="*/ 33 w 100"/>
                <a:gd name="T31" fmla="*/ 20 h 85"/>
                <a:gd name="T32" fmla="*/ 22 w 100"/>
                <a:gd name="T33" fmla="*/ 20 h 85"/>
                <a:gd name="T34" fmla="*/ 22 w 100"/>
                <a:gd name="T35" fmla="*/ 49 h 85"/>
                <a:gd name="T36" fmla="*/ 31 w 100"/>
                <a:gd name="T37" fmla="*/ 45 h 85"/>
                <a:gd name="T38" fmla="*/ 34 w 100"/>
                <a:gd name="T39" fmla="*/ 53 h 85"/>
                <a:gd name="T40" fmla="*/ 22 w 100"/>
                <a:gd name="T41" fmla="*/ 58 h 85"/>
                <a:gd name="T42" fmla="*/ 22 w 100"/>
                <a:gd name="T43" fmla="*/ 74 h 85"/>
                <a:gd name="T44" fmla="*/ 19 w 100"/>
                <a:gd name="T45" fmla="*/ 82 h 85"/>
                <a:gd name="T46" fmla="*/ 11 w 100"/>
                <a:gd name="T47" fmla="*/ 85 h 85"/>
                <a:gd name="T48" fmla="*/ 2 w 100"/>
                <a:gd name="T49" fmla="*/ 85 h 85"/>
                <a:gd name="T50" fmla="*/ 2 w 100"/>
                <a:gd name="T51" fmla="*/ 76 h 85"/>
                <a:gd name="T52" fmla="*/ 11 w 100"/>
                <a:gd name="T53" fmla="*/ 76 h 85"/>
                <a:gd name="T54" fmla="*/ 91 w 100"/>
                <a:gd name="T55" fmla="*/ 69 h 85"/>
                <a:gd name="T56" fmla="*/ 100 w 100"/>
                <a:gd name="T57" fmla="*/ 69 h 85"/>
                <a:gd name="T58" fmla="*/ 100 w 100"/>
                <a:gd name="T59" fmla="*/ 75 h 85"/>
                <a:gd name="T60" fmla="*/ 97 w 100"/>
                <a:gd name="T61" fmla="*/ 82 h 85"/>
                <a:gd name="T62" fmla="*/ 90 w 100"/>
                <a:gd name="T63" fmla="*/ 85 h 85"/>
                <a:gd name="T64" fmla="*/ 78 w 100"/>
                <a:gd name="T65" fmla="*/ 85 h 85"/>
                <a:gd name="T66" fmla="*/ 78 w 100"/>
                <a:gd name="T67" fmla="*/ 35 h 85"/>
                <a:gd name="T68" fmla="*/ 53 w 100"/>
                <a:gd name="T69" fmla="*/ 35 h 85"/>
                <a:gd name="T70" fmla="*/ 53 w 100"/>
                <a:gd name="T71" fmla="*/ 45 h 85"/>
                <a:gd name="T72" fmla="*/ 51 w 100"/>
                <a:gd name="T73" fmla="*/ 60 h 85"/>
                <a:gd name="T74" fmla="*/ 45 w 100"/>
                <a:gd name="T75" fmla="*/ 72 h 85"/>
                <a:gd name="T76" fmla="*/ 40 w 100"/>
                <a:gd name="T77" fmla="*/ 81 h 85"/>
                <a:gd name="T78" fmla="*/ 38 w 100"/>
                <a:gd name="T79" fmla="*/ 85 h 85"/>
                <a:gd name="T80" fmla="*/ 31 w 100"/>
                <a:gd name="T81" fmla="*/ 79 h 85"/>
                <a:gd name="T82" fmla="*/ 33 w 100"/>
                <a:gd name="T83" fmla="*/ 76 h 85"/>
                <a:gd name="T84" fmla="*/ 38 w 100"/>
                <a:gd name="T85" fmla="*/ 69 h 85"/>
                <a:gd name="T86" fmla="*/ 42 w 100"/>
                <a:gd name="T87" fmla="*/ 58 h 85"/>
                <a:gd name="T88" fmla="*/ 44 w 100"/>
                <a:gd name="T89" fmla="*/ 45 h 85"/>
                <a:gd name="T90" fmla="*/ 44 w 100"/>
                <a:gd name="T91" fmla="*/ 26 h 85"/>
                <a:gd name="T92" fmla="*/ 78 w 100"/>
                <a:gd name="T93" fmla="*/ 26 h 85"/>
                <a:gd name="T94" fmla="*/ 78 w 100"/>
                <a:gd name="T95" fmla="*/ 24 h 85"/>
                <a:gd name="T96" fmla="*/ 86 w 100"/>
                <a:gd name="T97" fmla="*/ 24 h 85"/>
                <a:gd name="T98" fmla="*/ 86 w 100"/>
                <a:gd name="T99" fmla="*/ 76 h 85"/>
                <a:gd name="T100" fmla="*/ 90 w 100"/>
                <a:gd name="T101" fmla="*/ 76 h 85"/>
                <a:gd name="T102" fmla="*/ 91 w 100"/>
                <a:gd name="T103" fmla="*/ 75 h 85"/>
                <a:gd name="T104" fmla="*/ 91 w 100"/>
                <a:gd name="T105" fmla="*/ 69 h 85"/>
                <a:gd name="T106" fmla="*/ 36 w 100"/>
                <a:gd name="T107" fmla="*/ 10 h 85"/>
                <a:gd name="T108" fmla="*/ 61 w 100"/>
                <a:gd name="T109" fmla="*/ 10 h 85"/>
                <a:gd name="T110" fmla="*/ 58 w 100"/>
                <a:gd name="T111" fmla="*/ 4 h 85"/>
                <a:gd name="T112" fmla="*/ 66 w 100"/>
                <a:gd name="T113" fmla="*/ 0 h 85"/>
                <a:gd name="T114" fmla="*/ 70 w 100"/>
                <a:gd name="T115" fmla="*/ 10 h 85"/>
                <a:gd name="T116" fmla="*/ 98 w 100"/>
                <a:gd name="T117" fmla="*/ 10 h 85"/>
                <a:gd name="T118" fmla="*/ 98 w 100"/>
                <a:gd name="T119" fmla="*/ 18 h 85"/>
                <a:gd name="T120" fmla="*/ 36 w 100"/>
                <a:gd name="T121" fmla="*/ 18 h 85"/>
                <a:gd name="T122" fmla="*/ 36 w 100"/>
                <a:gd name="T123" fmla="*/ 1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85">
                  <a:moveTo>
                    <a:pt x="11" y="76"/>
                  </a:moveTo>
                  <a:cubicBezTo>
                    <a:pt x="12" y="76"/>
                    <a:pt x="12" y="76"/>
                    <a:pt x="13" y="76"/>
                  </a:cubicBezTo>
                  <a:cubicBezTo>
                    <a:pt x="13" y="75"/>
                    <a:pt x="13" y="75"/>
                    <a:pt x="13" y="7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7"/>
                    <a:pt x="21" y="80"/>
                    <a:pt x="19" y="82"/>
                  </a:cubicBezTo>
                  <a:cubicBezTo>
                    <a:pt x="17" y="84"/>
                    <a:pt x="14" y="85"/>
                    <a:pt x="11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76"/>
                    <a:pt x="2" y="76"/>
                    <a:pt x="2" y="76"/>
                  </a:cubicBezTo>
                  <a:lnTo>
                    <a:pt x="11" y="76"/>
                  </a:lnTo>
                  <a:close/>
                  <a:moveTo>
                    <a:pt x="91" y="69"/>
                  </a:moveTo>
                  <a:cubicBezTo>
                    <a:pt x="100" y="69"/>
                    <a:pt x="100" y="69"/>
                    <a:pt x="100" y="69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8"/>
                    <a:pt x="99" y="80"/>
                    <a:pt x="97" y="82"/>
                  </a:cubicBezTo>
                  <a:cubicBezTo>
                    <a:pt x="95" y="84"/>
                    <a:pt x="93" y="85"/>
                    <a:pt x="90" y="85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50"/>
                    <a:pt x="52" y="55"/>
                    <a:pt x="51" y="60"/>
                  </a:cubicBezTo>
                  <a:cubicBezTo>
                    <a:pt x="49" y="65"/>
                    <a:pt x="47" y="69"/>
                    <a:pt x="45" y="72"/>
                  </a:cubicBezTo>
                  <a:cubicBezTo>
                    <a:pt x="44" y="76"/>
                    <a:pt x="42" y="79"/>
                    <a:pt x="40" y="81"/>
                  </a:cubicBezTo>
                  <a:cubicBezTo>
                    <a:pt x="39" y="83"/>
                    <a:pt x="38" y="85"/>
                    <a:pt x="38" y="85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9"/>
                    <a:pt x="32" y="78"/>
                    <a:pt x="33" y="76"/>
                  </a:cubicBezTo>
                  <a:cubicBezTo>
                    <a:pt x="35" y="74"/>
                    <a:pt x="36" y="72"/>
                    <a:pt x="38" y="69"/>
                  </a:cubicBezTo>
                  <a:cubicBezTo>
                    <a:pt x="39" y="66"/>
                    <a:pt x="41" y="62"/>
                    <a:pt x="42" y="58"/>
                  </a:cubicBezTo>
                  <a:cubicBezTo>
                    <a:pt x="44" y="54"/>
                    <a:pt x="44" y="49"/>
                    <a:pt x="44" y="4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6"/>
                    <a:pt x="91" y="76"/>
                    <a:pt x="91" y="75"/>
                  </a:cubicBezTo>
                  <a:lnTo>
                    <a:pt x="91" y="69"/>
                  </a:lnTo>
                  <a:close/>
                  <a:moveTo>
                    <a:pt x="36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DC7BB80-7C2F-4CA7-A2AD-ADC04D9032E6}"/>
                </a:ext>
              </a:extLst>
            </p:cNvPr>
            <p:cNvSpPr/>
            <p:nvPr/>
          </p:nvSpPr>
          <p:spPr bwMode="auto">
            <a:xfrm>
              <a:off x="6916738" y="4868863"/>
              <a:ext cx="239713" cy="207963"/>
            </a:xfrm>
            <a:custGeom>
              <a:avLst/>
              <a:gdLst>
                <a:gd name="T0" fmla="*/ 53 w 97"/>
                <a:gd name="T1" fmla="*/ 44 h 84"/>
                <a:gd name="T2" fmla="*/ 53 w 97"/>
                <a:gd name="T3" fmla="*/ 76 h 84"/>
                <a:gd name="T4" fmla="*/ 80 w 97"/>
                <a:gd name="T5" fmla="*/ 76 h 84"/>
                <a:gd name="T6" fmla="*/ 81 w 97"/>
                <a:gd name="T7" fmla="*/ 75 h 84"/>
                <a:gd name="T8" fmla="*/ 81 w 97"/>
                <a:gd name="T9" fmla="*/ 50 h 84"/>
                <a:gd name="T10" fmla="*/ 90 w 97"/>
                <a:gd name="T11" fmla="*/ 50 h 84"/>
                <a:gd name="T12" fmla="*/ 90 w 97"/>
                <a:gd name="T13" fmla="*/ 75 h 84"/>
                <a:gd name="T14" fmla="*/ 87 w 97"/>
                <a:gd name="T15" fmla="*/ 82 h 84"/>
                <a:gd name="T16" fmla="*/ 80 w 97"/>
                <a:gd name="T17" fmla="*/ 84 h 84"/>
                <a:gd name="T18" fmla="*/ 7 w 97"/>
                <a:gd name="T19" fmla="*/ 84 h 84"/>
                <a:gd name="T20" fmla="*/ 7 w 97"/>
                <a:gd name="T21" fmla="*/ 50 h 84"/>
                <a:gd name="T22" fmla="*/ 15 w 97"/>
                <a:gd name="T23" fmla="*/ 50 h 84"/>
                <a:gd name="T24" fmla="*/ 15 w 97"/>
                <a:gd name="T25" fmla="*/ 76 h 84"/>
                <a:gd name="T26" fmla="*/ 44 w 97"/>
                <a:gd name="T27" fmla="*/ 76 h 84"/>
                <a:gd name="T28" fmla="*/ 44 w 97"/>
                <a:gd name="T29" fmla="*/ 44 h 84"/>
                <a:gd name="T30" fmla="*/ 0 w 97"/>
                <a:gd name="T31" fmla="*/ 44 h 84"/>
                <a:gd name="T32" fmla="*/ 0 w 97"/>
                <a:gd name="T33" fmla="*/ 35 h 84"/>
                <a:gd name="T34" fmla="*/ 44 w 97"/>
                <a:gd name="T35" fmla="*/ 35 h 84"/>
                <a:gd name="T36" fmla="*/ 44 w 97"/>
                <a:gd name="T37" fmla="*/ 18 h 84"/>
                <a:gd name="T38" fmla="*/ 6 w 97"/>
                <a:gd name="T39" fmla="*/ 18 h 84"/>
                <a:gd name="T40" fmla="*/ 6 w 97"/>
                <a:gd name="T41" fmla="*/ 9 h 84"/>
                <a:gd name="T42" fmla="*/ 44 w 97"/>
                <a:gd name="T43" fmla="*/ 9 h 84"/>
                <a:gd name="T44" fmla="*/ 44 w 97"/>
                <a:gd name="T45" fmla="*/ 0 h 84"/>
                <a:gd name="T46" fmla="*/ 53 w 97"/>
                <a:gd name="T47" fmla="*/ 0 h 84"/>
                <a:gd name="T48" fmla="*/ 53 w 97"/>
                <a:gd name="T49" fmla="*/ 9 h 84"/>
                <a:gd name="T50" fmla="*/ 91 w 97"/>
                <a:gd name="T51" fmla="*/ 9 h 84"/>
                <a:gd name="T52" fmla="*/ 91 w 97"/>
                <a:gd name="T53" fmla="*/ 18 h 84"/>
                <a:gd name="T54" fmla="*/ 53 w 97"/>
                <a:gd name="T55" fmla="*/ 18 h 84"/>
                <a:gd name="T56" fmla="*/ 53 w 97"/>
                <a:gd name="T57" fmla="*/ 35 h 84"/>
                <a:gd name="T58" fmla="*/ 97 w 97"/>
                <a:gd name="T59" fmla="*/ 35 h 84"/>
                <a:gd name="T60" fmla="*/ 97 w 97"/>
                <a:gd name="T61" fmla="*/ 44 h 84"/>
                <a:gd name="T62" fmla="*/ 53 w 97"/>
                <a:gd name="T63" fmla="*/ 4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84">
                  <a:moveTo>
                    <a:pt x="53" y="44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6"/>
                    <a:pt x="81" y="75"/>
                    <a:pt x="81" y="75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7"/>
                    <a:pt x="89" y="80"/>
                    <a:pt x="87" y="82"/>
                  </a:cubicBezTo>
                  <a:cubicBezTo>
                    <a:pt x="85" y="83"/>
                    <a:pt x="83" y="84"/>
                    <a:pt x="80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44"/>
                    <a:pt x="97" y="44"/>
                    <a:pt x="97" y="44"/>
                  </a:cubicBezTo>
                  <a:lnTo>
                    <a:pt x="53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A079ADD-D403-4750-9695-77A1A928F0BA}"/>
                </a:ext>
              </a:extLst>
            </p:cNvPr>
            <p:cNvSpPr/>
            <p:nvPr/>
          </p:nvSpPr>
          <p:spPr bwMode="auto">
            <a:xfrm>
              <a:off x="7186613" y="4867275"/>
              <a:ext cx="236538" cy="212725"/>
            </a:xfrm>
            <a:custGeom>
              <a:avLst/>
              <a:gdLst>
                <a:gd name="T0" fmla="*/ 22 w 96"/>
                <a:gd name="T1" fmla="*/ 16 h 86"/>
                <a:gd name="T2" fmla="*/ 20 w 96"/>
                <a:gd name="T3" fmla="*/ 64 h 86"/>
                <a:gd name="T4" fmla="*/ 11 w 96"/>
                <a:gd name="T5" fmla="*/ 82 h 86"/>
                <a:gd name="T6" fmla="*/ 5 w 96"/>
                <a:gd name="T7" fmla="*/ 83 h 86"/>
                <a:gd name="T8" fmla="*/ 7 w 96"/>
                <a:gd name="T9" fmla="*/ 73 h 86"/>
                <a:gd name="T10" fmla="*/ 13 w 96"/>
                <a:gd name="T11" fmla="*/ 56 h 86"/>
                <a:gd name="T12" fmla="*/ 0 w 96"/>
                <a:gd name="T13" fmla="*/ 53 h 86"/>
                <a:gd name="T14" fmla="*/ 13 w 96"/>
                <a:gd name="T15" fmla="*/ 31 h 86"/>
                <a:gd name="T16" fmla="*/ 4 w 96"/>
                <a:gd name="T17" fmla="*/ 17 h 86"/>
                <a:gd name="T18" fmla="*/ 13 w 96"/>
                <a:gd name="T19" fmla="*/ 7 h 86"/>
                <a:gd name="T20" fmla="*/ 48 w 96"/>
                <a:gd name="T21" fmla="*/ 4 h 86"/>
                <a:gd name="T22" fmla="*/ 60 w 96"/>
                <a:gd name="T23" fmla="*/ 7 h 86"/>
                <a:gd name="T24" fmla="*/ 96 w 96"/>
                <a:gd name="T25" fmla="*/ 16 h 86"/>
                <a:gd name="T26" fmla="*/ 26 w 96"/>
                <a:gd name="T27" fmla="*/ 76 h 86"/>
                <a:gd name="T28" fmla="*/ 37 w 96"/>
                <a:gd name="T29" fmla="*/ 73 h 86"/>
                <a:gd name="T30" fmla="*/ 32 w 96"/>
                <a:gd name="T31" fmla="*/ 66 h 86"/>
                <a:gd name="T32" fmla="*/ 58 w 96"/>
                <a:gd name="T33" fmla="*/ 65 h 86"/>
                <a:gd name="T34" fmla="*/ 75 w 96"/>
                <a:gd name="T35" fmla="*/ 56 h 86"/>
                <a:gd name="T36" fmla="*/ 30 w 96"/>
                <a:gd name="T37" fmla="*/ 48 h 86"/>
                <a:gd name="T38" fmla="*/ 78 w 96"/>
                <a:gd name="T39" fmla="*/ 46 h 86"/>
                <a:gd name="T40" fmla="*/ 87 w 96"/>
                <a:gd name="T41" fmla="*/ 58 h 86"/>
                <a:gd name="T42" fmla="*/ 78 w 96"/>
                <a:gd name="T43" fmla="*/ 65 h 86"/>
                <a:gd name="T44" fmla="*/ 93 w 96"/>
                <a:gd name="T45" fmla="*/ 77 h 86"/>
                <a:gd name="T46" fmla="*/ 58 w 96"/>
                <a:gd name="T47" fmla="*/ 75 h 86"/>
                <a:gd name="T48" fmla="*/ 36 w 96"/>
                <a:gd name="T49" fmla="*/ 82 h 86"/>
                <a:gd name="T50" fmla="*/ 25 w 96"/>
                <a:gd name="T51" fmla="*/ 85 h 86"/>
                <a:gd name="T52" fmla="*/ 85 w 96"/>
                <a:gd name="T53" fmla="*/ 17 h 86"/>
                <a:gd name="T54" fmla="*/ 93 w 96"/>
                <a:gd name="T55" fmla="*/ 34 h 86"/>
                <a:gd name="T56" fmla="*/ 76 w 96"/>
                <a:gd name="T57" fmla="*/ 42 h 86"/>
                <a:gd name="T58" fmla="*/ 41 w 96"/>
                <a:gd name="T59" fmla="*/ 28 h 86"/>
                <a:gd name="T60" fmla="*/ 36 w 96"/>
                <a:gd name="T61" fmla="*/ 40 h 86"/>
                <a:gd name="T62" fmla="*/ 30 w 96"/>
                <a:gd name="T63" fmla="*/ 45 h 86"/>
                <a:gd name="T64" fmla="*/ 27 w 96"/>
                <a:gd name="T65" fmla="*/ 36 h 86"/>
                <a:gd name="T66" fmla="*/ 32 w 96"/>
                <a:gd name="T67" fmla="*/ 31 h 86"/>
                <a:gd name="T68" fmla="*/ 33 w 96"/>
                <a:gd name="T69" fmla="*/ 19 h 86"/>
                <a:gd name="T70" fmla="*/ 76 w 96"/>
                <a:gd name="T71" fmla="*/ 1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6">
                  <a:moveTo>
                    <a:pt x="96" y="16"/>
                  </a:moveTo>
                  <a:cubicBezTo>
                    <a:pt x="22" y="16"/>
                    <a:pt x="22" y="16"/>
                    <a:pt x="22" y="1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5"/>
                    <a:pt x="21" y="60"/>
                    <a:pt x="20" y="64"/>
                  </a:cubicBezTo>
                  <a:cubicBezTo>
                    <a:pt x="18" y="68"/>
                    <a:pt x="17" y="71"/>
                    <a:pt x="15" y="75"/>
                  </a:cubicBezTo>
                  <a:cubicBezTo>
                    <a:pt x="14" y="78"/>
                    <a:pt x="12" y="80"/>
                    <a:pt x="11" y="82"/>
                  </a:cubicBezTo>
                  <a:cubicBezTo>
                    <a:pt x="10" y="84"/>
                    <a:pt x="9" y="85"/>
                    <a:pt x="9" y="86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" y="78"/>
                    <a:pt x="5" y="75"/>
                    <a:pt x="7" y="73"/>
                  </a:cubicBezTo>
                  <a:cubicBezTo>
                    <a:pt x="8" y="71"/>
                    <a:pt x="9" y="68"/>
                    <a:pt x="10" y="65"/>
                  </a:cubicBezTo>
                  <a:cubicBezTo>
                    <a:pt x="11" y="62"/>
                    <a:pt x="12" y="59"/>
                    <a:pt x="13" y="5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96" y="7"/>
                    <a:pt x="96" y="7"/>
                    <a:pt x="96" y="7"/>
                  </a:cubicBezTo>
                  <a:lnTo>
                    <a:pt x="96" y="16"/>
                  </a:lnTo>
                  <a:close/>
                  <a:moveTo>
                    <a:pt x="24" y="76"/>
                  </a:moveTo>
                  <a:cubicBezTo>
                    <a:pt x="24" y="76"/>
                    <a:pt x="24" y="76"/>
                    <a:pt x="26" y="76"/>
                  </a:cubicBezTo>
                  <a:cubicBezTo>
                    <a:pt x="27" y="76"/>
                    <a:pt x="28" y="75"/>
                    <a:pt x="30" y="75"/>
                  </a:cubicBezTo>
                  <a:cubicBezTo>
                    <a:pt x="32" y="74"/>
                    <a:pt x="34" y="74"/>
                    <a:pt x="37" y="73"/>
                  </a:cubicBezTo>
                  <a:cubicBezTo>
                    <a:pt x="39" y="72"/>
                    <a:pt x="42" y="71"/>
                    <a:pt x="45" y="70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61" y="64"/>
                    <a:pt x="64" y="63"/>
                    <a:pt x="67" y="61"/>
                  </a:cubicBezTo>
                  <a:cubicBezTo>
                    <a:pt x="69" y="60"/>
                    <a:pt x="72" y="58"/>
                    <a:pt x="75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3" y="61"/>
                    <a:pt x="81" y="63"/>
                    <a:pt x="78" y="65"/>
                  </a:cubicBezTo>
                  <a:cubicBezTo>
                    <a:pt x="75" y="66"/>
                    <a:pt x="72" y="68"/>
                    <a:pt x="69" y="69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4" y="76"/>
                    <a:pt x="50" y="78"/>
                    <a:pt x="46" y="79"/>
                  </a:cubicBezTo>
                  <a:cubicBezTo>
                    <a:pt x="42" y="80"/>
                    <a:pt x="39" y="81"/>
                    <a:pt x="36" y="82"/>
                  </a:cubicBezTo>
                  <a:cubicBezTo>
                    <a:pt x="33" y="83"/>
                    <a:pt x="30" y="84"/>
                    <a:pt x="29" y="84"/>
                  </a:cubicBezTo>
                  <a:cubicBezTo>
                    <a:pt x="27" y="84"/>
                    <a:pt x="26" y="85"/>
                    <a:pt x="25" y="85"/>
                  </a:cubicBezTo>
                  <a:lnTo>
                    <a:pt x="24" y="76"/>
                  </a:lnTo>
                  <a:close/>
                  <a:moveTo>
                    <a:pt x="85" y="17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30"/>
                    <a:pt x="40" y="33"/>
                    <a:pt x="39" y="35"/>
                  </a:cubicBezTo>
                  <a:cubicBezTo>
                    <a:pt x="38" y="37"/>
                    <a:pt x="37" y="38"/>
                    <a:pt x="36" y="40"/>
                  </a:cubicBezTo>
                  <a:cubicBezTo>
                    <a:pt x="35" y="41"/>
                    <a:pt x="33" y="42"/>
                    <a:pt x="32" y="43"/>
                  </a:cubicBezTo>
                  <a:cubicBezTo>
                    <a:pt x="31" y="44"/>
                    <a:pt x="30" y="44"/>
                    <a:pt x="30" y="4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7" y="37"/>
                    <a:pt x="27" y="36"/>
                  </a:cubicBezTo>
                  <a:cubicBezTo>
                    <a:pt x="28" y="35"/>
                    <a:pt x="29" y="35"/>
                    <a:pt x="30" y="34"/>
                  </a:cubicBezTo>
                  <a:cubicBezTo>
                    <a:pt x="31" y="33"/>
                    <a:pt x="31" y="32"/>
                    <a:pt x="32" y="31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7"/>
                    <a:pt x="76" y="17"/>
                    <a:pt x="76" y="17"/>
                  </a:cubicBezTo>
                  <a:lnTo>
                    <a:pt x="8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027BE8E-F9BA-4322-BD87-042420A9D0DF}"/>
                </a:ext>
              </a:extLst>
            </p:cNvPr>
            <p:cNvSpPr/>
            <p:nvPr/>
          </p:nvSpPr>
          <p:spPr bwMode="auto">
            <a:xfrm>
              <a:off x="7453313" y="4868863"/>
              <a:ext cx="238125" cy="207963"/>
            </a:xfrm>
            <a:custGeom>
              <a:avLst/>
              <a:gdLst>
                <a:gd name="T0" fmla="*/ 12 w 96"/>
                <a:gd name="T1" fmla="*/ 44 h 84"/>
                <a:gd name="T2" fmla="*/ 9 w 96"/>
                <a:gd name="T3" fmla="*/ 58 h 84"/>
                <a:gd name="T4" fmla="*/ 0 w 96"/>
                <a:gd name="T5" fmla="*/ 57 h 84"/>
                <a:gd name="T6" fmla="*/ 3 w 96"/>
                <a:gd name="T7" fmla="*/ 43 h 84"/>
                <a:gd name="T8" fmla="*/ 4 w 96"/>
                <a:gd name="T9" fmla="*/ 16 h 84"/>
                <a:gd name="T10" fmla="*/ 13 w 96"/>
                <a:gd name="T11" fmla="*/ 33 h 84"/>
                <a:gd name="T12" fmla="*/ 16 w 96"/>
                <a:gd name="T13" fmla="*/ 84 h 84"/>
                <a:gd name="T14" fmla="*/ 24 w 96"/>
                <a:gd name="T15" fmla="*/ 0 h 84"/>
                <a:gd name="T16" fmla="*/ 31 w 96"/>
                <a:gd name="T17" fmla="*/ 22 h 84"/>
                <a:gd name="T18" fmla="*/ 24 w 96"/>
                <a:gd name="T19" fmla="*/ 31 h 84"/>
                <a:gd name="T20" fmla="*/ 69 w 96"/>
                <a:gd name="T21" fmla="*/ 13 h 84"/>
                <a:gd name="T22" fmla="*/ 91 w 96"/>
                <a:gd name="T23" fmla="*/ 17 h 84"/>
                <a:gd name="T24" fmla="*/ 69 w 96"/>
                <a:gd name="T25" fmla="*/ 25 h 84"/>
                <a:gd name="T26" fmla="*/ 96 w 96"/>
                <a:gd name="T27" fmla="*/ 29 h 84"/>
                <a:gd name="T28" fmla="*/ 33 w 96"/>
                <a:gd name="T29" fmla="*/ 37 h 84"/>
                <a:gd name="T30" fmla="*/ 60 w 96"/>
                <a:gd name="T31" fmla="*/ 29 h 84"/>
                <a:gd name="T32" fmla="*/ 37 w 96"/>
                <a:gd name="T33" fmla="*/ 25 h 84"/>
                <a:gd name="T34" fmla="*/ 60 w 96"/>
                <a:gd name="T35" fmla="*/ 17 h 84"/>
                <a:gd name="T36" fmla="*/ 33 w 96"/>
                <a:gd name="T37" fmla="*/ 13 h 84"/>
                <a:gd name="T38" fmla="*/ 60 w 96"/>
                <a:gd name="T39" fmla="*/ 5 h 84"/>
                <a:gd name="T40" fmla="*/ 69 w 96"/>
                <a:gd name="T41" fmla="*/ 0 h 84"/>
                <a:gd name="T42" fmla="*/ 96 w 96"/>
                <a:gd name="T43" fmla="*/ 5 h 84"/>
                <a:gd name="T44" fmla="*/ 69 w 96"/>
                <a:gd name="T45" fmla="*/ 13 h 84"/>
                <a:gd name="T46" fmla="*/ 83 w 96"/>
                <a:gd name="T47" fmla="*/ 74 h 84"/>
                <a:gd name="T48" fmla="*/ 45 w 96"/>
                <a:gd name="T49" fmla="*/ 72 h 84"/>
                <a:gd name="T50" fmla="*/ 37 w 96"/>
                <a:gd name="T51" fmla="*/ 84 h 84"/>
                <a:gd name="T52" fmla="*/ 83 w 96"/>
                <a:gd name="T53" fmla="*/ 41 h 84"/>
                <a:gd name="T54" fmla="*/ 92 w 96"/>
                <a:gd name="T55" fmla="*/ 39 h 84"/>
                <a:gd name="T56" fmla="*/ 89 w 96"/>
                <a:gd name="T57" fmla="*/ 81 h 84"/>
                <a:gd name="T58" fmla="*/ 74 w 96"/>
                <a:gd name="T59" fmla="*/ 84 h 84"/>
                <a:gd name="T60" fmla="*/ 82 w 96"/>
                <a:gd name="T61" fmla="*/ 75 h 84"/>
                <a:gd name="T62" fmla="*/ 45 w 96"/>
                <a:gd name="T63" fmla="*/ 52 h 84"/>
                <a:gd name="T64" fmla="*/ 83 w 96"/>
                <a:gd name="T65" fmla="*/ 49 h 84"/>
                <a:gd name="T66" fmla="*/ 83 w 96"/>
                <a:gd name="T67" fmla="*/ 64 h 84"/>
                <a:gd name="T68" fmla="*/ 45 w 96"/>
                <a:gd name="T69" fmla="*/ 61 h 84"/>
                <a:gd name="T70" fmla="*/ 83 w 96"/>
                <a:gd name="T71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4">
                  <a:moveTo>
                    <a:pt x="13" y="33"/>
                  </a:moveTo>
                  <a:cubicBezTo>
                    <a:pt x="13" y="37"/>
                    <a:pt x="12" y="40"/>
                    <a:pt x="12" y="44"/>
                  </a:cubicBezTo>
                  <a:cubicBezTo>
                    <a:pt x="11" y="47"/>
                    <a:pt x="11" y="50"/>
                    <a:pt x="10" y="53"/>
                  </a:cubicBezTo>
                  <a:cubicBezTo>
                    <a:pt x="10" y="55"/>
                    <a:pt x="9" y="57"/>
                    <a:pt x="9" y="58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" y="55"/>
                    <a:pt x="1" y="53"/>
                    <a:pt x="2" y="50"/>
                  </a:cubicBezTo>
                  <a:cubicBezTo>
                    <a:pt x="3" y="48"/>
                    <a:pt x="3" y="46"/>
                    <a:pt x="3" y="43"/>
                  </a:cubicBezTo>
                  <a:cubicBezTo>
                    <a:pt x="4" y="40"/>
                    <a:pt x="4" y="36"/>
                    <a:pt x="4" y="3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3" y="16"/>
                    <a:pt x="13" y="16"/>
                    <a:pt x="13" y="16"/>
                  </a:cubicBezTo>
                  <a:lnTo>
                    <a:pt x="13" y="33"/>
                  </a:lnTo>
                  <a:close/>
                  <a:moveTo>
                    <a:pt x="24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4" y="31"/>
                    <a:pt x="24" y="31"/>
                    <a:pt x="24" y="31"/>
                  </a:cubicBezTo>
                  <a:lnTo>
                    <a:pt x="24" y="84"/>
                  </a:lnTo>
                  <a:close/>
                  <a:moveTo>
                    <a:pt x="69" y="13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13"/>
                    <a:pt x="96" y="13"/>
                    <a:pt x="96" y="13"/>
                  </a:cubicBezTo>
                  <a:lnTo>
                    <a:pt x="69" y="13"/>
                  </a:lnTo>
                  <a:close/>
                  <a:moveTo>
                    <a:pt x="82" y="75"/>
                  </a:moveTo>
                  <a:cubicBezTo>
                    <a:pt x="83" y="75"/>
                    <a:pt x="83" y="75"/>
                    <a:pt x="83" y="74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7"/>
                    <a:pt x="91" y="79"/>
                    <a:pt x="89" y="81"/>
                  </a:cubicBezTo>
                  <a:cubicBezTo>
                    <a:pt x="87" y="83"/>
                    <a:pt x="85" y="84"/>
                    <a:pt x="82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lnTo>
                    <a:pt x="82" y="75"/>
                  </a:lnTo>
                  <a:close/>
                  <a:moveTo>
                    <a:pt x="45" y="49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49"/>
                    <a:pt x="83" y="49"/>
                    <a:pt x="83" y="49"/>
                  </a:cubicBezTo>
                  <a:lnTo>
                    <a:pt x="45" y="49"/>
                  </a:lnTo>
                  <a:close/>
                  <a:moveTo>
                    <a:pt x="83" y="64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4"/>
                    <a:pt x="45" y="64"/>
                    <a:pt x="45" y="64"/>
                  </a:cubicBezTo>
                  <a:lnTo>
                    <a:pt x="83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4237193" y="1028700"/>
            <a:ext cx="3704913" cy="93662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zh-CN" altLang="en-US" sz="3600" spc="300" dirty="0">
                <a:solidFill>
                  <a:schemeClr val="accent2"/>
                </a:solidFill>
              </a:rPr>
              <a:t>CO</a:t>
            </a:r>
            <a:r>
              <a:rPr lang="zh-CN" altLang="en-US" sz="100" spc="300" dirty="0">
                <a:solidFill>
                  <a:schemeClr val="accent2"/>
                </a:solidFill>
              </a:rPr>
              <a:t> </a:t>
            </a:r>
            <a:r>
              <a:rPr lang="zh-CN" altLang="en-US" sz="3600" spc="300" dirty="0">
                <a:solidFill>
                  <a:schemeClr val="accent2"/>
                </a:solidFill>
              </a:rPr>
              <a:t>NTENTS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527800" y="2291716"/>
            <a:ext cx="4121150" cy="342091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/>
              <a:t>了解新型冠状病毒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527800" y="2633810"/>
            <a:ext cx="4121150" cy="3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/>
              <a:t>Copy paste fonts</a:t>
            </a:r>
            <a:r>
              <a:rPr lang="en-US" altLang="zh-CN" sz="1100"/>
              <a:t>. </a:t>
            </a:r>
            <a:r>
              <a:rPr lang="en-US" altLang="zh-CN" sz="100"/>
              <a:t> </a:t>
            </a:r>
            <a:r>
              <a:rPr lang="en-US" altLang="zh-CN" sz="1100"/>
              <a:t>Choose </a:t>
            </a:r>
            <a:r>
              <a:rPr lang="en-US" altLang="zh-CN" sz="1100" dirty="0"/>
              <a:t>the only option to retain text……</a:t>
            </a:r>
          </a:p>
        </p:txBody>
      </p:sp>
      <p:sp>
        <p:nvSpPr>
          <p:cNvPr id="24" name="矩形: 圆角 23"/>
          <p:cNvSpPr/>
          <p:nvPr/>
        </p:nvSpPr>
        <p:spPr>
          <a:xfrm>
            <a:off x="5765800" y="2329481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 dirty="0">
                <a:solidFill>
                  <a:schemeClr val="accent1"/>
                </a:solidFill>
              </a:rPr>
              <a:t>0</a:t>
            </a:r>
            <a:r>
              <a:rPr lang="en-US" altLang="zh-CN" sz="100" dirty="0">
                <a:solidFill>
                  <a:schemeClr val="accent1"/>
                </a:solidFill>
              </a:rPr>
              <a:t> </a:t>
            </a:r>
            <a:r>
              <a:rPr lang="en-US" altLang="zh-CN" sz="2400" dirty="0">
                <a:solidFill>
                  <a:schemeClr val="accent1"/>
                </a:solidFill>
              </a:rPr>
              <a:t>1</a:t>
            </a:r>
            <a:endParaRPr lang="zh-CN" altLang="en-US" sz="2400" dirty="0">
              <a:solidFill>
                <a:schemeClr val="accent1"/>
              </a:solidFill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527800" y="4326702"/>
            <a:ext cx="4121150" cy="342091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/>
              <a:t>正确佩带口罩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527800" y="4668796"/>
            <a:ext cx="4121150" cy="3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/>
              <a:t>Copy paste fonts</a:t>
            </a:r>
            <a:r>
              <a:rPr lang="en-US" altLang="zh-CN" sz="1100"/>
              <a:t>. </a:t>
            </a:r>
            <a:r>
              <a:rPr lang="en-US" altLang="zh-CN" sz="100"/>
              <a:t> </a:t>
            </a:r>
            <a:r>
              <a:rPr lang="en-US" altLang="zh-CN" sz="1100"/>
              <a:t>Choose </a:t>
            </a:r>
            <a:r>
              <a:rPr lang="en-US" altLang="zh-CN" sz="1100" dirty="0"/>
              <a:t>the only option to retain text……</a:t>
            </a:r>
          </a:p>
        </p:txBody>
      </p:sp>
      <p:sp>
        <p:nvSpPr>
          <p:cNvPr id="20" name="矩形: 圆角 19"/>
          <p:cNvSpPr/>
          <p:nvPr/>
        </p:nvSpPr>
        <p:spPr>
          <a:xfrm>
            <a:off x="5765800" y="4364467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</a:rPr>
              <a:t>0</a:t>
            </a:r>
            <a:r>
              <a:rPr lang="en-US" altLang="zh-CN" sz="100">
                <a:solidFill>
                  <a:schemeClr val="accent1"/>
                </a:solidFill>
              </a:rPr>
              <a:t> </a:t>
            </a:r>
            <a:r>
              <a:rPr lang="en-US" altLang="zh-CN" sz="2400">
                <a:solidFill>
                  <a:schemeClr val="accent1"/>
                </a:solidFill>
              </a:rPr>
              <a:t>3</a:t>
            </a:r>
            <a:endParaRPr lang="zh-CN" altLang="en-US" sz="2400" dirty="0">
              <a:solidFill>
                <a:schemeClr val="accent1"/>
              </a:solidFill>
            </a:endParaRPr>
          </a:p>
        </p:txBody>
      </p:sp>
      <p:sp>
        <p:nvSpPr>
          <p:cNvPr id="15" name="矩形: 圆角 14"/>
          <p:cNvSpPr/>
          <p:nvPr/>
        </p:nvSpPr>
        <p:spPr>
          <a:xfrm>
            <a:off x="5765800" y="3346974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 dirty="0">
                <a:solidFill>
                  <a:schemeClr val="accent2"/>
                </a:solidFill>
              </a:rPr>
              <a:t>0</a:t>
            </a:r>
            <a:r>
              <a:rPr lang="en-US" altLang="zh-CN" sz="100" dirty="0">
                <a:solidFill>
                  <a:schemeClr val="accent2"/>
                </a:solidFill>
              </a:rPr>
              <a:t> </a:t>
            </a:r>
            <a:r>
              <a:rPr lang="en-US" altLang="zh-CN" sz="2400" dirty="0">
                <a:solidFill>
                  <a:schemeClr val="accent2"/>
                </a:solidFill>
              </a:rPr>
              <a:t>2</a:t>
            </a:r>
            <a:endParaRPr lang="zh-CN" altLang="en-US" sz="2400" dirty="0">
              <a:solidFill>
                <a:schemeClr val="accent2"/>
              </a:solidFill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530350" y="3309209"/>
            <a:ext cx="4121150" cy="342091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b="1" dirty="0"/>
              <a:t>如何预防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530350" y="3651303"/>
            <a:ext cx="4121150" cy="3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/>
              <a:t>Copy paste fonts</a:t>
            </a:r>
            <a:r>
              <a:rPr lang="en-US" altLang="zh-CN" sz="1100"/>
              <a:t>. </a:t>
            </a:r>
            <a:r>
              <a:rPr lang="en-US" altLang="zh-CN" sz="100"/>
              <a:t> </a:t>
            </a:r>
            <a:r>
              <a:rPr lang="en-US" altLang="zh-CN" sz="1100"/>
              <a:t>Choose </a:t>
            </a:r>
            <a:r>
              <a:rPr lang="en-US" altLang="zh-CN" sz="1100" dirty="0"/>
              <a:t>the only option to retain text……</a:t>
            </a:r>
          </a:p>
        </p:txBody>
      </p:sp>
      <p:sp>
        <p:nvSpPr>
          <p:cNvPr id="11" name="矩形: 圆角 10"/>
          <p:cNvSpPr/>
          <p:nvPr/>
        </p:nvSpPr>
        <p:spPr>
          <a:xfrm>
            <a:off x="5765800" y="5381959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</a:rPr>
              <a:t>0</a:t>
            </a:r>
            <a:r>
              <a:rPr lang="en-US" altLang="zh-CN" sz="100">
                <a:solidFill>
                  <a:schemeClr val="accent1"/>
                </a:solidFill>
              </a:rPr>
              <a:t> </a:t>
            </a:r>
            <a:r>
              <a:rPr lang="en-US" altLang="zh-CN" sz="2400">
                <a:solidFill>
                  <a:schemeClr val="accent1"/>
                </a:solidFill>
              </a:rPr>
              <a:t>4</a:t>
            </a:r>
            <a:endParaRPr lang="zh-CN" altLang="en-US" sz="2400" dirty="0">
              <a:solidFill>
                <a:schemeClr val="accent1"/>
              </a:solidFill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530350" y="5344194"/>
            <a:ext cx="4121150" cy="342091"/>
          </a:xfrm>
          <a:prstGeom prst="rect">
            <a:avLst/>
          </a:prstGeom>
          <a:noFill/>
        </p:spPr>
        <p:txBody>
          <a:bodyPr wrap="square" lIns="91440" tIns="45720" rIns="91440" bIns="45720" rtlCol="0" anchor="b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zh-CN" altLang="en-US" b="1" dirty="0"/>
              <a:t>食品安全五大要点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530350" y="5686288"/>
            <a:ext cx="4121150" cy="3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/>
              <a:t>Copy paste fonts</a:t>
            </a:r>
            <a:r>
              <a:rPr lang="en-US" altLang="zh-CN" sz="1100"/>
              <a:t>. </a:t>
            </a:r>
            <a:r>
              <a:rPr lang="en-US" altLang="zh-CN" sz="100"/>
              <a:t> </a:t>
            </a:r>
            <a:r>
              <a:rPr lang="en-US" altLang="zh-CN" sz="1100"/>
              <a:t>Choose </a:t>
            </a:r>
            <a:r>
              <a:rPr lang="en-US" altLang="zh-CN" sz="1100" dirty="0"/>
              <a:t>the only option to retain text……</a:t>
            </a:r>
          </a:p>
        </p:txBody>
      </p:sp>
    </p:spTree>
    <p:extLst>
      <p:ext uri="{BB962C8B-B14F-4D97-AF65-F5344CB8AC3E}">
        <p14:creationId xmlns:p14="http://schemas.microsoft.com/office/powerpoint/2010/main" val="585879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了解新型冠状病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2056274" y="299640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latin typeface="Impact" panose="020B0806030902050204" pitchFamily="34" charset="0"/>
              </a:rPr>
              <a:t>/01</a:t>
            </a:r>
            <a:endParaRPr lang="zh-CN" altLang="en-US" sz="80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了解新型冠状病毒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cxnSp>
        <p:nvCxnSpPr>
          <p:cNvPr id="6" name="直接连接符 5"/>
          <p:cNvCxnSpPr>
            <a:stCxn id="50" idx="0"/>
            <a:endCxn id="14" idx="0"/>
          </p:cNvCxnSpPr>
          <p:nvPr/>
        </p:nvCxnSpPr>
        <p:spPr>
          <a:xfrm>
            <a:off x="2163861" y="3475897"/>
            <a:ext cx="7869246" cy="0"/>
          </a:xfrm>
          <a:prstGeom prst="line">
            <a:avLst/>
          </a:prstGeom>
          <a:ln w="285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任意多边形: 形状 45"/>
          <p:cNvSpPr/>
          <p:nvPr/>
        </p:nvSpPr>
        <p:spPr>
          <a:xfrm>
            <a:off x="1475054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sp>
        <p:nvSpPr>
          <p:cNvPr id="47" name="任意多边形: 形状 46"/>
          <p:cNvSpPr/>
          <p:nvPr/>
        </p:nvSpPr>
        <p:spPr>
          <a:xfrm flipH="1">
            <a:off x="2269620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cxnSp>
        <p:nvCxnSpPr>
          <p:cNvPr id="48" name="直接连接符 47"/>
          <p:cNvCxnSpPr>
            <a:stCxn id="50" idx="0"/>
            <a:endCxn id="62" idx="0"/>
          </p:cNvCxnSpPr>
          <p:nvPr/>
        </p:nvCxnSpPr>
        <p:spPr>
          <a:xfrm flipH="1">
            <a:off x="1249970" y="3475898"/>
            <a:ext cx="91389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cxnSp>
        <p:nvCxnSpPr>
          <p:cNvPr id="49" name="直接连接符 48"/>
          <p:cNvCxnSpPr>
            <a:stCxn id="50" idx="0"/>
            <a:endCxn id="60" idx="0"/>
          </p:cNvCxnSpPr>
          <p:nvPr/>
        </p:nvCxnSpPr>
        <p:spPr>
          <a:xfrm>
            <a:off x="2163861" y="3475898"/>
            <a:ext cx="90892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sp>
        <p:nvSpPr>
          <p:cNvPr id="50" name="任意多边形: 形状 49"/>
          <p:cNvSpPr/>
          <p:nvPr/>
        </p:nvSpPr>
        <p:spPr>
          <a:xfrm>
            <a:off x="1495720" y="2807756"/>
            <a:ext cx="1336281" cy="13362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>
            <a:lvl1pPr algn="ctr" defTabSz="825500">
              <a:defRPr sz="5000"/>
            </a:lvl1pPr>
            <a:lvl2pPr indent="228600" algn="ctr" defTabSz="825500">
              <a:defRPr sz="5000"/>
            </a:lvl2pPr>
            <a:lvl3pPr indent="457200" algn="ctr" defTabSz="825500">
              <a:defRPr sz="5000"/>
            </a:lvl3pPr>
            <a:lvl4pPr indent="685800" algn="ctr" defTabSz="825500">
              <a:defRPr sz="5000"/>
            </a:lvl4pPr>
            <a:lvl5pPr indent="914400" algn="ctr" defTabSz="825500">
              <a:defRPr sz="5000"/>
            </a:lvl5pPr>
            <a:lvl6pPr indent="1143000" algn="ctr" defTabSz="825500">
              <a:defRPr sz="5000"/>
            </a:lvl6pPr>
            <a:lvl7pPr indent="1371600" algn="ctr" defTabSz="825500">
              <a:defRPr sz="5000"/>
            </a:lvl7pPr>
            <a:lvl8pPr indent="1600200" algn="ctr" defTabSz="825500">
              <a:defRPr sz="5000"/>
            </a:lvl8pPr>
            <a:lvl9pPr indent="1828800" algn="ctr" defTabSz="825500">
              <a:defRPr sz="5000"/>
            </a:lvl9pPr>
          </a:lstStyle>
          <a:p>
            <a:pPr>
              <a:spcBef>
                <a:spcPct val="0"/>
              </a:spcBef>
            </a:pPr>
            <a:r>
              <a:rPr lang="en-US" altLang="zh-CN" sz="2400" i="1" u="sng">
                <a:solidFill>
                  <a:schemeClr val="bg1"/>
                </a:solidFill>
              </a:rPr>
              <a:t>T</a:t>
            </a:r>
            <a:r>
              <a:rPr lang="en-US" altLang="zh-CN" sz="100" i="1" u="sng">
                <a:solidFill>
                  <a:schemeClr val="bg1"/>
                </a:solidFill>
              </a:rPr>
              <a:t> </a:t>
            </a:r>
            <a:r>
              <a:rPr lang="en-US" altLang="zh-CN" sz="2400" i="1" u="sng">
                <a:solidFill>
                  <a:schemeClr val="bg1"/>
                </a:solidFill>
              </a:rPr>
              <a:t>ext</a:t>
            </a:r>
            <a:endParaRPr lang="en-US" altLang="zh-CN" sz="2400" i="1" u="sng" dirty="0">
              <a:solidFill>
                <a:schemeClr val="bg1"/>
              </a:solidFill>
            </a:endParaRPr>
          </a:p>
        </p:txBody>
      </p:sp>
      <p:grpSp>
        <p:nvGrpSpPr>
          <p:cNvPr id="51" name="组合 50"/>
          <p:cNvGrpSpPr/>
          <p:nvPr/>
        </p:nvGrpSpPr>
        <p:grpSpPr>
          <a:xfrm>
            <a:off x="1008852" y="4328989"/>
            <a:ext cx="482235" cy="482235"/>
            <a:chOff x="1004512" y="4328989"/>
            <a:chExt cx="482235" cy="482235"/>
          </a:xfrm>
        </p:grpSpPr>
        <p:sp>
          <p:nvSpPr>
            <p:cNvPr id="62" name="任意多边形: 形状 61"/>
            <p:cNvSpPr/>
            <p:nvPr/>
          </p:nvSpPr>
          <p:spPr>
            <a:xfrm>
              <a:off x="1004512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63" name="任意多边形: 形状 62"/>
            <p:cNvSpPr/>
            <p:nvPr/>
          </p:nvSpPr>
          <p:spPr>
            <a:xfrm>
              <a:off x="1119650" y="4470353"/>
              <a:ext cx="251958" cy="199506"/>
            </a:xfrm>
            <a:custGeom>
              <a:avLst/>
              <a:gdLst>
                <a:gd name="connsiteX0" fmla="*/ 66529 w 609120"/>
                <a:gd name="connsiteY0" fmla="*/ 352898 h 482315"/>
                <a:gd name="connsiteX1" fmla="*/ 542591 w 609120"/>
                <a:gd name="connsiteY1" fmla="*/ 352898 h 482315"/>
                <a:gd name="connsiteX2" fmla="*/ 609120 w 609120"/>
                <a:gd name="connsiteY2" fmla="*/ 452184 h 482315"/>
                <a:gd name="connsiteX3" fmla="*/ 609120 w 609120"/>
                <a:gd name="connsiteY3" fmla="*/ 482315 h 482315"/>
                <a:gd name="connsiteX4" fmla="*/ 0 w 609120"/>
                <a:gd name="connsiteY4" fmla="*/ 482315 h 482315"/>
                <a:gd name="connsiteX5" fmla="*/ 0 w 609120"/>
                <a:gd name="connsiteY5" fmla="*/ 452184 h 482315"/>
                <a:gd name="connsiteX6" fmla="*/ 278451 w 609120"/>
                <a:gd name="connsiteY6" fmla="*/ 214237 h 482315"/>
                <a:gd name="connsiteX7" fmla="*/ 447314 w 609120"/>
                <a:gd name="connsiteY7" fmla="*/ 214237 h 482315"/>
                <a:gd name="connsiteX8" fmla="*/ 447314 w 609120"/>
                <a:gd name="connsiteY8" fmla="*/ 232866 h 482315"/>
                <a:gd name="connsiteX9" fmla="*/ 278451 w 609120"/>
                <a:gd name="connsiteY9" fmla="*/ 232866 h 482315"/>
                <a:gd name="connsiteX10" fmla="*/ 156937 w 609120"/>
                <a:gd name="connsiteY10" fmla="*/ 214237 h 482315"/>
                <a:gd name="connsiteX11" fmla="*/ 235970 w 609120"/>
                <a:gd name="connsiteY11" fmla="*/ 214237 h 482315"/>
                <a:gd name="connsiteX12" fmla="*/ 235970 w 609120"/>
                <a:gd name="connsiteY12" fmla="*/ 232866 h 482315"/>
                <a:gd name="connsiteX13" fmla="*/ 156937 w 609120"/>
                <a:gd name="connsiteY13" fmla="*/ 232866 h 482315"/>
                <a:gd name="connsiteX14" fmla="*/ 278451 w 609120"/>
                <a:gd name="connsiteY14" fmla="*/ 157149 h 482315"/>
                <a:gd name="connsiteX15" fmla="*/ 447314 w 609120"/>
                <a:gd name="connsiteY15" fmla="*/ 157149 h 482315"/>
                <a:gd name="connsiteX16" fmla="*/ 447314 w 609120"/>
                <a:gd name="connsiteY16" fmla="*/ 175778 h 482315"/>
                <a:gd name="connsiteX17" fmla="*/ 278451 w 609120"/>
                <a:gd name="connsiteY17" fmla="*/ 175778 h 482315"/>
                <a:gd name="connsiteX18" fmla="*/ 156937 w 609120"/>
                <a:gd name="connsiteY18" fmla="*/ 157149 h 482315"/>
                <a:gd name="connsiteX19" fmla="*/ 235970 w 609120"/>
                <a:gd name="connsiteY19" fmla="*/ 157149 h 482315"/>
                <a:gd name="connsiteX20" fmla="*/ 235970 w 609120"/>
                <a:gd name="connsiteY20" fmla="*/ 175778 h 482315"/>
                <a:gd name="connsiteX21" fmla="*/ 156937 w 609120"/>
                <a:gd name="connsiteY21" fmla="*/ 175778 h 482315"/>
                <a:gd name="connsiteX22" fmla="*/ 278451 w 609120"/>
                <a:gd name="connsiteY22" fmla="*/ 99991 h 482315"/>
                <a:gd name="connsiteX23" fmla="*/ 447314 w 609120"/>
                <a:gd name="connsiteY23" fmla="*/ 99991 h 482315"/>
                <a:gd name="connsiteX24" fmla="*/ 447314 w 609120"/>
                <a:gd name="connsiteY24" fmla="*/ 118691 h 482315"/>
                <a:gd name="connsiteX25" fmla="*/ 278451 w 609120"/>
                <a:gd name="connsiteY25" fmla="*/ 118691 h 482315"/>
                <a:gd name="connsiteX26" fmla="*/ 156937 w 609120"/>
                <a:gd name="connsiteY26" fmla="*/ 99991 h 482315"/>
                <a:gd name="connsiteX27" fmla="*/ 235970 w 609120"/>
                <a:gd name="connsiteY27" fmla="*/ 99991 h 482315"/>
                <a:gd name="connsiteX28" fmla="*/ 235970 w 609120"/>
                <a:gd name="connsiteY28" fmla="*/ 118691 h 482315"/>
                <a:gd name="connsiteX29" fmla="*/ 156937 w 609120"/>
                <a:gd name="connsiteY29" fmla="*/ 118691 h 482315"/>
                <a:gd name="connsiteX30" fmla="*/ 116312 w 609120"/>
                <a:gd name="connsiteY30" fmla="*/ 41471 h 482315"/>
                <a:gd name="connsiteX31" fmla="*/ 116312 w 609120"/>
                <a:gd name="connsiteY31" fmla="*/ 288120 h 482315"/>
                <a:gd name="connsiteX32" fmla="*/ 493160 w 609120"/>
                <a:gd name="connsiteY32" fmla="*/ 288120 h 482315"/>
                <a:gd name="connsiteX33" fmla="*/ 493160 w 609120"/>
                <a:gd name="connsiteY33" fmla="*/ 41471 h 482315"/>
                <a:gd name="connsiteX34" fmla="*/ 66684 w 609120"/>
                <a:gd name="connsiteY34" fmla="*/ 0 h 482315"/>
                <a:gd name="connsiteX35" fmla="*/ 542788 w 609120"/>
                <a:gd name="connsiteY35" fmla="*/ 0 h 482315"/>
                <a:gd name="connsiteX36" fmla="*/ 542788 w 609120"/>
                <a:gd name="connsiteY36" fmla="*/ 329682 h 482315"/>
                <a:gd name="connsiteX37" fmla="*/ 66684 w 609120"/>
                <a:gd name="connsiteY37" fmla="*/ 329682 h 48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9120" h="482315">
                  <a:moveTo>
                    <a:pt x="66529" y="352898"/>
                  </a:moveTo>
                  <a:lnTo>
                    <a:pt x="542591" y="352898"/>
                  </a:lnTo>
                  <a:lnTo>
                    <a:pt x="609120" y="452184"/>
                  </a:lnTo>
                  <a:lnTo>
                    <a:pt x="609120" y="482315"/>
                  </a:lnTo>
                  <a:lnTo>
                    <a:pt x="0" y="482315"/>
                  </a:lnTo>
                  <a:lnTo>
                    <a:pt x="0" y="452184"/>
                  </a:lnTo>
                  <a:close/>
                  <a:moveTo>
                    <a:pt x="278451" y="214237"/>
                  </a:moveTo>
                  <a:lnTo>
                    <a:pt x="447314" y="214237"/>
                  </a:lnTo>
                  <a:lnTo>
                    <a:pt x="447314" y="232866"/>
                  </a:lnTo>
                  <a:lnTo>
                    <a:pt x="278451" y="232866"/>
                  </a:lnTo>
                  <a:close/>
                  <a:moveTo>
                    <a:pt x="156937" y="214237"/>
                  </a:moveTo>
                  <a:lnTo>
                    <a:pt x="235970" y="214237"/>
                  </a:lnTo>
                  <a:lnTo>
                    <a:pt x="235970" y="232866"/>
                  </a:lnTo>
                  <a:lnTo>
                    <a:pt x="156937" y="232866"/>
                  </a:lnTo>
                  <a:close/>
                  <a:moveTo>
                    <a:pt x="278451" y="157149"/>
                  </a:moveTo>
                  <a:lnTo>
                    <a:pt x="447314" y="157149"/>
                  </a:lnTo>
                  <a:lnTo>
                    <a:pt x="447314" y="175778"/>
                  </a:lnTo>
                  <a:lnTo>
                    <a:pt x="278451" y="175778"/>
                  </a:lnTo>
                  <a:close/>
                  <a:moveTo>
                    <a:pt x="156937" y="157149"/>
                  </a:moveTo>
                  <a:lnTo>
                    <a:pt x="235970" y="157149"/>
                  </a:lnTo>
                  <a:lnTo>
                    <a:pt x="235970" y="175778"/>
                  </a:lnTo>
                  <a:lnTo>
                    <a:pt x="156937" y="175778"/>
                  </a:lnTo>
                  <a:close/>
                  <a:moveTo>
                    <a:pt x="278451" y="99991"/>
                  </a:moveTo>
                  <a:lnTo>
                    <a:pt x="447314" y="99991"/>
                  </a:lnTo>
                  <a:lnTo>
                    <a:pt x="447314" y="118691"/>
                  </a:lnTo>
                  <a:lnTo>
                    <a:pt x="278451" y="118691"/>
                  </a:lnTo>
                  <a:close/>
                  <a:moveTo>
                    <a:pt x="156937" y="99991"/>
                  </a:moveTo>
                  <a:lnTo>
                    <a:pt x="235970" y="99991"/>
                  </a:lnTo>
                  <a:lnTo>
                    <a:pt x="235970" y="118691"/>
                  </a:lnTo>
                  <a:lnTo>
                    <a:pt x="156937" y="118691"/>
                  </a:lnTo>
                  <a:close/>
                  <a:moveTo>
                    <a:pt x="116312" y="41471"/>
                  </a:moveTo>
                  <a:lnTo>
                    <a:pt x="116312" y="288120"/>
                  </a:lnTo>
                  <a:lnTo>
                    <a:pt x="493160" y="288120"/>
                  </a:lnTo>
                  <a:lnTo>
                    <a:pt x="493160" y="41471"/>
                  </a:lnTo>
                  <a:close/>
                  <a:moveTo>
                    <a:pt x="66684" y="0"/>
                  </a:moveTo>
                  <a:lnTo>
                    <a:pt x="542788" y="0"/>
                  </a:lnTo>
                  <a:lnTo>
                    <a:pt x="542788" y="329682"/>
                  </a:lnTo>
                  <a:lnTo>
                    <a:pt x="66684" y="32968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2831667" y="4328989"/>
            <a:ext cx="482235" cy="482235"/>
            <a:chOff x="2827327" y="4328989"/>
            <a:chExt cx="482235" cy="482235"/>
          </a:xfrm>
        </p:grpSpPr>
        <p:sp>
          <p:nvSpPr>
            <p:cNvPr id="60" name="任意多边形: 形状 59"/>
            <p:cNvSpPr/>
            <p:nvPr/>
          </p:nvSpPr>
          <p:spPr>
            <a:xfrm>
              <a:off x="2827327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61" name="任意多边形: 形状 60"/>
            <p:cNvSpPr/>
            <p:nvPr/>
          </p:nvSpPr>
          <p:spPr>
            <a:xfrm>
              <a:off x="2942465" y="4470353"/>
              <a:ext cx="251958" cy="199506"/>
            </a:xfrm>
            <a:custGeom>
              <a:avLst/>
              <a:gdLst>
                <a:gd name="connsiteX0" fmla="*/ 66529 w 609120"/>
                <a:gd name="connsiteY0" fmla="*/ 352898 h 482315"/>
                <a:gd name="connsiteX1" fmla="*/ 542591 w 609120"/>
                <a:gd name="connsiteY1" fmla="*/ 352898 h 482315"/>
                <a:gd name="connsiteX2" fmla="*/ 609120 w 609120"/>
                <a:gd name="connsiteY2" fmla="*/ 452184 h 482315"/>
                <a:gd name="connsiteX3" fmla="*/ 609120 w 609120"/>
                <a:gd name="connsiteY3" fmla="*/ 482315 h 482315"/>
                <a:gd name="connsiteX4" fmla="*/ 0 w 609120"/>
                <a:gd name="connsiteY4" fmla="*/ 482315 h 482315"/>
                <a:gd name="connsiteX5" fmla="*/ 0 w 609120"/>
                <a:gd name="connsiteY5" fmla="*/ 452184 h 482315"/>
                <a:gd name="connsiteX6" fmla="*/ 278451 w 609120"/>
                <a:gd name="connsiteY6" fmla="*/ 214237 h 482315"/>
                <a:gd name="connsiteX7" fmla="*/ 447314 w 609120"/>
                <a:gd name="connsiteY7" fmla="*/ 214237 h 482315"/>
                <a:gd name="connsiteX8" fmla="*/ 447314 w 609120"/>
                <a:gd name="connsiteY8" fmla="*/ 232866 h 482315"/>
                <a:gd name="connsiteX9" fmla="*/ 278451 w 609120"/>
                <a:gd name="connsiteY9" fmla="*/ 232866 h 482315"/>
                <a:gd name="connsiteX10" fmla="*/ 156937 w 609120"/>
                <a:gd name="connsiteY10" fmla="*/ 214237 h 482315"/>
                <a:gd name="connsiteX11" fmla="*/ 235970 w 609120"/>
                <a:gd name="connsiteY11" fmla="*/ 214237 h 482315"/>
                <a:gd name="connsiteX12" fmla="*/ 235970 w 609120"/>
                <a:gd name="connsiteY12" fmla="*/ 232866 h 482315"/>
                <a:gd name="connsiteX13" fmla="*/ 156937 w 609120"/>
                <a:gd name="connsiteY13" fmla="*/ 232866 h 482315"/>
                <a:gd name="connsiteX14" fmla="*/ 278451 w 609120"/>
                <a:gd name="connsiteY14" fmla="*/ 157149 h 482315"/>
                <a:gd name="connsiteX15" fmla="*/ 447314 w 609120"/>
                <a:gd name="connsiteY15" fmla="*/ 157149 h 482315"/>
                <a:gd name="connsiteX16" fmla="*/ 447314 w 609120"/>
                <a:gd name="connsiteY16" fmla="*/ 175778 h 482315"/>
                <a:gd name="connsiteX17" fmla="*/ 278451 w 609120"/>
                <a:gd name="connsiteY17" fmla="*/ 175778 h 482315"/>
                <a:gd name="connsiteX18" fmla="*/ 156937 w 609120"/>
                <a:gd name="connsiteY18" fmla="*/ 157149 h 482315"/>
                <a:gd name="connsiteX19" fmla="*/ 235970 w 609120"/>
                <a:gd name="connsiteY19" fmla="*/ 157149 h 482315"/>
                <a:gd name="connsiteX20" fmla="*/ 235970 w 609120"/>
                <a:gd name="connsiteY20" fmla="*/ 175778 h 482315"/>
                <a:gd name="connsiteX21" fmla="*/ 156937 w 609120"/>
                <a:gd name="connsiteY21" fmla="*/ 175778 h 482315"/>
                <a:gd name="connsiteX22" fmla="*/ 278451 w 609120"/>
                <a:gd name="connsiteY22" fmla="*/ 99991 h 482315"/>
                <a:gd name="connsiteX23" fmla="*/ 447314 w 609120"/>
                <a:gd name="connsiteY23" fmla="*/ 99991 h 482315"/>
                <a:gd name="connsiteX24" fmla="*/ 447314 w 609120"/>
                <a:gd name="connsiteY24" fmla="*/ 118691 h 482315"/>
                <a:gd name="connsiteX25" fmla="*/ 278451 w 609120"/>
                <a:gd name="connsiteY25" fmla="*/ 118691 h 482315"/>
                <a:gd name="connsiteX26" fmla="*/ 156937 w 609120"/>
                <a:gd name="connsiteY26" fmla="*/ 99991 h 482315"/>
                <a:gd name="connsiteX27" fmla="*/ 235970 w 609120"/>
                <a:gd name="connsiteY27" fmla="*/ 99991 h 482315"/>
                <a:gd name="connsiteX28" fmla="*/ 235970 w 609120"/>
                <a:gd name="connsiteY28" fmla="*/ 118691 h 482315"/>
                <a:gd name="connsiteX29" fmla="*/ 156937 w 609120"/>
                <a:gd name="connsiteY29" fmla="*/ 118691 h 482315"/>
                <a:gd name="connsiteX30" fmla="*/ 116312 w 609120"/>
                <a:gd name="connsiteY30" fmla="*/ 41471 h 482315"/>
                <a:gd name="connsiteX31" fmla="*/ 116312 w 609120"/>
                <a:gd name="connsiteY31" fmla="*/ 288120 h 482315"/>
                <a:gd name="connsiteX32" fmla="*/ 493160 w 609120"/>
                <a:gd name="connsiteY32" fmla="*/ 288120 h 482315"/>
                <a:gd name="connsiteX33" fmla="*/ 493160 w 609120"/>
                <a:gd name="connsiteY33" fmla="*/ 41471 h 482315"/>
                <a:gd name="connsiteX34" fmla="*/ 66684 w 609120"/>
                <a:gd name="connsiteY34" fmla="*/ 0 h 482315"/>
                <a:gd name="connsiteX35" fmla="*/ 542788 w 609120"/>
                <a:gd name="connsiteY35" fmla="*/ 0 h 482315"/>
                <a:gd name="connsiteX36" fmla="*/ 542788 w 609120"/>
                <a:gd name="connsiteY36" fmla="*/ 329682 h 482315"/>
                <a:gd name="connsiteX37" fmla="*/ 66684 w 609120"/>
                <a:gd name="connsiteY37" fmla="*/ 329682 h 48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9120" h="482315">
                  <a:moveTo>
                    <a:pt x="66529" y="352898"/>
                  </a:moveTo>
                  <a:lnTo>
                    <a:pt x="542591" y="352898"/>
                  </a:lnTo>
                  <a:lnTo>
                    <a:pt x="609120" y="452184"/>
                  </a:lnTo>
                  <a:lnTo>
                    <a:pt x="609120" y="482315"/>
                  </a:lnTo>
                  <a:lnTo>
                    <a:pt x="0" y="482315"/>
                  </a:lnTo>
                  <a:lnTo>
                    <a:pt x="0" y="452184"/>
                  </a:lnTo>
                  <a:close/>
                  <a:moveTo>
                    <a:pt x="278451" y="214237"/>
                  </a:moveTo>
                  <a:lnTo>
                    <a:pt x="447314" y="214237"/>
                  </a:lnTo>
                  <a:lnTo>
                    <a:pt x="447314" y="232866"/>
                  </a:lnTo>
                  <a:lnTo>
                    <a:pt x="278451" y="232866"/>
                  </a:lnTo>
                  <a:close/>
                  <a:moveTo>
                    <a:pt x="156937" y="214237"/>
                  </a:moveTo>
                  <a:lnTo>
                    <a:pt x="235970" y="214237"/>
                  </a:lnTo>
                  <a:lnTo>
                    <a:pt x="235970" y="232866"/>
                  </a:lnTo>
                  <a:lnTo>
                    <a:pt x="156937" y="232866"/>
                  </a:lnTo>
                  <a:close/>
                  <a:moveTo>
                    <a:pt x="278451" y="157149"/>
                  </a:moveTo>
                  <a:lnTo>
                    <a:pt x="447314" y="157149"/>
                  </a:lnTo>
                  <a:lnTo>
                    <a:pt x="447314" y="175778"/>
                  </a:lnTo>
                  <a:lnTo>
                    <a:pt x="278451" y="175778"/>
                  </a:lnTo>
                  <a:close/>
                  <a:moveTo>
                    <a:pt x="156937" y="157149"/>
                  </a:moveTo>
                  <a:lnTo>
                    <a:pt x="235970" y="157149"/>
                  </a:lnTo>
                  <a:lnTo>
                    <a:pt x="235970" y="175778"/>
                  </a:lnTo>
                  <a:lnTo>
                    <a:pt x="156937" y="175778"/>
                  </a:lnTo>
                  <a:close/>
                  <a:moveTo>
                    <a:pt x="278451" y="99991"/>
                  </a:moveTo>
                  <a:lnTo>
                    <a:pt x="447314" y="99991"/>
                  </a:lnTo>
                  <a:lnTo>
                    <a:pt x="447314" y="118691"/>
                  </a:lnTo>
                  <a:lnTo>
                    <a:pt x="278451" y="118691"/>
                  </a:lnTo>
                  <a:close/>
                  <a:moveTo>
                    <a:pt x="156937" y="99991"/>
                  </a:moveTo>
                  <a:lnTo>
                    <a:pt x="235970" y="99991"/>
                  </a:lnTo>
                  <a:lnTo>
                    <a:pt x="235970" y="118691"/>
                  </a:lnTo>
                  <a:lnTo>
                    <a:pt x="156937" y="118691"/>
                  </a:lnTo>
                  <a:close/>
                  <a:moveTo>
                    <a:pt x="116312" y="41471"/>
                  </a:moveTo>
                  <a:lnTo>
                    <a:pt x="116312" y="288120"/>
                  </a:lnTo>
                  <a:lnTo>
                    <a:pt x="493160" y="288120"/>
                  </a:lnTo>
                  <a:lnTo>
                    <a:pt x="493160" y="41471"/>
                  </a:lnTo>
                  <a:close/>
                  <a:moveTo>
                    <a:pt x="66684" y="0"/>
                  </a:moveTo>
                  <a:lnTo>
                    <a:pt x="542788" y="0"/>
                  </a:lnTo>
                  <a:lnTo>
                    <a:pt x="542788" y="329682"/>
                  </a:lnTo>
                  <a:lnTo>
                    <a:pt x="66684" y="32968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2831666" y="1226582"/>
            <a:ext cx="482235" cy="482235"/>
            <a:chOff x="2827326" y="1226582"/>
            <a:chExt cx="482235" cy="482235"/>
          </a:xfrm>
        </p:grpSpPr>
        <p:sp>
          <p:nvSpPr>
            <p:cNvPr id="58" name="任意多边形: 形状 57"/>
            <p:cNvSpPr/>
            <p:nvPr/>
          </p:nvSpPr>
          <p:spPr>
            <a:xfrm>
              <a:off x="2827326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59" name="任意多边形: 形状 58"/>
            <p:cNvSpPr/>
            <p:nvPr/>
          </p:nvSpPr>
          <p:spPr>
            <a:xfrm>
              <a:off x="2942465" y="1367950"/>
              <a:ext cx="251958" cy="199506"/>
            </a:xfrm>
            <a:custGeom>
              <a:avLst/>
              <a:gdLst>
                <a:gd name="connsiteX0" fmla="*/ 66529 w 609120"/>
                <a:gd name="connsiteY0" fmla="*/ 352898 h 482315"/>
                <a:gd name="connsiteX1" fmla="*/ 542591 w 609120"/>
                <a:gd name="connsiteY1" fmla="*/ 352898 h 482315"/>
                <a:gd name="connsiteX2" fmla="*/ 609120 w 609120"/>
                <a:gd name="connsiteY2" fmla="*/ 452184 h 482315"/>
                <a:gd name="connsiteX3" fmla="*/ 609120 w 609120"/>
                <a:gd name="connsiteY3" fmla="*/ 482315 h 482315"/>
                <a:gd name="connsiteX4" fmla="*/ 0 w 609120"/>
                <a:gd name="connsiteY4" fmla="*/ 482315 h 482315"/>
                <a:gd name="connsiteX5" fmla="*/ 0 w 609120"/>
                <a:gd name="connsiteY5" fmla="*/ 452184 h 482315"/>
                <a:gd name="connsiteX6" fmla="*/ 278451 w 609120"/>
                <a:gd name="connsiteY6" fmla="*/ 214237 h 482315"/>
                <a:gd name="connsiteX7" fmla="*/ 447314 w 609120"/>
                <a:gd name="connsiteY7" fmla="*/ 214237 h 482315"/>
                <a:gd name="connsiteX8" fmla="*/ 447314 w 609120"/>
                <a:gd name="connsiteY8" fmla="*/ 232866 h 482315"/>
                <a:gd name="connsiteX9" fmla="*/ 278451 w 609120"/>
                <a:gd name="connsiteY9" fmla="*/ 232866 h 482315"/>
                <a:gd name="connsiteX10" fmla="*/ 156937 w 609120"/>
                <a:gd name="connsiteY10" fmla="*/ 214237 h 482315"/>
                <a:gd name="connsiteX11" fmla="*/ 235970 w 609120"/>
                <a:gd name="connsiteY11" fmla="*/ 214237 h 482315"/>
                <a:gd name="connsiteX12" fmla="*/ 235970 w 609120"/>
                <a:gd name="connsiteY12" fmla="*/ 232866 h 482315"/>
                <a:gd name="connsiteX13" fmla="*/ 156937 w 609120"/>
                <a:gd name="connsiteY13" fmla="*/ 232866 h 482315"/>
                <a:gd name="connsiteX14" fmla="*/ 278451 w 609120"/>
                <a:gd name="connsiteY14" fmla="*/ 157149 h 482315"/>
                <a:gd name="connsiteX15" fmla="*/ 447314 w 609120"/>
                <a:gd name="connsiteY15" fmla="*/ 157149 h 482315"/>
                <a:gd name="connsiteX16" fmla="*/ 447314 w 609120"/>
                <a:gd name="connsiteY16" fmla="*/ 175778 h 482315"/>
                <a:gd name="connsiteX17" fmla="*/ 278451 w 609120"/>
                <a:gd name="connsiteY17" fmla="*/ 175778 h 482315"/>
                <a:gd name="connsiteX18" fmla="*/ 156937 w 609120"/>
                <a:gd name="connsiteY18" fmla="*/ 157149 h 482315"/>
                <a:gd name="connsiteX19" fmla="*/ 235970 w 609120"/>
                <a:gd name="connsiteY19" fmla="*/ 157149 h 482315"/>
                <a:gd name="connsiteX20" fmla="*/ 235970 w 609120"/>
                <a:gd name="connsiteY20" fmla="*/ 175778 h 482315"/>
                <a:gd name="connsiteX21" fmla="*/ 156937 w 609120"/>
                <a:gd name="connsiteY21" fmla="*/ 175778 h 482315"/>
                <a:gd name="connsiteX22" fmla="*/ 278451 w 609120"/>
                <a:gd name="connsiteY22" fmla="*/ 99991 h 482315"/>
                <a:gd name="connsiteX23" fmla="*/ 447314 w 609120"/>
                <a:gd name="connsiteY23" fmla="*/ 99991 h 482315"/>
                <a:gd name="connsiteX24" fmla="*/ 447314 w 609120"/>
                <a:gd name="connsiteY24" fmla="*/ 118691 h 482315"/>
                <a:gd name="connsiteX25" fmla="*/ 278451 w 609120"/>
                <a:gd name="connsiteY25" fmla="*/ 118691 h 482315"/>
                <a:gd name="connsiteX26" fmla="*/ 156937 w 609120"/>
                <a:gd name="connsiteY26" fmla="*/ 99991 h 482315"/>
                <a:gd name="connsiteX27" fmla="*/ 235970 w 609120"/>
                <a:gd name="connsiteY27" fmla="*/ 99991 h 482315"/>
                <a:gd name="connsiteX28" fmla="*/ 235970 w 609120"/>
                <a:gd name="connsiteY28" fmla="*/ 118691 h 482315"/>
                <a:gd name="connsiteX29" fmla="*/ 156937 w 609120"/>
                <a:gd name="connsiteY29" fmla="*/ 118691 h 482315"/>
                <a:gd name="connsiteX30" fmla="*/ 116312 w 609120"/>
                <a:gd name="connsiteY30" fmla="*/ 41471 h 482315"/>
                <a:gd name="connsiteX31" fmla="*/ 116312 w 609120"/>
                <a:gd name="connsiteY31" fmla="*/ 288120 h 482315"/>
                <a:gd name="connsiteX32" fmla="*/ 493160 w 609120"/>
                <a:gd name="connsiteY32" fmla="*/ 288120 h 482315"/>
                <a:gd name="connsiteX33" fmla="*/ 493160 w 609120"/>
                <a:gd name="connsiteY33" fmla="*/ 41471 h 482315"/>
                <a:gd name="connsiteX34" fmla="*/ 66684 w 609120"/>
                <a:gd name="connsiteY34" fmla="*/ 0 h 482315"/>
                <a:gd name="connsiteX35" fmla="*/ 542788 w 609120"/>
                <a:gd name="connsiteY35" fmla="*/ 0 h 482315"/>
                <a:gd name="connsiteX36" fmla="*/ 542788 w 609120"/>
                <a:gd name="connsiteY36" fmla="*/ 329682 h 482315"/>
                <a:gd name="connsiteX37" fmla="*/ 66684 w 609120"/>
                <a:gd name="connsiteY37" fmla="*/ 329682 h 48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9120" h="482315">
                  <a:moveTo>
                    <a:pt x="66529" y="352898"/>
                  </a:moveTo>
                  <a:lnTo>
                    <a:pt x="542591" y="352898"/>
                  </a:lnTo>
                  <a:lnTo>
                    <a:pt x="609120" y="452184"/>
                  </a:lnTo>
                  <a:lnTo>
                    <a:pt x="609120" y="482315"/>
                  </a:lnTo>
                  <a:lnTo>
                    <a:pt x="0" y="482315"/>
                  </a:lnTo>
                  <a:lnTo>
                    <a:pt x="0" y="452184"/>
                  </a:lnTo>
                  <a:close/>
                  <a:moveTo>
                    <a:pt x="278451" y="214237"/>
                  </a:moveTo>
                  <a:lnTo>
                    <a:pt x="447314" y="214237"/>
                  </a:lnTo>
                  <a:lnTo>
                    <a:pt x="447314" y="232866"/>
                  </a:lnTo>
                  <a:lnTo>
                    <a:pt x="278451" y="232866"/>
                  </a:lnTo>
                  <a:close/>
                  <a:moveTo>
                    <a:pt x="156937" y="214237"/>
                  </a:moveTo>
                  <a:lnTo>
                    <a:pt x="235970" y="214237"/>
                  </a:lnTo>
                  <a:lnTo>
                    <a:pt x="235970" y="232866"/>
                  </a:lnTo>
                  <a:lnTo>
                    <a:pt x="156937" y="232866"/>
                  </a:lnTo>
                  <a:close/>
                  <a:moveTo>
                    <a:pt x="278451" y="157149"/>
                  </a:moveTo>
                  <a:lnTo>
                    <a:pt x="447314" y="157149"/>
                  </a:lnTo>
                  <a:lnTo>
                    <a:pt x="447314" y="175778"/>
                  </a:lnTo>
                  <a:lnTo>
                    <a:pt x="278451" y="175778"/>
                  </a:lnTo>
                  <a:close/>
                  <a:moveTo>
                    <a:pt x="156937" y="157149"/>
                  </a:moveTo>
                  <a:lnTo>
                    <a:pt x="235970" y="157149"/>
                  </a:lnTo>
                  <a:lnTo>
                    <a:pt x="235970" y="175778"/>
                  </a:lnTo>
                  <a:lnTo>
                    <a:pt x="156937" y="175778"/>
                  </a:lnTo>
                  <a:close/>
                  <a:moveTo>
                    <a:pt x="278451" y="99991"/>
                  </a:moveTo>
                  <a:lnTo>
                    <a:pt x="447314" y="99991"/>
                  </a:lnTo>
                  <a:lnTo>
                    <a:pt x="447314" y="118691"/>
                  </a:lnTo>
                  <a:lnTo>
                    <a:pt x="278451" y="118691"/>
                  </a:lnTo>
                  <a:close/>
                  <a:moveTo>
                    <a:pt x="156937" y="99991"/>
                  </a:moveTo>
                  <a:lnTo>
                    <a:pt x="235970" y="99991"/>
                  </a:lnTo>
                  <a:lnTo>
                    <a:pt x="235970" y="118691"/>
                  </a:lnTo>
                  <a:lnTo>
                    <a:pt x="156937" y="118691"/>
                  </a:lnTo>
                  <a:close/>
                  <a:moveTo>
                    <a:pt x="116312" y="41471"/>
                  </a:moveTo>
                  <a:lnTo>
                    <a:pt x="116312" y="288120"/>
                  </a:lnTo>
                  <a:lnTo>
                    <a:pt x="493160" y="288120"/>
                  </a:lnTo>
                  <a:lnTo>
                    <a:pt x="493160" y="41471"/>
                  </a:lnTo>
                  <a:close/>
                  <a:moveTo>
                    <a:pt x="66684" y="0"/>
                  </a:moveTo>
                  <a:lnTo>
                    <a:pt x="542788" y="0"/>
                  </a:lnTo>
                  <a:lnTo>
                    <a:pt x="542788" y="329682"/>
                  </a:lnTo>
                  <a:lnTo>
                    <a:pt x="66684" y="32968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1008852" y="1226582"/>
            <a:ext cx="482235" cy="482235"/>
            <a:chOff x="1004512" y="1226582"/>
            <a:chExt cx="482235" cy="482235"/>
          </a:xfrm>
        </p:grpSpPr>
        <p:sp>
          <p:nvSpPr>
            <p:cNvPr id="56" name="任意多边形: 形状 55"/>
            <p:cNvSpPr/>
            <p:nvPr/>
          </p:nvSpPr>
          <p:spPr>
            <a:xfrm>
              <a:off x="1004512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57" name="任意多边形: 形状 56"/>
            <p:cNvSpPr/>
            <p:nvPr/>
          </p:nvSpPr>
          <p:spPr>
            <a:xfrm>
              <a:off x="1119649" y="1367954"/>
              <a:ext cx="251958" cy="199506"/>
            </a:xfrm>
            <a:custGeom>
              <a:avLst/>
              <a:gdLst>
                <a:gd name="connsiteX0" fmla="*/ 66529 w 609120"/>
                <a:gd name="connsiteY0" fmla="*/ 352898 h 482315"/>
                <a:gd name="connsiteX1" fmla="*/ 542591 w 609120"/>
                <a:gd name="connsiteY1" fmla="*/ 352898 h 482315"/>
                <a:gd name="connsiteX2" fmla="*/ 609120 w 609120"/>
                <a:gd name="connsiteY2" fmla="*/ 452184 h 482315"/>
                <a:gd name="connsiteX3" fmla="*/ 609120 w 609120"/>
                <a:gd name="connsiteY3" fmla="*/ 482315 h 482315"/>
                <a:gd name="connsiteX4" fmla="*/ 0 w 609120"/>
                <a:gd name="connsiteY4" fmla="*/ 482315 h 482315"/>
                <a:gd name="connsiteX5" fmla="*/ 0 w 609120"/>
                <a:gd name="connsiteY5" fmla="*/ 452184 h 482315"/>
                <a:gd name="connsiteX6" fmla="*/ 278451 w 609120"/>
                <a:gd name="connsiteY6" fmla="*/ 214237 h 482315"/>
                <a:gd name="connsiteX7" fmla="*/ 447314 w 609120"/>
                <a:gd name="connsiteY7" fmla="*/ 214237 h 482315"/>
                <a:gd name="connsiteX8" fmla="*/ 447314 w 609120"/>
                <a:gd name="connsiteY8" fmla="*/ 232866 h 482315"/>
                <a:gd name="connsiteX9" fmla="*/ 278451 w 609120"/>
                <a:gd name="connsiteY9" fmla="*/ 232866 h 482315"/>
                <a:gd name="connsiteX10" fmla="*/ 156937 w 609120"/>
                <a:gd name="connsiteY10" fmla="*/ 214237 h 482315"/>
                <a:gd name="connsiteX11" fmla="*/ 235970 w 609120"/>
                <a:gd name="connsiteY11" fmla="*/ 214237 h 482315"/>
                <a:gd name="connsiteX12" fmla="*/ 235970 w 609120"/>
                <a:gd name="connsiteY12" fmla="*/ 232866 h 482315"/>
                <a:gd name="connsiteX13" fmla="*/ 156937 w 609120"/>
                <a:gd name="connsiteY13" fmla="*/ 232866 h 482315"/>
                <a:gd name="connsiteX14" fmla="*/ 278451 w 609120"/>
                <a:gd name="connsiteY14" fmla="*/ 157149 h 482315"/>
                <a:gd name="connsiteX15" fmla="*/ 447314 w 609120"/>
                <a:gd name="connsiteY15" fmla="*/ 157149 h 482315"/>
                <a:gd name="connsiteX16" fmla="*/ 447314 w 609120"/>
                <a:gd name="connsiteY16" fmla="*/ 175778 h 482315"/>
                <a:gd name="connsiteX17" fmla="*/ 278451 w 609120"/>
                <a:gd name="connsiteY17" fmla="*/ 175778 h 482315"/>
                <a:gd name="connsiteX18" fmla="*/ 156937 w 609120"/>
                <a:gd name="connsiteY18" fmla="*/ 157149 h 482315"/>
                <a:gd name="connsiteX19" fmla="*/ 235970 w 609120"/>
                <a:gd name="connsiteY19" fmla="*/ 157149 h 482315"/>
                <a:gd name="connsiteX20" fmla="*/ 235970 w 609120"/>
                <a:gd name="connsiteY20" fmla="*/ 175778 h 482315"/>
                <a:gd name="connsiteX21" fmla="*/ 156937 w 609120"/>
                <a:gd name="connsiteY21" fmla="*/ 175778 h 482315"/>
                <a:gd name="connsiteX22" fmla="*/ 278451 w 609120"/>
                <a:gd name="connsiteY22" fmla="*/ 99991 h 482315"/>
                <a:gd name="connsiteX23" fmla="*/ 447314 w 609120"/>
                <a:gd name="connsiteY23" fmla="*/ 99991 h 482315"/>
                <a:gd name="connsiteX24" fmla="*/ 447314 w 609120"/>
                <a:gd name="connsiteY24" fmla="*/ 118691 h 482315"/>
                <a:gd name="connsiteX25" fmla="*/ 278451 w 609120"/>
                <a:gd name="connsiteY25" fmla="*/ 118691 h 482315"/>
                <a:gd name="connsiteX26" fmla="*/ 156937 w 609120"/>
                <a:gd name="connsiteY26" fmla="*/ 99991 h 482315"/>
                <a:gd name="connsiteX27" fmla="*/ 235970 w 609120"/>
                <a:gd name="connsiteY27" fmla="*/ 99991 h 482315"/>
                <a:gd name="connsiteX28" fmla="*/ 235970 w 609120"/>
                <a:gd name="connsiteY28" fmla="*/ 118691 h 482315"/>
                <a:gd name="connsiteX29" fmla="*/ 156937 w 609120"/>
                <a:gd name="connsiteY29" fmla="*/ 118691 h 482315"/>
                <a:gd name="connsiteX30" fmla="*/ 116312 w 609120"/>
                <a:gd name="connsiteY30" fmla="*/ 41471 h 482315"/>
                <a:gd name="connsiteX31" fmla="*/ 116312 w 609120"/>
                <a:gd name="connsiteY31" fmla="*/ 288120 h 482315"/>
                <a:gd name="connsiteX32" fmla="*/ 493160 w 609120"/>
                <a:gd name="connsiteY32" fmla="*/ 288120 h 482315"/>
                <a:gd name="connsiteX33" fmla="*/ 493160 w 609120"/>
                <a:gd name="connsiteY33" fmla="*/ 41471 h 482315"/>
                <a:gd name="connsiteX34" fmla="*/ 66684 w 609120"/>
                <a:gd name="connsiteY34" fmla="*/ 0 h 482315"/>
                <a:gd name="connsiteX35" fmla="*/ 542788 w 609120"/>
                <a:gd name="connsiteY35" fmla="*/ 0 h 482315"/>
                <a:gd name="connsiteX36" fmla="*/ 542788 w 609120"/>
                <a:gd name="connsiteY36" fmla="*/ 329682 h 482315"/>
                <a:gd name="connsiteX37" fmla="*/ 66684 w 609120"/>
                <a:gd name="connsiteY37" fmla="*/ 329682 h 482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09120" h="482315">
                  <a:moveTo>
                    <a:pt x="66529" y="352898"/>
                  </a:moveTo>
                  <a:lnTo>
                    <a:pt x="542591" y="352898"/>
                  </a:lnTo>
                  <a:lnTo>
                    <a:pt x="609120" y="452184"/>
                  </a:lnTo>
                  <a:lnTo>
                    <a:pt x="609120" y="482315"/>
                  </a:lnTo>
                  <a:lnTo>
                    <a:pt x="0" y="482315"/>
                  </a:lnTo>
                  <a:lnTo>
                    <a:pt x="0" y="452184"/>
                  </a:lnTo>
                  <a:close/>
                  <a:moveTo>
                    <a:pt x="278451" y="214237"/>
                  </a:moveTo>
                  <a:lnTo>
                    <a:pt x="447314" y="214237"/>
                  </a:lnTo>
                  <a:lnTo>
                    <a:pt x="447314" y="232866"/>
                  </a:lnTo>
                  <a:lnTo>
                    <a:pt x="278451" y="232866"/>
                  </a:lnTo>
                  <a:close/>
                  <a:moveTo>
                    <a:pt x="156937" y="214237"/>
                  </a:moveTo>
                  <a:lnTo>
                    <a:pt x="235970" y="214237"/>
                  </a:lnTo>
                  <a:lnTo>
                    <a:pt x="235970" y="232866"/>
                  </a:lnTo>
                  <a:lnTo>
                    <a:pt x="156937" y="232866"/>
                  </a:lnTo>
                  <a:close/>
                  <a:moveTo>
                    <a:pt x="278451" y="157149"/>
                  </a:moveTo>
                  <a:lnTo>
                    <a:pt x="447314" y="157149"/>
                  </a:lnTo>
                  <a:lnTo>
                    <a:pt x="447314" y="175778"/>
                  </a:lnTo>
                  <a:lnTo>
                    <a:pt x="278451" y="175778"/>
                  </a:lnTo>
                  <a:close/>
                  <a:moveTo>
                    <a:pt x="156937" y="157149"/>
                  </a:moveTo>
                  <a:lnTo>
                    <a:pt x="235970" y="157149"/>
                  </a:lnTo>
                  <a:lnTo>
                    <a:pt x="235970" y="175778"/>
                  </a:lnTo>
                  <a:lnTo>
                    <a:pt x="156937" y="175778"/>
                  </a:lnTo>
                  <a:close/>
                  <a:moveTo>
                    <a:pt x="278451" y="99991"/>
                  </a:moveTo>
                  <a:lnTo>
                    <a:pt x="447314" y="99991"/>
                  </a:lnTo>
                  <a:lnTo>
                    <a:pt x="447314" y="118691"/>
                  </a:lnTo>
                  <a:lnTo>
                    <a:pt x="278451" y="118691"/>
                  </a:lnTo>
                  <a:close/>
                  <a:moveTo>
                    <a:pt x="156937" y="99991"/>
                  </a:moveTo>
                  <a:lnTo>
                    <a:pt x="235970" y="99991"/>
                  </a:lnTo>
                  <a:lnTo>
                    <a:pt x="235970" y="118691"/>
                  </a:lnTo>
                  <a:lnTo>
                    <a:pt x="156937" y="118691"/>
                  </a:lnTo>
                  <a:close/>
                  <a:moveTo>
                    <a:pt x="116312" y="41471"/>
                  </a:moveTo>
                  <a:lnTo>
                    <a:pt x="116312" y="288120"/>
                  </a:lnTo>
                  <a:lnTo>
                    <a:pt x="493160" y="288120"/>
                  </a:lnTo>
                  <a:lnTo>
                    <a:pt x="493160" y="41471"/>
                  </a:lnTo>
                  <a:close/>
                  <a:moveTo>
                    <a:pt x="66684" y="0"/>
                  </a:moveTo>
                  <a:lnTo>
                    <a:pt x="542788" y="0"/>
                  </a:lnTo>
                  <a:lnTo>
                    <a:pt x="542788" y="329682"/>
                  </a:lnTo>
                  <a:lnTo>
                    <a:pt x="66684" y="32968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55" name="文本框 54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830407" y="4996175"/>
            <a:ext cx="2661940" cy="1054343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8" name="任意多边形: 形状 27"/>
          <p:cNvSpPr/>
          <p:nvPr/>
        </p:nvSpPr>
        <p:spPr>
          <a:xfrm>
            <a:off x="5409677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sp>
        <p:nvSpPr>
          <p:cNvPr id="29" name="任意多边形: 形状 28"/>
          <p:cNvSpPr/>
          <p:nvPr/>
        </p:nvSpPr>
        <p:spPr>
          <a:xfrm flipH="1">
            <a:off x="6204243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cxnSp>
        <p:nvCxnSpPr>
          <p:cNvPr id="30" name="直接连接符 29"/>
          <p:cNvCxnSpPr>
            <a:stCxn id="32" idx="0"/>
            <a:endCxn id="44" idx="0"/>
          </p:cNvCxnSpPr>
          <p:nvPr/>
        </p:nvCxnSpPr>
        <p:spPr>
          <a:xfrm flipH="1">
            <a:off x="5184593" y="3475898"/>
            <a:ext cx="91389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cxnSp>
        <p:nvCxnSpPr>
          <p:cNvPr id="31" name="直接连接符 30"/>
          <p:cNvCxnSpPr>
            <a:stCxn id="32" idx="0"/>
            <a:endCxn id="42" idx="0"/>
          </p:cNvCxnSpPr>
          <p:nvPr/>
        </p:nvCxnSpPr>
        <p:spPr>
          <a:xfrm>
            <a:off x="6098484" y="3475898"/>
            <a:ext cx="90892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sp>
        <p:nvSpPr>
          <p:cNvPr id="32" name="任意多边形: 形状 31"/>
          <p:cNvSpPr/>
          <p:nvPr/>
        </p:nvSpPr>
        <p:spPr>
          <a:xfrm>
            <a:off x="5430343" y="2807756"/>
            <a:ext cx="1336281" cy="13362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>
            <a:lvl1pPr algn="ctr" defTabSz="825500">
              <a:defRPr sz="5000"/>
            </a:lvl1pPr>
            <a:lvl2pPr indent="228600" algn="ctr" defTabSz="825500">
              <a:defRPr sz="5000"/>
            </a:lvl2pPr>
            <a:lvl3pPr indent="457200" algn="ctr" defTabSz="825500">
              <a:defRPr sz="5000"/>
            </a:lvl3pPr>
            <a:lvl4pPr indent="685800" algn="ctr" defTabSz="825500">
              <a:defRPr sz="5000"/>
            </a:lvl4pPr>
            <a:lvl5pPr indent="914400" algn="ctr" defTabSz="825500">
              <a:defRPr sz="5000"/>
            </a:lvl5pPr>
            <a:lvl6pPr indent="1143000" algn="ctr" defTabSz="825500">
              <a:defRPr sz="5000"/>
            </a:lvl6pPr>
            <a:lvl7pPr indent="1371600" algn="ctr" defTabSz="825500">
              <a:defRPr sz="5000"/>
            </a:lvl7pPr>
            <a:lvl8pPr indent="1600200" algn="ctr" defTabSz="825500">
              <a:defRPr sz="5000"/>
            </a:lvl8pPr>
            <a:lvl9pPr indent="1828800" algn="ctr" defTabSz="825500">
              <a:defRPr sz="5000"/>
            </a:lvl9pPr>
          </a:lstStyle>
          <a:p>
            <a:pPr>
              <a:spcBef>
                <a:spcPct val="0"/>
              </a:spcBef>
            </a:pPr>
            <a:r>
              <a:rPr lang="en-US" altLang="zh-CN" sz="2400" i="1" u="sng">
                <a:solidFill>
                  <a:schemeClr val="bg1"/>
                </a:solidFill>
              </a:rPr>
              <a:t>T</a:t>
            </a:r>
            <a:r>
              <a:rPr lang="en-US" altLang="zh-CN" sz="100" i="1" u="sng">
                <a:solidFill>
                  <a:schemeClr val="bg1"/>
                </a:solidFill>
              </a:rPr>
              <a:t> </a:t>
            </a:r>
            <a:r>
              <a:rPr lang="en-US" altLang="zh-CN" sz="2400" i="1" u="sng">
                <a:solidFill>
                  <a:schemeClr val="bg1"/>
                </a:solidFill>
              </a:rPr>
              <a:t>ext</a:t>
            </a:r>
            <a:endParaRPr lang="en-US" altLang="zh-CN" sz="2400" i="1" u="sng" dirty="0">
              <a:solidFill>
                <a:schemeClr val="bg1"/>
              </a:solidFill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4943475" y="4328989"/>
            <a:ext cx="482235" cy="482235"/>
            <a:chOff x="4943475" y="4328989"/>
            <a:chExt cx="482235" cy="482235"/>
          </a:xfrm>
        </p:grpSpPr>
        <p:sp>
          <p:nvSpPr>
            <p:cNvPr id="44" name="任意多边形: 形状 43"/>
            <p:cNvSpPr/>
            <p:nvPr/>
          </p:nvSpPr>
          <p:spPr>
            <a:xfrm>
              <a:off x="4943475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45" name="任意多边形: 形状 44"/>
            <p:cNvSpPr/>
            <p:nvPr/>
          </p:nvSpPr>
          <p:spPr>
            <a:xfrm>
              <a:off x="5074334" y="4444127"/>
              <a:ext cx="220515" cy="251958"/>
            </a:xfrm>
            <a:custGeom>
              <a:avLst/>
              <a:gdLst>
                <a:gd name="T0" fmla="*/ 506 w 506"/>
                <a:gd name="T1" fmla="*/ 428 h 579"/>
                <a:gd name="T2" fmla="*/ 463 w 506"/>
                <a:gd name="T3" fmla="*/ 391 h 579"/>
                <a:gd name="T4" fmla="*/ 463 w 506"/>
                <a:gd name="T5" fmla="*/ 417 h 579"/>
                <a:gd name="T6" fmla="*/ 308 w 506"/>
                <a:gd name="T7" fmla="*/ 417 h 579"/>
                <a:gd name="T8" fmla="*/ 308 w 506"/>
                <a:gd name="T9" fmla="*/ 290 h 579"/>
                <a:gd name="T10" fmla="*/ 334 w 506"/>
                <a:gd name="T11" fmla="*/ 290 h 579"/>
                <a:gd name="T12" fmla="*/ 334 w 506"/>
                <a:gd name="T13" fmla="*/ 351 h 579"/>
                <a:gd name="T14" fmla="*/ 389 w 506"/>
                <a:gd name="T15" fmla="*/ 351 h 579"/>
                <a:gd name="T16" fmla="*/ 389 w 506"/>
                <a:gd name="T17" fmla="*/ 378 h 579"/>
                <a:gd name="T18" fmla="*/ 433 w 506"/>
                <a:gd name="T19" fmla="*/ 344 h 579"/>
                <a:gd name="T20" fmla="*/ 389 w 506"/>
                <a:gd name="T21" fmla="*/ 307 h 579"/>
                <a:gd name="T22" fmla="*/ 389 w 506"/>
                <a:gd name="T23" fmla="*/ 333 h 579"/>
                <a:gd name="T24" fmla="*/ 351 w 506"/>
                <a:gd name="T25" fmla="*/ 333 h 579"/>
                <a:gd name="T26" fmla="*/ 351 w 506"/>
                <a:gd name="T27" fmla="*/ 290 h 579"/>
                <a:gd name="T28" fmla="*/ 406 w 506"/>
                <a:gd name="T29" fmla="*/ 290 h 579"/>
                <a:gd name="T30" fmla="*/ 500 w 506"/>
                <a:gd name="T31" fmla="*/ 196 h 579"/>
                <a:gd name="T32" fmla="*/ 406 w 506"/>
                <a:gd name="T33" fmla="*/ 102 h 579"/>
                <a:gd name="T34" fmla="*/ 406 w 506"/>
                <a:gd name="T35" fmla="*/ 102 h 579"/>
                <a:gd name="T36" fmla="*/ 406 w 506"/>
                <a:gd name="T37" fmla="*/ 94 h 579"/>
                <a:gd name="T38" fmla="*/ 312 w 506"/>
                <a:gd name="T39" fmla="*/ 0 h 579"/>
                <a:gd name="T40" fmla="*/ 230 w 506"/>
                <a:gd name="T41" fmla="*/ 48 h 579"/>
                <a:gd name="T42" fmla="*/ 195 w 506"/>
                <a:gd name="T43" fmla="*/ 41 h 579"/>
                <a:gd name="T44" fmla="*/ 107 w 506"/>
                <a:gd name="T45" fmla="*/ 103 h 579"/>
                <a:gd name="T46" fmla="*/ 101 w 506"/>
                <a:gd name="T47" fmla="*/ 102 h 579"/>
                <a:gd name="T48" fmla="*/ 7 w 506"/>
                <a:gd name="T49" fmla="*/ 196 h 579"/>
                <a:gd name="T50" fmla="*/ 101 w 506"/>
                <a:gd name="T51" fmla="*/ 290 h 579"/>
                <a:gd name="T52" fmla="*/ 156 w 506"/>
                <a:gd name="T53" fmla="*/ 290 h 579"/>
                <a:gd name="T54" fmla="*/ 156 w 506"/>
                <a:gd name="T55" fmla="*/ 333 h 579"/>
                <a:gd name="T56" fmla="*/ 118 w 506"/>
                <a:gd name="T57" fmla="*/ 333 h 579"/>
                <a:gd name="T58" fmla="*/ 118 w 506"/>
                <a:gd name="T59" fmla="*/ 307 h 579"/>
                <a:gd name="T60" fmla="*/ 74 w 506"/>
                <a:gd name="T61" fmla="*/ 344 h 579"/>
                <a:gd name="T62" fmla="*/ 118 w 506"/>
                <a:gd name="T63" fmla="*/ 378 h 579"/>
                <a:gd name="T64" fmla="*/ 118 w 506"/>
                <a:gd name="T65" fmla="*/ 351 h 579"/>
                <a:gd name="T66" fmla="*/ 173 w 506"/>
                <a:gd name="T67" fmla="*/ 351 h 579"/>
                <a:gd name="T68" fmla="*/ 173 w 506"/>
                <a:gd name="T69" fmla="*/ 290 h 579"/>
                <a:gd name="T70" fmla="*/ 198 w 506"/>
                <a:gd name="T71" fmla="*/ 290 h 579"/>
                <a:gd name="T72" fmla="*/ 198 w 506"/>
                <a:gd name="T73" fmla="*/ 417 h 579"/>
                <a:gd name="T74" fmla="*/ 44 w 506"/>
                <a:gd name="T75" fmla="*/ 417 h 579"/>
                <a:gd name="T76" fmla="*/ 44 w 506"/>
                <a:gd name="T77" fmla="*/ 391 h 579"/>
                <a:gd name="T78" fmla="*/ 0 w 506"/>
                <a:gd name="T79" fmla="*/ 428 h 579"/>
                <a:gd name="T80" fmla="*/ 44 w 506"/>
                <a:gd name="T81" fmla="*/ 462 h 579"/>
                <a:gd name="T82" fmla="*/ 44 w 506"/>
                <a:gd name="T83" fmla="*/ 435 h 579"/>
                <a:gd name="T84" fmla="*/ 216 w 506"/>
                <a:gd name="T85" fmla="*/ 435 h 579"/>
                <a:gd name="T86" fmla="*/ 216 w 506"/>
                <a:gd name="T87" fmla="*/ 290 h 579"/>
                <a:gd name="T88" fmla="*/ 244 w 506"/>
                <a:gd name="T89" fmla="*/ 290 h 579"/>
                <a:gd name="T90" fmla="*/ 244 w 506"/>
                <a:gd name="T91" fmla="*/ 535 h 579"/>
                <a:gd name="T92" fmla="*/ 218 w 506"/>
                <a:gd name="T93" fmla="*/ 535 h 579"/>
                <a:gd name="T94" fmla="*/ 253 w 506"/>
                <a:gd name="T95" fmla="*/ 579 h 579"/>
                <a:gd name="T96" fmla="*/ 289 w 506"/>
                <a:gd name="T97" fmla="*/ 535 h 579"/>
                <a:gd name="T98" fmla="*/ 263 w 506"/>
                <a:gd name="T99" fmla="*/ 535 h 579"/>
                <a:gd name="T100" fmla="*/ 263 w 506"/>
                <a:gd name="T101" fmla="*/ 290 h 579"/>
                <a:gd name="T102" fmla="*/ 291 w 506"/>
                <a:gd name="T103" fmla="*/ 290 h 579"/>
                <a:gd name="T104" fmla="*/ 291 w 506"/>
                <a:gd name="T105" fmla="*/ 435 h 579"/>
                <a:gd name="T106" fmla="*/ 463 w 506"/>
                <a:gd name="T107" fmla="*/ 435 h 579"/>
                <a:gd name="T108" fmla="*/ 463 w 506"/>
                <a:gd name="T109" fmla="*/ 462 h 579"/>
                <a:gd name="T110" fmla="*/ 506 w 506"/>
                <a:gd name="T111" fmla="*/ 428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579">
                  <a:moveTo>
                    <a:pt x="506" y="428"/>
                  </a:moveTo>
                  <a:lnTo>
                    <a:pt x="463" y="391"/>
                  </a:lnTo>
                  <a:lnTo>
                    <a:pt x="463" y="417"/>
                  </a:lnTo>
                  <a:lnTo>
                    <a:pt x="308" y="417"/>
                  </a:lnTo>
                  <a:lnTo>
                    <a:pt x="308" y="290"/>
                  </a:lnTo>
                  <a:lnTo>
                    <a:pt x="334" y="290"/>
                  </a:lnTo>
                  <a:lnTo>
                    <a:pt x="334" y="351"/>
                  </a:lnTo>
                  <a:lnTo>
                    <a:pt x="389" y="351"/>
                  </a:lnTo>
                  <a:lnTo>
                    <a:pt x="389" y="378"/>
                  </a:lnTo>
                  <a:lnTo>
                    <a:pt x="433" y="344"/>
                  </a:lnTo>
                  <a:lnTo>
                    <a:pt x="389" y="307"/>
                  </a:lnTo>
                  <a:lnTo>
                    <a:pt x="389" y="333"/>
                  </a:lnTo>
                  <a:lnTo>
                    <a:pt x="351" y="333"/>
                  </a:lnTo>
                  <a:lnTo>
                    <a:pt x="351" y="290"/>
                  </a:lnTo>
                  <a:lnTo>
                    <a:pt x="406" y="290"/>
                  </a:lnTo>
                  <a:cubicBezTo>
                    <a:pt x="458" y="290"/>
                    <a:pt x="500" y="248"/>
                    <a:pt x="500" y="196"/>
                  </a:cubicBezTo>
                  <a:cubicBezTo>
                    <a:pt x="500" y="144"/>
                    <a:pt x="458" y="102"/>
                    <a:pt x="406" y="102"/>
                  </a:cubicBezTo>
                  <a:cubicBezTo>
                    <a:pt x="406" y="102"/>
                    <a:pt x="406" y="102"/>
                    <a:pt x="406" y="102"/>
                  </a:cubicBezTo>
                  <a:cubicBezTo>
                    <a:pt x="406" y="99"/>
                    <a:pt x="406" y="97"/>
                    <a:pt x="406" y="94"/>
                  </a:cubicBezTo>
                  <a:cubicBezTo>
                    <a:pt x="406" y="42"/>
                    <a:pt x="364" y="0"/>
                    <a:pt x="312" y="0"/>
                  </a:cubicBezTo>
                  <a:cubicBezTo>
                    <a:pt x="277" y="0"/>
                    <a:pt x="246" y="19"/>
                    <a:pt x="230" y="48"/>
                  </a:cubicBezTo>
                  <a:cubicBezTo>
                    <a:pt x="219" y="44"/>
                    <a:pt x="208" y="41"/>
                    <a:pt x="195" y="41"/>
                  </a:cubicBezTo>
                  <a:cubicBezTo>
                    <a:pt x="155" y="41"/>
                    <a:pt x="121" y="67"/>
                    <a:pt x="107" y="103"/>
                  </a:cubicBezTo>
                  <a:cubicBezTo>
                    <a:pt x="105" y="102"/>
                    <a:pt x="103" y="102"/>
                    <a:pt x="101" y="102"/>
                  </a:cubicBezTo>
                  <a:cubicBezTo>
                    <a:pt x="49" y="102"/>
                    <a:pt x="7" y="144"/>
                    <a:pt x="7" y="196"/>
                  </a:cubicBezTo>
                  <a:cubicBezTo>
                    <a:pt x="7" y="248"/>
                    <a:pt x="49" y="290"/>
                    <a:pt x="101" y="290"/>
                  </a:cubicBezTo>
                  <a:lnTo>
                    <a:pt x="156" y="290"/>
                  </a:lnTo>
                  <a:lnTo>
                    <a:pt x="156" y="333"/>
                  </a:lnTo>
                  <a:lnTo>
                    <a:pt x="118" y="333"/>
                  </a:lnTo>
                  <a:lnTo>
                    <a:pt x="118" y="307"/>
                  </a:lnTo>
                  <a:lnTo>
                    <a:pt x="74" y="344"/>
                  </a:lnTo>
                  <a:lnTo>
                    <a:pt x="118" y="378"/>
                  </a:lnTo>
                  <a:lnTo>
                    <a:pt x="118" y="351"/>
                  </a:lnTo>
                  <a:lnTo>
                    <a:pt x="173" y="351"/>
                  </a:lnTo>
                  <a:lnTo>
                    <a:pt x="173" y="290"/>
                  </a:lnTo>
                  <a:lnTo>
                    <a:pt x="198" y="290"/>
                  </a:lnTo>
                  <a:lnTo>
                    <a:pt x="198" y="417"/>
                  </a:lnTo>
                  <a:lnTo>
                    <a:pt x="44" y="417"/>
                  </a:lnTo>
                  <a:lnTo>
                    <a:pt x="44" y="391"/>
                  </a:lnTo>
                  <a:lnTo>
                    <a:pt x="0" y="428"/>
                  </a:lnTo>
                  <a:lnTo>
                    <a:pt x="44" y="462"/>
                  </a:lnTo>
                  <a:lnTo>
                    <a:pt x="44" y="435"/>
                  </a:lnTo>
                  <a:lnTo>
                    <a:pt x="216" y="435"/>
                  </a:lnTo>
                  <a:lnTo>
                    <a:pt x="216" y="290"/>
                  </a:lnTo>
                  <a:lnTo>
                    <a:pt x="244" y="290"/>
                  </a:lnTo>
                  <a:lnTo>
                    <a:pt x="244" y="535"/>
                  </a:lnTo>
                  <a:lnTo>
                    <a:pt x="218" y="535"/>
                  </a:lnTo>
                  <a:lnTo>
                    <a:pt x="253" y="579"/>
                  </a:lnTo>
                  <a:lnTo>
                    <a:pt x="289" y="535"/>
                  </a:lnTo>
                  <a:lnTo>
                    <a:pt x="263" y="535"/>
                  </a:lnTo>
                  <a:lnTo>
                    <a:pt x="263" y="290"/>
                  </a:lnTo>
                  <a:lnTo>
                    <a:pt x="291" y="290"/>
                  </a:lnTo>
                  <a:lnTo>
                    <a:pt x="291" y="435"/>
                  </a:lnTo>
                  <a:lnTo>
                    <a:pt x="463" y="435"/>
                  </a:lnTo>
                  <a:lnTo>
                    <a:pt x="463" y="462"/>
                  </a:lnTo>
                  <a:lnTo>
                    <a:pt x="506" y="42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6766290" y="4328989"/>
            <a:ext cx="482235" cy="482235"/>
            <a:chOff x="6766290" y="4328989"/>
            <a:chExt cx="482235" cy="482235"/>
          </a:xfrm>
        </p:grpSpPr>
        <p:sp>
          <p:nvSpPr>
            <p:cNvPr id="42" name="任意多边形: 形状 41"/>
            <p:cNvSpPr/>
            <p:nvPr/>
          </p:nvSpPr>
          <p:spPr>
            <a:xfrm>
              <a:off x="6766290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43" name="任意多边形: 形状 42"/>
            <p:cNvSpPr/>
            <p:nvPr/>
          </p:nvSpPr>
          <p:spPr>
            <a:xfrm>
              <a:off x="6897150" y="4444127"/>
              <a:ext cx="220515" cy="251958"/>
            </a:xfrm>
            <a:custGeom>
              <a:avLst/>
              <a:gdLst>
                <a:gd name="T0" fmla="*/ 506 w 506"/>
                <a:gd name="T1" fmla="*/ 428 h 579"/>
                <a:gd name="T2" fmla="*/ 463 w 506"/>
                <a:gd name="T3" fmla="*/ 391 h 579"/>
                <a:gd name="T4" fmla="*/ 463 w 506"/>
                <a:gd name="T5" fmla="*/ 417 h 579"/>
                <a:gd name="T6" fmla="*/ 308 w 506"/>
                <a:gd name="T7" fmla="*/ 417 h 579"/>
                <a:gd name="T8" fmla="*/ 308 w 506"/>
                <a:gd name="T9" fmla="*/ 290 h 579"/>
                <a:gd name="T10" fmla="*/ 334 w 506"/>
                <a:gd name="T11" fmla="*/ 290 h 579"/>
                <a:gd name="T12" fmla="*/ 334 w 506"/>
                <a:gd name="T13" fmla="*/ 351 h 579"/>
                <a:gd name="T14" fmla="*/ 389 w 506"/>
                <a:gd name="T15" fmla="*/ 351 h 579"/>
                <a:gd name="T16" fmla="*/ 389 w 506"/>
                <a:gd name="T17" fmla="*/ 378 h 579"/>
                <a:gd name="T18" fmla="*/ 433 w 506"/>
                <a:gd name="T19" fmla="*/ 344 h 579"/>
                <a:gd name="T20" fmla="*/ 389 w 506"/>
                <a:gd name="T21" fmla="*/ 307 h 579"/>
                <a:gd name="T22" fmla="*/ 389 w 506"/>
                <a:gd name="T23" fmla="*/ 333 h 579"/>
                <a:gd name="T24" fmla="*/ 351 w 506"/>
                <a:gd name="T25" fmla="*/ 333 h 579"/>
                <a:gd name="T26" fmla="*/ 351 w 506"/>
                <a:gd name="T27" fmla="*/ 290 h 579"/>
                <a:gd name="T28" fmla="*/ 406 w 506"/>
                <a:gd name="T29" fmla="*/ 290 h 579"/>
                <a:gd name="T30" fmla="*/ 500 w 506"/>
                <a:gd name="T31" fmla="*/ 196 h 579"/>
                <a:gd name="T32" fmla="*/ 406 w 506"/>
                <a:gd name="T33" fmla="*/ 102 h 579"/>
                <a:gd name="T34" fmla="*/ 406 w 506"/>
                <a:gd name="T35" fmla="*/ 102 h 579"/>
                <a:gd name="T36" fmla="*/ 406 w 506"/>
                <a:gd name="T37" fmla="*/ 94 h 579"/>
                <a:gd name="T38" fmla="*/ 312 w 506"/>
                <a:gd name="T39" fmla="*/ 0 h 579"/>
                <a:gd name="T40" fmla="*/ 230 w 506"/>
                <a:gd name="T41" fmla="*/ 48 h 579"/>
                <a:gd name="T42" fmla="*/ 195 w 506"/>
                <a:gd name="T43" fmla="*/ 41 h 579"/>
                <a:gd name="T44" fmla="*/ 107 w 506"/>
                <a:gd name="T45" fmla="*/ 103 h 579"/>
                <a:gd name="T46" fmla="*/ 101 w 506"/>
                <a:gd name="T47" fmla="*/ 102 h 579"/>
                <a:gd name="T48" fmla="*/ 7 w 506"/>
                <a:gd name="T49" fmla="*/ 196 h 579"/>
                <a:gd name="T50" fmla="*/ 101 w 506"/>
                <a:gd name="T51" fmla="*/ 290 h 579"/>
                <a:gd name="T52" fmla="*/ 156 w 506"/>
                <a:gd name="T53" fmla="*/ 290 h 579"/>
                <a:gd name="T54" fmla="*/ 156 w 506"/>
                <a:gd name="T55" fmla="*/ 333 h 579"/>
                <a:gd name="T56" fmla="*/ 118 w 506"/>
                <a:gd name="T57" fmla="*/ 333 h 579"/>
                <a:gd name="T58" fmla="*/ 118 w 506"/>
                <a:gd name="T59" fmla="*/ 307 h 579"/>
                <a:gd name="T60" fmla="*/ 74 w 506"/>
                <a:gd name="T61" fmla="*/ 344 h 579"/>
                <a:gd name="T62" fmla="*/ 118 w 506"/>
                <a:gd name="T63" fmla="*/ 378 h 579"/>
                <a:gd name="T64" fmla="*/ 118 w 506"/>
                <a:gd name="T65" fmla="*/ 351 h 579"/>
                <a:gd name="T66" fmla="*/ 173 w 506"/>
                <a:gd name="T67" fmla="*/ 351 h 579"/>
                <a:gd name="T68" fmla="*/ 173 w 506"/>
                <a:gd name="T69" fmla="*/ 290 h 579"/>
                <a:gd name="T70" fmla="*/ 198 w 506"/>
                <a:gd name="T71" fmla="*/ 290 h 579"/>
                <a:gd name="T72" fmla="*/ 198 w 506"/>
                <a:gd name="T73" fmla="*/ 417 h 579"/>
                <a:gd name="T74" fmla="*/ 44 w 506"/>
                <a:gd name="T75" fmla="*/ 417 h 579"/>
                <a:gd name="T76" fmla="*/ 44 w 506"/>
                <a:gd name="T77" fmla="*/ 391 h 579"/>
                <a:gd name="T78" fmla="*/ 0 w 506"/>
                <a:gd name="T79" fmla="*/ 428 h 579"/>
                <a:gd name="T80" fmla="*/ 44 w 506"/>
                <a:gd name="T81" fmla="*/ 462 h 579"/>
                <a:gd name="T82" fmla="*/ 44 w 506"/>
                <a:gd name="T83" fmla="*/ 435 h 579"/>
                <a:gd name="T84" fmla="*/ 216 w 506"/>
                <a:gd name="T85" fmla="*/ 435 h 579"/>
                <a:gd name="T86" fmla="*/ 216 w 506"/>
                <a:gd name="T87" fmla="*/ 290 h 579"/>
                <a:gd name="T88" fmla="*/ 244 w 506"/>
                <a:gd name="T89" fmla="*/ 290 h 579"/>
                <a:gd name="T90" fmla="*/ 244 w 506"/>
                <a:gd name="T91" fmla="*/ 535 h 579"/>
                <a:gd name="T92" fmla="*/ 218 w 506"/>
                <a:gd name="T93" fmla="*/ 535 h 579"/>
                <a:gd name="T94" fmla="*/ 253 w 506"/>
                <a:gd name="T95" fmla="*/ 579 h 579"/>
                <a:gd name="T96" fmla="*/ 289 w 506"/>
                <a:gd name="T97" fmla="*/ 535 h 579"/>
                <a:gd name="T98" fmla="*/ 263 w 506"/>
                <a:gd name="T99" fmla="*/ 535 h 579"/>
                <a:gd name="T100" fmla="*/ 263 w 506"/>
                <a:gd name="T101" fmla="*/ 290 h 579"/>
                <a:gd name="T102" fmla="*/ 291 w 506"/>
                <a:gd name="T103" fmla="*/ 290 h 579"/>
                <a:gd name="T104" fmla="*/ 291 w 506"/>
                <a:gd name="T105" fmla="*/ 435 h 579"/>
                <a:gd name="T106" fmla="*/ 463 w 506"/>
                <a:gd name="T107" fmla="*/ 435 h 579"/>
                <a:gd name="T108" fmla="*/ 463 w 506"/>
                <a:gd name="T109" fmla="*/ 462 h 579"/>
                <a:gd name="T110" fmla="*/ 506 w 506"/>
                <a:gd name="T111" fmla="*/ 428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579">
                  <a:moveTo>
                    <a:pt x="506" y="428"/>
                  </a:moveTo>
                  <a:lnTo>
                    <a:pt x="463" y="391"/>
                  </a:lnTo>
                  <a:lnTo>
                    <a:pt x="463" y="417"/>
                  </a:lnTo>
                  <a:lnTo>
                    <a:pt x="308" y="417"/>
                  </a:lnTo>
                  <a:lnTo>
                    <a:pt x="308" y="290"/>
                  </a:lnTo>
                  <a:lnTo>
                    <a:pt x="334" y="290"/>
                  </a:lnTo>
                  <a:lnTo>
                    <a:pt x="334" y="351"/>
                  </a:lnTo>
                  <a:lnTo>
                    <a:pt x="389" y="351"/>
                  </a:lnTo>
                  <a:lnTo>
                    <a:pt x="389" y="378"/>
                  </a:lnTo>
                  <a:lnTo>
                    <a:pt x="433" y="344"/>
                  </a:lnTo>
                  <a:lnTo>
                    <a:pt x="389" y="307"/>
                  </a:lnTo>
                  <a:lnTo>
                    <a:pt x="389" y="333"/>
                  </a:lnTo>
                  <a:lnTo>
                    <a:pt x="351" y="333"/>
                  </a:lnTo>
                  <a:lnTo>
                    <a:pt x="351" y="290"/>
                  </a:lnTo>
                  <a:lnTo>
                    <a:pt x="406" y="290"/>
                  </a:lnTo>
                  <a:cubicBezTo>
                    <a:pt x="458" y="290"/>
                    <a:pt x="500" y="248"/>
                    <a:pt x="500" y="196"/>
                  </a:cubicBezTo>
                  <a:cubicBezTo>
                    <a:pt x="500" y="144"/>
                    <a:pt x="458" y="102"/>
                    <a:pt x="406" y="102"/>
                  </a:cubicBezTo>
                  <a:cubicBezTo>
                    <a:pt x="406" y="102"/>
                    <a:pt x="406" y="102"/>
                    <a:pt x="406" y="102"/>
                  </a:cubicBezTo>
                  <a:cubicBezTo>
                    <a:pt x="406" y="99"/>
                    <a:pt x="406" y="97"/>
                    <a:pt x="406" y="94"/>
                  </a:cubicBezTo>
                  <a:cubicBezTo>
                    <a:pt x="406" y="42"/>
                    <a:pt x="364" y="0"/>
                    <a:pt x="312" y="0"/>
                  </a:cubicBezTo>
                  <a:cubicBezTo>
                    <a:pt x="277" y="0"/>
                    <a:pt x="246" y="19"/>
                    <a:pt x="230" y="48"/>
                  </a:cubicBezTo>
                  <a:cubicBezTo>
                    <a:pt x="219" y="44"/>
                    <a:pt x="208" y="41"/>
                    <a:pt x="195" y="41"/>
                  </a:cubicBezTo>
                  <a:cubicBezTo>
                    <a:pt x="155" y="41"/>
                    <a:pt x="121" y="67"/>
                    <a:pt x="107" y="103"/>
                  </a:cubicBezTo>
                  <a:cubicBezTo>
                    <a:pt x="105" y="102"/>
                    <a:pt x="103" y="102"/>
                    <a:pt x="101" y="102"/>
                  </a:cubicBezTo>
                  <a:cubicBezTo>
                    <a:pt x="49" y="102"/>
                    <a:pt x="7" y="144"/>
                    <a:pt x="7" y="196"/>
                  </a:cubicBezTo>
                  <a:cubicBezTo>
                    <a:pt x="7" y="248"/>
                    <a:pt x="49" y="290"/>
                    <a:pt x="101" y="290"/>
                  </a:cubicBezTo>
                  <a:lnTo>
                    <a:pt x="156" y="290"/>
                  </a:lnTo>
                  <a:lnTo>
                    <a:pt x="156" y="333"/>
                  </a:lnTo>
                  <a:lnTo>
                    <a:pt x="118" y="333"/>
                  </a:lnTo>
                  <a:lnTo>
                    <a:pt x="118" y="307"/>
                  </a:lnTo>
                  <a:lnTo>
                    <a:pt x="74" y="344"/>
                  </a:lnTo>
                  <a:lnTo>
                    <a:pt x="118" y="378"/>
                  </a:lnTo>
                  <a:lnTo>
                    <a:pt x="118" y="351"/>
                  </a:lnTo>
                  <a:lnTo>
                    <a:pt x="173" y="351"/>
                  </a:lnTo>
                  <a:lnTo>
                    <a:pt x="173" y="290"/>
                  </a:lnTo>
                  <a:lnTo>
                    <a:pt x="198" y="290"/>
                  </a:lnTo>
                  <a:lnTo>
                    <a:pt x="198" y="417"/>
                  </a:lnTo>
                  <a:lnTo>
                    <a:pt x="44" y="417"/>
                  </a:lnTo>
                  <a:lnTo>
                    <a:pt x="44" y="391"/>
                  </a:lnTo>
                  <a:lnTo>
                    <a:pt x="0" y="428"/>
                  </a:lnTo>
                  <a:lnTo>
                    <a:pt x="44" y="462"/>
                  </a:lnTo>
                  <a:lnTo>
                    <a:pt x="44" y="435"/>
                  </a:lnTo>
                  <a:lnTo>
                    <a:pt x="216" y="435"/>
                  </a:lnTo>
                  <a:lnTo>
                    <a:pt x="216" y="290"/>
                  </a:lnTo>
                  <a:lnTo>
                    <a:pt x="244" y="290"/>
                  </a:lnTo>
                  <a:lnTo>
                    <a:pt x="244" y="535"/>
                  </a:lnTo>
                  <a:lnTo>
                    <a:pt x="218" y="535"/>
                  </a:lnTo>
                  <a:lnTo>
                    <a:pt x="253" y="579"/>
                  </a:lnTo>
                  <a:lnTo>
                    <a:pt x="289" y="535"/>
                  </a:lnTo>
                  <a:lnTo>
                    <a:pt x="263" y="535"/>
                  </a:lnTo>
                  <a:lnTo>
                    <a:pt x="263" y="290"/>
                  </a:lnTo>
                  <a:lnTo>
                    <a:pt x="291" y="290"/>
                  </a:lnTo>
                  <a:lnTo>
                    <a:pt x="291" y="435"/>
                  </a:lnTo>
                  <a:lnTo>
                    <a:pt x="463" y="435"/>
                  </a:lnTo>
                  <a:lnTo>
                    <a:pt x="463" y="462"/>
                  </a:lnTo>
                  <a:lnTo>
                    <a:pt x="506" y="42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6766289" y="1226582"/>
            <a:ext cx="482235" cy="482235"/>
            <a:chOff x="6766289" y="1226582"/>
            <a:chExt cx="482235" cy="482235"/>
          </a:xfrm>
        </p:grpSpPr>
        <p:sp>
          <p:nvSpPr>
            <p:cNvPr id="40" name="任意多边形: 形状 39"/>
            <p:cNvSpPr/>
            <p:nvPr/>
          </p:nvSpPr>
          <p:spPr>
            <a:xfrm>
              <a:off x="6766289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41" name="任意多边形: 形状 40"/>
            <p:cNvSpPr/>
            <p:nvPr/>
          </p:nvSpPr>
          <p:spPr>
            <a:xfrm>
              <a:off x="6897150" y="1341724"/>
              <a:ext cx="220515" cy="251958"/>
            </a:xfrm>
            <a:custGeom>
              <a:avLst/>
              <a:gdLst>
                <a:gd name="T0" fmla="*/ 506 w 506"/>
                <a:gd name="T1" fmla="*/ 428 h 579"/>
                <a:gd name="T2" fmla="*/ 463 w 506"/>
                <a:gd name="T3" fmla="*/ 391 h 579"/>
                <a:gd name="T4" fmla="*/ 463 w 506"/>
                <a:gd name="T5" fmla="*/ 417 h 579"/>
                <a:gd name="T6" fmla="*/ 308 w 506"/>
                <a:gd name="T7" fmla="*/ 417 h 579"/>
                <a:gd name="T8" fmla="*/ 308 w 506"/>
                <a:gd name="T9" fmla="*/ 290 h 579"/>
                <a:gd name="T10" fmla="*/ 334 w 506"/>
                <a:gd name="T11" fmla="*/ 290 h 579"/>
                <a:gd name="T12" fmla="*/ 334 w 506"/>
                <a:gd name="T13" fmla="*/ 351 h 579"/>
                <a:gd name="T14" fmla="*/ 389 w 506"/>
                <a:gd name="T15" fmla="*/ 351 h 579"/>
                <a:gd name="T16" fmla="*/ 389 w 506"/>
                <a:gd name="T17" fmla="*/ 378 h 579"/>
                <a:gd name="T18" fmla="*/ 433 w 506"/>
                <a:gd name="T19" fmla="*/ 344 h 579"/>
                <a:gd name="T20" fmla="*/ 389 w 506"/>
                <a:gd name="T21" fmla="*/ 307 h 579"/>
                <a:gd name="T22" fmla="*/ 389 w 506"/>
                <a:gd name="T23" fmla="*/ 333 h 579"/>
                <a:gd name="T24" fmla="*/ 351 w 506"/>
                <a:gd name="T25" fmla="*/ 333 h 579"/>
                <a:gd name="T26" fmla="*/ 351 w 506"/>
                <a:gd name="T27" fmla="*/ 290 h 579"/>
                <a:gd name="T28" fmla="*/ 406 w 506"/>
                <a:gd name="T29" fmla="*/ 290 h 579"/>
                <a:gd name="T30" fmla="*/ 500 w 506"/>
                <a:gd name="T31" fmla="*/ 196 h 579"/>
                <a:gd name="T32" fmla="*/ 406 w 506"/>
                <a:gd name="T33" fmla="*/ 102 h 579"/>
                <a:gd name="T34" fmla="*/ 406 w 506"/>
                <a:gd name="T35" fmla="*/ 102 h 579"/>
                <a:gd name="T36" fmla="*/ 406 w 506"/>
                <a:gd name="T37" fmla="*/ 94 h 579"/>
                <a:gd name="T38" fmla="*/ 312 w 506"/>
                <a:gd name="T39" fmla="*/ 0 h 579"/>
                <a:gd name="T40" fmla="*/ 230 w 506"/>
                <a:gd name="T41" fmla="*/ 48 h 579"/>
                <a:gd name="T42" fmla="*/ 195 w 506"/>
                <a:gd name="T43" fmla="*/ 41 h 579"/>
                <a:gd name="T44" fmla="*/ 107 w 506"/>
                <a:gd name="T45" fmla="*/ 103 h 579"/>
                <a:gd name="T46" fmla="*/ 101 w 506"/>
                <a:gd name="T47" fmla="*/ 102 h 579"/>
                <a:gd name="T48" fmla="*/ 7 w 506"/>
                <a:gd name="T49" fmla="*/ 196 h 579"/>
                <a:gd name="T50" fmla="*/ 101 w 506"/>
                <a:gd name="T51" fmla="*/ 290 h 579"/>
                <a:gd name="T52" fmla="*/ 156 w 506"/>
                <a:gd name="T53" fmla="*/ 290 h 579"/>
                <a:gd name="T54" fmla="*/ 156 w 506"/>
                <a:gd name="T55" fmla="*/ 333 h 579"/>
                <a:gd name="T56" fmla="*/ 118 w 506"/>
                <a:gd name="T57" fmla="*/ 333 h 579"/>
                <a:gd name="T58" fmla="*/ 118 w 506"/>
                <a:gd name="T59" fmla="*/ 307 h 579"/>
                <a:gd name="T60" fmla="*/ 74 w 506"/>
                <a:gd name="T61" fmla="*/ 344 h 579"/>
                <a:gd name="T62" fmla="*/ 118 w 506"/>
                <a:gd name="T63" fmla="*/ 378 h 579"/>
                <a:gd name="T64" fmla="*/ 118 w 506"/>
                <a:gd name="T65" fmla="*/ 351 h 579"/>
                <a:gd name="T66" fmla="*/ 173 w 506"/>
                <a:gd name="T67" fmla="*/ 351 h 579"/>
                <a:gd name="T68" fmla="*/ 173 w 506"/>
                <a:gd name="T69" fmla="*/ 290 h 579"/>
                <a:gd name="T70" fmla="*/ 198 w 506"/>
                <a:gd name="T71" fmla="*/ 290 h 579"/>
                <a:gd name="T72" fmla="*/ 198 w 506"/>
                <a:gd name="T73" fmla="*/ 417 h 579"/>
                <a:gd name="T74" fmla="*/ 44 w 506"/>
                <a:gd name="T75" fmla="*/ 417 h 579"/>
                <a:gd name="T76" fmla="*/ 44 w 506"/>
                <a:gd name="T77" fmla="*/ 391 h 579"/>
                <a:gd name="T78" fmla="*/ 0 w 506"/>
                <a:gd name="T79" fmla="*/ 428 h 579"/>
                <a:gd name="T80" fmla="*/ 44 w 506"/>
                <a:gd name="T81" fmla="*/ 462 h 579"/>
                <a:gd name="T82" fmla="*/ 44 w 506"/>
                <a:gd name="T83" fmla="*/ 435 h 579"/>
                <a:gd name="T84" fmla="*/ 216 w 506"/>
                <a:gd name="T85" fmla="*/ 435 h 579"/>
                <a:gd name="T86" fmla="*/ 216 w 506"/>
                <a:gd name="T87" fmla="*/ 290 h 579"/>
                <a:gd name="T88" fmla="*/ 244 w 506"/>
                <a:gd name="T89" fmla="*/ 290 h 579"/>
                <a:gd name="T90" fmla="*/ 244 w 506"/>
                <a:gd name="T91" fmla="*/ 535 h 579"/>
                <a:gd name="T92" fmla="*/ 218 w 506"/>
                <a:gd name="T93" fmla="*/ 535 h 579"/>
                <a:gd name="T94" fmla="*/ 253 w 506"/>
                <a:gd name="T95" fmla="*/ 579 h 579"/>
                <a:gd name="T96" fmla="*/ 289 w 506"/>
                <a:gd name="T97" fmla="*/ 535 h 579"/>
                <a:gd name="T98" fmla="*/ 263 w 506"/>
                <a:gd name="T99" fmla="*/ 535 h 579"/>
                <a:gd name="T100" fmla="*/ 263 w 506"/>
                <a:gd name="T101" fmla="*/ 290 h 579"/>
                <a:gd name="T102" fmla="*/ 291 w 506"/>
                <a:gd name="T103" fmla="*/ 290 h 579"/>
                <a:gd name="T104" fmla="*/ 291 w 506"/>
                <a:gd name="T105" fmla="*/ 435 h 579"/>
                <a:gd name="T106" fmla="*/ 463 w 506"/>
                <a:gd name="T107" fmla="*/ 435 h 579"/>
                <a:gd name="T108" fmla="*/ 463 w 506"/>
                <a:gd name="T109" fmla="*/ 462 h 579"/>
                <a:gd name="T110" fmla="*/ 506 w 506"/>
                <a:gd name="T111" fmla="*/ 428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579">
                  <a:moveTo>
                    <a:pt x="506" y="428"/>
                  </a:moveTo>
                  <a:lnTo>
                    <a:pt x="463" y="391"/>
                  </a:lnTo>
                  <a:lnTo>
                    <a:pt x="463" y="417"/>
                  </a:lnTo>
                  <a:lnTo>
                    <a:pt x="308" y="417"/>
                  </a:lnTo>
                  <a:lnTo>
                    <a:pt x="308" y="290"/>
                  </a:lnTo>
                  <a:lnTo>
                    <a:pt x="334" y="290"/>
                  </a:lnTo>
                  <a:lnTo>
                    <a:pt x="334" y="351"/>
                  </a:lnTo>
                  <a:lnTo>
                    <a:pt x="389" y="351"/>
                  </a:lnTo>
                  <a:lnTo>
                    <a:pt x="389" y="378"/>
                  </a:lnTo>
                  <a:lnTo>
                    <a:pt x="433" y="344"/>
                  </a:lnTo>
                  <a:lnTo>
                    <a:pt x="389" y="307"/>
                  </a:lnTo>
                  <a:lnTo>
                    <a:pt x="389" y="333"/>
                  </a:lnTo>
                  <a:lnTo>
                    <a:pt x="351" y="333"/>
                  </a:lnTo>
                  <a:lnTo>
                    <a:pt x="351" y="290"/>
                  </a:lnTo>
                  <a:lnTo>
                    <a:pt x="406" y="290"/>
                  </a:lnTo>
                  <a:cubicBezTo>
                    <a:pt x="458" y="290"/>
                    <a:pt x="500" y="248"/>
                    <a:pt x="500" y="196"/>
                  </a:cubicBezTo>
                  <a:cubicBezTo>
                    <a:pt x="500" y="144"/>
                    <a:pt x="458" y="102"/>
                    <a:pt x="406" y="102"/>
                  </a:cubicBezTo>
                  <a:cubicBezTo>
                    <a:pt x="406" y="102"/>
                    <a:pt x="406" y="102"/>
                    <a:pt x="406" y="102"/>
                  </a:cubicBezTo>
                  <a:cubicBezTo>
                    <a:pt x="406" y="99"/>
                    <a:pt x="406" y="97"/>
                    <a:pt x="406" y="94"/>
                  </a:cubicBezTo>
                  <a:cubicBezTo>
                    <a:pt x="406" y="42"/>
                    <a:pt x="364" y="0"/>
                    <a:pt x="312" y="0"/>
                  </a:cubicBezTo>
                  <a:cubicBezTo>
                    <a:pt x="277" y="0"/>
                    <a:pt x="246" y="19"/>
                    <a:pt x="230" y="48"/>
                  </a:cubicBezTo>
                  <a:cubicBezTo>
                    <a:pt x="219" y="44"/>
                    <a:pt x="208" y="41"/>
                    <a:pt x="195" y="41"/>
                  </a:cubicBezTo>
                  <a:cubicBezTo>
                    <a:pt x="155" y="41"/>
                    <a:pt x="121" y="67"/>
                    <a:pt x="107" y="103"/>
                  </a:cubicBezTo>
                  <a:cubicBezTo>
                    <a:pt x="105" y="102"/>
                    <a:pt x="103" y="102"/>
                    <a:pt x="101" y="102"/>
                  </a:cubicBezTo>
                  <a:cubicBezTo>
                    <a:pt x="49" y="102"/>
                    <a:pt x="7" y="144"/>
                    <a:pt x="7" y="196"/>
                  </a:cubicBezTo>
                  <a:cubicBezTo>
                    <a:pt x="7" y="248"/>
                    <a:pt x="49" y="290"/>
                    <a:pt x="101" y="290"/>
                  </a:cubicBezTo>
                  <a:lnTo>
                    <a:pt x="156" y="290"/>
                  </a:lnTo>
                  <a:lnTo>
                    <a:pt x="156" y="333"/>
                  </a:lnTo>
                  <a:lnTo>
                    <a:pt x="118" y="333"/>
                  </a:lnTo>
                  <a:lnTo>
                    <a:pt x="118" y="307"/>
                  </a:lnTo>
                  <a:lnTo>
                    <a:pt x="74" y="344"/>
                  </a:lnTo>
                  <a:lnTo>
                    <a:pt x="118" y="378"/>
                  </a:lnTo>
                  <a:lnTo>
                    <a:pt x="118" y="351"/>
                  </a:lnTo>
                  <a:lnTo>
                    <a:pt x="173" y="351"/>
                  </a:lnTo>
                  <a:lnTo>
                    <a:pt x="173" y="290"/>
                  </a:lnTo>
                  <a:lnTo>
                    <a:pt x="198" y="290"/>
                  </a:lnTo>
                  <a:lnTo>
                    <a:pt x="198" y="417"/>
                  </a:lnTo>
                  <a:lnTo>
                    <a:pt x="44" y="417"/>
                  </a:lnTo>
                  <a:lnTo>
                    <a:pt x="44" y="391"/>
                  </a:lnTo>
                  <a:lnTo>
                    <a:pt x="0" y="428"/>
                  </a:lnTo>
                  <a:lnTo>
                    <a:pt x="44" y="462"/>
                  </a:lnTo>
                  <a:lnTo>
                    <a:pt x="44" y="435"/>
                  </a:lnTo>
                  <a:lnTo>
                    <a:pt x="216" y="435"/>
                  </a:lnTo>
                  <a:lnTo>
                    <a:pt x="216" y="290"/>
                  </a:lnTo>
                  <a:lnTo>
                    <a:pt x="244" y="290"/>
                  </a:lnTo>
                  <a:lnTo>
                    <a:pt x="244" y="535"/>
                  </a:lnTo>
                  <a:lnTo>
                    <a:pt x="218" y="535"/>
                  </a:lnTo>
                  <a:lnTo>
                    <a:pt x="253" y="579"/>
                  </a:lnTo>
                  <a:lnTo>
                    <a:pt x="289" y="535"/>
                  </a:lnTo>
                  <a:lnTo>
                    <a:pt x="263" y="535"/>
                  </a:lnTo>
                  <a:lnTo>
                    <a:pt x="263" y="290"/>
                  </a:lnTo>
                  <a:lnTo>
                    <a:pt x="291" y="290"/>
                  </a:lnTo>
                  <a:lnTo>
                    <a:pt x="291" y="435"/>
                  </a:lnTo>
                  <a:lnTo>
                    <a:pt x="463" y="435"/>
                  </a:lnTo>
                  <a:lnTo>
                    <a:pt x="463" y="462"/>
                  </a:lnTo>
                  <a:lnTo>
                    <a:pt x="506" y="42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36" name="文本框 35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4765030" y="4996175"/>
            <a:ext cx="2661940" cy="1054343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grpSp>
        <p:nvGrpSpPr>
          <p:cNvPr id="37" name="组合 36"/>
          <p:cNvGrpSpPr/>
          <p:nvPr/>
        </p:nvGrpSpPr>
        <p:grpSpPr>
          <a:xfrm>
            <a:off x="4943475" y="1226582"/>
            <a:ext cx="482235" cy="482235"/>
            <a:chOff x="4943475" y="1226582"/>
            <a:chExt cx="482235" cy="482235"/>
          </a:xfrm>
        </p:grpSpPr>
        <p:sp>
          <p:nvSpPr>
            <p:cNvPr id="38" name="任意多边形: 形状 37"/>
            <p:cNvSpPr/>
            <p:nvPr/>
          </p:nvSpPr>
          <p:spPr>
            <a:xfrm>
              <a:off x="4943475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39" name="任意多边形: 形状 38"/>
            <p:cNvSpPr/>
            <p:nvPr/>
          </p:nvSpPr>
          <p:spPr>
            <a:xfrm>
              <a:off x="5074334" y="1341728"/>
              <a:ext cx="220515" cy="251958"/>
            </a:xfrm>
            <a:custGeom>
              <a:avLst/>
              <a:gdLst>
                <a:gd name="T0" fmla="*/ 506 w 506"/>
                <a:gd name="T1" fmla="*/ 428 h 579"/>
                <a:gd name="T2" fmla="*/ 463 w 506"/>
                <a:gd name="T3" fmla="*/ 391 h 579"/>
                <a:gd name="T4" fmla="*/ 463 w 506"/>
                <a:gd name="T5" fmla="*/ 417 h 579"/>
                <a:gd name="T6" fmla="*/ 308 w 506"/>
                <a:gd name="T7" fmla="*/ 417 h 579"/>
                <a:gd name="T8" fmla="*/ 308 w 506"/>
                <a:gd name="T9" fmla="*/ 290 h 579"/>
                <a:gd name="T10" fmla="*/ 334 w 506"/>
                <a:gd name="T11" fmla="*/ 290 h 579"/>
                <a:gd name="T12" fmla="*/ 334 w 506"/>
                <a:gd name="T13" fmla="*/ 351 h 579"/>
                <a:gd name="T14" fmla="*/ 389 w 506"/>
                <a:gd name="T15" fmla="*/ 351 h 579"/>
                <a:gd name="T16" fmla="*/ 389 w 506"/>
                <a:gd name="T17" fmla="*/ 378 h 579"/>
                <a:gd name="T18" fmla="*/ 433 w 506"/>
                <a:gd name="T19" fmla="*/ 344 h 579"/>
                <a:gd name="T20" fmla="*/ 389 w 506"/>
                <a:gd name="T21" fmla="*/ 307 h 579"/>
                <a:gd name="T22" fmla="*/ 389 w 506"/>
                <a:gd name="T23" fmla="*/ 333 h 579"/>
                <a:gd name="T24" fmla="*/ 351 w 506"/>
                <a:gd name="T25" fmla="*/ 333 h 579"/>
                <a:gd name="T26" fmla="*/ 351 w 506"/>
                <a:gd name="T27" fmla="*/ 290 h 579"/>
                <a:gd name="T28" fmla="*/ 406 w 506"/>
                <a:gd name="T29" fmla="*/ 290 h 579"/>
                <a:gd name="T30" fmla="*/ 500 w 506"/>
                <a:gd name="T31" fmla="*/ 196 h 579"/>
                <a:gd name="T32" fmla="*/ 406 w 506"/>
                <a:gd name="T33" fmla="*/ 102 h 579"/>
                <a:gd name="T34" fmla="*/ 406 w 506"/>
                <a:gd name="T35" fmla="*/ 102 h 579"/>
                <a:gd name="T36" fmla="*/ 406 w 506"/>
                <a:gd name="T37" fmla="*/ 94 h 579"/>
                <a:gd name="T38" fmla="*/ 312 w 506"/>
                <a:gd name="T39" fmla="*/ 0 h 579"/>
                <a:gd name="T40" fmla="*/ 230 w 506"/>
                <a:gd name="T41" fmla="*/ 48 h 579"/>
                <a:gd name="T42" fmla="*/ 195 w 506"/>
                <a:gd name="T43" fmla="*/ 41 h 579"/>
                <a:gd name="T44" fmla="*/ 107 w 506"/>
                <a:gd name="T45" fmla="*/ 103 h 579"/>
                <a:gd name="T46" fmla="*/ 101 w 506"/>
                <a:gd name="T47" fmla="*/ 102 h 579"/>
                <a:gd name="T48" fmla="*/ 7 w 506"/>
                <a:gd name="T49" fmla="*/ 196 h 579"/>
                <a:gd name="T50" fmla="*/ 101 w 506"/>
                <a:gd name="T51" fmla="*/ 290 h 579"/>
                <a:gd name="T52" fmla="*/ 156 w 506"/>
                <a:gd name="T53" fmla="*/ 290 h 579"/>
                <a:gd name="T54" fmla="*/ 156 w 506"/>
                <a:gd name="T55" fmla="*/ 333 h 579"/>
                <a:gd name="T56" fmla="*/ 118 w 506"/>
                <a:gd name="T57" fmla="*/ 333 h 579"/>
                <a:gd name="T58" fmla="*/ 118 w 506"/>
                <a:gd name="T59" fmla="*/ 307 h 579"/>
                <a:gd name="T60" fmla="*/ 74 w 506"/>
                <a:gd name="T61" fmla="*/ 344 h 579"/>
                <a:gd name="T62" fmla="*/ 118 w 506"/>
                <a:gd name="T63" fmla="*/ 378 h 579"/>
                <a:gd name="T64" fmla="*/ 118 w 506"/>
                <a:gd name="T65" fmla="*/ 351 h 579"/>
                <a:gd name="T66" fmla="*/ 173 w 506"/>
                <a:gd name="T67" fmla="*/ 351 h 579"/>
                <a:gd name="T68" fmla="*/ 173 w 506"/>
                <a:gd name="T69" fmla="*/ 290 h 579"/>
                <a:gd name="T70" fmla="*/ 198 w 506"/>
                <a:gd name="T71" fmla="*/ 290 h 579"/>
                <a:gd name="T72" fmla="*/ 198 w 506"/>
                <a:gd name="T73" fmla="*/ 417 h 579"/>
                <a:gd name="T74" fmla="*/ 44 w 506"/>
                <a:gd name="T75" fmla="*/ 417 h 579"/>
                <a:gd name="T76" fmla="*/ 44 w 506"/>
                <a:gd name="T77" fmla="*/ 391 h 579"/>
                <a:gd name="T78" fmla="*/ 0 w 506"/>
                <a:gd name="T79" fmla="*/ 428 h 579"/>
                <a:gd name="T80" fmla="*/ 44 w 506"/>
                <a:gd name="T81" fmla="*/ 462 h 579"/>
                <a:gd name="T82" fmla="*/ 44 w 506"/>
                <a:gd name="T83" fmla="*/ 435 h 579"/>
                <a:gd name="T84" fmla="*/ 216 w 506"/>
                <a:gd name="T85" fmla="*/ 435 h 579"/>
                <a:gd name="T86" fmla="*/ 216 w 506"/>
                <a:gd name="T87" fmla="*/ 290 h 579"/>
                <a:gd name="T88" fmla="*/ 244 w 506"/>
                <a:gd name="T89" fmla="*/ 290 h 579"/>
                <a:gd name="T90" fmla="*/ 244 w 506"/>
                <a:gd name="T91" fmla="*/ 535 h 579"/>
                <a:gd name="T92" fmla="*/ 218 w 506"/>
                <a:gd name="T93" fmla="*/ 535 h 579"/>
                <a:gd name="T94" fmla="*/ 253 w 506"/>
                <a:gd name="T95" fmla="*/ 579 h 579"/>
                <a:gd name="T96" fmla="*/ 289 w 506"/>
                <a:gd name="T97" fmla="*/ 535 h 579"/>
                <a:gd name="T98" fmla="*/ 263 w 506"/>
                <a:gd name="T99" fmla="*/ 535 h 579"/>
                <a:gd name="T100" fmla="*/ 263 w 506"/>
                <a:gd name="T101" fmla="*/ 290 h 579"/>
                <a:gd name="T102" fmla="*/ 291 w 506"/>
                <a:gd name="T103" fmla="*/ 290 h 579"/>
                <a:gd name="T104" fmla="*/ 291 w 506"/>
                <a:gd name="T105" fmla="*/ 435 h 579"/>
                <a:gd name="T106" fmla="*/ 463 w 506"/>
                <a:gd name="T107" fmla="*/ 435 h 579"/>
                <a:gd name="T108" fmla="*/ 463 w 506"/>
                <a:gd name="T109" fmla="*/ 462 h 579"/>
                <a:gd name="T110" fmla="*/ 506 w 506"/>
                <a:gd name="T111" fmla="*/ 428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6" h="579">
                  <a:moveTo>
                    <a:pt x="506" y="428"/>
                  </a:moveTo>
                  <a:lnTo>
                    <a:pt x="463" y="391"/>
                  </a:lnTo>
                  <a:lnTo>
                    <a:pt x="463" y="417"/>
                  </a:lnTo>
                  <a:lnTo>
                    <a:pt x="308" y="417"/>
                  </a:lnTo>
                  <a:lnTo>
                    <a:pt x="308" y="290"/>
                  </a:lnTo>
                  <a:lnTo>
                    <a:pt x="334" y="290"/>
                  </a:lnTo>
                  <a:lnTo>
                    <a:pt x="334" y="351"/>
                  </a:lnTo>
                  <a:lnTo>
                    <a:pt x="389" y="351"/>
                  </a:lnTo>
                  <a:lnTo>
                    <a:pt x="389" y="378"/>
                  </a:lnTo>
                  <a:lnTo>
                    <a:pt x="433" y="344"/>
                  </a:lnTo>
                  <a:lnTo>
                    <a:pt x="389" y="307"/>
                  </a:lnTo>
                  <a:lnTo>
                    <a:pt x="389" y="333"/>
                  </a:lnTo>
                  <a:lnTo>
                    <a:pt x="351" y="333"/>
                  </a:lnTo>
                  <a:lnTo>
                    <a:pt x="351" y="290"/>
                  </a:lnTo>
                  <a:lnTo>
                    <a:pt x="406" y="290"/>
                  </a:lnTo>
                  <a:cubicBezTo>
                    <a:pt x="458" y="290"/>
                    <a:pt x="500" y="248"/>
                    <a:pt x="500" y="196"/>
                  </a:cubicBezTo>
                  <a:cubicBezTo>
                    <a:pt x="500" y="144"/>
                    <a:pt x="458" y="102"/>
                    <a:pt x="406" y="102"/>
                  </a:cubicBezTo>
                  <a:cubicBezTo>
                    <a:pt x="406" y="102"/>
                    <a:pt x="406" y="102"/>
                    <a:pt x="406" y="102"/>
                  </a:cubicBezTo>
                  <a:cubicBezTo>
                    <a:pt x="406" y="99"/>
                    <a:pt x="406" y="97"/>
                    <a:pt x="406" y="94"/>
                  </a:cubicBezTo>
                  <a:cubicBezTo>
                    <a:pt x="406" y="42"/>
                    <a:pt x="364" y="0"/>
                    <a:pt x="312" y="0"/>
                  </a:cubicBezTo>
                  <a:cubicBezTo>
                    <a:pt x="277" y="0"/>
                    <a:pt x="246" y="19"/>
                    <a:pt x="230" y="48"/>
                  </a:cubicBezTo>
                  <a:cubicBezTo>
                    <a:pt x="219" y="44"/>
                    <a:pt x="208" y="41"/>
                    <a:pt x="195" y="41"/>
                  </a:cubicBezTo>
                  <a:cubicBezTo>
                    <a:pt x="155" y="41"/>
                    <a:pt x="121" y="67"/>
                    <a:pt x="107" y="103"/>
                  </a:cubicBezTo>
                  <a:cubicBezTo>
                    <a:pt x="105" y="102"/>
                    <a:pt x="103" y="102"/>
                    <a:pt x="101" y="102"/>
                  </a:cubicBezTo>
                  <a:cubicBezTo>
                    <a:pt x="49" y="102"/>
                    <a:pt x="7" y="144"/>
                    <a:pt x="7" y="196"/>
                  </a:cubicBezTo>
                  <a:cubicBezTo>
                    <a:pt x="7" y="248"/>
                    <a:pt x="49" y="290"/>
                    <a:pt x="101" y="290"/>
                  </a:cubicBezTo>
                  <a:lnTo>
                    <a:pt x="156" y="290"/>
                  </a:lnTo>
                  <a:lnTo>
                    <a:pt x="156" y="333"/>
                  </a:lnTo>
                  <a:lnTo>
                    <a:pt x="118" y="333"/>
                  </a:lnTo>
                  <a:lnTo>
                    <a:pt x="118" y="307"/>
                  </a:lnTo>
                  <a:lnTo>
                    <a:pt x="74" y="344"/>
                  </a:lnTo>
                  <a:lnTo>
                    <a:pt x="118" y="378"/>
                  </a:lnTo>
                  <a:lnTo>
                    <a:pt x="118" y="351"/>
                  </a:lnTo>
                  <a:lnTo>
                    <a:pt x="173" y="351"/>
                  </a:lnTo>
                  <a:lnTo>
                    <a:pt x="173" y="290"/>
                  </a:lnTo>
                  <a:lnTo>
                    <a:pt x="198" y="290"/>
                  </a:lnTo>
                  <a:lnTo>
                    <a:pt x="198" y="417"/>
                  </a:lnTo>
                  <a:lnTo>
                    <a:pt x="44" y="417"/>
                  </a:lnTo>
                  <a:lnTo>
                    <a:pt x="44" y="391"/>
                  </a:lnTo>
                  <a:lnTo>
                    <a:pt x="0" y="428"/>
                  </a:lnTo>
                  <a:lnTo>
                    <a:pt x="44" y="462"/>
                  </a:lnTo>
                  <a:lnTo>
                    <a:pt x="44" y="435"/>
                  </a:lnTo>
                  <a:lnTo>
                    <a:pt x="216" y="435"/>
                  </a:lnTo>
                  <a:lnTo>
                    <a:pt x="216" y="290"/>
                  </a:lnTo>
                  <a:lnTo>
                    <a:pt x="244" y="290"/>
                  </a:lnTo>
                  <a:lnTo>
                    <a:pt x="244" y="535"/>
                  </a:lnTo>
                  <a:lnTo>
                    <a:pt x="218" y="535"/>
                  </a:lnTo>
                  <a:lnTo>
                    <a:pt x="253" y="579"/>
                  </a:lnTo>
                  <a:lnTo>
                    <a:pt x="289" y="535"/>
                  </a:lnTo>
                  <a:lnTo>
                    <a:pt x="263" y="535"/>
                  </a:lnTo>
                  <a:lnTo>
                    <a:pt x="263" y="290"/>
                  </a:lnTo>
                  <a:lnTo>
                    <a:pt x="291" y="290"/>
                  </a:lnTo>
                  <a:lnTo>
                    <a:pt x="291" y="435"/>
                  </a:lnTo>
                  <a:lnTo>
                    <a:pt x="463" y="435"/>
                  </a:lnTo>
                  <a:lnTo>
                    <a:pt x="463" y="462"/>
                  </a:lnTo>
                  <a:lnTo>
                    <a:pt x="506" y="428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10" name="任意多边形: 形状 9"/>
          <p:cNvSpPr/>
          <p:nvPr/>
        </p:nvSpPr>
        <p:spPr>
          <a:xfrm>
            <a:off x="9344300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sp>
        <p:nvSpPr>
          <p:cNvPr id="11" name="任意多边形: 形状 10"/>
          <p:cNvSpPr/>
          <p:nvPr/>
        </p:nvSpPr>
        <p:spPr>
          <a:xfrm flipH="1">
            <a:off x="10138866" y="1491306"/>
            <a:ext cx="578079" cy="1409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932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825500"/>
            <a:endParaRPr/>
          </a:p>
        </p:txBody>
      </p:sp>
      <p:cxnSp>
        <p:nvCxnSpPr>
          <p:cNvPr id="12" name="直接连接符 11"/>
          <p:cNvCxnSpPr>
            <a:stCxn id="14" idx="0"/>
            <a:endCxn id="26" idx="0"/>
          </p:cNvCxnSpPr>
          <p:nvPr/>
        </p:nvCxnSpPr>
        <p:spPr>
          <a:xfrm flipH="1">
            <a:off x="9119216" y="3475898"/>
            <a:ext cx="91389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cxnSp>
        <p:nvCxnSpPr>
          <p:cNvPr id="13" name="直接连接符 12"/>
          <p:cNvCxnSpPr>
            <a:stCxn id="14" idx="0"/>
            <a:endCxn id="24" idx="0"/>
          </p:cNvCxnSpPr>
          <p:nvPr/>
        </p:nvCxnSpPr>
        <p:spPr>
          <a:xfrm>
            <a:off x="10033107" y="3475898"/>
            <a:ext cx="908922" cy="1094210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miter lim="400000"/>
          </a:ln>
        </p:spPr>
      </p:cxnSp>
      <p:sp>
        <p:nvSpPr>
          <p:cNvPr id="14" name="任意多边形: 形状 13"/>
          <p:cNvSpPr/>
          <p:nvPr/>
        </p:nvSpPr>
        <p:spPr>
          <a:xfrm>
            <a:off x="9364966" y="2807756"/>
            <a:ext cx="1336281" cy="133628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>
            <a:lvl1pPr algn="ctr" defTabSz="825500">
              <a:defRPr sz="5000"/>
            </a:lvl1pPr>
            <a:lvl2pPr indent="228600" algn="ctr" defTabSz="825500">
              <a:defRPr sz="5000"/>
            </a:lvl2pPr>
            <a:lvl3pPr indent="457200" algn="ctr" defTabSz="825500">
              <a:defRPr sz="5000"/>
            </a:lvl3pPr>
            <a:lvl4pPr indent="685800" algn="ctr" defTabSz="825500">
              <a:defRPr sz="5000"/>
            </a:lvl4pPr>
            <a:lvl5pPr indent="914400" algn="ctr" defTabSz="825500">
              <a:defRPr sz="5000"/>
            </a:lvl5pPr>
            <a:lvl6pPr indent="1143000" algn="ctr" defTabSz="825500">
              <a:defRPr sz="5000"/>
            </a:lvl6pPr>
            <a:lvl7pPr indent="1371600" algn="ctr" defTabSz="825500">
              <a:defRPr sz="5000"/>
            </a:lvl7pPr>
            <a:lvl8pPr indent="1600200" algn="ctr" defTabSz="825500">
              <a:defRPr sz="5000"/>
            </a:lvl8pPr>
            <a:lvl9pPr indent="1828800" algn="ctr" defTabSz="825500">
              <a:defRPr sz="5000"/>
            </a:lvl9pPr>
          </a:lstStyle>
          <a:p>
            <a:pPr>
              <a:spcBef>
                <a:spcPct val="0"/>
              </a:spcBef>
            </a:pPr>
            <a:r>
              <a:rPr lang="en-US" altLang="zh-CN" sz="2400" i="1" u="sng">
                <a:solidFill>
                  <a:schemeClr val="bg1"/>
                </a:solidFill>
              </a:rPr>
              <a:t>T</a:t>
            </a:r>
            <a:r>
              <a:rPr lang="en-US" altLang="zh-CN" sz="100" i="1" u="sng">
                <a:solidFill>
                  <a:schemeClr val="bg1"/>
                </a:solidFill>
              </a:rPr>
              <a:t> </a:t>
            </a:r>
            <a:r>
              <a:rPr lang="en-US" altLang="zh-CN" sz="2400" i="1" u="sng">
                <a:solidFill>
                  <a:schemeClr val="bg1"/>
                </a:solidFill>
              </a:rPr>
              <a:t>ext</a:t>
            </a:r>
            <a:endParaRPr lang="en-US" altLang="zh-CN" sz="2400" i="1" u="sng" dirty="0">
              <a:solidFill>
                <a:schemeClr val="bg1"/>
              </a:solidFill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8878098" y="4328989"/>
            <a:ext cx="482235" cy="482235"/>
            <a:chOff x="8882438" y="4328989"/>
            <a:chExt cx="482235" cy="482235"/>
          </a:xfrm>
        </p:grpSpPr>
        <p:sp>
          <p:nvSpPr>
            <p:cNvPr id="26" name="任意多边形: 形状 25"/>
            <p:cNvSpPr/>
            <p:nvPr/>
          </p:nvSpPr>
          <p:spPr>
            <a:xfrm>
              <a:off x="8882438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27" name="任意多边形: 形状 26"/>
            <p:cNvSpPr/>
            <p:nvPr/>
          </p:nvSpPr>
          <p:spPr>
            <a:xfrm>
              <a:off x="8997576" y="4456285"/>
              <a:ext cx="251958" cy="227642"/>
            </a:xfrm>
            <a:custGeom>
              <a:avLst/>
              <a:gdLst>
                <a:gd name="connsiteX0" fmla="*/ 462909 w 607639"/>
                <a:gd name="connsiteY0" fmla="*/ 418947 h 548999"/>
                <a:gd name="connsiteX1" fmla="*/ 607639 w 607639"/>
                <a:gd name="connsiteY1" fmla="*/ 418947 h 548999"/>
                <a:gd name="connsiteX2" fmla="*/ 607639 w 607639"/>
                <a:gd name="connsiteY2" fmla="*/ 548999 h 548999"/>
                <a:gd name="connsiteX3" fmla="*/ 462909 w 607639"/>
                <a:gd name="connsiteY3" fmla="*/ 548999 h 548999"/>
                <a:gd name="connsiteX4" fmla="*/ 231525 w 607639"/>
                <a:gd name="connsiteY4" fmla="*/ 418947 h 548999"/>
                <a:gd name="connsiteX5" fmla="*/ 376114 w 607639"/>
                <a:gd name="connsiteY5" fmla="*/ 418947 h 548999"/>
                <a:gd name="connsiteX6" fmla="*/ 376114 w 607639"/>
                <a:gd name="connsiteY6" fmla="*/ 548999 h 548999"/>
                <a:gd name="connsiteX7" fmla="*/ 231525 w 607639"/>
                <a:gd name="connsiteY7" fmla="*/ 548999 h 548999"/>
                <a:gd name="connsiteX8" fmla="*/ 0 w 607639"/>
                <a:gd name="connsiteY8" fmla="*/ 418947 h 548999"/>
                <a:gd name="connsiteX9" fmla="*/ 144659 w 607639"/>
                <a:gd name="connsiteY9" fmla="*/ 418947 h 548999"/>
                <a:gd name="connsiteX10" fmla="*/ 144659 w 607639"/>
                <a:gd name="connsiteY10" fmla="*/ 548999 h 548999"/>
                <a:gd name="connsiteX11" fmla="*/ 0 w 607639"/>
                <a:gd name="connsiteY11" fmla="*/ 548999 h 548999"/>
                <a:gd name="connsiteX12" fmla="*/ 282149 w 607639"/>
                <a:gd name="connsiteY12" fmla="*/ 231172 h 548999"/>
                <a:gd name="connsiteX13" fmla="*/ 325490 w 607639"/>
                <a:gd name="connsiteY13" fmla="*/ 231172 h 548999"/>
                <a:gd name="connsiteX14" fmla="*/ 325490 w 607639"/>
                <a:gd name="connsiteY14" fmla="*/ 281751 h 548999"/>
                <a:gd name="connsiteX15" fmla="*/ 556973 w 607639"/>
                <a:gd name="connsiteY15" fmla="*/ 281751 h 548999"/>
                <a:gd name="connsiteX16" fmla="*/ 556973 w 607639"/>
                <a:gd name="connsiteY16" fmla="*/ 375619 h 548999"/>
                <a:gd name="connsiteX17" fmla="*/ 513542 w 607639"/>
                <a:gd name="connsiteY17" fmla="*/ 375619 h 548999"/>
                <a:gd name="connsiteX18" fmla="*/ 513542 w 607639"/>
                <a:gd name="connsiteY18" fmla="*/ 325040 h 548999"/>
                <a:gd name="connsiteX19" fmla="*/ 325490 w 607639"/>
                <a:gd name="connsiteY19" fmla="*/ 325040 h 548999"/>
                <a:gd name="connsiteX20" fmla="*/ 325490 w 607639"/>
                <a:gd name="connsiteY20" fmla="*/ 375619 h 548999"/>
                <a:gd name="connsiteX21" fmla="*/ 282149 w 607639"/>
                <a:gd name="connsiteY21" fmla="*/ 375619 h 548999"/>
                <a:gd name="connsiteX22" fmla="*/ 282149 w 607639"/>
                <a:gd name="connsiteY22" fmla="*/ 325040 h 548999"/>
                <a:gd name="connsiteX23" fmla="*/ 94097 w 607639"/>
                <a:gd name="connsiteY23" fmla="*/ 325040 h 548999"/>
                <a:gd name="connsiteX24" fmla="*/ 94097 w 607639"/>
                <a:gd name="connsiteY24" fmla="*/ 375619 h 548999"/>
                <a:gd name="connsiteX25" fmla="*/ 50666 w 607639"/>
                <a:gd name="connsiteY25" fmla="*/ 375619 h 548999"/>
                <a:gd name="connsiteX26" fmla="*/ 50666 w 607639"/>
                <a:gd name="connsiteY26" fmla="*/ 281751 h 548999"/>
                <a:gd name="connsiteX27" fmla="*/ 282149 w 607639"/>
                <a:gd name="connsiteY27" fmla="*/ 281751 h 548999"/>
                <a:gd name="connsiteX28" fmla="*/ 159125 w 607639"/>
                <a:gd name="connsiteY28" fmla="*/ 0 h 548999"/>
                <a:gd name="connsiteX29" fmla="*/ 448514 w 607639"/>
                <a:gd name="connsiteY29" fmla="*/ 0 h 548999"/>
                <a:gd name="connsiteX30" fmla="*/ 448514 w 607639"/>
                <a:gd name="connsiteY30" fmla="*/ 187845 h 548999"/>
                <a:gd name="connsiteX31" fmla="*/ 159125 w 607639"/>
                <a:gd name="connsiteY31" fmla="*/ 187845 h 54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639" h="548999">
                  <a:moveTo>
                    <a:pt x="462909" y="418947"/>
                  </a:moveTo>
                  <a:lnTo>
                    <a:pt x="607639" y="418947"/>
                  </a:lnTo>
                  <a:lnTo>
                    <a:pt x="607639" y="548999"/>
                  </a:lnTo>
                  <a:lnTo>
                    <a:pt x="462909" y="548999"/>
                  </a:lnTo>
                  <a:close/>
                  <a:moveTo>
                    <a:pt x="231525" y="418947"/>
                  </a:moveTo>
                  <a:lnTo>
                    <a:pt x="376114" y="418947"/>
                  </a:lnTo>
                  <a:lnTo>
                    <a:pt x="376114" y="548999"/>
                  </a:lnTo>
                  <a:lnTo>
                    <a:pt x="231525" y="548999"/>
                  </a:lnTo>
                  <a:close/>
                  <a:moveTo>
                    <a:pt x="0" y="418947"/>
                  </a:moveTo>
                  <a:lnTo>
                    <a:pt x="144659" y="418947"/>
                  </a:lnTo>
                  <a:lnTo>
                    <a:pt x="144659" y="548999"/>
                  </a:lnTo>
                  <a:lnTo>
                    <a:pt x="0" y="548999"/>
                  </a:lnTo>
                  <a:close/>
                  <a:moveTo>
                    <a:pt x="282149" y="231172"/>
                  </a:moveTo>
                  <a:lnTo>
                    <a:pt x="325490" y="231172"/>
                  </a:lnTo>
                  <a:lnTo>
                    <a:pt x="325490" y="281751"/>
                  </a:lnTo>
                  <a:lnTo>
                    <a:pt x="556973" y="281751"/>
                  </a:lnTo>
                  <a:lnTo>
                    <a:pt x="556973" y="375619"/>
                  </a:lnTo>
                  <a:lnTo>
                    <a:pt x="513542" y="375619"/>
                  </a:lnTo>
                  <a:lnTo>
                    <a:pt x="513542" y="325040"/>
                  </a:lnTo>
                  <a:lnTo>
                    <a:pt x="325490" y="325040"/>
                  </a:lnTo>
                  <a:lnTo>
                    <a:pt x="325490" y="375619"/>
                  </a:lnTo>
                  <a:lnTo>
                    <a:pt x="282149" y="375619"/>
                  </a:lnTo>
                  <a:lnTo>
                    <a:pt x="282149" y="325040"/>
                  </a:lnTo>
                  <a:lnTo>
                    <a:pt x="94097" y="325040"/>
                  </a:lnTo>
                  <a:lnTo>
                    <a:pt x="94097" y="375619"/>
                  </a:lnTo>
                  <a:lnTo>
                    <a:pt x="50666" y="375619"/>
                  </a:lnTo>
                  <a:lnTo>
                    <a:pt x="50666" y="281751"/>
                  </a:lnTo>
                  <a:lnTo>
                    <a:pt x="282149" y="281751"/>
                  </a:lnTo>
                  <a:close/>
                  <a:moveTo>
                    <a:pt x="159125" y="0"/>
                  </a:moveTo>
                  <a:lnTo>
                    <a:pt x="448514" y="0"/>
                  </a:lnTo>
                  <a:lnTo>
                    <a:pt x="448514" y="187845"/>
                  </a:lnTo>
                  <a:lnTo>
                    <a:pt x="159125" y="18784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10700913" y="4328989"/>
            <a:ext cx="482235" cy="482235"/>
            <a:chOff x="10705253" y="4328989"/>
            <a:chExt cx="482235" cy="482235"/>
          </a:xfrm>
        </p:grpSpPr>
        <p:sp>
          <p:nvSpPr>
            <p:cNvPr id="24" name="任意多边形: 形状 23"/>
            <p:cNvSpPr/>
            <p:nvPr/>
          </p:nvSpPr>
          <p:spPr>
            <a:xfrm>
              <a:off x="10705253" y="4328989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25" name="任意多边形: 形状 24"/>
            <p:cNvSpPr/>
            <p:nvPr/>
          </p:nvSpPr>
          <p:spPr>
            <a:xfrm>
              <a:off x="10820391" y="4456285"/>
              <a:ext cx="251958" cy="227642"/>
            </a:xfrm>
            <a:custGeom>
              <a:avLst/>
              <a:gdLst>
                <a:gd name="connsiteX0" fmla="*/ 462909 w 607639"/>
                <a:gd name="connsiteY0" fmla="*/ 418947 h 548999"/>
                <a:gd name="connsiteX1" fmla="*/ 607639 w 607639"/>
                <a:gd name="connsiteY1" fmla="*/ 418947 h 548999"/>
                <a:gd name="connsiteX2" fmla="*/ 607639 w 607639"/>
                <a:gd name="connsiteY2" fmla="*/ 548999 h 548999"/>
                <a:gd name="connsiteX3" fmla="*/ 462909 w 607639"/>
                <a:gd name="connsiteY3" fmla="*/ 548999 h 548999"/>
                <a:gd name="connsiteX4" fmla="*/ 231525 w 607639"/>
                <a:gd name="connsiteY4" fmla="*/ 418947 h 548999"/>
                <a:gd name="connsiteX5" fmla="*/ 376114 w 607639"/>
                <a:gd name="connsiteY5" fmla="*/ 418947 h 548999"/>
                <a:gd name="connsiteX6" fmla="*/ 376114 w 607639"/>
                <a:gd name="connsiteY6" fmla="*/ 548999 h 548999"/>
                <a:gd name="connsiteX7" fmla="*/ 231525 w 607639"/>
                <a:gd name="connsiteY7" fmla="*/ 548999 h 548999"/>
                <a:gd name="connsiteX8" fmla="*/ 0 w 607639"/>
                <a:gd name="connsiteY8" fmla="*/ 418947 h 548999"/>
                <a:gd name="connsiteX9" fmla="*/ 144659 w 607639"/>
                <a:gd name="connsiteY9" fmla="*/ 418947 h 548999"/>
                <a:gd name="connsiteX10" fmla="*/ 144659 w 607639"/>
                <a:gd name="connsiteY10" fmla="*/ 548999 h 548999"/>
                <a:gd name="connsiteX11" fmla="*/ 0 w 607639"/>
                <a:gd name="connsiteY11" fmla="*/ 548999 h 548999"/>
                <a:gd name="connsiteX12" fmla="*/ 282149 w 607639"/>
                <a:gd name="connsiteY12" fmla="*/ 231172 h 548999"/>
                <a:gd name="connsiteX13" fmla="*/ 325490 w 607639"/>
                <a:gd name="connsiteY13" fmla="*/ 231172 h 548999"/>
                <a:gd name="connsiteX14" fmla="*/ 325490 w 607639"/>
                <a:gd name="connsiteY14" fmla="*/ 281751 h 548999"/>
                <a:gd name="connsiteX15" fmla="*/ 556973 w 607639"/>
                <a:gd name="connsiteY15" fmla="*/ 281751 h 548999"/>
                <a:gd name="connsiteX16" fmla="*/ 556973 w 607639"/>
                <a:gd name="connsiteY16" fmla="*/ 375619 h 548999"/>
                <a:gd name="connsiteX17" fmla="*/ 513542 w 607639"/>
                <a:gd name="connsiteY17" fmla="*/ 375619 h 548999"/>
                <a:gd name="connsiteX18" fmla="*/ 513542 w 607639"/>
                <a:gd name="connsiteY18" fmla="*/ 325040 h 548999"/>
                <a:gd name="connsiteX19" fmla="*/ 325490 w 607639"/>
                <a:gd name="connsiteY19" fmla="*/ 325040 h 548999"/>
                <a:gd name="connsiteX20" fmla="*/ 325490 w 607639"/>
                <a:gd name="connsiteY20" fmla="*/ 375619 h 548999"/>
                <a:gd name="connsiteX21" fmla="*/ 282149 w 607639"/>
                <a:gd name="connsiteY21" fmla="*/ 375619 h 548999"/>
                <a:gd name="connsiteX22" fmla="*/ 282149 w 607639"/>
                <a:gd name="connsiteY22" fmla="*/ 325040 h 548999"/>
                <a:gd name="connsiteX23" fmla="*/ 94097 w 607639"/>
                <a:gd name="connsiteY23" fmla="*/ 325040 h 548999"/>
                <a:gd name="connsiteX24" fmla="*/ 94097 w 607639"/>
                <a:gd name="connsiteY24" fmla="*/ 375619 h 548999"/>
                <a:gd name="connsiteX25" fmla="*/ 50666 w 607639"/>
                <a:gd name="connsiteY25" fmla="*/ 375619 h 548999"/>
                <a:gd name="connsiteX26" fmla="*/ 50666 w 607639"/>
                <a:gd name="connsiteY26" fmla="*/ 281751 h 548999"/>
                <a:gd name="connsiteX27" fmla="*/ 282149 w 607639"/>
                <a:gd name="connsiteY27" fmla="*/ 281751 h 548999"/>
                <a:gd name="connsiteX28" fmla="*/ 159125 w 607639"/>
                <a:gd name="connsiteY28" fmla="*/ 0 h 548999"/>
                <a:gd name="connsiteX29" fmla="*/ 448514 w 607639"/>
                <a:gd name="connsiteY29" fmla="*/ 0 h 548999"/>
                <a:gd name="connsiteX30" fmla="*/ 448514 w 607639"/>
                <a:gd name="connsiteY30" fmla="*/ 187845 h 548999"/>
                <a:gd name="connsiteX31" fmla="*/ 159125 w 607639"/>
                <a:gd name="connsiteY31" fmla="*/ 187845 h 54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639" h="548999">
                  <a:moveTo>
                    <a:pt x="462909" y="418947"/>
                  </a:moveTo>
                  <a:lnTo>
                    <a:pt x="607639" y="418947"/>
                  </a:lnTo>
                  <a:lnTo>
                    <a:pt x="607639" y="548999"/>
                  </a:lnTo>
                  <a:lnTo>
                    <a:pt x="462909" y="548999"/>
                  </a:lnTo>
                  <a:close/>
                  <a:moveTo>
                    <a:pt x="231525" y="418947"/>
                  </a:moveTo>
                  <a:lnTo>
                    <a:pt x="376114" y="418947"/>
                  </a:lnTo>
                  <a:lnTo>
                    <a:pt x="376114" y="548999"/>
                  </a:lnTo>
                  <a:lnTo>
                    <a:pt x="231525" y="548999"/>
                  </a:lnTo>
                  <a:close/>
                  <a:moveTo>
                    <a:pt x="0" y="418947"/>
                  </a:moveTo>
                  <a:lnTo>
                    <a:pt x="144659" y="418947"/>
                  </a:lnTo>
                  <a:lnTo>
                    <a:pt x="144659" y="548999"/>
                  </a:lnTo>
                  <a:lnTo>
                    <a:pt x="0" y="548999"/>
                  </a:lnTo>
                  <a:close/>
                  <a:moveTo>
                    <a:pt x="282149" y="231172"/>
                  </a:moveTo>
                  <a:lnTo>
                    <a:pt x="325490" y="231172"/>
                  </a:lnTo>
                  <a:lnTo>
                    <a:pt x="325490" y="281751"/>
                  </a:lnTo>
                  <a:lnTo>
                    <a:pt x="556973" y="281751"/>
                  </a:lnTo>
                  <a:lnTo>
                    <a:pt x="556973" y="375619"/>
                  </a:lnTo>
                  <a:lnTo>
                    <a:pt x="513542" y="375619"/>
                  </a:lnTo>
                  <a:lnTo>
                    <a:pt x="513542" y="325040"/>
                  </a:lnTo>
                  <a:lnTo>
                    <a:pt x="325490" y="325040"/>
                  </a:lnTo>
                  <a:lnTo>
                    <a:pt x="325490" y="375619"/>
                  </a:lnTo>
                  <a:lnTo>
                    <a:pt x="282149" y="375619"/>
                  </a:lnTo>
                  <a:lnTo>
                    <a:pt x="282149" y="325040"/>
                  </a:lnTo>
                  <a:lnTo>
                    <a:pt x="94097" y="325040"/>
                  </a:lnTo>
                  <a:lnTo>
                    <a:pt x="94097" y="375619"/>
                  </a:lnTo>
                  <a:lnTo>
                    <a:pt x="50666" y="375619"/>
                  </a:lnTo>
                  <a:lnTo>
                    <a:pt x="50666" y="281751"/>
                  </a:lnTo>
                  <a:lnTo>
                    <a:pt x="282149" y="281751"/>
                  </a:lnTo>
                  <a:close/>
                  <a:moveTo>
                    <a:pt x="159125" y="0"/>
                  </a:moveTo>
                  <a:lnTo>
                    <a:pt x="448514" y="0"/>
                  </a:lnTo>
                  <a:lnTo>
                    <a:pt x="448514" y="187845"/>
                  </a:lnTo>
                  <a:lnTo>
                    <a:pt x="159125" y="18784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10700912" y="1226582"/>
            <a:ext cx="482235" cy="482235"/>
            <a:chOff x="10705252" y="1226582"/>
            <a:chExt cx="482235" cy="482235"/>
          </a:xfrm>
        </p:grpSpPr>
        <p:sp>
          <p:nvSpPr>
            <p:cNvPr id="22" name="任意多边形: 形状 21"/>
            <p:cNvSpPr/>
            <p:nvPr/>
          </p:nvSpPr>
          <p:spPr>
            <a:xfrm>
              <a:off x="10705252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23" name="任意多边形: 形状 22"/>
            <p:cNvSpPr/>
            <p:nvPr/>
          </p:nvSpPr>
          <p:spPr>
            <a:xfrm>
              <a:off x="10820391" y="1353882"/>
              <a:ext cx="251958" cy="227642"/>
            </a:xfrm>
            <a:custGeom>
              <a:avLst/>
              <a:gdLst>
                <a:gd name="connsiteX0" fmla="*/ 462909 w 607639"/>
                <a:gd name="connsiteY0" fmla="*/ 418947 h 548999"/>
                <a:gd name="connsiteX1" fmla="*/ 607639 w 607639"/>
                <a:gd name="connsiteY1" fmla="*/ 418947 h 548999"/>
                <a:gd name="connsiteX2" fmla="*/ 607639 w 607639"/>
                <a:gd name="connsiteY2" fmla="*/ 548999 h 548999"/>
                <a:gd name="connsiteX3" fmla="*/ 462909 w 607639"/>
                <a:gd name="connsiteY3" fmla="*/ 548999 h 548999"/>
                <a:gd name="connsiteX4" fmla="*/ 231525 w 607639"/>
                <a:gd name="connsiteY4" fmla="*/ 418947 h 548999"/>
                <a:gd name="connsiteX5" fmla="*/ 376114 w 607639"/>
                <a:gd name="connsiteY5" fmla="*/ 418947 h 548999"/>
                <a:gd name="connsiteX6" fmla="*/ 376114 w 607639"/>
                <a:gd name="connsiteY6" fmla="*/ 548999 h 548999"/>
                <a:gd name="connsiteX7" fmla="*/ 231525 w 607639"/>
                <a:gd name="connsiteY7" fmla="*/ 548999 h 548999"/>
                <a:gd name="connsiteX8" fmla="*/ 0 w 607639"/>
                <a:gd name="connsiteY8" fmla="*/ 418947 h 548999"/>
                <a:gd name="connsiteX9" fmla="*/ 144659 w 607639"/>
                <a:gd name="connsiteY9" fmla="*/ 418947 h 548999"/>
                <a:gd name="connsiteX10" fmla="*/ 144659 w 607639"/>
                <a:gd name="connsiteY10" fmla="*/ 548999 h 548999"/>
                <a:gd name="connsiteX11" fmla="*/ 0 w 607639"/>
                <a:gd name="connsiteY11" fmla="*/ 548999 h 548999"/>
                <a:gd name="connsiteX12" fmla="*/ 282149 w 607639"/>
                <a:gd name="connsiteY12" fmla="*/ 231172 h 548999"/>
                <a:gd name="connsiteX13" fmla="*/ 325490 w 607639"/>
                <a:gd name="connsiteY13" fmla="*/ 231172 h 548999"/>
                <a:gd name="connsiteX14" fmla="*/ 325490 w 607639"/>
                <a:gd name="connsiteY14" fmla="*/ 281751 h 548999"/>
                <a:gd name="connsiteX15" fmla="*/ 556973 w 607639"/>
                <a:gd name="connsiteY15" fmla="*/ 281751 h 548999"/>
                <a:gd name="connsiteX16" fmla="*/ 556973 w 607639"/>
                <a:gd name="connsiteY16" fmla="*/ 375619 h 548999"/>
                <a:gd name="connsiteX17" fmla="*/ 513542 w 607639"/>
                <a:gd name="connsiteY17" fmla="*/ 375619 h 548999"/>
                <a:gd name="connsiteX18" fmla="*/ 513542 w 607639"/>
                <a:gd name="connsiteY18" fmla="*/ 325040 h 548999"/>
                <a:gd name="connsiteX19" fmla="*/ 325490 w 607639"/>
                <a:gd name="connsiteY19" fmla="*/ 325040 h 548999"/>
                <a:gd name="connsiteX20" fmla="*/ 325490 w 607639"/>
                <a:gd name="connsiteY20" fmla="*/ 375619 h 548999"/>
                <a:gd name="connsiteX21" fmla="*/ 282149 w 607639"/>
                <a:gd name="connsiteY21" fmla="*/ 375619 h 548999"/>
                <a:gd name="connsiteX22" fmla="*/ 282149 w 607639"/>
                <a:gd name="connsiteY22" fmla="*/ 325040 h 548999"/>
                <a:gd name="connsiteX23" fmla="*/ 94097 w 607639"/>
                <a:gd name="connsiteY23" fmla="*/ 325040 h 548999"/>
                <a:gd name="connsiteX24" fmla="*/ 94097 w 607639"/>
                <a:gd name="connsiteY24" fmla="*/ 375619 h 548999"/>
                <a:gd name="connsiteX25" fmla="*/ 50666 w 607639"/>
                <a:gd name="connsiteY25" fmla="*/ 375619 h 548999"/>
                <a:gd name="connsiteX26" fmla="*/ 50666 w 607639"/>
                <a:gd name="connsiteY26" fmla="*/ 281751 h 548999"/>
                <a:gd name="connsiteX27" fmla="*/ 282149 w 607639"/>
                <a:gd name="connsiteY27" fmla="*/ 281751 h 548999"/>
                <a:gd name="connsiteX28" fmla="*/ 159125 w 607639"/>
                <a:gd name="connsiteY28" fmla="*/ 0 h 548999"/>
                <a:gd name="connsiteX29" fmla="*/ 448514 w 607639"/>
                <a:gd name="connsiteY29" fmla="*/ 0 h 548999"/>
                <a:gd name="connsiteX30" fmla="*/ 448514 w 607639"/>
                <a:gd name="connsiteY30" fmla="*/ 187845 h 548999"/>
                <a:gd name="connsiteX31" fmla="*/ 159125 w 607639"/>
                <a:gd name="connsiteY31" fmla="*/ 187845 h 54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639" h="548999">
                  <a:moveTo>
                    <a:pt x="462909" y="418947"/>
                  </a:moveTo>
                  <a:lnTo>
                    <a:pt x="607639" y="418947"/>
                  </a:lnTo>
                  <a:lnTo>
                    <a:pt x="607639" y="548999"/>
                  </a:lnTo>
                  <a:lnTo>
                    <a:pt x="462909" y="548999"/>
                  </a:lnTo>
                  <a:close/>
                  <a:moveTo>
                    <a:pt x="231525" y="418947"/>
                  </a:moveTo>
                  <a:lnTo>
                    <a:pt x="376114" y="418947"/>
                  </a:lnTo>
                  <a:lnTo>
                    <a:pt x="376114" y="548999"/>
                  </a:lnTo>
                  <a:lnTo>
                    <a:pt x="231525" y="548999"/>
                  </a:lnTo>
                  <a:close/>
                  <a:moveTo>
                    <a:pt x="0" y="418947"/>
                  </a:moveTo>
                  <a:lnTo>
                    <a:pt x="144659" y="418947"/>
                  </a:lnTo>
                  <a:lnTo>
                    <a:pt x="144659" y="548999"/>
                  </a:lnTo>
                  <a:lnTo>
                    <a:pt x="0" y="548999"/>
                  </a:lnTo>
                  <a:close/>
                  <a:moveTo>
                    <a:pt x="282149" y="231172"/>
                  </a:moveTo>
                  <a:lnTo>
                    <a:pt x="325490" y="231172"/>
                  </a:lnTo>
                  <a:lnTo>
                    <a:pt x="325490" y="281751"/>
                  </a:lnTo>
                  <a:lnTo>
                    <a:pt x="556973" y="281751"/>
                  </a:lnTo>
                  <a:lnTo>
                    <a:pt x="556973" y="375619"/>
                  </a:lnTo>
                  <a:lnTo>
                    <a:pt x="513542" y="375619"/>
                  </a:lnTo>
                  <a:lnTo>
                    <a:pt x="513542" y="325040"/>
                  </a:lnTo>
                  <a:lnTo>
                    <a:pt x="325490" y="325040"/>
                  </a:lnTo>
                  <a:lnTo>
                    <a:pt x="325490" y="375619"/>
                  </a:lnTo>
                  <a:lnTo>
                    <a:pt x="282149" y="375619"/>
                  </a:lnTo>
                  <a:lnTo>
                    <a:pt x="282149" y="325040"/>
                  </a:lnTo>
                  <a:lnTo>
                    <a:pt x="94097" y="325040"/>
                  </a:lnTo>
                  <a:lnTo>
                    <a:pt x="94097" y="375619"/>
                  </a:lnTo>
                  <a:lnTo>
                    <a:pt x="50666" y="375619"/>
                  </a:lnTo>
                  <a:lnTo>
                    <a:pt x="50666" y="281751"/>
                  </a:lnTo>
                  <a:lnTo>
                    <a:pt x="282149" y="281751"/>
                  </a:lnTo>
                  <a:close/>
                  <a:moveTo>
                    <a:pt x="159125" y="0"/>
                  </a:moveTo>
                  <a:lnTo>
                    <a:pt x="448514" y="0"/>
                  </a:lnTo>
                  <a:lnTo>
                    <a:pt x="448514" y="187845"/>
                  </a:lnTo>
                  <a:lnTo>
                    <a:pt x="159125" y="18784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8699653" y="4996175"/>
            <a:ext cx="2661940" cy="1054343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</a:t>
            </a:r>
            <a:r>
              <a:rPr lang="en-US" altLang="zh-CN" sz="1100"/>
              <a:t>paste fon</a:t>
            </a:r>
            <a:r>
              <a:rPr lang="en-US" altLang="zh-CN" sz="100"/>
              <a:t> </a:t>
            </a:r>
            <a:r>
              <a:rPr lang="en-US" altLang="zh-CN" sz="1100"/>
              <a:t>ts</a:t>
            </a:r>
            <a:r>
              <a:rPr lang="en-US" altLang="zh-CN" sz="1100" dirty="0"/>
              <a:t>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/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8878098" y="1226582"/>
            <a:ext cx="482235" cy="482235"/>
            <a:chOff x="8882438" y="1226582"/>
            <a:chExt cx="482235" cy="482235"/>
          </a:xfrm>
        </p:grpSpPr>
        <p:sp>
          <p:nvSpPr>
            <p:cNvPr id="20" name="任意多边形: 形状 19"/>
            <p:cNvSpPr/>
            <p:nvPr/>
          </p:nvSpPr>
          <p:spPr>
            <a:xfrm>
              <a:off x="8882438" y="1226582"/>
              <a:ext cx="482235" cy="482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825500"/>
              <a:endParaRPr/>
            </a:p>
          </p:txBody>
        </p:sp>
        <p:sp>
          <p:nvSpPr>
            <p:cNvPr id="21" name="任意多边形: 形状 20"/>
            <p:cNvSpPr/>
            <p:nvPr/>
          </p:nvSpPr>
          <p:spPr>
            <a:xfrm>
              <a:off x="8997575" y="1353886"/>
              <a:ext cx="251958" cy="227642"/>
            </a:xfrm>
            <a:custGeom>
              <a:avLst/>
              <a:gdLst>
                <a:gd name="connsiteX0" fmla="*/ 462909 w 607639"/>
                <a:gd name="connsiteY0" fmla="*/ 418947 h 548999"/>
                <a:gd name="connsiteX1" fmla="*/ 607639 w 607639"/>
                <a:gd name="connsiteY1" fmla="*/ 418947 h 548999"/>
                <a:gd name="connsiteX2" fmla="*/ 607639 w 607639"/>
                <a:gd name="connsiteY2" fmla="*/ 548999 h 548999"/>
                <a:gd name="connsiteX3" fmla="*/ 462909 w 607639"/>
                <a:gd name="connsiteY3" fmla="*/ 548999 h 548999"/>
                <a:gd name="connsiteX4" fmla="*/ 231525 w 607639"/>
                <a:gd name="connsiteY4" fmla="*/ 418947 h 548999"/>
                <a:gd name="connsiteX5" fmla="*/ 376114 w 607639"/>
                <a:gd name="connsiteY5" fmla="*/ 418947 h 548999"/>
                <a:gd name="connsiteX6" fmla="*/ 376114 w 607639"/>
                <a:gd name="connsiteY6" fmla="*/ 548999 h 548999"/>
                <a:gd name="connsiteX7" fmla="*/ 231525 w 607639"/>
                <a:gd name="connsiteY7" fmla="*/ 548999 h 548999"/>
                <a:gd name="connsiteX8" fmla="*/ 0 w 607639"/>
                <a:gd name="connsiteY8" fmla="*/ 418947 h 548999"/>
                <a:gd name="connsiteX9" fmla="*/ 144659 w 607639"/>
                <a:gd name="connsiteY9" fmla="*/ 418947 h 548999"/>
                <a:gd name="connsiteX10" fmla="*/ 144659 w 607639"/>
                <a:gd name="connsiteY10" fmla="*/ 548999 h 548999"/>
                <a:gd name="connsiteX11" fmla="*/ 0 w 607639"/>
                <a:gd name="connsiteY11" fmla="*/ 548999 h 548999"/>
                <a:gd name="connsiteX12" fmla="*/ 282149 w 607639"/>
                <a:gd name="connsiteY12" fmla="*/ 231172 h 548999"/>
                <a:gd name="connsiteX13" fmla="*/ 325490 w 607639"/>
                <a:gd name="connsiteY13" fmla="*/ 231172 h 548999"/>
                <a:gd name="connsiteX14" fmla="*/ 325490 w 607639"/>
                <a:gd name="connsiteY14" fmla="*/ 281751 h 548999"/>
                <a:gd name="connsiteX15" fmla="*/ 556973 w 607639"/>
                <a:gd name="connsiteY15" fmla="*/ 281751 h 548999"/>
                <a:gd name="connsiteX16" fmla="*/ 556973 w 607639"/>
                <a:gd name="connsiteY16" fmla="*/ 375619 h 548999"/>
                <a:gd name="connsiteX17" fmla="*/ 513542 w 607639"/>
                <a:gd name="connsiteY17" fmla="*/ 375619 h 548999"/>
                <a:gd name="connsiteX18" fmla="*/ 513542 w 607639"/>
                <a:gd name="connsiteY18" fmla="*/ 325040 h 548999"/>
                <a:gd name="connsiteX19" fmla="*/ 325490 w 607639"/>
                <a:gd name="connsiteY19" fmla="*/ 325040 h 548999"/>
                <a:gd name="connsiteX20" fmla="*/ 325490 w 607639"/>
                <a:gd name="connsiteY20" fmla="*/ 375619 h 548999"/>
                <a:gd name="connsiteX21" fmla="*/ 282149 w 607639"/>
                <a:gd name="connsiteY21" fmla="*/ 375619 h 548999"/>
                <a:gd name="connsiteX22" fmla="*/ 282149 w 607639"/>
                <a:gd name="connsiteY22" fmla="*/ 325040 h 548999"/>
                <a:gd name="connsiteX23" fmla="*/ 94097 w 607639"/>
                <a:gd name="connsiteY23" fmla="*/ 325040 h 548999"/>
                <a:gd name="connsiteX24" fmla="*/ 94097 w 607639"/>
                <a:gd name="connsiteY24" fmla="*/ 375619 h 548999"/>
                <a:gd name="connsiteX25" fmla="*/ 50666 w 607639"/>
                <a:gd name="connsiteY25" fmla="*/ 375619 h 548999"/>
                <a:gd name="connsiteX26" fmla="*/ 50666 w 607639"/>
                <a:gd name="connsiteY26" fmla="*/ 281751 h 548999"/>
                <a:gd name="connsiteX27" fmla="*/ 282149 w 607639"/>
                <a:gd name="connsiteY27" fmla="*/ 281751 h 548999"/>
                <a:gd name="connsiteX28" fmla="*/ 159125 w 607639"/>
                <a:gd name="connsiteY28" fmla="*/ 0 h 548999"/>
                <a:gd name="connsiteX29" fmla="*/ 448514 w 607639"/>
                <a:gd name="connsiteY29" fmla="*/ 0 h 548999"/>
                <a:gd name="connsiteX30" fmla="*/ 448514 w 607639"/>
                <a:gd name="connsiteY30" fmla="*/ 187845 h 548999"/>
                <a:gd name="connsiteX31" fmla="*/ 159125 w 607639"/>
                <a:gd name="connsiteY31" fmla="*/ 187845 h 54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639" h="548999">
                  <a:moveTo>
                    <a:pt x="462909" y="418947"/>
                  </a:moveTo>
                  <a:lnTo>
                    <a:pt x="607639" y="418947"/>
                  </a:lnTo>
                  <a:lnTo>
                    <a:pt x="607639" y="548999"/>
                  </a:lnTo>
                  <a:lnTo>
                    <a:pt x="462909" y="548999"/>
                  </a:lnTo>
                  <a:close/>
                  <a:moveTo>
                    <a:pt x="231525" y="418947"/>
                  </a:moveTo>
                  <a:lnTo>
                    <a:pt x="376114" y="418947"/>
                  </a:lnTo>
                  <a:lnTo>
                    <a:pt x="376114" y="548999"/>
                  </a:lnTo>
                  <a:lnTo>
                    <a:pt x="231525" y="548999"/>
                  </a:lnTo>
                  <a:close/>
                  <a:moveTo>
                    <a:pt x="0" y="418947"/>
                  </a:moveTo>
                  <a:lnTo>
                    <a:pt x="144659" y="418947"/>
                  </a:lnTo>
                  <a:lnTo>
                    <a:pt x="144659" y="548999"/>
                  </a:lnTo>
                  <a:lnTo>
                    <a:pt x="0" y="548999"/>
                  </a:lnTo>
                  <a:close/>
                  <a:moveTo>
                    <a:pt x="282149" y="231172"/>
                  </a:moveTo>
                  <a:lnTo>
                    <a:pt x="325490" y="231172"/>
                  </a:lnTo>
                  <a:lnTo>
                    <a:pt x="325490" y="281751"/>
                  </a:lnTo>
                  <a:lnTo>
                    <a:pt x="556973" y="281751"/>
                  </a:lnTo>
                  <a:lnTo>
                    <a:pt x="556973" y="375619"/>
                  </a:lnTo>
                  <a:lnTo>
                    <a:pt x="513542" y="375619"/>
                  </a:lnTo>
                  <a:lnTo>
                    <a:pt x="513542" y="325040"/>
                  </a:lnTo>
                  <a:lnTo>
                    <a:pt x="325490" y="325040"/>
                  </a:lnTo>
                  <a:lnTo>
                    <a:pt x="325490" y="375619"/>
                  </a:lnTo>
                  <a:lnTo>
                    <a:pt x="282149" y="375619"/>
                  </a:lnTo>
                  <a:lnTo>
                    <a:pt x="282149" y="325040"/>
                  </a:lnTo>
                  <a:lnTo>
                    <a:pt x="94097" y="325040"/>
                  </a:lnTo>
                  <a:lnTo>
                    <a:pt x="94097" y="375619"/>
                  </a:lnTo>
                  <a:lnTo>
                    <a:pt x="50666" y="375619"/>
                  </a:lnTo>
                  <a:lnTo>
                    <a:pt x="50666" y="281751"/>
                  </a:lnTo>
                  <a:lnTo>
                    <a:pt x="282149" y="281751"/>
                  </a:lnTo>
                  <a:close/>
                  <a:moveTo>
                    <a:pt x="159125" y="0"/>
                  </a:moveTo>
                  <a:lnTo>
                    <a:pt x="448514" y="0"/>
                  </a:lnTo>
                  <a:lnTo>
                    <a:pt x="448514" y="187845"/>
                  </a:lnTo>
                  <a:lnTo>
                    <a:pt x="159125" y="187845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793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了解新型冠状病毒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cxnSp>
        <p:nvCxnSpPr>
          <p:cNvPr id="6" name="直接连接符 5"/>
          <p:cNvCxnSpPr>
            <a:stCxn id="18" idx="12"/>
            <a:endCxn id="19" idx="0"/>
          </p:cNvCxnSpPr>
          <p:nvPr/>
        </p:nvCxnSpPr>
        <p:spPr>
          <a:xfrm>
            <a:off x="3193758" y="2740627"/>
            <a:ext cx="0" cy="1049518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>
            <a:stCxn id="20" idx="12"/>
            <a:endCxn id="21" idx="0"/>
          </p:cNvCxnSpPr>
          <p:nvPr/>
        </p:nvCxnSpPr>
        <p:spPr>
          <a:xfrm>
            <a:off x="4147243" y="2280328"/>
            <a:ext cx="0" cy="206234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stCxn id="11" idx="14"/>
            <a:endCxn id="22" idx="0"/>
          </p:cNvCxnSpPr>
          <p:nvPr/>
        </p:nvCxnSpPr>
        <p:spPr>
          <a:xfrm flipH="1">
            <a:off x="6251375" y="2930435"/>
            <a:ext cx="1626" cy="1189114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>
            <a:stCxn id="23" idx="12"/>
            <a:endCxn id="24" idx="0"/>
          </p:cNvCxnSpPr>
          <p:nvPr/>
        </p:nvCxnSpPr>
        <p:spPr>
          <a:xfrm>
            <a:off x="7419574" y="2028639"/>
            <a:ext cx="1626" cy="1078092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>
            <a:stCxn id="25" idx="13"/>
            <a:endCxn id="26" idx="0"/>
          </p:cNvCxnSpPr>
          <p:nvPr/>
        </p:nvCxnSpPr>
        <p:spPr>
          <a:xfrm>
            <a:off x="8653446" y="2632861"/>
            <a:ext cx="1626" cy="1323971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任意多边形: 形状 10"/>
          <p:cNvSpPr/>
          <p:nvPr/>
        </p:nvSpPr>
        <p:spPr bwMode="auto">
          <a:xfrm>
            <a:off x="5914825" y="2028818"/>
            <a:ext cx="673100" cy="904872"/>
          </a:xfrm>
          <a:custGeom>
            <a:avLst/>
            <a:gdLst>
              <a:gd name="T0" fmla="*/ 104 w 207"/>
              <a:gd name="T1" fmla="*/ 0 h 278"/>
              <a:gd name="T2" fmla="*/ 104 w 207"/>
              <a:gd name="T3" fmla="*/ 0 h 278"/>
              <a:gd name="T4" fmla="*/ 103 w 207"/>
              <a:gd name="T5" fmla="*/ 0 h 278"/>
              <a:gd name="T6" fmla="*/ 0 w 207"/>
              <a:gd name="T7" fmla="*/ 103 h 278"/>
              <a:gd name="T8" fmla="*/ 4 w 207"/>
              <a:gd name="T9" fmla="*/ 130 h 278"/>
              <a:gd name="T10" fmla="*/ 13 w 207"/>
              <a:gd name="T11" fmla="*/ 152 h 278"/>
              <a:gd name="T12" fmla="*/ 13 w 207"/>
              <a:gd name="T13" fmla="*/ 152 h 278"/>
              <a:gd name="T14" fmla="*/ 17 w 207"/>
              <a:gd name="T15" fmla="*/ 160 h 278"/>
              <a:gd name="T16" fmla="*/ 19 w 207"/>
              <a:gd name="T17" fmla="*/ 163 h 278"/>
              <a:gd name="T18" fmla="*/ 23 w 207"/>
              <a:gd name="T19" fmla="*/ 168 h 278"/>
              <a:gd name="T20" fmla="*/ 24 w 207"/>
              <a:gd name="T21" fmla="*/ 169 h 278"/>
              <a:gd name="T22" fmla="*/ 72 w 207"/>
              <a:gd name="T23" fmla="*/ 210 h 278"/>
              <a:gd name="T24" fmla="*/ 103 w 207"/>
              <a:gd name="T25" fmla="*/ 276 h 278"/>
              <a:gd name="T26" fmla="*/ 103 w 207"/>
              <a:gd name="T27" fmla="*/ 278 h 278"/>
              <a:gd name="T28" fmla="*/ 104 w 207"/>
              <a:gd name="T29" fmla="*/ 277 h 278"/>
              <a:gd name="T30" fmla="*/ 104 w 207"/>
              <a:gd name="T31" fmla="*/ 278 h 278"/>
              <a:gd name="T32" fmla="*/ 104 w 207"/>
              <a:gd name="T33" fmla="*/ 276 h 278"/>
              <a:gd name="T34" fmla="*/ 136 w 207"/>
              <a:gd name="T35" fmla="*/ 210 h 278"/>
              <a:gd name="T36" fmla="*/ 183 w 207"/>
              <a:gd name="T37" fmla="*/ 169 h 278"/>
              <a:gd name="T38" fmla="*/ 184 w 207"/>
              <a:gd name="T39" fmla="*/ 168 h 278"/>
              <a:gd name="T40" fmla="*/ 188 w 207"/>
              <a:gd name="T41" fmla="*/ 163 h 278"/>
              <a:gd name="T42" fmla="*/ 190 w 207"/>
              <a:gd name="T43" fmla="*/ 160 h 278"/>
              <a:gd name="T44" fmla="*/ 194 w 207"/>
              <a:gd name="T45" fmla="*/ 152 h 278"/>
              <a:gd name="T46" fmla="*/ 195 w 207"/>
              <a:gd name="T47" fmla="*/ 152 h 278"/>
              <a:gd name="T48" fmla="*/ 203 w 207"/>
              <a:gd name="T49" fmla="*/ 130 h 278"/>
              <a:gd name="T50" fmla="*/ 207 w 207"/>
              <a:gd name="T51" fmla="*/ 103 h 278"/>
              <a:gd name="T52" fmla="*/ 104 w 207"/>
              <a:gd name="T53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07" h="278">
                <a:moveTo>
                  <a:pt x="104" y="0"/>
                </a:moveTo>
                <a:cubicBezTo>
                  <a:pt x="104" y="0"/>
                  <a:pt x="104" y="0"/>
                  <a:pt x="104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46" y="0"/>
                  <a:pt x="0" y="46"/>
                  <a:pt x="0" y="103"/>
                </a:cubicBezTo>
                <a:cubicBezTo>
                  <a:pt x="0" y="112"/>
                  <a:pt x="2" y="121"/>
                  <a:pt x="4" y="130"/>
                </a:cubicBezTo>
                <a:cubicBezTo>
                  <a:pt x="5" y="134"/>
                  <a:pt x="7" y="142"/>
                  <a:pt x="13" y="152"/>
                </a:cubicBezTo>
                <a:cubicBezTo>
                  <a:pt x="13" y="152"/>
                  <a:pt x="13" y="152"/>
                  <a:pt x="13" y="152"/>
                </a:cubicBezTo>
                <a:cubicBezTo>
                  <a:pt x="14" y="155"/>
                  <a:pt x="16" y="157"/>
                  <a:pt x="17" y="160"/>
                </a:cubicBezTo>
                <a:cubicBezTo>
                  <a:pt x="18" y="161"/>
                  <a:pt x="19" y="162"/>
                  <a:pt x="19" y="163"/>
                </a:cubicBezTo>
                <a:cubicBezTo>
                  <a:pt x="21" y="164"/>
                  <a:pt x="22" y="166"/>
                  <a:pt x="23" y="168"/>
                </a:cubicBezTo>
                <a:cubicBezTo>
                  <a:pt x="24" y="169"/>
                  <a:pt x="24" y="169"/>
                  <a:pt x="24" y="169"/>
                </a:cubicBezTo>
                <a:cubicBezTo>
                  <a:pt x="34" y="181"/>
                  <a:pt x="53" y="194"/>
                  <a:pt x="72" y="210"/>
                </a:cubicBezTo>
                <a:cubicBezTo>
                  <a:pt x="84" y="221"/>
                  <a:pt x="98" y="256"/>
                  <a:pt x="103" y="276"/>
                </a:cubicBezTo>
                <a:cubicBezTo>
                  <a:pt x="103" y="278"/>
                  <a:pt x="103" y="278"/>
                  <a:pt x="103" y="278"/>
                </a:cubicBezTo>
                <a:cubicBezTo>
                  <a:pt x="104" y="277"/>
                  <a:pt x="104" y="277"/>
                  <a:pt x="104" y="277"/>
                </a:cubicBezTo>
                <a:cubicBezTo>
                  <a:pt x="104" y="278"/>
                  <a:pt x="104" y="278"/>
                  <a:pt x="104" y="278"/>
                </a:cubicBezTo>
                <a:cubicBezTo>
                  <a:pt x="104" y="276"/>
                  <a:pt x="104" y="276"/>
                  <a:pt x="104" y="276"/>
                </a:cubicBezTo>
                <a:cubicBezTo>
                  <a:pt x="109" y="256"/>
                  <a:pt x="123" y="221"/>
                  <a:pt x="136" y="210"/>
                </a:cubicBezTo>
                <a:cubicBezTo>
                  <a:pt x="155" y="194"/>
                  <a:pt x="173" y="181"/>
                  <a:pt x="183" y="169"/>
                </a:cubicBezTo>
                <a:cubicBezTo>
                  <a:pt x="184" y="168"/>
                  <a:pt x="184" y="168"/>
                  <a:pt x="184" y="168"/>
                </a:cubicBezTo>
                <a:cubicBezTo>
                  <a:pt x="185" y="166"/>
                  <a:pt x="187" y="164"/>
                  <a:pt x="188" y="163"/>
                </a:cubicBezTo>
                <a:cubicBezTo>
                  <a:pt x="189" y="162"/>
                  <a:pt x="189" y="161"/>
                  <a:pt x="190" y="160"/>
                </a:cubicBezTo>
                <a:cubicBezTo>
                  <a:pt x="192" y="157"/>
                  <a:pt x="193" y="155"/>
                  <a:pt x="194" y="152"/>
                </a:cubicBezTo>
                <a:cubicBezTo>
                  <a:pt x="195" y="152"/>
                  <a:pt x="195" y="152"/>
                  <a:pt x="195" y="152"/>
                </a:cubicBezTo>
                <a:cubicBezTo>
                  <a:pt x="200" y="142"/>
                  <a:pt x="202" y="134"/>
                  <a:pt x="203" y="130"/>
                </a:cubicBezTo>
                <a:cubicBezTo>
                  <a:pt x="206" y="121"/>
                  <a:pt x="207" y="112"/>
                  <a:pt x="207" y="103"/>
                </a:cubicBezTo>
                <a:cubicBezTo>
                  <a:pt x="207" y="46"/>
                  <a:pt x="161" y="0"/>
                  <a:pt x="1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2" name="矩形 11"/>
          <p:cNvSpPr/>
          <p:nvPr/>
        </p:nvSpPr>
        <p:spPr>
          <a:xfrm>
            <a:off x="3815546" y="3082056"/>
            <a:ext cx="651867" cy="4654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id-ID" sz="1400" b="1"/>
              <a:t>4,2</a:t>
            </a:r>
            <a:r>
              <a:rPr lang="id-ID" sz="100" b="1"/>
              <a:t> </a:t>
            </a:r>
            <a:r>
              <a:rPr lang="id-ID" sz="1400" b="1"/>
              <a:t>54</a:t>
            </a:r>
            <a:endParaRPr lang="en-US" sz="1400" b="1" dirty="0"/>
          </a:p>
        </p:txBody>
      </p:sp>
      <p:sp>
        <p:nvSpPr>
          <p:cNvPr id="13" name="矩形 12"/>
          <p:cNvSpPr/>
          <p:nvPr/>
        </p:nvSpPr>
        <p:spPr>
          <a:xfrm>
            <a:off x="2862062" y="3035944"/>
            <a:ext cx="658756" cy="4654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id-ID" sz="1400" b="1"/>
              <a:t>3</a:t>
            </a:r>
            <a:r>
              <a:rPr lang="id-ID" sz="100" b="1"/>
              <a:t> </a:t>
            </a:r>
            <a:r>
              <a:rPr lang="id-ID" sz="1400" b="1"/>
              <a:t>,</a:t>
            </a:r>
            <a:r>
              <a:rPr lang="id-ID" sz="1400" b="1" dirty="0"/>
              <a:t>478</a:t>
            </a:r>
            <a:endParaRPr lang="en-US" sz="1400" b="1" dirty="0"/>
          </a:p>
        </p:txBody>
      </p:sp>
      <p:cxnSp>
        <p:nvCxnSpPr>
          <p:cNvPr id="14" name="直接连接符 13"/>
          <p:cNvCxnSpPr>
            <a:stCxn id="21" idx="6"/>
            <a:endCxn id="22" idx="2"/>
          </p:cNvCxnSpPr>
          <p:nvPr/>
        </p:nvCxnSpPr>
        <p:spPr>
          <a:xfrm flipV="1">
            <a:off x="4229793" y="4202893"/>
            <a:ext cx="1939032" cy="223119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>
            <a:stCxn id="19" idx="5"/>
            <a:endCxn id="21" idx="2"/>
          </p:cNvCxnSpPr>
          <p:nvPr/>
        </p:nvCxnSpPr>
        <p:spPr>
          <a:xfrm>
            <a:off x="3252130" y="3932421"/>
            <a:ext cx="812563" cy="493591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>
            <a:stCxn id="22" idx="7"/>
            <a:endCxn id="24" idx="3"/>
          </p:cNvCxnSpPr>
          <p:nvPr/>
        </p:nvCxnSpPr>
        <p:spPr>
          <a:xfrm flipV="1">
            <a:off x="6309747" y="3249007"/>
            <a:ext cx="1053081" cy="894953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>
            <a:stCxn id="24" idx="5"/>
            <a:endCxn id="26" idx="1"/>
          </p:cNvCxnSpPr>
          <p:nvPr/>
        </p:nvCxnSpPr>
        <p:spPr>
          <a:xfrm>
            <a:off x="7479572" y="3249007"/>
            <a:ext cx="1117128" cy="732236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任意多边形: 形状 17"/>
          <p:cNvSpPr/>
          <p:nvPr/>
        </p:nvSpPr>
        <p:spPr bwMode="auto">
          <a:xfrm>
            <a:off x="2857208" y="1842288"/>
            <a:ext cx="673100" cy="904872"/>
          </a:xfrm>
          <a:custGeom>
            <a:avLst/>
            <a:gdLst>
              <a:gd name="T0" fmla="*/ 103 w 206"/>
              <a:gd name="T1" fmla="*/ 0 h 277"/>
              <a:gd name="T2" fmla="*/ 103 w 206"/>
              <a:gd name="T3" fmla="*/ 0 h 277"/>
              <a:gd name="T4" fmla="*/ 102 w 206"/>
              <a:gd name="T5" fmla="*/ 0 h 277"/>
              <a:gd name="T6" fmla="*/ 0 w 206"/>
              <a:gd name="T7" fmla="*/ 102 h 277"/>
              <a:gd name="T8" fmla="*/ 3 w 206"/>
              <a:gd name="T9" fmla="*/ 129 h 277"/>
              <a:gd name="T10" fmla="*/ 12 w 206"/>
              <a:gd name="T11" fmla="*/ 151 h 277"/>
              <a:gd name="T12" fmla="*/ 12 w 206"/>
              <a:gd name="T13" fmla="*/ 152 h 277"/>
              <a:gd name="T14" fmla="*/ 16 w 206"/>
              <a:gd name="T15" fmla="*/ 159 h 277"/>
              <a:gd name="T16" fmla="*/ 19 w 206"/>
              <a:gd name="T17" fmla="*/ 162 h 277"/>
              <a:gd name="T18" fmla="*/ 23 w 206"/>
              <a:gd name="T19" fmla="*/ 167 h 277"/>
              <a:gd name="T20" fmla="*/ 23 w 206"/>
              <a:gd name="T21" fmla="*/ 168 h 277"/>
              <a:gd name="T22" fmla="*/ 71 w 206"/>
              <a:gd name="T23" fmla="*/ 209 h 277"/>
              <a:gd name="T24" fmla="*/ 103 w 206"/>
              <a:gd name="T25" fmla="*/ 275 h 277"/>
              <a:gd name="T26" fmla="*/ 103 w 206"/>
              <a:gd name="T27" fmla="*/ 277 h 277"/>
              <a:gd name="T28" fmla="*/ 103 w 206"/>
              <a:gd name="T29" fmla="*/ 276 h 277"/>
              <a:gd name="T30" fmla="*/ 103 w 206"/>
              <a:gd name="T31" fmla="*/ 277 h 277"/>
              <a:gd name="T32" fmla="*/ 103 w 206"/>
              <a:gd name="T33" fmla="*/ 275 h 277"/>
              <a:gd name="T34" fmla="*/ 135 w 206"/>
              <a:gd name="T35" fmla="*/ 209 h 277"/>
              <a:gd name="T36" fmla="*/ 183 w 206"/>
              <a:gd name="T37" fmla="*/ 168 h 277"/>
              <a:gd name="T38" fmla="*/ 183 w 206"/>
              <a:gd name="T39" fmla="*/ 167 h 277"/>
              <a:gd name="T40" fmla="*/ 187 w 206"/>
              <a:gd name="T41" fmla="*/ 162 h 277"/>
              <a:gd name="T42" fmla="*/ 189 w 206"/>
              <a:gd name="T43" fmla="*/ 159 h 277"/>
              <a:gd name="T44" fmla="*/ 194 w 206"/>
              <a:gd name="T45" fmla="*/ 152 h 277"/>
              <a:gd name="T46" fmla="*/ 194 w 206"/>
              <a:gd name="T47" fmla="*/ 151 h 277"/>
              <a:gd name="T48" fmla="*/ 203 w 206"/>
              <a:gd name="T49" fmla="*/ 129 h 277"/>
              <a:gd name="T50" fmla="*/ 206 w 206"/>
              <a:gd name="T51" fmla="*/ 102 h 277"/>
              <a:gd name="T52" fmla="*/ 103 w 206"/>
              <a:gd name="T53" fmla="*/ 0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06" h="277">
                <a:moveTo>
                  <a:pt x="103" y="0"/>
                </a:moveTo>
                <a:cubicBezTo>
                  <a:pt x="103" y="0"/>
                  <a:pt x="103" y="0"/>
                  <a:pt x="103" y="0"/>
                </a:cubicBezTo>
                <a:cubicBezTo>
                  <a:pt x="102" y="0"/>
                  <a:pt x="102" y="0"/>
                  <a:pt x="102" y="0"/>
                </a:cubicBezTo>
                <a:cubicBezTo>
                  <a:pt x="46" y="0"/>
                  <a:pt x="0" y="46"/>
                  <a:pt x="0" y="102"/>
                </a:cubicBezTo>
                <a:cubicBezTo>
                  <a:pt x="0" y="112"/>
                  <a:pt x="1" y="120"/>
                  <a:pt x="3" y="129"/>
                </a:cubicBezTo>
                <a:cubicBezTo>
                  <a:pt x="4" y="133"/>
                  <a:pt x="6" y="141"/>
                  <a:pt x="12" y="151"/>
                </a:cubicBezTo>
                <a:cubicBezTo>
                  <a:pt x="12" y="152"/>
                  <a:pt x="12" y="152"/>
                  <a:pt x="12" y="152"/>
                </a:cubicBezTo>
                <a:cubicBezTo>
                  <a:pt x="13" y="154"/>
                  <a:pt x="15" y="156"/>
                  <a:pt x="16" y="159"/>
                </a:cubicBezTo>
                <a:cubicBezTo>
                  <a:pt x="17" y="160"/>
                  <a:pt x="18" y="161"/>
                  <a:pt x="19" y="162"/>
                </a:cubicBezTo>
                <a:cubicBezTo>
                  <a:pt x="20" y="164"/>
                  <a:pt x="21" y="166"/>
                  <a:pt x="23" y="167"/>
                </a:cubicBezTo>
                <a:cubicBezTo>
                  <a:pt x="23" y="168"/>
                  <a:pt x="23" y="168"/>
                  <a:pt x="23" y="168"/>
                </a:cubicBezTo>
                <a:cubicBezTo>
                  <a:pt x="33" y="181"/>
                  <a:pt x="52" y="194"/>
                  <a:pt x="71" y="209"/>
                </a:cubicBezTo>
                <a:cubicBezTo>
                  <a:pt x="83" y="220"/>
                  <a:pt x="98" y="255"/>
                  <a:pt x="103" y="275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3" y="276"/>
                  <a:pt x="103" y="276"/>
                  <a:pt x="103" y="276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3" y="275"/>
                  <a:pt x="103" y="275"/>
                  <a:pt x="103" y="275"/>
                </a:cubicBezTo>
                <a:cubicBezTo>
                  <a:pt x="108" y="255"/>
                  <a:pt x="123" y="220"/>
                  <a:pt x="135" y="209"/>
                </a:cubicBezTo>
                <a:cubicBezTo>
                  <a:pt x="154" y="194"/>
                  <a:pt x="172" y="181"/>
                  <a:pt x="183" y="168"/>
                </a:cubicBezTo>
                <a:cubicBezTo>
                  <a:pt x="183" y="167"/>
                  <a:pt x="183" y="167"/>
                  <a:pt x="183" y="167"/>
                </a:cubicBezTo>
                <a:cubicBezTo>
                  <a:pt x="184" y="166"/>
                  <a:pt x="186" y="164"/>
                  <a:pt x="187" y="162"/>
                </a:cubicBezTo>
                <a:cubicBezTo>
                  <a:pt x="188" y="161"/>
                  <a:pt x="189" y="160"/>
                  <a:pt x="189" y="159"/>
                </a:cubicBezTo>
                <a:cubicBezTo>
                  <a:pt x="191" y="156"/>
                  <a:pt x="192" y="154"/>
                  <a:pt x="194" y="152"/>
                </a:cubicBezTo>
                <a:cubicBezTo>
                  <a:pt x="194" y="151"/>
                  <a:pt x="194" y="151"/>
                  <a:pt x="194" y="151"/>
                </a:cubicBezTo>
                <a:cubicBezTo>
                  <a:pt x="199" y="141"/>
                  <a:pt x="202" y="133"/>
                  <a:pt x="203" y="129"/>
                </a:cubicBezTo>
                <a:cubicBezTo>
                  <a:pt x="205" y="120"/>
                  <a:pt x="206" y="112"/>
                  <a:pt x="206" y="102"/>
                </a:cubicBezTo>
                <a:cubicBezTo>
                  <a:pt x="206" y="46"/>
                  <a:pt x="160" y="0"/>
                  <a:pt x="10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9" name="椭圆 18"/>
          <p:cNvSpPr/>
          <p:nvPr/>
        </p:nvSpPr>
        <p:spPr bwMode="auto">
          <a:xfrm>
            <a:off x="3111208" y="3790145"/>
            <a:ext cx="165100" cy="1666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0" name="任意多边形: 形状 19"/>
          <p:cNvSpPr/>
          <p:nvPr/>
        </p:nvSpPr>
        <p:spPr bwMode="auto">
          <a:xfrm>
            <a:off x="3810693" y="1381989"/>
            <a:ext cx="673100" cy="904872"/>
          </a:xfrm>
          <a:custGeom>
            <a:avLst/>
            <a:gdLst>
              <a:gd name="T0" fmla="*/ 103 w 206"/>
              <a:gd name="T1" fmla="*/ 0 h 277"/>
              <a:gd name="T2" fmla="*/ 103 w 206"/>
              <a:gd name="T3" fmla="*/ 0 h 277"/>
              <a:gd name="T4" fmla="*/ 102 w 206"/>
              <a:gd name="T5" fmla="*/ 0 h 277"/>
              <a:gd name="T6" fmla="*/ 0 w 206"/>
              <a:gd name="T7" fmla="*/ 103 h 277"/>
              <a:gd name="T8" fmla="*/ 3 w 206"/>
              <a:gd name="T9" fmla="*/ 129 h 277"/>
              <a:gd name="T10" fmla="*/ 12 w 206"/>
              <a:gd name="T11" fmla="*/ 151 h 277"/>
              <a:gd name="T12" fmla="*/ 12 w 206"/>
              <a:gd name="T13" fmla="*/ 152 h 277"/>
              <a:gd name="T14" fmla="*/ 17 w 206"/>
              <a:gd name="T15" fmla="*/ 159 h 277"/>
              <a:gd name="T16" fmla="*/ 19 w 206"/>
              <a:gd name="T17" fmla="*/ 162 h 277"/>
              <a:gd name="T18" fmla="*/ 23 w 206"/>
              <a:gd name="T19" fmla="*/ 168 h 277"/>
              <a:gd name="T20" fmla="*/ 23 w 206"/>
              <a:gd name="T21" fmla="*/ 168 h 277"/>
              <a:gd name="T22" fmla="*/ 71 w 206"/>
              <a:gd name="T23" fmla="*/ 209 h 277"/>
              <a:gd name="T24" fmla="*/ 103 w 206"/>
              <a:gd name="T25" fmla="*/ 275 h 277"/>
              <a:gd name="T26" fmla="*/ 103 w 206"/>
              <a:gd name="T27" fmla="*/ 277 h 277"/>
              <a:gd name="T28" fmla="*/ 103 w 206"/>
              <a:gd name="T29" fmla="*/ 276 h 277"/>
              <a:gd name="T30" fmla="*/ 103 w 206"/>
              <a:gd name="T31" fmla="*/ 277 h 277"/>
              <a:gd name="T32" fmla="*/ 103 w 206"/>
              <a:gd name="T33" fmla="*/ 275 h 277"/>
              <a:gd name="T34" fmla="*/ 135 w 206"/>
              <a:gd name="T35" fmla="*/ 209 h 277"/>
              <a:gd name="T36" fmla="*/ 183 w 206"/>
              <a:gd name="T37" fmla="*/ 168 h 277"/>
              <a:gd name="T38" fmla="*/ 183 w 206"/>
              <a:gd name="T39" fmla="*/ 168 h 277"/>
              <a:gd name="T40" fmla="*/ 187 w 206"/>
              <a:gd name="T41" fmla="*/ 162 h 277"/>
              <a:gd name="T42" fmla="*/ 189 w 206"/>
              <a:gd name="T43" fmla="*/ 159 h 277"/>
              <a:gd name="T44" fmla="*/ 194 w 206"/>
              <a:gd name="T45" fmla="*/ 152 h 277"/>
              <a:gd name="T46" fmla="*/ 194 w 206"/>
              <a:gd name="T47" fmla="*/ 151 h 277"/>
              <a:gd name="T48" fmla="*/ 203 w 206"/>
              <a:gd name="T49" fmla="*/ 129 h 277"/>
              <a:gd name="T50" fmla="*/ 206 w 206"/>
              <a:gd name="T51" fmla="*/ 103 h 277"/>
              <a:gd name="T52" fmla="*/ 103 w 206"/>
              <a:gd name="T53" fmla="*/ 0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06" h="277">
                <a:moveTo>
                  <a:pt x="103" y="0"/>
                </a:moveTo>
                <a:cubicBezTo>
                  <a:pt x="103" y="0"/>
                  <a:pt x="103" y="0"/>
                  <a:pt x="103" y="0"/>
                </a:cubicBezTo>
                <a:cubicBezTo>
                  <a:pt x="102" y="0"/>
                  <a:pt x="102" y="0"/>
                  <a:pt x="102" y="0"/>
                </a:cubicBezTo>
                <a:cubicBezTo>
                  <a:pt x="46" y="0"/>
                  <a:pt x="0" y="46"/>
                  <a:pt x="0" y="103"/>
                </a:cubicBezTo>
                <a:cubicBezTo>
                  <a:pt x="0" y="112"/>
                  <a:pt x="1" y="121"/>
                  <a:pt x="3" y="129"/>
                </a:cubicBezTo>
                <a:cubicBezTo>
                  <a:pt x="4" y="133"/>
                  <a:pt x="6" y="141"/>
                  <a:pt x="12" y="151"/>
                </a:cubicBezTo>
                <a:cubicBezTo>
                  <a:pt x="12" y="152"/>
                  <a:pt x="12" y="152"/>
                  <a:pt x="12" y="152"/>
                </a:cubicBezTo>
                <a:cubicBezTo>
                  <a:pt x="13" y="154"/>
                  <a:pt x="15" y="156"/>
                  <a:pt x="17" y="159"/>
                </a:cubicBezTo>
                <a:cubicBezTo>
                  <a:pt x="17" y="160"/>
                  <a:pt x="18" y="161"/>
                  <a:pt x="19" y="162"/>
                </a:cubicBezTo>
                <a:cubicBezTo>
                  <a:pt x="20" y="164"/>
                  <a:pt x="21" y="166"/>
                  <a:pt x="23" y="168"/>
                </a:cubicBezTo>
                <a:cubicBezTo>
                  <a:pt x="23" y="168"/>
                  <a:pt x="23" y="168"/>
                  <a:pt x="23" y="168"/>
                </a:cubicBezTo>
                <a:cubicBezTo>
                  <a:pt x="33" y="181"/>
                  <a:pt x="52" y="194"/>
                  <a:pt x="71" y="209"/>
                </a:cubicBezTo>
                <a:cubicBezTo>
                  <a:pt x="83" y="220"/>
                  <a:pt x="98" y="255"/>
                  <a:pt x="103" y="275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3" y="276"/>
                  <a:pt x="103" y="276"/>
                  <a:pt x="103" y="276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3" y="275"/>
                  <a:pt x="103" y="275"/>
                  <a:pt x="103" y="275"/>
                </a:cubicBezTo>
                <a:cubicBezTo>
                  <a:pt x="108" y="255"/>
                  <a:pt x="123" y="220"/>
                  <a:pt x="135" y="209"/>
                </a:cubicBezTo>
                <a:cubicBezTo>
                  <a:pt x="154" y="194"/>
                  <a:pt x="173" y="181"/>
                  <a:pt x="183" y="168"/>
                </a:cubicBezTo>
                <a:cubicBezTo>
                  <a:pt x="183" y="168"/>
                  <a:pt x="183" y="168"/>
                  <a:pt x="183" y="168"/>
                </a:cubicBezTo>
                <a:cubicBezTo>
                  <a:pt x="185" y="166"/>
                  <a:pt x="186" y="164"/>
                  <a:pt x="187" y="162"/>
                </a:cubicBezTo>
                <a:cubicBezTo>
                  <a:pt x="188" y="161"/>
                  <a:pt x="189" y="160"/>
                  <a:pt x="189" y="159"/>
                </a:cubicBezTo>
                <a:cubicBezTo>
                  <a:pt x="191" y="156"/>
                  <a:pt x="193" y="154"/>
                  <a:pt x="194" y="152"/>
                </a:cubicBezTo>
                <a:cubicBezTo>
                  <a:pt x="194" y="151"/>
                  <a:pt x="194" y="151"/>
                  <a:pt x="194" y="151"/>
                </a:cubicBezTo>
                <a:cubicBezTo>
                  <a:pt x="199" y="141"/>
                  <a:pt x="202" y="133"/>
                  <a:pt x="203" y="129"/>
                </a:cubicBezTo>
                <a:cubicBezTo>
                  <a:pt x="205" y="121"/>
                  <a:pt x="206" y="112"/>
                  <a:pt x="206" y="103"/>
                </a:cubicBezTo>
                <a:cubicBezTo>
                  <a:pt x="206" y="46"/>
                  <a:pt x="160" y="0"/>
                  <a:pt x="10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21" name="椭圆 20"/>
          <p:cNvSpPr/>
          <p:nvPr/>
        </p:nvSpPr>
        <p:spPr bwMode="auto">
          <a:xfrm>
            <a:off x="4064693" y="4342668"/>
            <a:ext cx="165100" cy="1666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2" name="椭圆 21"/>
          <p:cNvSpPr/>
          <p:nvPr/>
        </p:nvSpPr>
        <p:spPr bwMode="auto">
          <a:xfrm>
            <a:off x="6168825" y="4119549"/>
            <a:ext cx="165100" cy="1666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3" name="任意多边形: 形状 22"/>
          <p:cNvSpPr/>
          <p:nvPr/>
        </p:nvSpPr>
        <p:spPr bwMode="auto">
          <a:xfrm>
            <a:off x="7084650" y="1130300"/>
            <a:ext cx="673100" cy="904872"/>
          </a:xfrm>
          <a:custGeom>
            <a:avLst/>
            <a:gdLst>
              <a:gd name="T0" fmla="*/ 104 w 207"/>
              <a:gd name="T1" fmla="*/ 0 h 277"/>
              <a:gd name="T2" fmla="*/ 104 w 207"/>
              <a:gd name="T3" fmla="*/ 0 h 277"/>
              <a:gd name="T4" fmla="*/ 103 w 207"/>
              <a:gd name="T5" fmla="*/ 0 h 277"/>
              <a:gd name="T6" fmla="*/ 0 w 207"/>
              <a:gd name="T7" fmla="*/ 103 h 277"/>
              <a:gd name="T8" fmla="*/ 4 w 207"/>
              <a:gd name="T9" fmla="*/ 129 h 277"/>
              <a:gd name="T10" fmla="*/ 13 w 207"/>
              <a:gd name="T11" fmla="*/ 152 h 277"/>
              <a:gd name="T12" fmla="*/ 13 w 207"/>
              <a:gd name="T13" fmla="*/ 152 h 277"/>
              <a:gd name="T14" fmla="*/ 17 w 207"/>
              <a:gd name="T15" fmla="*/ 159 h 277"/>
              <a:gd name="T16" fmla="*/ 19 w 207"/>
              <a:gd name="T17" fmla="*/ 162 h 277"/>
              <a:gd name="T18" fmla="*/ 24 w 207"/>
              <a:gd name="T19" fmla="*/ 168 h 277"/>
              <a:gd name="T20" fmla="*/ 24 w 207"/>
              <a:gd name="T21" fmla="*/ 168 h 277"/>
              <a:gd name="T22" fmla="*/ 72 w 207"/>
              <a:gd name="T23" fmla="*/ 209 h 277"/>
              <a:gd name="T24" fmla="*/ 103 w 207"/>
              <a:gd name="T25" fmla="*/ 275 h 277"/>
              <a:gd name="T26" fmla="*/ 103 w 207"/>
              <a:gd name="T27" fmla="*/ 277 h 277"/>
              <a:gd name="T28" fmla="*/ 104 w 207"/>
              <a:gd name="T29" fmla="*/ 276 h 277"/>
              <a:gd name="T30" fmla="*/ 104 w 207"/>
              <a:gd name="T31" fmla="*/ 277 h 277"/>
              <a:gd name="T32" fmla="*/ 104 w 207"/>
              <a:gd name="T33" fmla="*/ 275 h 277"/>
              <a:gd name="T34" fmla="*/ 136 w 207"/>
              <a:gd name="T35" fmla="*/ 209 h 277"/>
              <a:gd name="T36" fmla="*/ 183 w 207"/>
              <a:gd name="T37" fmla="*/ 168 h 277"/>
              <a:gd name="T38" fmla="*/ 184 w 207"/>
              <a:gd name="T39" fmla="*/ 168 h 277"/>
              <a:gd name="T40" fmla="*/ 188 w 207"/>
              <a:gd name="T41" fmla="*/ 162 h 277"/>
              <a:gd name="T42" fmla="*/ 190 w 207"/>
              <a:gd name="T43" fmla="*/ 159 h 277"/>
              <a:gd name="T44" fmla="*/ 195 w 207"/>
              <a:gd name="T45" fmla="*/ 152 h 277"/>
              <a:gd name="T46" fmla="*/ 195 w 207"/>
              <a:gd name="T47" fmla="*/ 152 h 277"/>
              <a:gd name="T48" fmla="*/ 204 w 207"/>
              <a:gd name="T49" fmla="*/ 129 h 277"/>
              <a:gd name="T50" fmla="*/ 207 w 207"/>
              <a:gd name="T51" fmla="*/ 103 h 277"/>
              <a:gd name="T52" fmla="*/ 104 w 207"/>
              <a:gd name="T53" fmla="*/ 0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07" h="277">
                <a:moveTo>
                  <a:pt x="104" y="0"/>
                </a:moveTo>
                <a:cubicBezTo>
                  <a:pt x="104" y="0"/>
                  <a:pt x="104" y="0"/>
                  <a:pt x="104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46" y="0"/>
                  <a:pt x="0" y="46"/>
                  <a:pt x="0" y="103"/>
                </a:cubicBezTo>
                <a:cubicBezTo>
                  <a:pt x="0" y="112"/>
                  <a:pt x="2" y="121"/>
                  <a:pt x="4" y="129"/>
                </a:cubicBezTo>
                <a:cubicBezTo>
                  <a:pt x="5" y="133"/>
                  <a:pt x="7" y="141"/>
                  <a:pt x="13" y="152"/>
                </a:cubicBezTo>
                <a:cubicBezTo>
                  <a:pt x="13" y="152"/>
                  <a:pt x="13" y="152"/>
                  <a:pt x="13" y="152"/>
                </a:cubicBezTo>
                <a:cubicBezTo>
                  <a:pt x="14" y="154"/>
                  <a:pt x="16" y="156"/>
                  <a:pt x="17" y="159"/>
                </a:cubicBezTo>
                <a:cubicBezTo>
                  <a:pt x="18" y="160"/>
                  <a:pt x="19" y="161"/>
                  <a:pt x="19" y="162"/>
                </a:cubicBezTo>
                <a:cubicBezTo>
                  <a:pt x="21" y="164"/>
                  <a:pt x="22" y="166"/>
                  <a:pt x="24" y="168"/>
                </a:cubicBezTo>
                <a:cubicBezTo>
                  <a:pt x="24" y="168"/>
                  <a:pt x="24" y="168"/>
                  <a:pt x="24" y="168"/>
                </a:cubicBezTo>
                <a:cubicBezTo>
                  <a:pt x="34" y="181"/>
                  <a:pt x="53" y="194"/>
                  <a:pt x="72" y="209"/>
                </a:cubicBezTo>
                <a:cubicBezTo>
                  <a:pt x="84" y="221"/>
                  <a:pt x="98" y="256"/>
                  <a:pt x="103" y="275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4" y="276"/>
                  <a:pt x="104" y="276"/>
                  <a:pt x="104" y="276"/>
                </a:cubicBezTo>
                <a:cubicBezTo>
                  <a:pt x="104" y="277"/>
                  <a:pt x="104" y="277"/>
                  <a:pt x="104" y="277"/>
                </a:cubicBezTo>
                <a:cubicBezTo>
                  <a:pt x="104" y="275"/>
                  <a:pt x="104" y="275"/>
                  <a:pt x="104" y="275"/>
                </a:cubicBezTo>
                <a:cubicBezTo>
                  <a:pt x="109" y="256"/>
                  <a:pt x="124" y="221"/>
                  <a:pt x="136" y="209"/>
                </a:cubicBezTo>
                <a:cubicBezTo>
                  <a:pt x="155" y="194"/>
                  <a:pt x="173" y="181"/>
                  <a:pt x="183" y="168"/>
                </a:cubicBezTo>
                <a:cubicBezTo>
                  <a:pt x="184" y="168"/>
                  <a:pt x="184" y="168"/>
                  <a:pt x="184" y="168"/>
                </a:cubicBezTo>
                <a:cubicBezTo>
                  <a:pt x="185" y="166"/>
                  <a:pt x="187" y="164"/>
                  <a:pt x="188" y="162"/>
                </a:cubicBezTo>
                <a:cubicBezTo>
                  <a:pt x="189" y="161"/>
                  <a:pt x="189" y="160"/>
                  <a:pt x="190" y="159"/>
                </a:cubicBezTo>
                <a:cubicBezTo>
                  <a:pt x="192" y="156"/>
                  <a:pt x="193" y="154"/>
                  <a:pt x="195" y="152"/>
                </a:cubicBezTo>
                <a:cubicBezTo>
                  <a:pt x="195" y="152"/>
                  <a:pt x="195" y="152"/>
                  <a:pt x="195" y="152"/>
                </a:cubicBezTo>
                <a:cubicBezTo>
                  <a:pt x="200" y="141"/>
                  <a:pt x="203" y="133"/>
                  <a:pt x="204" y="129"/>
                </a:cubicBezTo>
                <a:cubicBezTo>
                  <a:pt x="206" y="121"/>
                  <a:pt x="207" y="112"/>
                  <a:pt x="207" y="103"/>
                </a:cubicBezTo>
                <a:cubicBezTo>
                  <a:pt x="207" y="46"/>
                  <a:pt x="161" y="0"/>
                  <a:pt x="1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24" name="椭圆 23"/>
          <p:cNvSpPr/>
          <p:nvPr/>
        </p:nvSpPr>
        <p:spPr bwMode="auto">
          <a:xfrm>
            <a:off x="7338650" y="3106731"/>
            <a:ext cx="165100" cy="1666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5" name="任意多边形: 形状 24"/>
          <p:cNvSpPr/>
          <p:nvPr/>
        </p:nvSpPr>
        <p:spPr bwMode="auto">
          <a:xfrm>
            <a:off x="8318522" y="1727989"/>
            <a:ext cx="673100" cy="904872"/>
          </a:xfrm>
          <a:custGeom>
            <a:avLst/>
            <a:gdLst>
              <a:gd name="T0" fmla="*/ 104 w 207"/>
              <a:gd name="T1" fmla="*/ 0 h 278"/>
              <a:gd name="T2" fmla="*/ 103 w 207"/>
              <a:gd name="T3" fmla="*/ 0 h 278"/>
              <a:gd name="T4" fmla="*/ 103 w 207"/>
              <a:gd name="T5" fmla="*/ 0 h 278"/>
              <a:gd name="T6" fmla="*/ 0 w 207"/>
              <a:gd name="T7" fmla="*/ 103 h 278"/>
              <a:gd name="T8" fmla="*/ 4 w 207"/>
              <a:gd name="T9" fmla="*/ 129 h 278"/>
              <a:gd name="T10" fmla="*/ 12 w 207"/>
              <a:gd name="T11" fmla="*/ 152 h 278"/>
              <a:gd name="T12" fmla="*/ 12 w 207"/>
              <a:gd name="T13" fmla="*/ 152 h 278"/>
              <a:gd name="T14" fmla="*/ 17 w 207"/>
              <a:gd name="T15" fmla="*/ 159 h 278"/>
              <a:gd name="T16" fmla="*/ 19 w 207"/>
              <a:gd name="T17" fmla="*/ 162 h 278"/>
              <a:gd name="T18" fmla="*/ 23 w 207"/>
              <a:gd name="T19" fmla="*/ 168 h 278"/>
              <a:gd name="T20" fmla="*/ 24 w 207"/>
              <a:gd name="T21" fmla="*/ 168 h 278"/>
              <a:gd name="T22" fmla="*/ 71 w 207"/>
              <a:gd name="T23" fmla="*/ 210 h 278"/>
              <a:gd name="T24" fmla="*/ 103 w 207"/>
              <a:gd name="T25" fmla="*/ 276 h 278"/>
              <a:gd name="T26" fmla="*/ 103 w 207"/>
              <a:gd name="T27" fmla="*/ 278 h 278"/>
              <a:gd name="T28" fmla="*/ 103 w 207"/>
              <a:gd name="T29" fmla="*/ 277 h 278"/>
              <a:gd name="T30" fmla="*/ 104 w 207"/>
              <a:gd name="T31" fmla="*/ 278 h 278"/>
              <a:gd name="T32" fmla="*/ 104 w 207"/>
              <a:gd name="T33" fmla="*/ 276 h 278"/>
              <a:gd name="T34" fmla="*/ 135 w 207"/>
              <a:gd name="T35" fmla="*/ 210 h 278"/>
              <a:gd name="T36" fmla="*/ 183 w 207"/>
              <a:gd name="T37" fmla="*/ 168 h 278"/>
              <a:gd name="T38" fmla="*/ 183 w 207"/>
              <a:gd name="T39" fmla="*/ 168 h 278"/>
              <a:gd name="T40" fmla="*/ 188 w 207"/>
              <a:gd name="T41" fmla="*/ 162 h 278"/>
              <a:gd name="T42" fmla="*/ 190 w 207"/>
              <a:gd name="T43" fmla="*/ 159 h 278"/>
              <a:gd name="T44" fmla="*/ 194 w 207"/>
              <a:gd name="T45" fmla="*/ 152 h 278"/>
              <a:gd name="T46" fmla="*/ 194 w 207"/>
              <a:gd name="T47" fmla="*/ 152 h 278"/>
              <a:gd name="T48" fmla="*/ 203 w 207"/>
              <a:gd name="T49" fmla="*/ 129 h 278"/>
              <a:gd name="T50" fmla="*/ 207 w 207"/>
              <a:gd name="T51" fmla="*/ 103 h 278"/>
              <a:gd name="T52" fmla="*/ 104 w 207"/>
              <a:gd name="T53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07" h="278">
                <a:moveTo>
                  <a:pt x="104" y="0"/>
                </a:move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46" y="0"/>
                  <a:pt x="0" y="46"/>
                  <a:pt x="0" y="103"/>
                </a:cubicBezTo>
                <a:cubicBezTo>
                  <a:pt x="0" y="112"/>
                  <a:pt x="1" y="121"/>
                  <a:pt x="4" y="129"/>
                </a:cubicBezTo>
                <a:cubicBezTo>
                  <a:pt x="5" y="134"/>
                  <a:pt x="7" y="142"/>
                  <a:pt x="12" y="152"/>
                </a:cubicBezTo>
                <a:cubicBezTo>
                  <a:pt x="12" y="152"/>
                  <a:pt x="12" y="152"/>
                  <a:pt x="12" y="152"/>
                </a:cubicBezTo>
                <a:cubicBezTo>
                  <a:pt x="14" y="154"/>
                  <a:pt x="15" y="157"/>
                  <a:pt x="17" y="159"/>
                </a:cubicBezTo>
                <a:cubicBezTo>
                  <a:pt x="18" y="160"/>
                  <a:pt x="18" y="161"/>
                  <a:pt x="19" y="162"/>
                </a:cubicBezTo>
                <a:cubicBezTo>
                  <a:pt x="20" y="164"/>
                  <a:pt x="22" y="166"/>
                  <a:pt x="23" y="168"/>
                </a:cubicBezTo>
                <a:cubicBezTo>
                  <a:pt x="24" y="168"/>
                  <a:pt x="24" y="168"/>
                  <a:pt x="24" y="168"/>
                </a:cubicBezTo>
                <a:cubicBezTo>
                  <a:pt x="34" y="181"/>
                  <a:pt x="52" y="194"/>
                  <a:pt x="71" y="210"/>
                </a:cubicBezTo>
                <a:cubicBezTo>
                  <a:pt x="84" y="221"/>
                  <a:pt x="98" y="256"/>
                  <a:pt x="103" y="276"/>
                </a:cubicBezTo>
                <a:cubicBezTo>
                  <a:pt x="103" y="278"/>
                  <a:pt x="103" y="278"/>
                  <a:pt x="103" y="278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4" y="278"/>
                  <a:pt x="104" y="278"/>
                  <a:pt x="104" y="278"/>
                </a:cubicBezTo>
                <a:cubicBezTo>
                  <a:pt x="104" y="276"/>
                  <a:pt x="104" y="276"/>
                  <a:pt x="104" y="276"/>
                </a:cubicBezTo>
                <a:cubicBezTo>
                  <a:pt x="109" y="256"/>
                  <a:pt x="123" y="221"/>
                  <a:pt x="135" y="210"/>
                </a:cubicBezTo>
                <a:cubicBezTo>
                  <a:pt x="154" y="194"/>
                  <a:pt x="173" y="181"/>
                  <a:pt x="183" y="168"/>
                </a:cubicBezTo>
                <a:cubicBezTo>
                  <a:pt x="183" y="168"/>
                  <a:pt x="183" y="168"/>
                  <a:pt x="183" y="168"/>
                </a:cubicBezTo>
                <a:cubicBezTo>
                  <a:pt x="185" y="166"/>
                  <a:pt x="186" y="164"/>
                  <a:pt x="188" y="162"/>
                </a:cubicBezTo>
                <a:cubicBezTo>
                  <a:pt x="188" y="161"/>
                  <a:pt x="189" y="160"/>
                  <a:pt x="190" y="159"/>
                </a:cubicBezTo>
                <a:cubicBezTo>
                  <a:pt x="191" y="157"/>
                  <a:pt x="193" y="154"/>
                  <a:pt x="194" y="152"/>
                </a:cubicBezTo>
                <a:cubicBezTo>
                  <a:pt x="194" y="152"/>
                  <a:pt x="194" y="152"/>
                  <a:pt x="194" y="152"/>
                </a:cubicBezTo>
                <a:cubicBezTo>
                  <a:pt x="200" y="142"/>
                  <a:pt x="202" y="134"/>
                  <a:pt x="203" y="129"/>
                </a:cubicBezTo>
                <a:cubicBezTo>
                  <a:pt x="205" y="121"/>
                  <a:pt x="207" y="112"/>
                  <a:pt x="207" y="103"/>
                </a:cubicBezTo>
                <a:cubicBezTo>
                  <a:pt x="207" y="46"/>
                  <a:pt x="161" y="0"/>
                  <a:pt x="1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26" name="椭圆 25"/>
          <p:cNvSpPr/>
          <p:nvPr/>
        </p:nvSpPr>
        <p:spPr bwMode="auto">
          <a:xfrm>
            <a:off x="8572522" y="3956832"/>
            <a:ext cx="165100" cy="166687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7" name="矩形 26"/>
          <p:cNvSpPr/>
          <p:nvPr/>
        </p:nvSpPr>
        <p:spPr>
          <a:xfrm>
            <a:off x="7089504" y="2338243"/>
            <a:ext cx="654622" cy="4654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id-ID" sz="1400" b="1"/>
              <a:t>1</a:t>
            </a:r>
            <a:r>
              <a:rPr lang="id-ID" sz="100" b="1"/>
              <a:t> </a:t>
            </a:r>
            <a:r>
              <a:rPr lang="id-ID" sz="1400" b="1"/>
              <a:t>,125</a:t>
            </a:r>
            <a:endParaRPr lang="en-US" sz="1400" b="1" dirty="0"/>
          </a:p>
        </p:txBody>
      </p:sp>
      <p:sp>
        <p:nvSpPr>
          <p:cNvPr id="28" name="矩形 27"/>
          <p:cNvSpPr/>
          <p:nvPr/>
        </p:nvSpPr>
        <p:spPr>
          <a:xfrm>
            <a:off x="8323375" y="3062138"/>
            <a:ext cx="667021" cy="4654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id-ID" sz="1400" b="1"/>
              <a:t>6</a:t>
            </a:r>
            <a:r>
              <a:rPr lang="id-ID" sz="100" b="1"/>
              <a:t> </a:t>
            </a:r>
            <a:r>
              <a:rPr lang="id-ID" sz="1400" b="1"/>
              <a:t>,548</a:t>
            </a:r>
            <a:endParaRPr lang="en-US" sz="1400" b="1" dirty="0"/>
          </a:p>
        </p:txBody>
      </p:sp>
      <p:sp>
        <p:nvSpPr>
          <p:cNvPr id="29" name="矩形 28"/>
          <p:cNvSpPr/>
          <p:nvPr/>
        </p:nvSpPr>
        <p:spPr>
          <a:xfrm>
            <a:off x="5919679" y="3290656"/>
            <a:ext cx="654622" cy="465416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id-ID" sz="1400" b="1"/>
              <a:t>1</a:t>
            </a:r>
            <a:r>
              <a:rPr lang="id-ID" sz="100" b="1"/>
              <a:t> </a:t>
            </a:r>
            <a:r>
              <a:rPr lang="id-ID" sz="1400" b="1"/>
              <a:t>,458</a:t>
            </a:r>
            <a:endParaRPr lang="en-US" sz="1400" b="1" dirty="0"/>
          </a:p>
        </p:txBody>
      </p:sp>
      <p:sp>
        <p:nvSpPr>
          <p:cNvPr id="30" name="任意多边形: 形状 29"/>
          <p:cNvSpPr/>
          <p:nvPr/>
        </p:nvSpPr>
        <p:spPr>
          <a:xfrm>
            <a:off x="3058437" y="2054490"/>
            <a:ext cx="270642" cy="252174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/>
          </a:solidFill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1" name="任意多边形: 形状 30"/>
          <p:cNvSpPr/>
          <p:nvPr/>
        </p:nvSpPr>
        <p:spPr>
          <a:xfrm>
            <a:off x="4011922" y="1594190"/>
            <a:ext cx="270642" cy="252174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/>
          </a:solidFill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2" name="任意多边形: 形状 31"/>
          <p:cNvSpPr/>
          <p:nvPr/>
        </p:nvSpPr>
        <p:spPr>
          <a:xfrm>
            <a:off x="6116054" y="2241020"/>
            <a:ext cx="270642" cy="252174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/>
          </a:solidFill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3" name="任意多边形: 形状 32"/>
          <p:cNvSpPr/>
          <p:nvPr/>
        </p:nvSpPr>
        <p:spPr>
          <a:xfrm>
            <a:off x="7285879" y="1342502"/>
            <a:ext cx="270642" cy="252174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/>
          </a:solidFill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34" name="任意多边形: 形状 33"/>
          <p:cNvSpPr/>
          <p:nvPr/>
        </p:nvSpPr>
        <p:spPr>
          <a:xfrm>
            <a:off x="8519751" y="1940191"/>
            <a:ext cx="270642" cy="252174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/>
          </a:solidFill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876384" y="5220010"/>
            <a:ext cx="1826125" cy="91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/>
              <a:t>Supp</a:t>
            </a:r>
            <a:r>
              <a:rPr lang="en-US" altLang="zh-CN" sz="100"/>
              <a:t> </a:t>
            </a:r>
            <a:r>
              <a:rPr lang="en-US" altLang="zh-CN" sz="1100"/>
              <a:t>orting </a:t>
            </a:r>
            <a:r>
              <a:rPr lang="en-US" altLang="zh-CN" sz="1100" dirty="0"/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876384" y="4804281"/>
            <a:ext cx="1826125" cy="41572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3026487" y="5220010"/>
            <a:ext cx="1826125" cy="91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/>
              <a:t>Supp</a:t>
            </a:r>
            <a:r>
              <a:rPr lang="en-US" altLang="zh-CN" sz="100"/>
              <a:t> </a:t>
            </a:r>
            <a:r>
              <a:rPr lang="en-US" altLang="zh-CN" sz="1100"/>
              <a:t>orting </a:t>
            </a:r>
            <a:r>
              <a:rPr lang="en-US" altLang="zh-CN" sz="1100" dirty="0"/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3026487" y="4804281"/>
            <a:ext cx="1826125" cy="41572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5176589" y="5220010"/>
            <a:ext cx="1826125" cy="91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/>
              <a:t>Supp</a:t>
            </a:r>
            <a:r>
              <a:rPr lang="en-US" altLang="zh-CN" sz="100"/>
              <a:t> </a:t>
            </a:r>
            <a:r>
              <a:rPr lang="en-US" altLang="zh-CN" sz="1100"/>
              <a:t>orting </a:t>
            </a:r>
            <a:r>
              <a:rPr lang="en-US" altLang="zh-CN" sz="1100" dirty="0"/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5176589" y="4804281"/>
            <a:ext cx="1826125" cy="41572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7326691" y="5220010"/>
            <a:ext cx="1826125" cy="91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/>
              <a:t>Supp</a:t>
            </a:r>
            <a:r>
              <a:rPr lang="en-US" altLang="zh-CN" sz="100"/>
              <a:t> </a:t>
            </a:r>
            <a:r>
              <a:rPr lang="en-US" altLang="zh-CN" sz="1100"/>
              <a:t>orting </a:t>
            </a:r>
            <a:r>
              <a:rPr lang="en-US" altLang="zh-CN" sz="1100" dirty="0"/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7326691" y="4804281"/>
            <a:ext cx="1826125" cy="41572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9476791" y="5220010"/>
            <a:ext cx="1826125" cy="91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/>
              <a:t>Supp</a:t>
            </a:r>
            <a:r>
              <a:rPr lang="en-US" altLang="zh-CN" sz="100"/>
              <a:t> </a:t>
            </a:r>
            <a:r>
              <a:rPr lang="en-US" altLang="zh-CN" sz="1100"/>
              <a:t>orting </a:t>
            </a:r>
            <a:r>
              <a:rPr lang="en-US" altLang="zh-CN" sz="1100" dirty="0"/>
              <a:t>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/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9476791" y="4804281"/>
            <a:ext cx="1826125" cy="41572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</a:p>
        </p:txBody>
      </p:sp>
    </p:spTree>
    <p:extLst>
      <p:ext uri="{BB962C8B-B14F-4D97-AF65-F5344CB8AC3E}">
        <p14:creationId xmlns:p14="http://schemas.microsoft.com/office/powerpoint/2010/main" val="616964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预防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/>
              <a:t>Supporting text here.</a:t>
            </a:r>
          </a:p>
          <a:p>
            <a:pPr lvl="0"/>
            <a:r>
              <a:rPr lang="en-US" altLang="zh-CN" dirty="0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2056274" y="2996401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latin typeface="Impact" panose="020B0806030902050204" pitchFamily="34" charset="0"/>
              </a:rPr>
              <a:t>/02</a:t>
            </a:r>
            <a:endParaRPr lang="zh-CN" altLang="en-US" sz="80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461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预防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90206BDF-FB73-4403-AC67-B648747A7FFD}"/>
              </a:ext>
            </a:extLst>
          </p:cNvPr>
          <p:cNvCxnSpPr>
            <a:cxnSpLocks/>
          </p:cNvCxnSpPr>
          <p:nvPr/>
        </p:nvCxnSpPr>
        <p:spPr>
          <a:xfrm>
            <a:off x="696000" y="1747566"/>
            <a:ext cx="10704139" cy="0"/>
          </a:xfrm>
          <a:prstGeom prst="line">
            <a:avLst/>
          </a:prstGeom>
          <a:ln w="57150" cap="rnd">
            <a:solidFill>
              <a:schemeClr val="bg1">
                <a:lumMod val="9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3389901-BB85-4A4A-94A3-9A8F232EAD0D}"/>
              </a:ext>
            </a:extLst>
          </p:cNvPr>
          <p:cNvCxnSpPr>
            <a:cxnSpLocks/>
          </p:cNvCxnSpPr>
          <p:nvPr/>
        </p:nvCxnSpPr>
        <p:spPr>
          <a:xfrm>
            <a:off x="696000" y="4356733"/>
            <a:ext cx="10704139" cy="0"/>
          </a:xfrm>
          <a:prstGeom prst="line">
            <a:avLst/>
          </a:prstGeom>
          <a:ln w="57150" cap="rnd">
            <a:solidFill>
              <a:schemeClr val="bg1">
                <a:lumMod val="9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92FFBD8E-A664-4C69-BC7B-DB0686AA1120}"/>
              </a:ext>
            </a:extLst>
          </p:cNvPr>
          <p:cNvCxnSpPr>
            <a:cxnSpLocks/>
          </p:cNvCxnSpPr>
          <p:nvPr/>
        </p:nvCxnSpPr>
        <p:spPr>
          <a:xfrm>
            <a:off x="11400139" y="1747566"/>
            <a:ext cx="0" cy="2609167"/>
          </a:xfrm>
          <a:prstGeom prst="line">
            <a:avLst/>
          </a:prstGeom>
          <a:ln w="57150" cap="rnd">
            <a:solidFill>
              <a:schemeClr val="bg1">
                <a:lumMod val="9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椭圆 63">
            <a:extLst>
              <a:ext uri="{FF2B5EF4-FFF2-40B4-BE49-F238E27FC236}">
                <a16:creationId xmlns:a16="http://schemas.microsoft.com/office/drawing/2014/main" id="{55E10D7E-7DCC-483E-9543-6128A544E84C}"/>
              </a:ext>
            </a:extLst>
          </p:cNvPr>
          <p:cNvSpPr/>
          <p:nvPr/>
        </p:nvSpPr>
        <p:spPr bwMode="auto">
          <a:xfrm rot="5400000">
            <a:off x="11267383" y="3135849"/>
            <a:ext cx="265512" cy="26551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40000" lnSpcReduction="20000"/>
          </a:bodyPr>
          <a:lstStyle/>
          <a:p>
            <a:pPr algn="ctr"/>
            <a:endParaRPr lang="zh-CN" altLang="en-US" dirty="0"/>
          </a:p>
        </p:txBody>
      </p:sp>
      <p:sp>
        <p:nvSpPr>
          <p:cNvPr id="65" name="箭头: 右 64">
            <a:extLst>
              <a:ext uri="{FF2B5EF4-FFF2-40B4-BE49-F238E27FC236}">
                <a16:creationId xmlns:a16="http://schemas.microsoft.com/office/drawing/2014/main" id="{DD735722-0EA9-4E59-93A4-3D788BE88ABD}"/>
              </a:ext>
            </a:extLst>
          </p:cNvPr>
          <p:cNvSpPr/>
          <p:nvPr/>
        </p:nvSpPr>
        <p:spPr bwMode="auto">
          <a:xfrm rot="5400000">
            <a:off x="11307981" y="3193597"/>
            <a:ext cx="184317" cy="150013"/>
          </a:xfrm>
          <a:prstGeom prst="rightArrow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27960315-49F1-4F70-BAD7-0D19E5AD3C10}"/>
              </a:ext>
            </a:extLst>
          </p:cNvPr>
          <p:cNvGrpSpPr/>
          <p:nvPr/>
        </p:nvGrpSpPr>
        <p:grpSpPr>
          <a:xfrm>
            <a:off x="659106" y="2167320"/>
            <a:ext cx="2195910" cy="1261680"/>
            <a:chOff x="1420379" y="3521534"/>
            <a:chExt cx="2195910" cy="1261680"/>
          </a:xfrm>
        </p:grpSpPr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DA999BF6-C51C-4077-A775-09E5E9B0B012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/>
                <a:t>Copy pa</a:t>
              </a:r>
              <a:r>
                <a:rPr lang="en-US" altLang="zh-CN" sz="100"/>
                <a:t> </a:t>
              </a:r>
              <a:r>
                <a:rPr lang="en-US" altLang="zh-CN" sz="1100"/>
                <a:t>ste </a:t>
              </a:r>
              <a:r>
                <a:rPr lang="en-US" altLang="zh-CN" sz="1100" dirty="0"/>
                <a:t>fonts. Choose the 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165C18C1-EF38-4F02-B11D-1D3E71D4733E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ext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F77D2D45-6DFC-44EF-BD71-28370DB6C52C}"/>
              </a:ext>
            </a:extLst>
          </p:cNvPr>
          <p:cNvGrpSpPr/>
          <p:nvPr/>
        </p:nvGrpSpPr>
        <p:grpSpPr>
          <a:xfrm>
            <a:off x="1483837" y="1474342"/>
            <a:ext cx="546450" cy="546448"/>
            <a:chOff x="3838838" y="1337875"/>
            <a:chExt cx="546450" cy="546448"/>
          </a:xfrm>
        </p:grpSpPr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F1CDD327-E8EE-4232-B783-6C55F0201D33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49B389B0-600C-47F3-AABF-A57E3791AABA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56" name="椭圆 55">
            <a:extLst>
              <a:ext uri="{FF2B5EF4-FFF2-40B4-BE49-F238E27FC236}">
                <a16:creationId xmlns:a16="http://schemas.microsoft.com/office/drawing/2014/main" id="{208FFBFB-E54D-4075-BC2F-935CA61D1D2B}"/>
              </a:ext>
            </a:extLst>
          </p:cNvPr>
          <p:cNvSpPr/>
          <p:nvPr/>
        </p:nvSpPr>
        <p:spPr bwMode="auto">
          <a:xfrm>
            <a:off x="3481373" y="1611674"/>
            <a:ext cx="265512" cy="26551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40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57" name="箭头: 右 56">
            <a:extLst>
              <a:ext uri="{FF2B5EF4-FFF2-40B4-BE49-F238E27FC236}">
                <a16:creationId xmlns:a16="http://schemas.microsoft.com/office/drawing/2014/main" id="{04369D02-1C2F-49CA-9E5A-51E47C539645}"/>
              </a:ext>
            </a:extLst>
          </p:cNvPr>
          <p:cNvSpPr/>
          <p:nvPr/>
        </p:nvSpPr>
        <p:spPr bwMode="auto">
          <a:xfrm>
            <a:off x="3521970" y="1669423"/>
            <a:ext cx="184317" cy="150014"/>
          </a:xfrm>
          <a:prstGeom prst="rightArrow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8AC46A47-3B16-47CC-82E3-CD2F369E8F13}"/>
              </a:ext>
            </a:extLst>
          </p:cNvPr>
          <p:cNvGrpSpPr/>
          <p:nvPr/>
        </p:nvGrpSpPr>
        <p:grpSpPr>
          <a:xfrm>
            <a:off x="4600170" y="2167320"/>
            <a:ext cx="2195910" cy="1261680"/>
            <a:chOff x="1420379" y="3521534"/>
            <a:chExt cx="2195910" cy="1261680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44161B95-8C50-4B19-8FC9-6413F9081C88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</a:t>
              </a:r>
              <a:r>
                <a:rPr lang="en-US" altLang="zh-CN" sz="1100"/>
                <a:t>Choose th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6B1F4772-DB6A-48FA-A0E1-F352B79C4CFB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x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18F51C99-BC06-465D-AB21-8E707EAE51D5}"/>
              </a:ext>
            </a:extLst>
          </p:cNvPr>
          <p:cNvGrpSpPr/>
          <p:nvPr/>
        </p:nvGrpSpPr>
        <p:grpSpPr>
          <a:xfrm>
            <a:off x="5424901" y="1474342"/>
            <a:ext cx="546450" cy="546448"/>
            <a:chOff x="3838838" y="1337875"/>
            <a:chExt cx="546450" cy="546448"/>
          </a:xfrm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D3531F1D-0952-4774-8FF7-F15239627A39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F1884DF7-E6D2-4903-9583-9F27AB2C8F6E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2106E30D-C68A-482D-B358-65C8338FEA21}"/>
              </a:ext>
            </a:extLst>
          </p:cNvPr>
          <p:cNvGrpSpPr/>
          <p:nvPr/>
        </p:nvGrpSpPr>
        <p:grpSpPr>
          <a:xfrm>
            <a:off x="8541234" y="2167320"/>
            <a:ext cx="2195910" cy="1261680"/>
            <a:chOff x="1420379" y="3521534"/>
            <a:chExt cx="2195910" cy="1261680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CCB09A04-DE3F-4B47-B4F3-24F803CCEA33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</a:t>
              </a:r>
              <a:r>
                <a:rPr lang="en-US" altLang="zh-CN" sz="1100"/>
                <a:t>Choose th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B444AD37-8008-4398-8F60-5291F0AF81FA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x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16624017-0917-4106-A99E-CF373DE46D6A}"/>
              </a:ext>
            </a:extLst>
          </p:cNvPr>
          <p:cNvGrpSpPr/>
          <p:nvPr/>
        </p:nvGrpSpPr>
        <p:grpSpPr>
          <a:xfrm>
            <a:off x="9365965" y="1474342"/>
            <a:ext cx="546450" cy="546448"/>
            <a:chOff x="3838838" y="1337875"/>
            <a:chExt cx="546450" cy="546448"/>
          </a:xfrm>
        </p:grpSpPr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0BC2216B-774E-4DA8-9841-D9DFC35A34BD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27F4F4CD-7FDC-469A-8F70-EF288B244543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42" name="椭圆 41">
            <a:extLst>
              <a:ext uri="{FF2B5EF4-FFF2-40B4-BE49-F238E27FC236}">
                <a16:creationId xmlns:a16="http://schemas.microsoft.com/office/drawing/2014/main" id="{29F65311-E3EC-46D7-B6C7-B38DAA99CEB8}"/>
              </a:ext>
            </a:extLst>
          </p:cNvPr>
          <p:cNvSpPr/>
          <p:nvPr/>
        </p:nvSpPr>
        <p:spPr bwMode="auto">
          <a:xfrm>
            <a:off x="7535902" y="1611674"/>
            <a:ext cx="265512" cy="26551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40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43" name="箭头: 右 42">
            <a:extLst>
              <a:ext uri="{FF2B5EF4-FFF2-40B4-BE49-F238E27FC236}">
                <a16:creationId xmlns:a16="http://schemas.microsoft.com/office/drawing/2014/main" id="{D506A152-AFC5-468B-9A24-463D854528E2}"/>
              </a:ext>
            </a:extLst>
          </p:cNvPr>
          <p:cNvSpPr/>
          <p:nvPr/>
        </p:nvSpPr>
        <p:spPr bwMode="auto">
          <a:xfrm>
            <a:off x="7576499" y="1669423"/>
            <a:ext cx="184317" cy="150014"/>
          </a:xfrm>
          <a:prstGeom prst="rightArrow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07A7F15F-8C1A-43AD-BD68-29700183D19C}"/>
              </a:ext>
            </a:extLst>
          </p:cNvPr>
          <p:cNvGrpSpPr/>
          <p:nvPr/>
        </p:nvGrpSpPr>
        <p:grpSpPr>
          <a:xfrm>
            <a:off x="659106" y="4727640"/>
            <a:ext cx="2195910" cy="1261680"/>
            <a:chOff x="1420379" y="3521534"/>
            <a:chExt cx="2195910" cy="126168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53761893-6745-48DB-85EC-A14432374E1F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</a:t>
              </a:r>
              <a:r>
                <a:rPr lang="en-US" altLang="zh-CN" sz="1100"/>
                <a:t>Choose th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77EAA8C2-168D-4601-8061-61D73AFCC6EC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x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7439420E-B1D7-4E7A-A3DB-EBB27C0C953D}"/>
              </a:ext>
            </a:extLst>
          </p:cNvPr>
          <p:cNvGrpSpPr/>
          <p:nvPr/>
        </p:nvGrpSpPr>
        <p:grpSpPr>
          <a:xfrm>
            <a:off x="1483837" y="4034662"/>
            <a:ext cx="546450" cy="546448"/>
            <a:chOff x="3838838" y="1337875"/>
            <a:chExt cx="546450" cy="546448"/>
          </a:xfrm>
        </p:grpSpPr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35BA9DC8-6150-4C87-961D-15C2C1482325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0E4AC0D0-3DF3-4E40-9359-5CD31F999A9D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A55C4F05-12D9-4E14-81BA-50CAE2BAF762}"/>
              </a:ext>
            </a:extLst>
          </p:cNvPr>
          <p:cNvGrpSpPr/>
          <p:nvPr/>
        </p:nvGrpSpPr>
        <p:grpSpPr>
          <a:xfrm>
            <a:off x="4600170" y="4727640"/>
            <a:ext cx="2195910" cy="1261680"/>
            <a:chOff x="1420379" y="3521534"/>
            <a:chExt cx="2195910" cy="1261680"/>
          </a:xfrm>
        </p:grpSpPr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C05B17A7-4937-4F55-B7D6-B4B1AF570E18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</a:t>
              </a:r>
              <a:r>
                <a:rPr lang="en-US" altLang="zh-CN" sz="1100"/>
                <a:t>Choose th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AB4F0A9A-6274-4D11-A272-24C30BDED696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x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A2F68EE2-7DAE-4873-9CD4-4E4D7B7F749E}"/>
              </a:ext>
            </a:extLst>
          </p:cNvPr>
          <p:cNvGrpSpPr/>
          <p:nvPr/>
        </p:nvGrpSpPr>
        <p:grpSpPr>
          <a:xfrm>
            <a:off x="5424901" y="4034662"/>
            <a:ext cx="546450" cy="546448"/>
            <a:chOff x="3838838" y="1337875"/>
            <a:chExt cx="546450" cy="546448"/>
          </a:xfrm>
        </p:grpSpPr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EC07D928-0C95-439E-9118-0EEE3B02A79D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E1291BF-3C88-404E-8FD3-CFBAB0C82318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6FF31918-D956-4DB9-9307-C722C96A2ED2}"/>
              </a:ext>
            </a:extLst>
          </p:cNvPr>
          <p:cNvGrpSpPr/>
          <p:nvPr/>
        </p:nvGrpSpPr>
        <p:grpSpPr>
          <a:xfrm>
            <a:off x="8541234" y="4727640"/>
            <a:ext cx="2195910" cy="1261680"/>
            <a:chOff x="1420379" y="3521534"/>
            <a:chExt cx="2195910" cy="1261680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37E6CD19-BE83-4772-BE8E-C2739D78EEE6}"/>
                </a:ext>
              </a:extLst>
            </p:cNvPr>
            <p:cNvSpPr/>
            <p:nvPr/>
          </p:nvSpPr>
          <p:spPr bwMode="auto">
            <a:xfrm>
              <a:off x="1420379" y="3927103"/>
              <a:ext cx="2195910" cy="856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/>
                <a:t>Copy paste fonts. </a:t>
              </a:r>
              <a:r>
                <a:rPr lang="en-US" altLang="zh-CN" sz="1100"/>
                <a:t>Choose the</a:t>
              </a:r>
              <a:r>
                <a:rPr lang="en-US" altLang="zh-CN" sz="100"/>
                <a:t> </a:t>
              </a:r>
              <a:r>
                <a:rPr lang="en-US" altLang="zh-CN" sz="1100"/>
                <a:t> </a:t>
              </a:r>
              <a:r>
                <a:rPr lang="en-US" altLang="zh-CN" sz="1100" dirty="0"/>
                <a:t>only option to retain </a:t>
              </a:r>
              <a:r>
                <a:rPr lang="en-US" altLang="zh-CN" sz="1100"/>
                <a:t>text.</a:t>
              </a:r>
            </a:p>
            <a:p>
              <a:pPr algn="ctr">
                <a:lnSpc>
                  <a:spcPct val="120000"/>
                </a:lnSpc>
              </a:pPr>
              <a:r>
                <a:rPr lang="en-US" altLang="zh-CN" sz="1100"/>
                <a:t>… …</a:t>
              </a:r>
              <a:endParaRPr lang="en-US" altLang="zh-CN" sz="1100" dirty="0"/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2E3D6AE0-F678-4D1F-B643-9AA941B71DD5}"/>
                </a:ext>
              </a:extLst>
            </p:cNvPr>
            <p:cNvSpPr txBox="1"/>
            <p:nvPr/>
          </p:nvSpPr>
          <p:spPr bwMode="auto">
            <a:xfrm>
              <a:off x="1420379" y="3521534"/>
              <a:ext cx="2195910" cy="405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/>
            <a:p>
              <a:pPr marL="0" marR="0" lvl="0" indent="0" algn="ctr" defTabSz="914377" rtl="0" eaLnBrk="1" fontAlgn="auto" latinLnBrk="0" hangingPunct="1"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Text</a:t>
              </a:r>
              <a:r>
                <a:rPr kumimoji="0" lang="en-US" altLang="zh-CN" sz="1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 </a:t>
              </a:r>
              <a:r>
                <a:rPr kumimoji="0" lang="en-US" altLang="zh-CN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</a:rPr>
                <a:t>here</a:t>
              </a:r>
              <a:endPara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14EBDD92-552E-4466-AD2A-0873120FCE88}"/>
              </a:ext>
            </a:extLst>
          </p:cNvPr>
          <p:cNvGrpSpPr/>
          <p:nvPr/>
        </p:nvGrpSpPr>
        <p:grpSpPr>
          <a:xfrm>
            <a:off x="9365965" y="4034662"/>
            <a:ext cx="546450" cy="546448"/>
            <a:chOff x="3838838" y="1337875"/>
            <a:chExt cx="546450" cy="546448"/>
          </a:xfrm>
        </p:grpSpPr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B674B7B0-E1B3-493E-B99A-96DEC5C10DF2}"/>
                </a:ext>
              </a:extLst>
            </p:cNvPr>
            <p:cNvSpPr/>
            <p:nvPr/>
          </p:nvSpPr>
          <p:spPr>
            <a:xfrm>
              <a:off x="3838838" y="1337875"/>
              <a:ext cx="546450" cy="54644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6DB10B9B-7823-4EB6-8F8D-E1BE8891D0C2}"/>
                </a:ext>
              </a:extLst>
            </p:cNvPr>
            <p:cNvSpPr/>
            <p:nvPr/>
          </p:nvSpPr>
          <p:spPr bwMode="auto">
            <a:xfrm>
              <a:off x="4011679" y="1507580"/>
              <a:ext cx="200766" cy="200766"/>
            </a:xfrm>
            <a:custGeom>
              <a:avLst/>
              <a:gdLst>
                <a:gd name="connsiteX0" fmla="*/ 221853 w 338138"/>
                <a:gd name="connsiteY0" fmla="*/ 169862 h 338138"/>
                <a:gd name="connsiteX1" fmla="*/ 243284 w 338138"/>
                <a:gd name="connsiteY1" fmla="*/ 169862 h 338138"/>
                <a:gd name="connsiteX2" fmla="*/ 254000 w 338138"/>
                <a:gd name="connsiteY2" fmla="*/ 180379 h 338138"/>
                <a:gd name="connsiteX3" fmla="*/ 254000 w 338138"/>
                <a:gd name="connsiteY3" fmla="*/ 243483 h 338138"/>
                <a:gd name="connsiteX4" fmla="*/ 243284 w 338138"/>
                <a:gd name="connsiteY4" fmla="*/ 254000 h 338138"/>
                <a:gd name="connsiteX5" fmla="*/ 221853 w 338138"/>
                <a:gd name="connsiteY5" fmla="*/ 254000 h 338138"/>
                <a:gd name="connsiteX6" fmla="*/ 211137 w 338138"/>
                <a:gd name="connsiteY6" fmla="*/ 243483 h 338138"/>
                <a:gd name="connsiteX7" fmla="*/ 211137 w 338138"/>
                <a:gd name="connsiteY7" fmla="*/ 180379 h 338138"/>
                <a:gd name="connsiteX8" fmla="*/ 221853 w 338138"/>
                <a:gd name="connsiteY8" fmla="*/ 169862 h 338138"/>
                <a:gd name="connsiteX9" fmla="*/ 94853 w 338138"/>
                <a:gd name="connsiteY9" fmla="*/ 127000 h 338138"/>
                <a:gd name="connsiteX10" fmla="*/ 116284 w 338138"/>
                <a:gd name="connsiteY10" fmla="*/ 127000 h 338138"/>
                <a:gd name="connsiteX11" fmla="*/ 127000 w 338138"/>
                <a:gd name="connsiteY11" fmla="*/ 137583 h 338138"/>
                <a:gd name="connsiteX12" fmla="*/ 127000 w 338138"/>
                <a:gd name="connsiteY12" fmla="*/ 243417 h 338138"/>
                <a:gd name="connsiteX13" fmla="*/ 116284 w 338138"/>
                <a:gd name="connsiteY13" fmla="*/ 254000 h 338138"/>
                <a:gd name="connsiteX14" fmla="*/ 94853 w 338138"/>
                <a:gd name="connsiteY14" fmla="*/ 254000 h 338138"/>
                <a:gd name="connsiteX15" fmla="*/ 84137 w 338138"/>
                <a:gd name="connsiteY15" fmla="*/ 243417 h 338138"/>
                <a:gd name="connsiteX16" fmla="*/ 84137 w 338138"/>
                <a:gd name="connsiteY16" fmla="*/ 137583 h 338138"/>
                <a:gd name="connsiteX17" fmla="*/ 94853 w 338138"/>
                <a:gd name="connsiteY17" fmla="*/ 127000 h 338138"/>
                <a:gd name="connsiteX18" fmla="*/ 285353 w 338138"/>
                <a:gd name="connsiteY18" fmla="*/ 85725 h 338138"/>
                <a:gd name="connsiteX19" fmla="*/ 306784 w 338138"/>
                <a:gd name="connsiteY19" fmla="*/ 85725 h 338138"/>
                <a:gd name="connsiteX20" fmla="*/ 317500 w 338138"/>
                <a:gd name="connsiteY20" fmla="*/ 96242 h 338138"/>
                <a:gd name="connsiteX21" fmla="*/ 317500 w 338138"/>
                <a:gd name="connsiteY21" fmla="*/ 243483 h 338138"/>
                <a:gd name="connsiteX22" fmla="*/ 306784 w 338138"/>
                <a:gd name="connsiteY22" fmla="*/ 254000 h 338138"/>
                <a:gd name="connsiteX23" fmla="*/ 285353 w 338138"/>
                <a:gd name="connsiteY23" fmla="*/ 254000 h 338138"/>
                <a:gd name="connsiteX24" fmla="*/ 274637 w 338138"/>
                <a:gd name="connsiteY24" fmla="*/ 243483 h 338138"/>
                <a:gd name="connsiteX25" fmla="*/ 274637 w 338138"/>
                <a:gd name="connsiteY25" fmla="*/ 96242 h 338138"/>
                <a:gd name="connsiteX26" fmla="*/ 285353 w 338138"/>
                <a:gd name="connsiteY26" fmla="*/ 85725 h 338138"/>
                <a:gd name="connsiteX27" fmla="*/ 158353 w 338138"/>
                <a:gd name="connsiteY27" fmla="*/ 42862 h 338138"/>
                <a:gd name="connsiteX28" fmla="*/ 179784 w 338138"/>
                <a:gd name="connsiteY28" fmla="*/ 42862 h 338138"/>
                <a:gd name="connsiteX29" fmla="*/ 190500 w 338138"/>
                <a:gd name="connsiteY29" fmla="*/ 53419 h 338138"/>
                <a:gd name="connsiteX30" fmla="*/ 190500 w 338138"/>
                <a:gd name="connsiteY30" fmla="*/ 243443 h 338138"/>
                <a:gd name="connsiteX31" fmla="*/ 179784 w 338138"/>
                <a:gd name="connsiteY31" fmla="*/ 254000 h 338138"/>
                <a:gd name="connsiteX32" fmla="*/ 158353 w 338138"/>
                <a:gd name="connsiteY32" fmla="*/ 254000 h 338138"/>
                <a:gd name="connsiteX33" fmla="*/ 147637 w 338138"/>
                <a:gd name="connsiteY33" fmla="*/ 243443 h 338138"/>
                <a:gd name="connsiteX34" fmla="*/ 147637 w 338138"/>
                <a:gd name="connsiteY34" fmla="*/ 53419 h 338138"/>
                <a:gd name="connsiteX35" fmla="*/ 158353 w 338138"/>
                <a:gd name="connsiteY35" fmla="*/ 42862 h 338138"/>
                <a:gd name="connsiteX36" fmla="*/ 0 w 338138"/>
                <a:gd name="connsiteY36" fmla="*/ 0 h 338138"/>
                <a:gd name="connsiteX37" fmla="*/ 42267 w 338138"/>
                <a:gd name="connsiteY37" fmla="*/ 0 h 338138"/>
                <a:gd name="connsiteX38" fmla="*/ 42267 w 338138"/>
                <a:gd name="connsiteY38" fmla="*/ 295871 h 338138"/>
                <a:gd name="connsiteX39" fmla="*/ 338138 w 338138"/>
                <a:gd name="connsiteY39" fmla="*/ 295871 h 338138"/>
                <a:gd name="connsiteX40" fmla="*/ 338138 w 338138"/>
                <a:gd name="connsiteY40" fmla="*/ 338138 h 338138"/>
                <a:gd name="connsiteX41" fmla="*/ 21133 w 338138"/>
                <a:gd name="connsiteY41" fmla="*/ 338138 h 338138"/>
                <a:gd name="connsiteX42" fmla="*/ 0 w 338138"/>
                <a:gd name="connsiteY42" fmla="*/ 317005 h 338138"/>
                <a:gd name="connsiteX43" fmla="*/ 0 w 338138"/>
                <a:gd name="connsiteY43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38138" h="338138">
                  <a:moveTo>
                    <a:pt x="221853" y="169862"/>
                  </a:moveTo>
                  <a:cubicBezTo>
                    <a:pt x="221853" y="169862"/>
                    <a:pt x="221853" y="169862"/>
                    <a:pt x="243284" y="169862"/>
                  </a:cubicBezTo>
                  <a:cubicBezTo>
                    <a:pt x="248642" y="169862"/>
                    <a:pt x="254000" y="175121"/>
                    <a:pt x="254000" y="180379"/>
                  </a:cubicBezTo>
                  <a:cubicBezTo>
                    <a:pt x="254000" y="180379"/>
                    <a:pt x="254000" y="180379"/>
                    <a:pt x="254000" y="243483"/>
                  </a:cubicBezTo>
                  <a:cubicBezTo>
                    <a:pt x="254000" y="248742"/>
                    <a:pt x="248642" y="254000"/>
                    <a:pt x="243284" y="254000"/>
                  </a:cubicBezTo>
                  <a:cubicBezTo>
                    <a:pt x="243284" y="254000"/>
                    <a:pt x="243284" y="254000"/>
                    <a:pt x="221853" y="254000"/>
                  </a:cubicBezTo>
                  <a:cubicBezTo>
                    <a:pt x="216495" y="254000"/>
                    <a:pt x="211137" y="248742"/>
                    <a:pt x="211137" y="243483"/>
                  </a:cubicBezTo>
                  <a:cubicBezTo>
                    <a:pt x="211137" y="243483"/>
                    <a:pt x="211137" y="243483"/>
                    <a:pt x="211137" y="180379"/>
                  </a:cubicBezTo>
                  <a:cubicBezTo>
                    <a:pt x="211137" y="175121"/>
                    <a:pt x="216495" y="169862"/>
                    <a:pt x="221853" y="169862"/>
                  </a:cubicBezTo>
                  <a:close/>
                  <a:moveTo>
                    <a:pt x="94853" y="127000"/>
                  </a:moveTo>
                  <a:cubicBezTo>
                    <a:pt x="94853" y="127000"/>
                    <a:pt x="94853" y="127000"/>
                    <a:pt x="116284" y="127000"/>
                  </a:cubicBezTo>
                  <a:cubicBezTo>
                    <a:pt x="121642" y="127000"/>
                    <a:pt x="127000" y="132292"/>
                    <a:pt x="127000" y="137583"/>
                  </a:cubicBezTo>
                  <a:cubicBezTo>
                    <a:pt x="127000" y="137583"/>
                    <a:pt x="127000" y="137583"/>
                    <a:pt x="127000" y="243417"/>
                  </a:cubicBezTo>
                  <a:cubicBezTo>
                    <a:pt x="127000" y="248708"/>
                    <a:pt x="121642" y="254000"/>
                    <a:pt x="116284" y="254000"/>
                  </a:cubicBezTo>
                  <a:cubicBezTo>
                    <a:pt x="116284" y="254000"/>
                    <a:pt x="116284" y="254000"/>
                    <a:pt x="94853" y="254000"/>
                  </a:cubicBezTo>
                  <a:cubicBezTo>
                    <a:pt x="89495" y="254000"/>
                    <a:pt x="84137" y="248708"/>
                    <a:pt x="84137" y="243417"/>
                  </a:cubicBezTo>
                  <a:cubicBezTo>
                    <a:pt x="84137" y="243417"/>
                    <a:pt x="84137" y="243417"/>
                    <a:pt x="84137" y="137583"/>
                  </a:cubicBezTo>
                  <a:cubicBezTo>
                    <a:pt x="84137" y="132292"/>
                    <a:pt x="89495" y="127000"/>
                    <a:pt x="94853" y="127000"/>
                  </a:cubicBezTo>
                  <a:close/>
                  <a:moveTo>
                    <a:pt x="285353" y="85725"/>
                  </a:moveTo>
                  <a:cubicBezTo>
                    <a:pt x="285353" y="85725"/>
                    <a:pt x="285353" y="85725"/>
                    <a:pt x="306784" y="85725"/>
                  </a:cubicBezTo>
                  <a:cubicBezTo>
                    <a:pt x="312142" y="85725"/>
                    <a:pt x="317500" y="90984"/>
                    <a:pt x="317500" y="96242"/>
                  </a:cubicBezTo>
                  <a:cubicBezTo>
                    <a:pt x="317500" y="96242"/>
                    <a:pt x="317500" y="96242"/>
                    <a:pt x="317500" y="243483"/>
                  </a:cubicBezTo>
                  <a:cubicBezTo>
                    <a:pt x="317500" y="248742"/>
                    <a:pt x="312142" y="254000"/>
                    <a:pt x="306784" y="254000"/>
                  </a:cubicBezTo>
                  <a:cubicBezTo>
                    <a:pt x="306784" y="254000"/>
                    <a:pt x="306784" y="254000"/>
                    <a:pt x="285353" y="254000"/>
                  </a:cubicBezTo>
                  <a:cubicBezTo>
                    <a:pt x="279995" y="254000"/>
                    <a:pt x="274637" y="248742"/>
                    <a:pt x="274637" y="243483"/>
                  </a:cubicBezTo>
                  <a:cubicBezTo>
                    <a:pt x="274637" y="243483"/>
                    <a:pt x="274637" y="243483"/>
                    <a:pt x="274637" y="96242"/>
                  </a:cubicBezTo>
                  <a:cubicBezTo>
                    <a:pt x="274637" y="90984"/>
                    <a:pt x="279995" y="85725"/>
                    <a:pt x="285353" y="85725"/>
                  </a:cubicBezTo>
                  <a:close/>
                  <a:moveTo>
                    <a:pt x="158353" y="42862"/>
                  </a:moveTo>
                  <a:cubicBezTo>
                    <a:pt x="158353" y="42862"/>
                    <a:pt x="158353" y="42862"/>
                    <a:pt x="179784" y="42862"/>
                  </a:cubicBezTo>
                  <a:cubicBezTo>
                    <a:pt x="185142" y="42862"/>
                    <a:pt x="190500" y="48140"/>
                    <a:pt x="190500" y="53419"/>
                  </a:cubicBezTo>
                  <a:cubicBezTo>
                    <a:pt x="190500" y="53419"/>
                    <a:pt x="190500" y="53419"/>
                    <a:pt x="190500" y="243443"/>
                  </a:cubicBezTo>
                  <a:cubicBezTo>
                    <a:pt x="190500" y="248722"/>
                    <a:pt x="185142" y="254000"/>
                    <a:pt x="179784" y="254000"/>
                  </a:cubicBezTo>
                  <a:cubicBezTo>
                    <a:pt x="179784" y="254000"/>
                    <a:pt x="179784" y="254000"/>
                    <a:pt x="158353" y="254000"/>
                  </a:cubicBezTo>
                  <a:cubicBezTo>
                    <a:pt x="152995" y="254000"/>
                    <a:pt x="147637" y="248722"/>
                    <a:pt x="147637" y="243443"/>
                  </a:cubicBezTo>
                  <a:cubicBezTo>
                    <a:pt x="147637" y="243443"/>
                    <a:pt x="147637" y="243443"/>
                    <a:pt x="147637" y="53419"/>
                  </a:cubicBezTo>
                  <a:cubicBezTo>
                    <a:pt x="147637" y="48140"/>
                    <a:pt x="152995" y="42862"/>
                    <a:pt x="158353" y="42862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2267" y="0"/>
                  </a:cubicBezTo>
                  <a:cubicBezTo>
                    <a:pt x="42267" y="0"/>
                    <a:pt x="42267" y="0"/>
                    <a:pt x="42267" y="295871"/>
                  </a:cubicBezTo>
                  <a:lnTo>
                    <a:pt x="338138" y="295871"/>
                  </a:lnTo>
                  <a:cubicBezTo>
                    <a:pt x="338138" y="295871"/>
                    <a:pt x="338138" y="295871"/>
                    <a:pt x="338138" y="338138"/>
                  </a:cubicBezTo>
                  <a:cubicBezTo>
                    <a:pt x="338138" y="338138"/>
                    <a:pt x="338138" y="338138"/>
                    <a:pt x="21133" y="338138"/>
                  </a:cubicBezTo>
                  <a:cubicBezTo>
                    <a:pt x="9246" y="338138"/>
                    <a:pt x="0" y="328892"/>
                    <a:pt x="0" y="317005"/>
                  </a:cubicBezTo>
                  <a:cubicBezTo>
                    <a:pt x="0" y="317005"/>
                    <a:pt x="0" y="317005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22" name="椭圆 21">
            <a:extLst>
              <a:ext uri="{FF2B5EF4-FFF2-40B4-BE49-F238E27FC236}">
                <a16:creationId xmlns:a16="http://schemas.microsoft.com/office/drawing/2014/main" id="{86A003AD-C55E-4B3B-8D8E-7CE39C08E717}"/>
              </a:ext>
            </a:extLst>
          </p:cNvPr>
          <p:cNvSpPr/>
          <p:nvPr/>
        </p:nvSpPr>
        <p:spPr bwMode="auto">
          <a:xfrm flipH="1">
            <a:off x="7535902" y="4223977"/>
            <a:ext cx="265512" cy="26551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40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23" name="箭头: 右 22">
            <a:extLst>
              <a:ext uri="{FF2B5EF4-FFF2-40B4-BE49-F238E27FC236}">
                <a16:creationId xmlns:a16="http://schemas.microsoft.com/office/drawing/2014/main" id="{028B49A4-1995-42EA-8A3F-816B56FA4007}"/>
              </a:ext>
            </a:extLst>
          </p:cNvPr>
          <p:cNvSpPr/>
          <p:nvPr/>
        </p:nvSpPr>
        <p:spPr bwMode="auto">
          <a:xfrm flipH="1">
            <a:off x="7576500" y="4281726"/>
            <a:ext cx="184317" cy="150014"/>
          </a:xfrm>
          <a:prstGeom prst="rightArrow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7B93EEAC-D6B7-4183-AEAB-880BBE7A0942}"/>
              </a:ext>
            </a:extLst>
          </p:cNvPr>
          <p:cNvSpPr/>
          <p:nvPr/>
        </p:nvSpPr>
        <p:spPr bwMode="auto">
          <a:xfrm flipH="1">
            <a:off x="3481373" y="4223977"/>
            <a:ext cx="265512" cy="26551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40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  <p:sp>
        <p:nvSpPr>
          <p:cNvPr id="21" name="箭头: 右 20">
            <a:extLst>
              <a:ext uri="{FF2B5EF4-FFF2-40B4-BE49-F238E27FC236}">
                <a16:creationId xmlns:a16="http://schemas.microsoft.com/office/drawing/2014/main" id="{BAF30258-3692-4C5B-8998-F4C6CD42C7EE}"/>
              </a:ext>
            </a:extLst>
          </p:cNvPr>
          <p:cNvSpPr/>
          <p:nvPr/>
        </p:nvSpPr>
        <p:spPr bwMode="auto">
          <a:xfrm flipH="1">
            <a:off x="3521971" y="4281726"/>
            <a:ext cx="184317" cy="150014"/>
          </a:xfrm>
          <a:prstGeom prst="rightArrow">
            <a:avLst/>
          </a:pr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2290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预防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CAC6FE4-2FE1-42E4-BD16-93C4C3622F0C}"/>
              </a:ext>
            </a:extLst>
          </p:cNvPr>
          <p:cNvSpPr/>
          <p:nvPr/>
        </p:nvSpPr>
        <p:spPr>
          <a:xfrm>
            <a:off x="6818727" y="6282314"/>
            <a:ext cx="135656" cy="4382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682" y="0"/>
                </a:moveTo>
                <a:lnTo>
                  <a:pt x="0" y="4122"/>
                </a:lnTo>
                <a:lnTo>
                  <a:pt x="4354" y="21600"/>
                </a:lnTo>
                <a:lnTo>
                  <a:pt x="21600" y="13430"/>
                </a:lnTo>
                <a:lnTo>
                  <a:pt x="5682" y="0"/>
                </a:lnTo>
                <a:close/>
              </a:path>
            </a:pathLst>
          </a:custGeom>
          <a:solidFill>
            <a:srgbClr val="E5E5E5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70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DBE617B4-0886-4C89-9D57-880F0CFA1BD9}"/>
              </a:ext>
            </a:extLst>
          </p:cNvPr>
          <p:cNvSpPr/>
          <p:nvPr/>
        </p:nvSpPr>
        <p:spPr>
          <a:xfrm flipH="1">
            <a:off x="5255865" y="6282113"/>
            <a:ext cx="118852" cy="4404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06" y="0"/>
                </a:moveTo>
                <a:lnTo>
                  <a:pt x="0" y="4621"/>
                </a:lnTo>
                <a:lnTo>
                  <a:pt x="4969" y="21600"/>
                </a:lnTo>
                <a:lnTo>
                  <a:pt x="21600" y="13882"/>
                </a:lnTo>
                <a:lnTo>
                  <a:pt x="12206" y="0"/>
                </a:lnTo>
                <a:close/>
              </a:path>
            </a:pathLst>
          </a:custGeom>
          <a:solidFill>
            <a:srgbClr val="E5E5E5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70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BB024F67-9003-469B-84FB-766F007C3A1E}"/>
              </a:ext>
            </a:extLst>
          </p:cNvPr>
          <p:cNvSpPr/>
          <p:nvPr/>
        </p:nvSpPr>
        <p:spPr>
          <a:xfrm>
            <a:off x="5345517" y="6176342"/>
            <a:ext cx="1542421" cy="6816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600" extrusionOk="0">
                <a:moveTo>
                  <a:pt x="593" y="0"/>
                </a:moveTo>
                <a:cubicBezTo>
                  <a:pt x="303" y="4387"/>
                  <a:pt x="118" y="8797"/>
                  <a:pt x="40" y="13221"/>
                </a:cubicBezTo>
                <a:cubicBezTo>
                  <a:pt x="-9" y="16013"/>
                  <a:pt x="-4" y="18806"/>
                  <a:pt x="10" y="21600"/>
                </a:cubicBezTo>
                <a:lnTo>
                  <a:pt x="21591" y="21600"/>
                </a:lnTo>
                <a:cubicBezTo>
                  <a:pt x="21558" y="20996"/>
                  <a:pt x="21526" y="20393"/>
                  <a:pt x="21494" y="19789"/>
                </a:cubicBezTo>
                <a:cubicBezTo>
                  <a:pt x="21462" y="19185"/>
                  <a:pt x="21430" y="18581"/>
                  <a:pt x="21398" y="17977"/>
                </a:cubicBezTo>
                <a:lnTo>
                  <a:pt x="20174" y="60"/>
                </a:lnTo>
                <a:lnTo>
                  <a:pt x="593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8BF46781-4FF8-4645-8D24-9F3E112DE8D2}"/>
              </a:ext>
            </a:extLst>
          </p:cNvPr>
          <p:cNvSpPr/>
          <p:nvPr/>
        </p:nvSpPr>
        <p:spPr>
          <a:xfrm>
            <a:off x="5762180" y="4033905"/>
            <a:ext cx="617010" cy="2155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9" y="3"/>
                </a:moveTo>
                <a:cubicBezTo>
                  <a:pt x="1684" y="497"/>
                  <a:pt x="1506" y="997"/>
                  <a:pt x="1477" y="1499"/>
                </a:cubicBezTo>
                <a:cubicBezTo>
                  <a:pt x="1449" y="1999"/>
                  <a:pt x="1568" y="2498"/>
                  <a:pt x="1717" y="2997"/>
                </a:cubicBezTo>
                <a:cubicBezTo>
                  <a:pt x="2034" y="4055"/>
                  <a:pt x="2478" y="5096"/>
                  <a:pt x="2927" y="6140"/>
                </a:cubicBezTo>
                <a:cubicBezTo>
                  <a:pt x="4091" y="8851"/>
                  <a:pt x="5274" y="11589"/>
                  <a:pt x="6213" y="14329"/>
                </a:cubicBezTo>
                <a:cubicBezTo>
                  <a:pt x="6537" y="15274"/>
                  <a:pt x="6843" y="16218"/>
                  <a:pt x="6535" y="17170"/>
                </a:cubicBezTo>
                <a:cubicBezTo>
                  <a:pt x="6432" y="17490"/>
                  <a:pt x="6262" y="17805"/>
                  <a:pt x="6039" y="18112"/>
                </a:cubicBezTo>
                <a:cubicBezTo>
                  <a:pt x="4982" y="19566"/>
                  <a:pt x="2834" y="20798"/>
                  <a:pt x="0" y="21600"/>
                </a:cubicBezTo>
                <a:lnTo>
                  <a:pt x="21600" y="21600"/>
                </a:lnTo>
                <a:cubicBezTo>
                  <a:pt x="18767" y="20797"/>
                  <a:pt x="16627" y="19566"/>
                  <a:pt x="15570" y="18112"/>
                </a:cubicBezTo>
                <a:cubicBezTo>
                  <a:pt x="15347" y="17805"/>
                  <a:pt x="15177" y="17490"/>
                  <a:pt x="15074" y="17170"/>
                </a:cubicBezTo>
                <a:cubicBezTo>
                  <a:pt x="14768" y="16218"/>
                  <a:pt x="15079" y="15274"/>
                  <a:pt x="15396" y="14329"/>
                </a:cubicBezTo>
                <a:cubicBezTo>
                  <a:pt x="16313" y="11592"/>
                  <a:pt x="17362" y="8853"/>
                  <a:pt x="18616" y="6149"/>
                </a:cubicBezTo>
                <a:cubicBezTo>
                  <a:pt x="19100" y="5105"/>
                  <a:pt x="19615" y="4064"/>
                  <a:pt x="19913" y="3003"/>
                </a:cubicBezTo>
                <a:cubicBezTo>
                  <a:pt x="20052" y="2504"/>
                  <a:pt x="20142" y="2004"/>
                  <a:pt x="20092" y="1504"/>
                </a:cubicBezTo>
                <a:cubicBezTo>
                  <a:pt x="20042" y="999"/>
                  <a:pt x="19849" y="496"/>
                  <a:pt x="19516" y="0"/>
                </a:cubicBezTo>
                <a:lnTo>
                  <a:pt x="10800" y="116"/>
                </a:lnTo>
                <a:lnTo>
                  <a:pt x="2009" y="3"/>
                </a:ln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906BCB7B-52B2-4CE5-B4F1-A235620A4424}"/>
              </a:ext>
            </a:extLst>
          </p:cNvPr>
          <p:cNvSpPr/>
          <p:nvPr/>
        </p:nvSpPr>
        <p:spPr>
          <a:xfrm>
            <a:off x="4815141" y="4037086"/>
            <a:ext cx="1255396" cy="2656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4" h="21600" extrusionOk="0">
                <a:moveTo>
                  <a:pt x="21294" y="0"/>
                </a:moveTo>
                <a:cubicBezTo>
                  <a:pt x="20812" y="4"/>
                  <a:pt x="20328" y="14"/>
                  <a:pt x="19847" y="15"/>
                </a:cubicBezTo>
                <a:cubicBezTo>
                  <a:pt x="19598" y="15"/>
                  <a:pt x="19348" y="21"/>
                  <a:pt x="19098" y="21"/>
                </a:cubicBezTo>
                <a:lnTo>
                  <a:pt x="21294" y="68"/>
                </a:lnTo>
                <a:lnTo>
                  <a:pt x="21294" y="0"/>
                </a:lnTo>
                <a:close/>
                <a:moveTo>
                  <a:pt x="16889" y="55"/>
                </a:moveTo>
                <a:cubicBezTo>
                  <a:pt x="16329" y="77"/>
                  <a:pt x="15772" y="109"/>
                  <a:pt x="15219" y="166"/>
                </a:cubicBezTo>
                <a:cubicBezTo>
                  <a:pt x="14672" y="223"/>
                  <a:pt x="14137" y="302"/>
                  <a:pt x="13607" y="388"/>
                </a:cubicBezTo>
                <a:cubicBezTo>
                  <a:pt x="12970" y="493"/>
                  <a:pt x="12342" y="610"/>
                  <a:pt x="11728" y="743"/>
                </a:cubicBezTo>
                <a:cubicBezTo>
                  <a:pt x="9126" y="1306"/>
                  <a:pt x="6789" y="2153"/>
                  <a:pt x="5364" y="3339"/>
                </a:cubicBezTo>
                <a:cubicBezTo>
                  <a:pt x="4802" y="3806"/>
                  <a:pt x="4405" y="4312"/>
                  <a:pt x="4059" y="4824"/>
                </a:cubicBezTo>
                <a:cubicBezTo>
                  <a:pt x="3695" y="5361"/>
                  <a:pt x="3380" y="5917"/>
                  <a:pt x="3070" y="6472"/>
                </a:cubicBezTo>
                <a:cubicBezTo>
                  <a:pt x="2350" y="7763"/>
                  <a:pt x="1624" y="9080"/>
                  <a:pt x="888" y="10372"/>
                </a:cubicBezTo>
                <a:cubicBezTo>
                  <a:pt x="305" y="11395"/>
                  <a:pt x="-306" y="12448"/>
                  <a:pt x="171" y="13486"/>
                </a:cubicBezTo>
                <a:cubicBezTo>
                  <a:pt x="320" y="13812"/>
                  <a:pt x="576" y="14124"/>
                  <a:pt x="817" y="14436"/>
                </a:cubicBezTo>
                <a:cubicBezTo>
                  <a:pt x="1587" y="15436"/>
                  <a:pt x="2220" y="16459"/>
                  <a:pt x="3021" y="17452"/>
                </a:cubicBezTo>
                <a:cubicBezTo>
                  <a:pt x="4202" y="18917"/>
                  <a:pt x="5740" y="20309"/>
                  <a:pt x="7604" y="21600"/>
                </a:cubicBezTo>
                <a:cubicBezTo>
                  <a:pt x="7760" y="21089"/>
                  <a:pt x="7926" y="20579"/>
                  <a:pt x="8103" y="20069"/>
                </a:cubicBezTo>
                <a:cubicBezTo>
                  <a:pt x="8335" y="19399"/>
                  <a:pt x="8584" y="18730"/>
                  <a:pt x="8850" y="18062"/>
                </a:cubicBezTo>
                <a:lnTo>
                  <a:pt x="6571" y="12635"/>
                </a:lnTo>
                <a:lnTo>
                  <a:pt x="9519" y="9482"/>
                </a:lnTo>
                <a:cubicBezTo>
                  <a:pt x="10490" y="10210"/>
                  <a:pt x="11116" y="11031"/>
                  <a:pt x="11354" y="11888"/>
                </a:cubicBezTo>
                <a:cubicBezTo>
                  <a:pt x="11503" y="12424"/>
                  <a:pt x="11497" y="12969"/>
                  <a:pt x="11336" y="13503"/>
                </a:cubicBezTo>
                <a:cubicBezTo>
                  <a:pt x="10976" y="14194"/>
                  <a:pt x="10654" y="14888"/>
                  <a:pt x="10369" y="15587"/>
                </a:cubicBezTo>
                <a:cubicBezTo>
                  <a:pt x="10118" y="16204"/>
                  <a:pt x="9898" y="16824"/>
                  <a:pt x="9706" y="17446"/>
                </a:cubicBezTo>
                <a:lnTo>
                  <a:pt x="16155" y="17455"/>
                </a:lnTo>
                <a:cubicBezTo>
                  <a:pt x="17480" y="16803"/>
                  <a:pt x="18486" y="15824"/>
                  <a:pt x="18987" y="14671"/>
                </a:cubicBezTo>
                <a:cubicBezTo>
                  <a:pt x="19095" y="14422"/>
                  <a:pt x="19178" y="14167"/>
                  <a:pt x="19228" y="13907"/>
                </a:cubicBezTo>
                <a:cubicBezTo>
                  <a:pt x="19375" y="13134"/>
                  <a:pt x="19218" y="12369"/>
                  <a:pt x="19072" y="11602"/>
                </a:cubicBezTo>
                <a:cubicBezTo>
                  <a:pt x="18647" y="9380"/>
                  <a:pt x="18261" y="7151"/>
                  <a:pt x="17615" y="4961"/>
                </a:cubicBezTo>
                <a:cubicBezTo>
                  <a:pt x="17365" y="4112"/>
                  <a:pt x="17076" y="3269"/>
                  <a:pt x="16930" y="2406"/>
                </a:cubicBezTo>
                <a:cubicBezTo>
                  <a:pt x="16797" y="1626"/>
                  <a:pt x="16786" y="838"/>
                  <a:pt x="16889" y="5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F7536A77-E8B0-40EC-BA78-D92501FC78B7}"/>
              </a:ext>
            </a:extLst>
          </p:cNvPr>
          <p:cNvSpPr/>
          <p:nvPr/>
        </p:nvSpPr>
        <p:spPr>
          <a:xfrm>
            <a:off x="6189278" y="4040237"/>
            <a:ext cx="1174879" cy="2586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86" h="21600" extrusionOk="0">
                <a:moveTo>
                  <a:pt x="2544" y="0"/>
                </a:moveTo>
                <a:cubicBezTo>
                  <a:pt x="2658" y="814"/>
                  <a:pt x="2648" y="1634"/>
                  <a:pt x="2506" y="2445"/>
                </a:cubicBezTo>
                <a:cubicBezTo>
                  <a:pt x="2350" y="3331"/>
                  <a:pt x="2042" y="4198"/>
                  <a:pt x="1777" y="5069"/>
                </a:cubicBezTo>
                <a:cubicBezTo>
                  <a:pt x="1091" y="7319"/>
                  <a:pt x="682" y="9609"/>
                  <a:pt x="228" y="11891"/>
                </a:cubicBezTo>
                <a:cubicBezTo>
                  <a:pt x="72" y="12678"/>
                  <a:pt x="-94" y="13465"/>
                  <a:pt x="63" y="14259"/>
                </a:cubicBezTo>
                <a:cubicBezTo>
                  <a:pt x="115" y="14526"/>
                  <a:pt x="203" y="14788"/>
                  <a:pt x="318" y="15044"/>
                </a:cubicBezTo>
                <a:cubicBezTo>
                  <a:pt x="851" y="16228"/>
                  <a:pt x="1916" y="17233"/>
                  <a:pt x="3325" y="17903"/>
                </a:cubicBezTo>
                <a:lnTo>
                  <a:pt x="10810" y="17901"/>
                </a:lnTo>
                <a:cubicBezTo>
                  <a:pt x="10550" y="17262"/>
                  <a:pt x="10285" y="16623"/>
                  <a:pt x="10015" y="15985"/>
                </a:cubicBezTo>
                <a:cubicBezTo>
                  <a:pt x="9741" y="15339"/>
                  <a:pt x="9461" y="14691"/>
                  <a:pt x="9177" y="14048"/>
                </a:cubicBezTo>
                <a:cubicBezTo>
                  <a:pt x="9210" y="13423"/>
                  <a:pt x="9342" y="12803"/>
                  <a:pt x="9575" y="12185"/>
                </a:cubicBezTo>
                <a:cubicBezTo>
                  <a:pt x="9892" y="11340"/>
                  <a:pt x="10393" y="10512"/>
                  <a:pt x="11071" y="9714"/>
                </a:cubicBezTo>
                <a:lnTo>
                  <a:pt x="14205" y="12952"/>
                </a:lnTo>
                <a:lnTo>
                  <a:pt x="11842" y="18519"/>
                </a:lnTo>
                <a:cubicBezTo>
                  <a:pt x="12063" y="19130"/>
                  <a:pt x="12410" y="19729"/>
                  <a:pt x="12879" y="20309"/>
                </a:cubicBezTo>
                <a:cubicBezTo>
                  <a:pt x="13239" y="20753"/>
                  <a:pt x="13670" y="21185"/>
                  <a:pt x="14167" y="21600"/>
                </a:cubicBezTo>
                <a:cubicBezTo>
                  <a:pt x="15384" y="20482"/>
                  <a:pt x="16504" y="19341"/>
                  <a:pt x="17524" y="18182"/>
                </a:cubicBezTo>
                <a:cubicBezTo>
                  <a:pt x="18506" y="17064"/>
                  <a:pt x="19395" y="15930"/>
                  <a:pt x="20322" y="14803"/>
                </a:cubicBezTo>
                <a:cubicBezTo>
                  <a:pt x="20585" y="14483"/>
                  <a:pt x="20852" y="14162"/>
                  <a:pt x="21009" y="13827"/>
                </a:cubicBezTo>
                <a:cubicBezTo>
                  <a:pt x="21506" y="12760"/>
                  <a:pt x="20861" y="11679"/>
                  <a:pt x="20246" y="10628"/>
                </a:cubicBezTo>
                <a:cubicBezTo>
                  <a:pt x="19470" y="9301"/>
                  <a:pt x="18698" y="7946"/>
                  <a:pt x="17926" y="6622"/>
                </a:cubicBezTo>
                <a:cubicBezTo>
                  <a:pt x="17594" y="6052"/>
                  <a:pt x="17254" y="5482"/>
                  <a:pt x="16875" y="4929"/>
                </a:cubicBezTo>
                <a:cubicBezTo>
                  <a:pt x="16514" y="4402"/>
                  <a:pt x="16109" y="3878"/>
                  <a:pt x="15493" y="3403"/>
                </a:cubicBezTo>
                <a:cubicBezTo>
                  <a:pt x="13978" y="2238"/>
                  <a:pt x="11414" y="1495"/>
                  <a:pt x="8727" y="947"/>
                </a:cubicBezTo>
                <a:cubicBezTo>
                  <a:pt x="7504" y="698"/>
                  <a:pt x="6247" y="485"/>
                  <a:pt x="4991" y="274"/>
                </a:cubicBezTo>
                <a:cubicBezTo>
                  <a:pt x="4196" y="140"/>
                  <a:pt x="3380" y="13"/>
                  <a:pt x="2544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4750A280-E20C-46BC-BE5A-56029CFE109C}"/>
              </a:ext>
            </a:extLst>
          </p:cNvPr>
          <p:cNvSpPr/>
          <p:nvPr/>
        </p:nvSpPr>
        <p:spPr>
          <a:xfrm>
            <a:off x="5843966" y="3995551"/>
            <a:ext cx="453472" cy="1465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350"/>
                </a:lnTo>
                <a:lnTo>
                  <a:pt x="1989" y="20724"/>
                </a:lnTo>
                <a:lnTo>
                  <a:pt x="19176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13B87A76-89AF-4DD7-B684-E11FD6A423B6}"/>
              </a:ext>
            </a:extLst>
          </p:cNvPr>
          <p:cNvSpPr/>
          <p:nvPr/>
        </p:nvSpPr>
        <p:spPr>
          <a:xfrm flipH="1">
            <a:off x="5895867" y="3956716"/>
            <a:ext cx="354215" cy="3962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726" y="0"/>
                </a:moveTo>
                <a:cubicBezTo>
                  <a:pt x="2568" y="1299"/>
                  <a:pt x="2341" y="2590"/>
                  <a:pt x="2046" y="3870"/>
                </a:cubicBezTo>
                <a:cubicBezTo>
                  <a:pt x="1552" y="6020"/>
                  <a:pt x="867" y="8131"/>
                  <a:pt x="0" y="10184"/>
                </a:cubicBezTo>
                <a:lnTo>
                  <a:pt x="10993" y="21600"/>
                </a:lnTo>
                <a:lnTo>
                  <a:pt x="21600" y="10184"/>
                </a:lnTo>
                <a:cubicBezTo>
                  <a:pt x="20733" y="8131"/>
                  <a:pt x="20048" y="6020"/>
                  <a:pt x="19554" y="3870"/>
                </a:cubicBezTo>
                <a:cubicBezTo>
                  <a:pt x="19259" y="2590"/>
                  <a:pt x="19032" y="1299"/>
                  <a:pt x="18874" y="0"/>
                </a:cubicBezTo>
                <a:lnTo>
                  <a:pt x="27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625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BE3EEFB8-0BCE-49ED-B568-E9A5AC75A2E1}"/>
              </a:ext>
            </a:extLst>
          </p:cNvPr>
          <p:cNvSpPr/>
          <p:nvPr/>
        </p:nvSpPr>
        <p:spPr>
          <a:xfrm flipH="1">
            <a:off x="6066747" y="3997980"/>
            <a:ext cx="311008" cy="4606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13" y="0"/>
                </a:moveTo>
                <a:lnTo>
                  <a:pt x="21600" y="16608"/>
                </a:lnTo>
                <a:lnTo>
                  <a:pt x="7845" y="21600"/>
                </a:lnTo>
                <a:lnTo>
                  <a:pt x="0" y="4798"/>
                </a:lnTo>
                <a:lnTo>
                  <a:pt x="581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70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FE393E4E-398D-4CE8-897F-98DC01BAD885}"/>
              </a:ext>
            </a:extLst>
          </p:cNvPr>
          <p:cNvSpPr/>
          <p:nvPr/>
        </p:nvSpPr>
        <p:spPr>
          <a:xfrm>
            <a:off x="5769439" y="4005287"/>
            <a:ext cx="300050" cy="4560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465" y="0"/>
                </a:moveTo>
                <a:lnTo>
                  <a:pt x="21600" y="16462"/>
                </a:lnTo>
                <a:lnTo>
                  <a:pt x="10100" y="21600"/>
                </a:lnTo>
                <a:lnTo>
                  <a:pt x="0" y="3743"/>
                </a:lnTo>
                <a:lnTo>
                  <a:pt x="546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fontScale="70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DCAB2368-278A-4F97-96E9-CF183A109917}"/>
              </a:ext>
            </a:extLst>
          </p:cNvPr>
          <p:cNvSpPr/>
          <p:nvPr/>
        </p:nvSpPr>
        <p:spPr>
          <a:xfrm>
            <a:off x="5654947" y="3168788"/>
            <a:ext cx="835906" cy="9265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19" h="21544" extrusionOk="0">
                <a:moveTo>
                  <a:pt x="13300" y="0"/>
                </a:moveTo>
                <a:cubicBezTo>
                  <a:pt x="12956" y="318"/>
                  <a:pt x="12587" y="607"/>
                  <a:pt x="12192" y="871"/>
                </a:cubicBezTo>
                <a:cubicBezTo>
                  <a:pt x="11552" y="1300"/>
                  <a:pt x="10851" y="1648"/>
                  <a:pt x="10112" y="1913"/>
                </a:cubicBezTo>
                <a:cubicBezTo>
                  <a:pt x="10319" y="1723"/>
                  <a:pt x="10459" y="1484"/>
                  <a:pt x="10514" y="1221"/>
                </a:cubicBezTo>
                <a:cubicBezTo>
                  <a:pt x="10558" y="1008"/>
                  <a:pt x="10548" y="786"/>
                  <a:pt x="10478" y="578"/>
                </a:cubicBezTo>
                <a:cubicBezTo>
                  <a:pt x="9313" y="1174"/>
                  <a:pt x="8059" y="1612"/>
                  <a:pt x="6754" y="1872"/>
                </a:cubicBezTo>
                <a:cubicBezTo>
                  <a:pt x="5463" y="2131"/>
                  <a:pt x="4134" y="2217"/>
                  <a:pt x="2816" y="2125"/>
                </a:cubicBezTo>
                <a:cubicBezTo>
                  <a:pt x="2220" y="3390"/>
                  <a:pt x="1861" y="4718"/>
                  <a:pt x="1656" y="6065"/>
                </a:cubicBezTo>
                <a:cubicBezTo>
                  <a:pt x="1642" y="6361"/>
                  <a:pt x="1604" y="6650"/>
                  <a:pt x="1530" y="6928"/>
                </a:cubicBezTo>
                <a:cubicBezTo>
                  <a:pt x="1397" y="8433"/>
                  <a:pt x="1483" y="9954"/>
                  <a:pt x="1843" y="11446"/>
                </a:cubicBezTo>
                <a:cubicBezTo>
                  <a:pt x="1911" y="11727"/>
                  <a:pt x="1990" y="12009"/>
                  <a:pt x="2075" y="12285"/>
                </a:cubicBezTo>
                <a:cubicBezTo>
                  <a:pt x="1592" y="10912"/>
                  <a:pt x="1201" y="9521"/>
                  <a:pt x="861" y="8125"/>
                </a:cubicBezTo>
                <a:cubicBezTo>
                  <a:pt x="719" y="8264"/>
                  <a:pt x="567" y="8397"/>
                  <a:pt x="441" y="8548"/>
                </a:cubicBezTo>
                <a:cubicBezTo>
                  <a:pt x="-143" y="9252"/>
                  <a:pt x="-78" y="10170"/>
                  <a:pt x="236" y="10966"/>
                </a:cubicBezTo>
                <a:cubicBezTo>
                  <a:pt x="568" y="11810"/>
                  <a:pt x="1180" y="12555"/>
                  <a:pt x="2039" y="13083"/>
                </a:cubicBezTo>
                <a:cubicBezTo>
                  <a:pt x="2855" y="15320"/>
                  <a:pt x="4137" y="17291"/>
                  <a:pt x="5745" y="18953"/>
                </a:cubicBezTo>
                <a:cubicBezTo>
                  <a:pt x="7014" y="20263"/>
                  <a:pt x="8613" y="21485"/>
                  <a:pt x="10657" y="21541"/>
                </a:cubicBezTo>
                <a:cubicBezTo>
                  <a:pt x="12760" y="21600"/>
                  <a:pt x="14461" y="20433"/>
                  <a:pt x="15773" y="19124"/>
                </a:cubicBezTo>
                <a:cubicBezTo>
                  <a:pt x="17429" y="17472"/>
                  <a:pt x="18669" y="15428"/>
                  <a:pt x="19274" y="13083"/>
                </a:cubicBezTo>
                <a:cubicBezTo>
                  <a:pt x="20133" y="12555"/>
                  <a:pt x="20754" y="11810"/>
                  <a:pt x="21086" y="10966"/>
                </a:cubicBezTo>
                <a:cubicBezTo>
                  <a:pt x="21400" y="10170"/>
                  <a:pt x="21457" y="9252"/>
                  <a:pt x="20872" y="8548"/>
                </a:cubicBezTo>
                <a:cubicBezTo>
                  <a:pt x="20784" y="8443"/>
                  <a:pt x="20679" y="8350"/>
                  <a:pt x="20577" y="8255"/>
                </a:cubicBezTo>
                <a:cubicBezTo>
                  <a:pt x="20300" y="9250"/>
                  <a:pt x="19967" y="10231"/>
                  <a:pt x="19506" y="11178"/>
                </a:cubicBezTo>
                <a:cubicBezTo>
                  <a:pt x="19685" y="9686"/>
                  <a:pt x="19673" y="8203"/>
                  <a:pt x="19497" y="6749"/>
                </a:cubicBezTo>
                <a:cubicBezTo>
                  <a:pt x="19314" y="5236"/>
                  <a:pt x="18945" y="3701"/>
                  <a:pt x="17943" y="2418"/>
                </a:cubicBezTo>
                <a:cubicBezTo>
                  <a:pt x="16861" y="1032"/>
                  <a:pt x="15158" y="148"/>
                  <a:pt x="133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7E925609-3050-4609-BA70-3A89AE651739}"/>
              </a:ext>
            </a:extLst>
          </p:cNvPr>
          <p:cNvSpPr/>
          <p:nvPr/>
        </p:nvSpPr>
        <p:spPr>
          <a:xfrm>
            <a:off x="5658785" y="2925678"/>
            <a:ext cx="828976" cy="7737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81" h="20006" extrusionOk="0">
                <a:moveTo>
                  <a:pt x="10296" y="7088"/>
                </a:moveTo>
                <a:cubicBezTo>
                  <a:pt x="9176" y="7769"/>
                  <a:pt x="7957" y="8268"/>
                  <a:pt x="6684" y="8565"/>
                </a:cubicBezTo>
                <a:cubicBezTo>
                  <a:pt x="5433" y="8857"/>
                  <a:pt x="4144" y="8951"/>
                  <a:pt x="2864" y="8843"/>
                </a:cubicBezTo>
                <a:cubicBezTo>
                  <a:pt x="1488" y="12067"/>
                  <a:pt x="1147" y="15647"/>
                  <a:pt x="1890" y="19077"/>
                </a:cubicBezTo>
                <a:cubicBezTo>
                  <a:pt x="1957" y="19389"/>
                  <a:pt x="2034" y="19699"/>
                  <a:pt x="2119" y="20006"/>
                </a:cubicBezTo>
                <a:cubicBezTo>
                  <a:pt x="1440" y="18064"/>
                  <a:pt x="898" y="16087"/>
                  <a:pt x="493" y="14089"/>
                </a:cubicBezTo>
                <a:cubicBezTo>
                  <a:pt x="-25" y="11528"/>
                  <a:pt x="-313" y="8859"/>
                  <a:pt x="548" y="6391"/>
                </a:cubicBezTo>
                <a:cubicBezTo>
                  <a:pt x="2460" y="914"/>
                  <a:pt x="8711" y="-1594"/>
                  <a:pt x="13813" y="1070"/>
                </a:cubicBezTo>
                <a:cubicBezTo>
                  <a:pt x="15704" y="947"/>
                  <a:pt x="17531" y="1674"/>
                  <a:pt x="18829" y="3024"/>
                </a:cubicBezTo>
                <a:cubicBezTo>
                  <a:pt x="20495" y="4755"/>
                  <a:pt x="21070" y="7221"/>
                  <a:pt x="21166" y="9679"/>
                </a:cubicBezTo>
                <a:cubicBezTo>
                  <a:pt x="21287" y="12816"/>
                  <a:pt x="20694" y="15935"/>
                  <a:pt x="19425" y="18813"/>
                </a:cubicBezTo>
                <a:cubicBezTo>
                  <a:pt x="19588" y="17154"/>
                  <a:pt x="19583" y="15506"/>
                  <a:pt x="19423" y="13888"/>
                </a:cubicBezTo>
                <a:cubicBezTo>
                  <a:pt x="19256" y="12195"/>
                  <a:pt x="18908" y="10461"/>
                  <a:pt x="17893" y="9031"/>
                </a:cubicBezTo>
                <a:cubicBezTo>
                  <a:pt x="16811" y="7508"/>
                  <a:pt x="15100" y="6568"/>
                  <a:pt x="13248" y="6479"/>
                </a:cubicBezTo>
                <a:cubicBezTo>
                  <a:pt x="12907" y="6836"/>
                  <a:pt x="12535" y="7161"/>
                  <a:pt x="12137" y="7451"/>
                </a:cubicBezTo>
                <a:cubicBezTo>
                  <a:pt x="11478" y="7933"/>
                  <a:pt x="10753" y="8315"/>
                  <a:pt x="9985" y="8585"/>
                </a:cubicBezTo>
                <a:cubicBezTo>
                  <a:pt x="10168" y="8360"/>
                  <a:pt x="10289" y="8090"/>
                  <a:pt x="10335" y="7802"/>
                </a:cubicBezTo>
                <a:cubicBezTo>
                  <a:pt x="10374" y="7564"/>
                  <a:pt x="10360" y="7320"/>
                  <a:pt x="10296" y="7088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/>
          </a:p>
        </p:txBody>
      </p:sp>
      <p:sp>
        <p:nvSpPr>
          <p:cNvPr id="7" name="空心弧 6">
            <a:extLst>
              <a:ext uri="{FF2B5EF4-FFF2-40B4-BE49-F238E27FC236}">
                <a16:creationId xmlns:a16="http://schemas.microsoft.com/office/drawing/2014/main" id="{E482FCF7-6FB8-4DAC-83CD-AD842CEFDF7D}"/>
              </a:ext>
            </a:extLst>
          </p:cNvPr>
          <p:cNvSpPr/>
          <p:nvPr/>
        </p:nvSpPr>
        <p:spPr>
          <a:xfrm>
            <a:off x="2604221" y="1599752"/>
            <a:ext cx="6983558" cy="6860277"/>
          </a:xfrm>
          <a:prstGeom prst="blockArc">
            <a:avLst>
              <a:gd name="adj1" fmla="val 11410412"/>
              <a:gd name="adj2" fmla="val 20793243"/>
              <a:gd name="adj3" fmla="val 6561"/>
            </a:avLst>
          </a:prstGeom>
          <a:gradFill flip="none" rotWithShape="1">
            <a:gsLst>
              <a:gs pos="0">
                <a:schemeClr val="bg1">
                  <a:lumMod val="95000"/>
                  <a:alpha val="21000"/>
                </a:schemeClr>
              </a:gs>
              <a:gs pos="100000">
                <a:schemeClr val="bg1">
                  <a:lumMod val="85000"/>
                  <a:alpha val="39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03DBBB1E-44A8-4C9B-98D1-EF0E7C311110}"/>
              </a:ext>
            </a:extLst>
          </p:cNvPr>
          <p:cNvSpPr/>
          <p:nvPr/>
        </p:nvSpPr>
        <p:spPr>
          <a:xfrm>
            <a:off x="2343915" y="3854367"/>
            <a:ext cx="1048212" cy="1048212"/>
          </a:xfrm>
          <a:prstGeom prst="ellipse">
            <a:avLst/>
          </a:prstGeom>
          <a:solidFill>
            <a:schemeClr val="bg1"/>
          </a:solidFill>
          <a:ln w="38100" cap="rnd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1FDFD98A-B729-4CF8-B516-8F7ED31F8977}"/>
              </a:ext>
            </a:extLst>
          </p:cNvPr>
          <p:cNvSpPr/>
          <p:nvPr/>
        </p:nvSpPr>
        <p:spPr>
          <a:xfrm>
            <a:off x="2633105" y="4165316"/>
            <a:ext cx="469832" cy="42631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190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F7553630-5227-4E3E-855F-EA98C1D8B2C4}"/>
              </a:ext>
            </a:extLst>
          </p:cNvPr>
          <p:cNvSpPr/>
          <p:nvPr/>
        </p:nvSpPr>
        <p:spPr>
          <a:xfrm>
            <a:off x="8748931" y="3854367"/>
            <a:ext cx="1048212" cy="1048212"/>
          </a:xfrm>
          <a:prstGeom prst="ellipse">
            <a:avLst/>
          </a:prstGeom>
          <a:solidFill>
            <a:schemeClr val="bg1"/>
          </a:solidFill>
          <a:ln w="38100" cap="rnd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8E57F36C-D810-497E-8B02-091CE34FF088}"/>
              </a:ext>
            </a:extLst>
          </p:cNvPr>
          <p:cNvSpPr/>
          <p:nvPr/>
        </p:nvSpPr>
        <p:spPr>
          <a:xfrm>
            <a:off x="9038121" y="4165316"/>
            <a:ext cx="469832" cy="42631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190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5A8BD74E-3448-4066-B825-29DA9330F5DC}"/>
              </a:ext>
            </a:extLst>
          </p:cNvPr>
          <p:cNvSpPr/>
          <p:nvPr/>
        </p:nvSpPr>
        <p:spPr>
          <a:xfrm>
            <a:off x="3751801" y="1778824"/>
            <a:ext cx="1048212" cy="1048212"/>
          </a:xfrm>
          <a:prstGeom prst="ellipse">
            <a:avLst/>
          </a:prstGeom>
          <a:solidFill>
            <a:schemeClr val="bg1"/>
          </a:solidFill>
          <a:ln w="38100" cap="rnd">
            <a:solidFill>
              <a:schemeClr val="accent2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C1A9C55C-ABA3-4534-9B40-5EFB1C44CF1A}"/>
              </a:ext>
            </a:extLst>
          </p:cNvPr>
          <p:cNvSpPr/>
          <p:nvPr/>
        </p:nvSpPr>
        <p:spPr>
          <a:xfrm>
            <a:off x="4040991" y="2089773"/>
            <a:ext cx="469832" cy="42631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2"/>
          </a:solidFill>
          <a:ln w="190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C5A4FD92-6562-481A-9381-19889F17D7BD}"/>
              </a:ext>
            </a:extLst>
          </p:cNvPr>
          <p:cNvSpPr/>
          <p:nvPr/>
        </p:nvSpPr>
        <p:spPr>
          <a:xfrm>
            <a:off x="7261808" y="1778824"/>
            <a:ext cx="1048212" cy="1048212"/>
          </a:xfrm>
          <a:prstGeom prst="ellipse">
            <a:avLst/>
          </a:prstGeom>
          <a:solidFill>
            <a:schemeClr val="bg1"/>
          </a:solidFill>
          <a:ln w="38100" cap="rnd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C23BC92C-055E-44B3-95CE-35D92EFBD638}"/>
              </a:ext>
            </a:extLst>
          </p:cNvPr>
          <p:cNvSpPr/>
          <p:nvPr/>
        </p:nvSpPr>
        <p:spPr>
          <a:xfrm>
            <a:off x="7550998" y="2089773"/>
            <a:ext cx="469832" cy="426314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190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4485FAF-4B92-4C1C-964D-D6EA833F5B47}"/>
              </a:ext>
            </a:extLst>
          </p:cNvPr>
          <p:cNvSpPr txBox="1"/>
          <p:nvPr/>
        </p:nvSpPr>
        <p:spPr>
          <a:xfrm>
            <a:off x="1262623" y="1611875"/>
            <a:ext cx="2359025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  <a:endParaRPr lang="id-ID" sz="1600" b="1" dirty="0"/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E8F45681-5AEC-4FF6-98B2-39488C6039AF}"/>
              </a:ext>
            </a:extLst>
          </p:cNvPr>
          <p:cNvSpPr/>
          <p:nvPr/>
        </p:nvSpPr>
        <p:spPr bwMode="auto">
          <a:xfrm>
            <a:off x="1262623" y="2044396"/>
            <a:ext cx="2359025" cy="67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tabLst>
                <a:tab pos="804863" algn="l"/>
              </a:tabLst>
            </a:pPr>
            <a:r>
              <a:rPr lang="en-US" altLang="zh-CN" sz="1100"/>
              <a:t>Support</a:t>
            </a:r>
            <a:r>
              <a:rPr lang="en-US" altLang="zh-CN" sz="100"/>
              <a:t> </a:t>
            </a:r>
            <a:r>
              <a:rPr lang="en-US" altLang="zh-CN" sz="1100"/>
              <a:t>ing text here.</a:t>
            </a:r>
          </a:p>
          <a:p>
            <a:pPr algn="r">
              <a:tabLst>
                <a:tab pos="804863" algn="l"/>
              </a:tabLst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30736865-19C4-4A8E-AAFC-C394B45A7B58}"/>
              </a:ext>
            </a:extLst>
          </p:cNvPr>
          <p:cNvSpPr txBox="1"/>
          <p:nvPr/>
        </p:nvSpPr>
        <p:spPr>
          <a:xfrm>
            <a:off x="1657460" y="4997267"/>
            <a:ext cx="2359025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  <a:endParaRPr lang="id-ID" sz="1600" b="1" dirty="0"/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2CE317D-2ECB-40E1-8B39-C0D7871574DC}"/>
              </a:ext>
            </a:extLst>
          </p:cNvPr>
          <p:cNvSpPr/>
          <p:nvPr/>
        </p:nvSpPr>
        <p:spPr bwMode="auto">
          <a:xfrm>
            <a:off x="1657460" y="5429788"/>
            <a:ext cx="2359025" cy="67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tabLst>
                <a:tab pos="804863" algn="l"/>
              </a:tabLst>
            </a:pPr>
            <a:r>
              <a:rPr lang="en-US" altLang="zh-CN" sz="1100"/>
              <a:t>Support</a:t>
            </a:r>
            <a:r>
              <a:rPr lang="en-US" altLang="zh-CN" sz="100"/>
              <a:t> </a:t>
            </a:r>
            <a:r>
              <a:rPr lang="en-US" altLang="zh-CN" sz="1100"/>
              <a:t>ing text here.</a:t>
            </a:r>
          </a:p>
          <a:p>
            <a:pPr algn="ctr">
              <a:tabLst>
                <a:tab pos="804863" algn="l"/>
              </a:tabLst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82B9D57-1C4F-4182-B174-4853D9C7E616}"/>
              </a:ext>
            </a:extLst>
          </p:cNvPr>
          <p:cNvSpPr txBox="1"/>
          <p:nvPr/>
        </p:nvSpPr>
        <p:spPr>
          <a:xfrm>
            <a:off x="8158073" y="4997267"/>
            <a:ext cx="2359025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  <a:endParaRPr lang="id-ID" sz="1600" b="1" dirty="0"/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A49A8C3-7BDD-4EDC-8118-40DF0A116998}"/>
              </a:ext>
            </a:extLst>
          </p:cNvPr>
          <p:cNvSpPr/>
          <p:nvPr/>
        </p:nvSpPr>
        <p:spPr bwMode="auto">
          <a:xfrm>
            <a:off x="8158073" y="5429788"/>
            <a:ext cx="2359025" cy="67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tabLst>
                <a:tab pos="804863" algn="l"/>
              </a:tabLst>
            </a:pPr>
            <a:r>
              <a:rPr lang="en-US" altLang="zh-CN" sz="1100"/>
              <a:t>Support</a:t>
            </a:r>
            <a:r>
              <a:rPr lang="en-US" altLang="zh-CN" sz="100"/>
              <a:t> </a:t>
            </a:r>
            <a:r>
              <a:rPr lang="en-US" altLang="zh-CN" sz="1100"/>
              <a:t>ing text here.</a:t>
            </a:r>
          </a:p>
          <a:p>
            <a:pPr algn="ctr">
              <a:tabLst>
                <a:tab pos="804863" algn="l"/>
              </a:tabLst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C7BAAC4-4DB4-40AE-80E0-94855BE9CBA2}"/>
              </a:ext>
            </a:extLst>
          </p:cNvPr>
          <p:cNvSpPr txBox="1"/>
          <p:nvPr/>
        </p:nvSpPr>
        <p:spPr>
          <a:xfrm>
            <a:off x="8412790" y="1611875"/>
            <a:ext cx="2359025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/>
              <a:t>Te</a:t>
            </a:r>
            <a:r>
              <a:rPr lang="en-US" altLang="zh-CN" sz="100" b="1"/>
              <a:t> </a:t>
            </a:r>
            <a:r>
              <a:rPr lang="en-US" altLang="zh-CN" sz="1600" b="1"/>
              <a:t>xt </a:t>
            </a:r>
            <a:r>
              <a:rPr lang="en-US" altLang="zh-CN" sz="1600" b="1" dirty="0"/>
              <a:t>here</a:t>
            </a:r>
            <a:endParaRPr lang="id-ID" sz="1600" b="1" dirty="0"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03FC041-BE75-4A1C-8F9B-6A2E7386CEB2}"/>
              </a:ext>
            </a:extLst>
          </p:cNvPr>
          <p:cNvSpPr/>
          <p:nvPr/>
        </p:nvSpPr>
        <p:spPr bwMode="auto">
          <a:xfrm>
            <a:off x="8412790" y="2044396"/>
            <a:ext cx="2359025" cy="672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tabLst>
                <a:tab pos="804863" algn="l"/>
              </a:tabLst>
            </a:pPr>
            <a:r>
              <a:rPr lang="en-US" altLang="zh-CN" sz="1100"/>
              <a:t>Support</a:t>
            </a:r>
            <a:r>
              <a:rPr lang="en-US" altLang="zh-CN" sz="100"/>
              <a:t> </a:t>
            </a:r>
            <a:r>
              <a:rPr lang="en-US" altLang="zh-CN" sz="1100"/>
              <a:t>ing text here.</a:t>
            </a:r>
          </a:p>
          <a:p>
            <a:pPr>
              <a:tabLst>
                <a:tab pos="804863" algn="l"/>
              </a:tabLst>
            </a:pPr>
            <a:r>
              <a:rPr lang="en-US" altLang="zh-CN" sz="1100"/>
              <a:t>… …</a:t>
            </a:r>
            <a:endParaRPr lang="en-US" altLang="zh-CN" sz="1100" dirty="0"/>
          </a:p>
        </p:txBody>
      </p:sp>
    </p:spTree>
    <p:extLst>
      <p:ext uri="{BB962C8B-B14F-4D97-AF65-F5344CB8AC3E}">
        <p14:creationId xmlns:p14="http://schemas.microsoft.com/office/powerpoint/2010/main" val="1711939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如何预防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479C0BD7-AEFC-4CA5-9389-FAD6A633B6EF}"/>
              </a:ext>
            </a:extLst>
          </p:cNvPr>
          <p:cNvSpPr/>
          <p:nvPr/>
        </p:nvSpPr>
        <p:spPr bwMode="auto">
          <a:xfrm>
            <a:off x="4224164" y="1664176"/>
            <a:ext cx="5214146" cy="1367880"/>
          </a:xfrm>
          <a:custGeom>
            <a:avLst/>
            <a:gdLst>
              <a:gd name="T0" fmla="*/ 2650 w 2897"/>
              <a:gd name="T1" fmla="*/ 0 h 760"/>
              <a:gd name="T2" fmla="*/ 0 w 2897"/>
              <a:gd name="T3" fmla="*/ 0 h 760"/>
              <a:gd name="T4" fmla="*/ 246 w 2897"/>
              <a:gd name="T5" fmla="*/ 391 h 760"/>
              <a:gd name="T6" fmla="*/ 0 w 2897"/>
              <a:gd name="T7" fmla="*/ 760 h 760"/>
              <a:gd name="T8" fmla="*/ 2650 w 2897"/>
              <a:gd name="T9" fmla="*/ 760 h 760"/>
              <a:gd name="T10" fmla="*/ 2897 w 2897"/>
              <a:gd name="T11" fmla="*/ 391 h 760"/>
              <a:gd name="T12" fmla="*/ 2650 w 2897"/>
              <a:gd name="T13" fmla="*/ 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7" h="760">
                <a:moveTo>
                  <a:pt x="2650" y="0"/>
                </a:moveTo>
                <a:lnTo>
                  <a:pt x="0" y="0"/>
                </a:lnTo>
                <a:lnTo>
                  <a:pt x="246" y="391"/>
                </a:lnTo>
                <a:lnTo>
                  <a:pt x="0" y="760"/>
                </a:lnTo>
                <a:lnTo>
                  <a:pt x="2650" y="760"/>
                </a:lnTo>
                <a:lnTo>
                  <a:pt x="2897" y="391"/>
                </a:lnTo>
                <a:lnTo>
                  <a:pt x="265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D3A88F9-F77E-4270-8AC3-797645922D13}"/>
              </a:ext>
            </a:extLst>
          </p:cNvPr>
          <p:cNvSpPr/>
          <p:nvPr/>
        </p:nvSpPr>
        <p:spPr bwMode="auto">
          <a:xfrm>
            <a:off x="4224164" y="1664176"/>
            <a:ext cx="5214146" cy="1367880"/>
          </a:xfrm>
          <a:custGeom>
            <a:avLst/>
            <a:gdLst>
              <a:gd name="T0" fmla="*/ 2650 w 2897"/>
              <a:gd name="T1" fmla="*/ 0 h 760"/>
              <a:gd name="T2" fmla="*/ 0 w 2897"/>
              <a:gd name="T3" fmla="*/ 0 h 760"/>
              <a:gd name="T4" fmla="*/ 246 w 2897"/>
              <a:gd name="T5" fmla="*/ 391 h 760"/>
              <a:gd name="T6" fmla="*/ 0 w 2897"/>
              <a:gd name="T7" fmla="*/ 760 h 760"/>
              <a:gd name="T8" fmla="*/ 2650 w 2897"/>
              <a:gd name="T9" fmla="*/ 760 h 760"/>
              <a:gd name="T10" fmla="*/ 2897 w 2897"/>
              <a:gd name="T11" fmla="*/ 391 h 760"/>
              <a:gd name="T12" fmla="*/ 2650 w 2897"/>
              <a:gd name="T13" fmla="*/ 0 h 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7" h="760">
                <a:moveTo>
                  <a:pt x="2650" y="0"/>
                </a:moveTo>
                <a:lnTo>
                  <a:pt x="0" y="0"/>
                </a:lnTo>
                <a:lnTo>
                  <a:pt x="246" y="391"/>
                </a:lnTo>
                <a:lnTo>
                  <a:pt x="0" y="760"/>
                </a:lnTo>
                <a:lnTo>
                  <a:pt x="2650" y="760"/>
                </a:lnTo>
                <a:lnTo>
                  <a:pt x="2897" y="391"/>
                </a:lnTo>
                <a:lnTo>
                  <a:pt x="265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0C6DC8AC-D127-4F4A-913E-6D308F7D7D1A}"/>
              </a:ext>
            </a:extLst>
          </p:cNvPr>
          <p:cNvSpPr/>
          <p:nvPr/>
        </p:nvSpPr>
        <p:spPr bwMode="auto">
          <a:xfrm>
            <a:off x="2753691" y="3032057"/>
            <a:ext cx="5214146" cy="1362481"/>
          </a:xfrm>
          <a:custGeom>
            <a:avLst/>
            <a:gdLst>
              <a:gd name="T0" fmla="*/ 246 w 2897"/>
              <a:gd name="T1" fmla="*/ 0 h 757"/>
              <a:gd name="T2" fmla="*/ 2897 w 2897"/>
              <a:gd name="T3" fmla="*/ 0 h 757"/>
              <a:gd name="T4" fmla="*/ 2651 w 2897"/>
              <a:gd name="T5" fmla="*/ 388 h 757"/>
              <a:gd name="T6" fmla="*/ 2897 w 2897"/>
              <a:gd name="T7" fmla="*/ 757 h 757"/>
              <a:gd name="T8" fmla="*/ 246 w 2897"/>
              <a:gd name="T9" fmla="*/ 757 h 757"/>
              <a:gd name="T10" fmla="*/ 0 w 2897"/>
              <a:gd name="T11" fmla="*/ 388 h 757"/>
              <a:gd name="T12" fmla="*/ 246 w 2897"/>
              <a:gd name="T13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7" h="757">
                <a:moveTo>
                  <a:pt x="246" y="0"/>
                </a:moveTo>
                <a:lnTo>
                  <a:pt x="2897" y="0"/>
                </a:lnTo>
                <a:lnTo>
                  <a:pt x="2651" y="388"/>
                </a:lnTo>
                <a:lnTo>
                  <a:pt x="2897" y="757"/>
                </a:lnTo>
                <a:lnTo>
                  <a:pt x="246" y="757"/>
                </a:lnTo>
                <a:lnTo>
                  <a:pt x="0" y="388"/>
                </a:lnTo>
                <a:lnTo>
                  <a:pt x="246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33285F06-2D20-404A-A772-E5031D4CCAF2}"/>
              </a:ext>
            </a:extLst>
          </p:cNvPr>
          <p:cNvSpPr/>
          <p:nvPr/>
        </p:nvSpPr>
        <p:spPr bwMode="auto">
          <a:xfrm>
            <a:off x="4224164" y="4394538"/>
            <a:ext cx="5214146" cy="1362481"/>
          </a:xfrm>
          <a:custGeom>
            <a:avLst/>
            <a:gdLst>
              <a:gd name="T0" fmla="*/ 2650 w 2897"/>
              <a:gd name="T1" fmla="*/ 0 h 757"/>
              <a:gd name="T2" fmla="*/ 0 w 2897"/>
              <a:gd name="T3" fmla="*/ 0 h 757"/>
              <a:gd name="T4" fmla="*/ 246 w 2897"/>
              <a:gd name="T5" fmla="*/ 388 h 757"/>
              <a:gd name="T6" fmla="*/ 0 w 2897"/>
              <a:gd name="T7" fmla="*/ 757 h 757"/>
              <a:gd name="T8" fmla="*/ 2650 w 2897"/>
              <a:gd name="T9" fmla="*/ 757 h 757"/>
              <a:gd name="T10" fmla="*/ 2897 w 2897"/>
              <a:gd name="T11" fmla="*/ 388 h 757"/>
              <a:gd name="T12" fmla="*/ 2650 w 2897"/>
              <a:gd name="T13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7" h="757">
                <a:moveTo>
                  <a:pt x="2650" y="0"/>
                </a:moveTo>
                <a:lnTo>
                  <a:pt x="0" y="0"/>
                </a:lnTo>
                <a:lnTo>
                  <a:pt x="246" y="388"/>
                </a:lnTo>
                <a:lnTo>
                  <a:pt x="0" y="757"/>
                </a:lnTo>
                <a:lnTo>
                  <a:pt x="2650" y="757"/>
                </a:lnTo>
                <a:lnTo>
                  <a:pt x="2897" y="388"/>
                </a:lnTo>
                <a:lnTo>
                  <a:pt x="265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3995200F-1FEA-4C9D-B686-863F07F871DD}"/>
              </a:ext>
            </a:extLst>
          </p:cNvPr>
          <p:cNvSpPr/>
          <p:nvPr/>
        </p:nvSpPr>
        <p:spPr bwMode="auto">
          <a:xfrm>
            <a:off x="4224164" y="4394538"/>
            <a:ext cx="5214146" cy="1362481"/>
          </a:xfrm>
          <a:custGeom>
            <a:avLst/>
            <a:gdLst>
              <a:gd name="T0" fmla="*/ 2650 w 2897"/>
              <a:gd name="T1" fmla="*/ 0 h 757"/>
              <a:gd name="T2" fmla="*/ 0 w 2897"/>
              <a:gd name="T3" fmla="*/ 0 h 757"/>
              <a:gd name="T4" fmla="*/ 246 w 2897"/>
              <a:gd name="T5" fmla="*/ 388 h 757"/>
              <a:gd name="T6" fmla="*/ 0 w 2897"/>
              <a:gd name="T7" fmla="*/ 757 h 757"/>
              <a:gd name="T8" fmla="*/ 2650 w 2897"/>
              <a:gd name="T9" fmla="*/ 757 h 757"/>
              <a:gd name="T10" fmla="*/ 2897 w 2897"/>
              <a:gd name="T11" fmla="*/ 388 h 757"/>
              <a:gd name="T12" fmla="*/ 2650 w 2897"/>
              <a:gd name="T13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97" h="757">
                <a:moveTo>
                  <a:pt x="2650" y="0"/>
                </a:moveTo>
                <a:lnTo>
                  <a:pt x="0" y="0"/>
                </a:lnTo>
                <a:lnTo>
                  <a:pt x="246" y="388"/>
                </a:lnTo>
                <a:lnTo>
                  <a:pt x="0" y="757"/>
                </a:lnTo>
                <a:lnTo>
                  <a:pt x="2650" y="757"/>
                </a:lnTo>
                <a:lnTo>
                  <a:pt x="2897" y="388"/>
                </a:lnTo>
                <a:lnTo>
                  <a:pt x="265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619853B-2127-4441-BEB7-FEC95B08794A}"/>
              </a:ext>
            </a:extLst>
          </p:cNvPr>
          <p:cNvSpPr txBox="1"/>
          <p:nvPr/>
        </p:nvSpPr>
        <p:spPr>
          <a:xfrm>
            <a:off x="4834460" y="2103120"/>
            <a:ext cx="451916" cy="489992"/>
          </a:xfrm>
          <a:prstGeom prst="rect">
            <a:avLst/>
          </a:prstGeom>
          <a:noFill/>
          <a:ln w="117475">
            <a:noFill/>
          </a:ln>
        </p:spPr>
        <p:txBody>
          <a:bodyPr wrap="square" lIns="91440" tIns="45720" rIns="91440" bIns="45720" rtlCol="0">
            <a:prstTxWarp prst="textPlain">
              <a:avLst/>
            </a:prstTxWarp>
            <a:norm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</a:rPr>
              <a:t>0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</a:rPr>
              <a:t>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A0F08699-605E-4B30-8E51-13778A0D4C46}"/>
              </a:ext>
            </a:extLst>
          </p:cNvPr>
          <p:cNvSpPr txBox="1"/>
          <p:nvPr/>
        </p:nvSpPr>
        <p:spPr>
          <a:xfrm>
            <a:off x="6950109" y="3471833"/>
            <a:ext cx="488916" cy="489992"/>
          </a:xfrm>
          <a:prstGeom prst="rect">
            <a:avLst/>
          </a:prstGeom>
          <a:noFill/>
          <a:ln w="117475">
            <a:noFill/>
          </a:ln>
        </p:spPr>
        <p:txBody>
          <a:bodyPr wrap="square" lIns="91440" tIns="45720" rIns="91440" bIns="45720" rtlCol="0">
            <a:prstTxWarp prst="textPlain">
              <a:avLst/>
            </a:prstTxWarp>
            <a:normAutofit/>
          </a:bodyPr>
          <a:lstStyle/>
          <a:p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</a:rPr>
              <a:t>0</a:t>
            </a:r>
            <a:r>
              <a:rPr lang="en-US" altLang="zh-CN" sz="100" spc="100" dirty="0">
                <a:solidFill>
                  <a:schemeClr val="accent2"/>
                </a:solidFill>
                <a:latin typeface="Impact" panose="020B0806030902050204" pitchFamily="34" charset="0"/>
              </a:rPr>
              <a:t> </a:t>
            </a:r>
            <a:r>
              <a:rPr lang="en-US" altLang="zh-CN" spc="100" dirty="0">
                <a:solidFill>
                  <a:schemeClr val="accent2"/>
                </a:solidFill>
                <a:latin typeface="Impact" panose="020B0806030902050204" pitchFamily="34" charset="0"/>
              </a:rPr>
              <a:t>2</a:t>
            </a:r>
            <a:endParaRPr lang="zh-CN" altLang="en-US" spc="100" dirty="0">
              <a:solidFill>
                <a:schemeClr val="accent2"/>
              </a:solidFill>
              <a:latin typeface="Impact" panose="020B0806030902050204" pitchFamily="34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7710462A-A2FE-4E2B-A76C-1DFA51EA7FBE}"/>
              </a:ext>
            </a:extLst>
          </p:cNvPr>
          <p:cNvSpPr txBox="1"/>
          <p:nvPr/>
        </p:nvSpPr>
        <p:spPr>
          <a:xfrm>
            <a:off x="4834460" y="4830782"/>
            <a:ext cx="451916" cy="489992"/>
          </a:xfrm>
          <a:prstGeom prst="rect">
            <a:avLst/>
          </a:prstGeom>
          <a:noFill/>
          <a:ln w="117475">
            <a:noFill/>
          </a:ln>
        </p:spPr>
        <p:txBody>
          <a:bodyPr wrap="square" lIns="91440" tIns="45720" rIns="91440" bIns="45720" rtlCol="0">
            <a:prstTxWarp prst="textPlain">
              <a:avLst/>
            </a:prstTxWarp>
            <a:normAutofit fontScale="85000" lnSpcReduction="10000"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</a:rPr>
              <a:t>0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</a:rPr>
              <a:t>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8241A6E9-4E05-4349-9CF0-2A1102F852D3}"/>
              </a:ext>
            </a:extLst>
          </p:cNvPr>
          <p:cNvSpPr/>
          <p:nvPr/>
        </p:nvSpPr>
        <p:spPr bwMode="auto">
          <a:xfrm>
            <a:off x="3690988" y="2126058"/>
            <a:ext cx="456056" cy="467054"/>
          </a:xfrm>
          <a:custGeom>
            <a:avLst/>
            <a:gdLst>
              <a:gd name="T0" fmla="*/ 1547 w 10400"/>
              <a:gd name="T1" fmla="*/ 9330 h 10667"/>
              <a:gd name="T2" fmla="*/ 3077 w 10400"/>
              <a:gd name="T3" fmla="*/ 9013 h 10667"/>
              <a:gd name="T4" fmla="*/ 6114 w 10400"/>
              <a:gd name="T5" fmla="*/ 9700 h 10667"/>
              <a:gd name="T6" fmla="*/ 6806 w 10400"/>
              <a:gd name="T7" fmla="*/ 8539 h 10667"/>
              <a:gd name="T8" fmla="*/ 4079 w 10400"/>
              <a:gd name="T9" fmla="*/ 1127 h 10667"/>
              <a:gd name="T10" fmla="*/ 5193 w 10400"/>
              <a:gd name="T11" fmla="*/ 2254 h 10667"/>
              <a:gd name="T12" fmla="*/ 6352 w 10400"/>
              <a:gd name="T13" fmla="*/ 3340 h 10667"/>
              <a:gd name="T14" fmla="*/ 6296 w 10400"/>
              <a:gd name="T15" fmla="*/ 5841 h 10667"/>
              <a:gd name="T16" fmla="*/ 5318 w 10400"/>
              <a:gd name="T17" fmla="*/ 6578 h 10667"/>
              <a:gd name="T18" fmla="*/ 4851 w 10400"/>
              <a:gd name="T19" fmla="*/ 10126 h 10667"/>
              <a:gd name="T20" fmla="*/ 4154 w 10400"/>
              <a:gd name="T21" fmla="*/ 5500 h 10667"/>
              <a:gd name="T22" fmla="*/ 993 w 10400"/>
              <a:gd name="T23" fmla="*/ 1669 h 10667"/>
              <a:gd name="T24" fmla="*/ 4493 w 10400"/>
              <a:gd name="T25" fmla="*/ 2470 h 10667"/>
              <a:gd name="T26" fmla="*/ 5203 w 10400"/>
              <a:gd name="T27" fmla="*/ 5915 h 10667"/>
              <a:gd name="T28" fmla="*/ 5890 w 10400"/>
              <a:gd name="T29" fmla="*/ 2481 h 10667"/>
              <a:gd name="T30" fmla="*/ 9353 w 10400"/>
              <a:gd name="T31" fmla="*/ 1669 h 10667"/>
              <a:gd name="T32" fmla="*/ 8900 w 10400"/>
              <a:gd name="T33" fmla="*/ 5088 h 10667"/>
              <a:gd name="T34" fmla="*/ 8763 w 10400"/>
              <a:gd name="T35" fmla="*/ 4301 h 10667"/>
              <a:gd name="T36" fmla="*/ 7729 w 10400"/>
              <a:gd name="T37" fmla="*/ 3953 h 10667"/>
              <a:gd name="T38" fmla="*/ 8505 w 10400"/>
              <a:gd name="T39" fmla="*/ 5505 h 10667"/>
              <a:gd name="T40" fmla="*/ 8530 w 10400"/>
              <a:gd name="T41" fmla="*/ 6867 h 10667"/>
              <a:gd name="T42" fmla="*/ 9012 w 10400"/>
              <a:gd name="T43" fmla="*/ 6736 h 10667"/>
              <a:gd name="T44" fmla="*/ 9315 w 10400"/>
              <a:gd name="T45" fmla="*/ 6686 h 10667"/>
              <a:gd name="T46" fmla="*/ 9046 w 10400"/>
              <a:gd name="T47" fmla="*/ 4530 h 10667"/>
              <a:gd name="T48" fmla="*/ 9997 w 10400"/>
              <a:gd name="T49" fmla="*/ 3776 h 10667"/>
              <a:gd name="T50" fmla="*/ 8844 w 10400"/>
              <a:gd name="T51" fmla="*/ 4304 h 10667"/>
              <a:gd name="T52" fmla="*/ 8790 w 10400"/>
              <a:gd name="T53" fmla="*/ 3675 h 10667"/>
              <a:gd name="T54" fmla="*/ 9514 w 10400"/>
              <a:gd name="T55" fmla="*/ 6418 h 10667"/>
              <a:gd name="T56" fmla="*/ 9245 w 10400"/>
              <a:gd name="T57" fmla="*/ 6917 h 10667"/>
              <a:gd name="T58" fmla="*/ 7957 w 10400"/>
              <a:gd name="T59" fmla="*/ 6629 h 10667"/>
              <a:gd name="T60" fmla="*/ 7308 w 10400"/>
              <a:gd name="T61" fmla="*/ 6762 h 10667"/>
              <a:gd name="T62" fmla="*/ 9494 w 10400"/>
              <a:gd name="T63" fmla="*/ 6253 h 10667"/>
              <a:gd name="T64" fmla="*/ 577 w 10400"/>
              <a:gd name="T65" fmla="*/ 3770 h 10667"/>
              <a:gd name="T66" fmla="*/ 1355 w 10400"/>
              <a:gd name="T67" fmla="*/ 4518 h 10667"/>
              <a:gd name="T68" fmla="*/ 1282 w 10400"/>
              <a:gd name="T69" fmla="*/ 5462 h 10667"/>
              <a:gd name="T70" fmla="*/ 1236 w 10400"/>
              <a:gd name="T71" fmla="*/ 6867 h 10667"/>
              <a:gd name="T72" fmla="*/ 1718 w 10400"/>
              <a:gd name="T73" fmla="*/ 6728 h 10667"/>
              <a:gd name="T74" fmla="*/ 2022 w 10400"/>
              <a:gd name="T75" fmla="*/ 6694 h 10667"/>
              <a:gd name="T76" fmla="*/ 1843 w 10400"/>
              <a:gd name="T77" fmla="*/ 4519 h 10667"/>
              <a:gd name="T78" fmla="*/ 2505 w 10400"/>
              <a:gd name="T79" fmla="*/ 3770 h 10667"/>
              <a:gd name="T80" fmla="*/ 1608 w 10400"/>
              <a:gd name="T81" fmla="*/ 5217 h 10667"/>
              <a:gd name="T82" fmla="*/ 1557 w 10400"/>
              <a:gd name="T83" fmla="*/ 4304 h 10667"/>
              <a:gd name="T84" fmla="*/ 1610 w 10400"/>
              <a:gd name="T85" fmla="*/ 3675 h 10667"/>
              <a:gd name="T86" fmla="*/ 1898 w 10400"/>
              <a:gd name="T87" fmla="*/ 3969 h 10667"/>
              <a:gd name="T88" fmla="*/ 1547 w 10400"/>
              <a:gd name="T89" fmla="*/ 7324 h 10667"/>
              <a:gd name="T90" fmla="*/ 2189 w 10400"/>
              <a:gd name="T91" fmla="*/ 6405 h 10667"/>
              <a:gd name="T92" fmla="*/ 1172 w 10400"/>
              <a:gd name="T93" fmla="*/ 6918 h 10667"/>
              <a:gd name="T94" fmla="*/ 669 w 10400"/>
              <a:gd name="T95" fmla="*/ 6629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400" h="10667">
                <a:moveTo>
                  <a:pt x="8838" y="9330"/>
                </a:moveTo>
                <a:cubicBezTo>
                  <a:pt x="8838" y="10067"/>
                  <a:pt x="7206" y="10667"/>
                  <a:pt x="5192" y="10667"/>
                </a:cubicBezTo>
                <a:cubicBezTo>
                  <a:pt x="3180" y="10667"/>
                  <a:pt x="1547" y="10067"/>
                  <a:pt x="1547" y="9330"/>
                </a:cubicBezTo>
                <a:cubicBezTo>
                  <a:pt x="1547" y="8797"/>
                  <a:pt x="2406" y="8341"/>
                  <a:pt x="3638" y="8128"/>
                </a:cubicBezTo>
                <a:lnTo>
                  <a:pt x="3638" y="8495"/>
                </a:lnTo>
                <a:cubicBezTo>
                  <a:pt x="3293" y="8632"/>
                  <a:pt x="3077" y="8813"/>
                  <a:pt x="3077" y="9013"/>
                </a:cubicBezTo>
                <a:cubicBezTo>
                  <a:pt x="3077" y="9437"/>
                  <a:pt x="4015" y="9781"/>
                  <a:pt x="5171" y="9781"/>
                </a:cubicBezTo>
                <a:cubicBezTo>
                  <a:pt x="5497" y="9781"/>
                  <a:pt x="5802" y="9751"/>
                  <a:pt x="6077" y="9703"/>
                </a:cubicBezTo>
                <a:cubicBezTo>
                  <a:pt x="6090" y="9702"/>
                  <a:pt x="6102" y="9702"/>
                  <a:pt x="6114" y="9700"/>
                </a:cubicBezTo>
                <a:cubicBezTo>
                  <a:pt x="6165" y="9694"/>
                  <a:pt x="6212" y="9682"/>
                  <a:pt x="6259" y="9666"/>
                </a:cubicBezTo>
                <a:cubicBezTo>
                  <a:pt x="6859" y="9531"/>
                  <a:pt x="7264" y="9290"/>
                  <a:pt x="7264" y="9013"/>
                </a:cubicBezTo>
                <a:cubicBezTo>
                  <a:pt x="7264" y="8834"/>
                  <a:pt x="7090" y="8669"/>
                  <a:pt x="6806" y="8539"/>
                </a:cubicBezTo>
                <a:lnTo>
                  <a:pt x="6806" y="8137"/>
                </a:lnTo>
                <a:cubicBezTo>
                  <a:pt x="8006" y="8356"/>
                  <a:pt x="8838" y="8805"/>
                  <a:pt x="8838" y="9330"/>
                </a:cubicBezTo>
                <a:close/>
                <a:moveTo>
                  <a:pt x="4079" y="1127"/>
                </a:moveTo>
                <a:cubicBezTo>
                  <a:pt x="4079" y="504"/>
                  <a:pt x="4578" y="0"/>
                  <a:pt x="5193" y="0"/>
                </a:cubicBezTo>
                <a:cubicBezTo>
                  <a:pt x="5807" y="0"/>
                  <a:pt x="6305" y="504"/>
                  <a:pt x="6305" y="1127"/>
                </a:cubicBezTo>
                <a:cubicBezTo>
                  <a:pt x="6305" y="1750"/>
                  <a:pt x="5807" y="2254"/>
                  <a:pt x="5193" y="2254"/>
                </a:cubicBezTo>
                <a:cubicBezTo>
                  <a:pt x="4578" y="2254"/>
                  <a:pt x="4079" y="1750"/>
                  <a:pt x="4079" y="1127"/>
                </a:cubicBezTo>
                <a:close/>
                <a:moveTo>
                  <a:pt x="9353" y="1669"/>
                </a:moveTo>
                <a:cubicBezTo>
                  <a:pt x="8800" y="2578"/>
                  <a:pt x="7557" y="3340"/>
                  <a:pt x="6352" y="3340"/>
                </a:cubicBezTo>
                <a:cubicBezTo>
                  <a:pt x="6274" y="3340"/>
                  <a:pt x="6196" y="3336"/>
                  <a:pt x="6118" y="3330"/>
                </a:cubicBezTo>
                <a:cubicBezTo>
                  <a:pt x="6142" y="3615"/>
                  <a:pt x="6252" y="4928"/>
                  <a:pt x="6282" y="5755"/>
                </a:cubicBezTo>
                <a:cubicBezTo>
                  <a:pt x="6288" y="5783"/>
                  <a:pt x="6294" y="5811"/>
                  <a:pt x="6296" y="5841"/>
                </a:cubicBezTo>
                <a:lnTo>
                  <a:pt x="6568" y="10087"/>
                </a:lnTo>
                <a:cubicBezTo>
                  <a:pt x="6586" y="10373"/>
                  <a:pt x="5564" y="10428"/>
                  <a:pt x="5546" y="10154"/>
                </a:cubicBezTo>
                <a:lnTo>
                  <a:pt x="5318" y="6578"/>
                </a:lnTo>
                <a:cubicBezTo>
                  <a:pt x="5280" y="6574"/>
                  <a:pt x="5244" y="6567"/>
                  <a:pt x="5206" y="6567"/>
                </a:cubicBezTo>
                <a:cubicBezTo>
                  <a:pt x="5174" y="6567"/>
                  <a:pt x="5136" y="6577"/>
                  <a:pt x="5099" y="6587"/>
                </a:cubicBezTo>
                <a:lnTo>
                  <a:pt x="4851" y="10126"/>
                </a:lnTo>
                <a:cubicBezTo>
                  <a:pt x="4832" y="10398"/>
                  <a:pt x="3810" y="10338"/>
                  <a:pt x="3830" y="10052"/>
                </a:cubicBezTo>
                <a:lnTo>
                  <a:pt x="4144" y="5559"/>
                </a:lnTo>
                <a:cubicBezTo>
                  <a:pt x="4146" y="5538"/>
                  <a:pt x="4150" y="5520"/>
                  <a:pt x="4154" y="5500"/>
                </a:cubicBezTo>
                <a:cubicBezTo>
                  <a:pt x="4199" y="4432"/>
                  <a:pt x="4252" y="3400"/>
                  <a:pt x="4257" y="3326"/>
                </a:cubicBezTo>
                <a:cubicBezTo>
                  <a:pt x="4169" y="3334"/>
                  <a:pt x="4081" y="3340"/>
                  <a:pt x="3994" y="3340"/>
                </a:cubicBezTo>
                <a:cubicBezTo>
                  <a:pt x="2788" y="3340"/>
                  <a:pt x="1546" y="2578"/>
                  <a:pt x="993" y="1669"/>
                </a:cubicBezTo>
                <a:cubicBezTo>
                  <a:pt x="879" y="1481"/>
                  <a:pt x="936" y="1235"/>
                  <a:pt x="1122" y="1120"/>
                </a:cubicBezTo>
                <a:cubicBezTo>
                  <a:pt x="1308" y="1003"/>
                  <a:pt x="1551" y="1062"/>
                  <a:pt x="1665" y="1250"/>
                </a:cubicBezTo>
                <a:cubicBezTo>
                  <a:pt x="2166" y="2073"/>
                  <a:pt x="3484" y="2756"/>
                  <a:pt x="4493" y="2470"/>
                </a:cubicBezTo>
                <a:cubicBezTo>
                  <a:pt x="4663" y="2411"/>
                  <a:pt x="4865" y="2374"/>
                  <a:pt x="5089" y="2365"/>
                </a:cubicBezTo>
                <a:lnTo>
                  <a:pt x="4729" y="5423"/>
                </a:lnTo>
                <a:lnTo>
                  <a:pt x="5203" y="5915"/>
                </a:lnTo>
                <a:lnTo>
                  <a:pt x="5617" y="5423"/>
                </a:lnTo>
                <a:lnTo>
                  <a:pt x="5330" y="2373"/>
                </a:lnTo>
                <a:cubicBezTo>
                  <a:pt x="5531" y="2387"/>
                  <a:pt x="5725" y="2423"/>
                  <a:pt x="5890" y="2481"/>
                </a:cubicBezTo>
                <a:cubicBezTo>
                  <a:pt x="6894" y="2741"/>
                  <a:pt x="8187" y="2063"/>
                  <a:pt x="8681" y="1250"/>
                </a:cubicBezTo>
                <a:cubicBezTo>
                  <a:pt x="8795" y="1062"/>
                  <a:pt x="9038" y="1003"/>
                  <a:pt x="9224" y="1119"/>
                </a:cubicBezTo>
                <a:cubicBezTo>
                  <a:pt x="9410" y="1235"/>
                  <a:pt x="9468" y="1481"/>
                  <a:pt x="9353" y="1669"/>
                </a:cubicBezTo>
                <a:close/>
                <a:moveTo>
                  <a:pt x="8844" y="4304"/>
                </a:moveTo>
                <a:cubicBezTo>
                  <a:pt x="8839" y="4303"/>
                  <a:pt x="8833" y="4303"/>
                  <a:pt x="8827" y="4302"/>
                </a:cubicBezTo>
                <a:lnTo>
                  <a:pt x="8900" y="5088"/>
                </a:lnTo>
                <a:lnTo>
                  <a:pt x="8793" y="5217"/>
                </a:lnTo>
                <a:lnTo>
                  <a:pt x="8671" y="5088"/>
                </a:lnTo>
                <a:lnTo>
                  <a:pt x="8763" y="4301"/>
                </a:lnTo>
                <a:cubicBezTo>
                  <a:pt x="8543" y="4286"/>
                  <a:pt x="8343" y="4195"/>
                  <a:pt x="7895" y="3770"/>
                </a:cubicBezTo>
                <a:cubicBezTo>
                  <a:pt x="7846" y="3723"/>
                  <a:pt x="7769" y="3725"/>
                  <a:pt x="7722" y="3776"/>
                </a:cubicBezTo>
                <a:cubicBezTo>
                  <a:pt x="7676" y="3826"/>
                  <a:pt x="7679" y="3906"/>
                  <a:pt x="7729" y="3953"/>
                </a:cubicBezTo>
                <a:cubicBezTo>
                  <a:pt x="8086" y="4293"/>
                  <a:pt x="8319" y="4456"/>
                  <a:pt x="8558" y="4519"/>
                </a:cubicBezTo>
                <a:cubicBezTo>
                  <a:pt x="8558" y="4523"/>
                  <a:pt x="8556" y="4527"/>
                  <a:pt x="8556" y="4530"/>
                </a:cubicBezTo>
                <a:lnTo>
                  <a:pt x="8505" y="5505"/>
                </a:lnTo>
                <a:lnTo>
                  <a:pt x="8378" y="6694"/>
                </a:lnTo>
                <a:cubicBezTo>
                  <a:pt x="8369" y="6780"/>
                  <a:pt x="8430" y="6857"/>
                  <a:pt x="8514" y="6867"/>
                </a:cubicBezTo>
                <a:cubicBezTo>
                  <a:pt x="8520" y="6867"/>
                  <a:pt x="8525" y="6867"/>
                  <a:pt x="8530" y="6867"/>
                </a:cubicBezTo>
                <a:cubicBezTo>
                  <a:pt x="8608" y="6867"/>
                  <a:pt x="8674" y="6808"/>
                  <a:pt x="8683" y="6728"/>
                </a:cubicBezTo>
                <a:lnTo>
                  <a:pt x="8815" y="5498"/>
                </a:lnTo>
                <a:lnTo>
                  <a:pt x="9012" y="6736"/>
                </a:lnTo>
                <a:cubicBezTo>
                  <a:pt x="9025" y="6813"/>
                  <a:pt x="9090" y="6868"/>
                  <a:pt x="9164" y="6868"/>
                </a:cubicBezTo>
                <a:cubicBezTo>
                  <a:pt x="9172" y="6868"/>
                  <a:pt x="9180" y="6867"/>
                  <a:pt x="9188" y="6866"/>
                </a:cubicBezTo>
                <a:cubicBezTo>
                  <a:pt x="9272" y="6852"/>
                  <a:pt x="9328" y="6771"/>
                  <a:pt x="9315" y="6686"/>
                </a:cubicBezTo>
                <a:lnTo>
                  <a:pt x="9119" y="5462"/>
                </a:lnTo>
                <a:cubicBezTo>
                  <a:pt x="9119" y="5461"/>
                  <a:pt x="9120" y="5460"/>
                  <a:pt x="9120" y="5459"/>
                </a:cubicBezTo>
                <a:lnTo>
                  <a:pt x="9046" y="4530"/>
                </a:lnTo>
                <a:cubicBezTo>
                  <a:pt x="9046" y="4526"/>
                  <a:pt x="9046" y="4522"/>
                  <a:pt x="9045" y="4518"/>
                </a:cubicBezTo>
                <a:cubicBezTo>
                  <a:pt x="9279" y="4456"/>
                  <a:pt x="9631" y="4296"/>
                  <a:pt x="9990" y="3953"/>
                </a:cubicBezTo>
                <a:cubicBezTo>
                  <a:pt x="10040" y="3906"/>
                  <a:pt x="10043" y="3826"/>
                  <a:pt x="9997" y="3776"/>
                </a:cubicBezTo>
                <a:cubicBezTo>
                  <a:pt x="9950" y="3725"/>
                  <a:pt x="9873" y="3723"/>
                  <a:pt x="9823" y="3770"/>
                </a:cubicBezTo>
                <a:cubicBezTo>
                  <a:pt x="9407" y="4166"/>
                  <a:pt x="9010" y="4290"/>
                  <a:pt x="8857" y="4300"/>
                </a:cubicBezTo>
                <a:cubicBezTo>
                  <a:pt x="8852" y="4300"/>
                  <a:pt x="8849" y="4303"/>
                  <a:pt x="8844" y="4304"/>
                </a:cubicBezTo>
                <a:close/>
                <a:moveTo>
                  <a:pt x="8790" y="4263"/>
                </a:moveTo>
                <a:cubicBezTo>
                  <a:pt x="8949" y="4263"/>
                  <a:pt x="9078" y="4131"/>
                  <a:pt x="9078" y="3969"/>
                </a:cubicBezTo>
                <a:cubicBezTo>
                  <a:pt x="9078" y="3807"/>
                  <a:pt x="8949" y="3675"/>
                  <a:pt x="8790" y="3675"/>
                </a:cubicBezTo>
                <a:cubicBezTo>
                  <a:pt x="8631" y="3675"/>
                  <a:pt x="8503" y="3807"/>
                  <a:pt x="8503" y="3969"/>
                </a:cubicBezTo>
                <a:cubicBezTo>
                  <a:pt x="8503" y="4131"/>
                  <a:pt x="8631" y="4263"/>
                  <a:pt x="8790" y="4263"/>
                </a:cubicBezTo>
                <a:close/>
                <a:moveTo>
                  <a:pt x="9514" y="6418"/>
                </a:moveTo>
                <a:cubicBezTo>
                  <a:pt x="9649" y="6475"/>
                  <a:pt x="9732" y="6548"/>
                  <a:pt x="9732" y="6629"/>
                </a:cubicBezTo>
                <a:cubicBezTo>
                  <a:pt x="9732" y="6745"/>
                  <a:pt x="9561" y="6846"/>
                  <a:pt x="9306" y="6903"/>
                </a:cubicBezTo>
                <a:cubicBezTo>
                  <a:pt x="9287" y="6910"/>
                  <a:pt x="9267" y="6915"/>
                  <a:pt x="9245" y="6917"/>
                </a:cubicBezTo>
                <a:cubicBezTo>
                  <a:pt x="9240" y="6918"/>
                  <a:pt x="9235" y="6918"/>
                  <a:pt x="9229" y="6918"/>
                </a:cubicBezTo>
                <a:cubicBezTo>
                  <a:pt x="9112" y="6939"/>
                  <a:pt x="8983" y="6952"/>
                  <a:pt x="8845" y="6952"/>
                </a:cubicBezTo>
                <a:cubicBezTo>
                  <a:pt x="8355" y="6952"/>
                  <a:pt x="7957" y="6807"/>
                  <a:pt x="7957" y="6629"/>
                </a:cubicBezTo>
                <a:cubicBezTo>
                  <a:pt x="7957" y="6542"/>
                  <a:pt x="8055" y="6463"/>
                  <a:pt x="8211" y="6405"/>
                </a:cubicBezTo>
                <a:lnTo>
                  <a:pt x="8222" y="6252"/>
                </a:lnTo>
                <a:cubicBezTo>
                  <a:pt x="7685" y="6340"/>
                  <a:pt x="7308" y="6534"/>
                  <a:pt x="7308" y="6762"/>
                </a:cubicBezTo>
                <a:cubicBezTo>
                  <a:pt x="7308" y="7072"/>
                  <a:pt x="8000" y="7324"/>
                  <a:pt x="8854" y="7324"/>
                </a:cubicBezTo>
                <a:cubicBezTo>
                  <a:pt x="9708" y="7324"/>
                  <a:pt x="10400" y="7072"/>
                  <a:pt x="10400" y="6762"/>
                </a:cubicBezTo>
                <a:cubicBezTo>
                  <a:pt x="10400" y="6535"/>
                  <a:pt x="10027" y="6342"/>
                  <a:pt x="9494" y="6253"/>
                </a:cubicBezTo>
                <a:lnTo>
                  <a:pt x="9514" y="6418"/>
                </a:lnTo>
                <a:close/>
                <a:moveTo>
                  <a:pt x="1543" y="4300"/>
                </a:moveTo>
                <a:cubicBezTo>
                  <a:pt x="1391" y="4290"/>
                  <a:pt x="994" y="4166"/>
                  <a:pt x="577" y="3770"/>
                </a:cubicBezTo>
                <a:cubicBezTo>
                  <a:pt x="528" y="3723"/>
                  <a:pt x="450" y="3725"/>
                  <a:pt x="404" y="3776"/>
                </a:cubicBezTo>
                <a:cubicBezTo>
                  <a:pt x="358" y="3826"/>
                  <a:pt x="361" y="3906"/>
                  <a:pt x="411" y="3953"/>
                </a:cubicBezTo>
                <a:cubicBezTo>
                  <a:pt x="770" y="4296"/>
                  <a:pt x="1122" y="4456"/>
                  <a:pt x="1355" y="4518"/>
                </a:cubicBezTo>
                <a:cubicBezTo>
                  <a:pt x="1355" y="4522"/>
                  <a:pt x="1355" y="4526"/>
                  <a:pt x="1355" y="4530"/>
                </a:cubicBezTo>
                <a:lnTo>
                  <a:pt x="1281" y="5459"/>
                </a:lnTo>
                <a:cubicBezTo>
                  <a:pt x="1281" y="5460"/>
                  <a:pt x="1282" y="5461"/>
                  <a:pt x="1282" y="5462"/>
                </a:cubicBezTo>
                <a:lnTo>
                  <a:pt x="1086" y="6686"/>
                </a:lnTo>
                <a:cubicBezTo>
                  <a:pt x="1072" y="6771"/>
                  <a:pt x="1129" y="6852"/>
                  <a:pt x="1212" y="6866"/>
                </a:cubicBezTo>
                <a:cubicBezTo>
                  <a:pt x="1221" y="6867"/>
                  <a:pt x="1229" y="6867"/>
                  <a:pt x="1236" y="6867"/>
                </a:cubicBezTo>
                <a:cubicBezTo>
                  <a:pt x="1311" y="6867"/>
                  <a:pt x="1376" y="6813"/>
                  <a:pt x="1388" y="6736"/>
                </a:cubicBezTo>
                <a:lnTo>
                  <a:pt x="1586" y="5498"/>
                </a:lnTo>
                <a:lnTo>
                  <a:pt x="1718" y="6728"/>
                </a:lnTo>
                <a:cubicBezTo>
                  <a:pt x="1726" y="6808"/>
                  <a:pt x="1792" y="6867"/>
                  <a:pt x="1870" y="6867"/>
                </a:cubicBezTo>
                <a:cubicBezTo>
                  <a:pt x="1875" y="6867"/>
                  <a:pt x="1881" y="6867"/>
                  <a:pt x="1887" y="6867"/>
                </a:cubicBezTo>
                <a:cubicBezTo>
                  <a:pt x="1971" y="6857"/>
                  <a:pt x="2032" y="6780"/>
                  <a:pt x="2022" y="6694"/>
                </a:cubicBezTo>
                <a:lnTo>
                  <a:pt x="1895" y="5505"/>
                </a:lnTo>
                <a:lnTo>
                  <a:pt x="1845" y="4530"/>
                </a:lnTo>
                <a:cubicBezTo>
                  <a:pt x="1845" y="4527"/>
                  <a:pt x="1843" y="4523"/>
                  <a:pt x="1843" y="4519"/>
                </a:cubicBezTo>
                <a:cubicBezTo>
                  <a:pt x="2082" y="4456"/>
                  <a:pt x="2314" y="4293"/>
                  <a:pt x="2672" y="3953"/>
                </a:cubicBezTo>
                <a:cubicBezTo>
                  <a:pt x="2722" y="3906"/>
                  <a:pt x="2725" y="3826"/>
                  <a:pt x="2678" y="3776"/>
                </a:cubicBezTo>
                <a:cubicBezTo>
                  <a:pt x="2632" y="3725"/>
                  <a:pt x="2555" y="3722"/>
                  <a:pt x="2505" y="3770"/>
                </a:cubicBezTo>
                <a:cubicBezTo>
                  <a:pt x="2058" y="4195"/>
                  <a:pt x="1857" y="4286"/>
                  <a:pt x="1637" y="4301"/>
                </a:cubicBezTo>
                <a:lnTo>
                  <a:pt x="1730" y="5088"/>
                </a:lnTo>
                <a:lnTo>
                  <a:pt x="1608" y="5217"/>
                </a:lnTo>
                <a:lnTo>
                  <a:pt x="1501" y="5088"/>
                </a:lnTo>
                <a:lnTo>
                  <a:pt x="1574" y="4302"/>
                </a:lnTo>
                <a:cubicBezTo>
                  <a:pt x="1568" y="4303"/>
                  <a:pt x="1562" y="4303"/>
                  <a:pt x="1557" y="4304"/>
                </a:cubicBezTo>
                <a:cubicBezTo>
                  <a:pt x="1552" y="4303"/>
                  <a:pt x="1548" y="4300"/>
                  <a:pt x="1543" y="4300"/>
                </a:cubicBezTo>
                <a:close/>
                <a:moveTo>
                  <a:pt x="1898" y="3969"/>
                </a:moveTo>
                <a:cubicBezTo>
                  <a:pt x="1898" y="3807"/>
                  <a:pt x="1769" y="3675"/>
                  <a:pt x="1610" y="3675"/>
                </a:cubicBezTo>
                <a:cubicBezTo>
                  <a:pt x="1452" y="3675"/>
                  <a:pt x="1323" y="3807"/>
                  <a:pt x="1323" y="3969"/>
                </a:cubicBezTo>
                <a:cubicBezTo>
                  <a:pt x="1323" y="4131"/>
                  <a:pt x="1452" y="4263"/>
                  <a:pt x="1610" y="4263"/>
                </a:cubicBezTo>
                <a:cubicBezTo>
                  <a:pt x="1769" y="4263"/>
                  <a:pt x="1898" y="4131"/>
                  <a:pt x="1898" y="3969"/>
                </a:cubicBezTo>
                <a:close/>
                <a:moveTo>
                  <a:pt x="906" y="6253"/>
                </a:moveTo>
                <a:cubicBezTo>
                  <a:pt x="373" y="6342"/>
                  <a:pt x="0" y="6535"/>
                  <a:pt x="0" y="6762"/>
                </a:cubicBezTo>
                <a:cubicBezTo>
                  <a:pt x="0" y="7072"/>
                  <a:pt x="693" y="7324"/>
                  <a:pt x="1547" y="7324"/>
                </a:cubicBezTo>
                <a:cubicBezTo>
                  <a:pt x="2401" y="7324"/>
                  <a:pt x="3093" y="7072"/>
                  <a:pt x="3093" y="6762"/>
                </a:cubicBezTo>
                <a:cubicBezTo>
                  <a:pt x="3093" y="6534"/>
                  <a:pt x="2716" y="6340"/>
                  <a:pt x="2178" y="6252"/>
                </a:cubicBezTo>
                <a:lnTo>
                  <a:pt x="2189" y="6405"/>
                </a:lnTo>
                <a:cubicBezTo>
                  <a:pt x="2346" y="6463"/>
                  <a:pt x="2444" y="6542"/>
                  <a:pt x="2444" y="6629"/>
                </a:cubicBezTo>
                <a:cubicBezTo>
                  <a:pt x="2444" y="6807"/>
                  <a:pt x="2046" y="6952"/>
                  <a:pt x="1556" y="6952"/>
                </a:cubicBezTo>
                <a:cubicBezTo>
                  <a:pt x="1418" y="6952"/>
                  <a:pt x="1289" y="6939"/>
                  <a:pt x="1172" y="6918"/>
                </a:cubicBezTo>
                <a:cubicBezTo>
                  <a:pt x="1166" y="6918"/>
                  <a:pt x="1161" y="6918"/>
                  <a:pt x="1155" y="6917"/>
                </a:cubicBezTo>
                <a:cubicBezTo>
                  <a:pt x="1134" y="6915"/>
                  <a:pt x="1114" y="6910"/>
                  <a:pt x="1095" y="6903"/>
                </a:cubicBezTo>
                <a:cubicBezTo>
                  <a:pt x="840" y="6846"/>
                  <a:pt x="669" y="6745"/>
                  <a:pt x="669" y="6629"/>
                </a:cubicBezTo>
                <a:cubicBezTo>
                  <a:pt x="669" y="6548"/>
                  <a:pt x="751" y="6475"/>
                  <a:pt x="887" y="6418"/>
                </a:cubicBezTo>
                <a:lnTo>
                  <a:pt x="906" y="62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948A1045-D551-4CF2-9A37-0C9209569F37}"/>
              </a:ext>
            </a:extLst>
          </p:cNvPr>
          <p:cNvSpPr/>
          <p:nvPr/>
        </p:nvSpPr>
        <p:spPr bwMode="auto">
          <a:xfrm>
            <a:off x="3690988" y="4853720"/>
            <a:ext cx="456056" cy="467054"/>
          </a:xfrm>
          <a:custGeom>
            <a:avLst/>
            <a:gdLst>
              <a:gd name="T0" fmla="*/ 1547 w 10400"/>
              <a:gd name="T1" fmla="*/ 9330 h 10667"/>
              <a:gd name="T2" fmla="*/ 3077 w 10400"/>
              <a:gd name="T3" fmla="*/ 9013 h 10667"/>
              <a:gd name="T4" fmla="*/ 6114 w 10400"/>
              <a:gd name="T5" fmla="*/ 9700 h 10667"/>
              <a:gd name="T6" fmla="*/ 6806 w 10400"/>
              <a:gd name="T7" fmla="*/ 8539 h 10667"/>
              <a:gd name="T8" fmla="*/ 4079 w 10400"/>
              <a:gd name="T9" fmla="*/ 1127 h 10667"/>
              <a:gd name="T10" fmla="*/ 5193 w 10400"/>
              <a:gd name="T11" fmla="*/ 2254 h 10667"/>
              <a:gd name="T12" fmla="*/ 6352 w 10400"/>
              <a:gd name="T13" fmla="*/ 3340 h 10667"/>
              <a:gd name="T14" fmla="*/ 6296 w 10400"/>
              <a:gd name="T15" fmla="*/ 5841 h 10667"/>
              <a:gd name="T16" fmla="*/ 5318 w 10400"/>
              <a:gd name="T17" fmla="*/ 6578 h 10667"/>
              <a:gd name="T18" fmla="*/ 4851 w 10400"/>
              <a:gd name="T19" fmla="*/ 10126 h 10667"/>
              <a:gd name="T20" fmla="*/ 4154 w 10400"/>
              <a:gd name="T21" fmla="*/ 5500 h 10667"/>
              <a:gd name="T22" fmla="*/ 993 w 10400"/>
              <a:gd name="T23" fmla="*/ 1669 h 10667"/>
              <a:gd name="T24" fmla="*/ 4493 w 10400"/>
              <a:gd name="T25" fmla="*/ 2470 h 10667"/>
              <a:gd name="T26" fmla="*/ 5203 w 10400"/>
              <a:gd name="T27" fmla="*/ 5915 h 10667"/>
              <a:gd name="T28" fmla="*/ 5890 w 10400"/>
              <a:gd name="T29" fmla="*/ 2481 h 10667"/>
              <a:gd name="T30" fmla="*/ 9353 w 10400"/>
              <a:gd name="T31" fmla="*/ 1669 h 10667"/>
              <a:gd name="T32" fmla="*/ 8900 w 10400"/>
              <a:gd name="T33" fmla="*/ 5088 h 10667"/>
              <a:gd name="T34" fmla="*/ 8763 w 10400"/>
              <a:gd name="T35" fmla="*/ 4301 h 10667"/>
              <a:gd name="T36" fmla="*/ 7729 w 10400"/>
              <a:gd name="T37" fmla="*/ 3953 h 10667"/>
              <a:gd name="T38" fmla="*/ 8505 w 10400"/>
              <a:gd name="T39" fmla="*/ 5505 h 10667"/>
              <a:gd name="T40" fmla="*/ 8530 w 10400"/>
              <a:gd name="T41" fmla="*/ 6867 h 10667"/>
              <a:gd name="T42" fmla="*/ 9012 w 10400"/>
              <a:gd name="T43" fmla="*/ 6736 h 10667"/>
              <a:gd name="T44" fmla="*/ 9315 w 10400"/>
              <a:gd name="T45" fmla="*/ 6686 h 10667"/>
              <a:gd name="T46" fmla="*/ 9046 w 10400"/>
              <a:gd name="T47" fmla="*/ 4530 h 10667"/>
              <a:gd name="T48" fmla="*/ 9997 w 10400"/>
              <a:gd name="T49" fmla="*/ 3776 h 10667"/>
              <a:gd name="T50" fmla="*/ 8844 w 10400"/>
              <a:gd name="T51" fmla="*/ 4304 h 10667"/>
              <a:gd name="T52" fmla="*/ 8790 w 10400"/>
              <a:gd name="T53" fmla="*/ 3675 h 10667"/>
              <a:gd name="T54" fmla="*/ 9514 w 10400"/>
              <a:gd name="T55" fmla="*/ 6418 h 10667"/>
              <a:gd name="T56" fmla="*/ 9245 w 10400"/>
              <a:gd name="T57" fmla="*/ 6917 h 10667"/>
              <a:gd name="T58" fmla="*/ 7957 w 10400"/>
              <a:gd name="T59" fmla="*/ 6629 h 10667"/>
              <a:gd name="T60" fmla="*/ 7308 w 10400"/>
              <a:gd name="T61" fmla="*/ 6762 h 10667"/>
              <a:gd name="T62" fmla="*/ 9494 w 10400"/>
              <a:gd name="T63" fmla="*/ 6253 h 10667"/>
              <a:gd name="T64" fmla="*/ 577 w 10400"/>
              <a:gd name="T65" fmla="*/ 3770 h 10667"/>
              <a:gd name="T66" fmla="*/ 1355 w 10400"/>
              <a:gd name="T67" fmla="*/ 4518 h 10667"/>
              <a:gd name="T68" fmla="*/ 1282 w 10400"/>
              <a:gd name="T69" fmla="*/ 5462 h 10667"/>
              <a:gd name="T70" fmla="*/ 1236 w 10400"/>
              <a:gd name="T71" fmla="*/ 6867 h 10667"/>
              <a:gd name="T72" fmla="*/ 1718 w 10400"/>
              <a:gd name="T73" fmla="*/ 6728 h 10667"/>
              <a:gd name="T74" fmla="*/ 2022 w 10400"/>
              <a:gd name="T75" fmla="*/ 6694 h 10667"/>
              <a:gd name="T76" fmla="*/ 1843 w 10400"/>
              <a:gd name="T77" fmla="*/ 4519 h 10667"/>
              <a:gd name="T78" fmla="*/ 2505 w 10400"/>
              <a:gd name="T79" fmla="*/ 3770 h 10667"/>
              <a:gd name="T80" fmla="*/ 1608 w 10400"/>
              <a:gd name="T81" fmla="*/ 5217 h 10667"/>
              <a:gd name="T82" fmla="*/ 1557 w 10400"/>
              <a:gd name="T83" fmla="*/ 4304 h 10667"/>
              <a:gd name="T84" fmla="*/ 1610 w 10400"/>
              <a:gd name="T85" fmla="*/ 3675 h 10667"/>
              <a:gd name="T86" fmla="*/ 1898 w 10400"/>
              <a:gd name="T87" fmla="*/ 3969 h 10667"/>
              <a:gd name="T88" fmla="*/ 1547 w 10400"/>
              <a:gd name="T89" fmla="*/ 7324 h 10667"/>
              <a:gd name="T90" fmla="*/ 2189 w 10400"/>
              <a:gd name="T91" fmla="*/ 6405 h 10667"/>
              <a:gd name="T92" fmla="*/ 1172 w 10400"/>
              <a:gd name="T93" fmla="*/ 6918 h 10667"/>
              <a:gd name="T94" fmla="*/ 669 w 10400"/>
              <a:gd name="T95" fmla="*/ 6629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400" h="10667">
                <a:moveTo>
                  <a:pt x="8838" y="9330"/>
                </a:moveTo>
                <a:cubicBezTo>
                  <a:pt x="8838" y="10067"/>
                  <a:pt x="7206" y="10667"/>
                  <a:pt x="5192" y="10667"/>
                </a:cubicBezTo>
                <a:cubicBezTo>
                  <a:pt x="3180" y="10667"/>
                  <a:pt x="1547" y="10067"/>
                  <a:pt x="1547" y="9330"/>
                </a:cubicBezTo>
                <a:cubicBezTo>
                  <a:pt x="1547" y="8797"/>
                  <a:pt x="2406" y="8341"/>
                  <a:pt x="3638" y="8128"/>
                </a:cubicBezTo>
                <a:lnTo>
                  <a:pt x="3638" y="8495"/>
                </a:lnTo>
                <a:cubicBezTo>
                  <a:pt x="3293" y="8632"/>
                  <a:pt x="3077" y="8813"/>
                  <a:pt x="3077" y="9013"/>
                </a:cubicBezTo>
                <a:cubicBezTo>
                  <a:pt x="3077" y="9437"/>
                  <a:pt x="4015" y="9781"/>
                  <a:pt x="5171" y="9781"/>
                </a:cubicBezTo>
                <a:cubicBezTo>
                  <a:pt x="5497" y="9781"/>
                  <a:pt x="5802" y="9751"/>
                  <a:pt x="6077" y="9703"/>
                </a:cubicBezTo>
                <a:cubicBezTo>
                  <a:pt x="6090" y="9702"/>
                  <a:pt x="6102" y="9702"/>
                  <a:pt x="6114" y="9700"/>
                </a:cubicBezTo>
                <a:cubicBezTo>
                  <a:pt x="6165" y="9694"/>
                  <a:pt x="6212" y="9682"/>
                  <a:pt x="6259" y="9666"/>
                </a:cubicBezTo>
                <a:cubicBezTo>
                  <a:pt x="6859" y="9531"/>
                  <a:pt x="7264" y="9290"/>
                  <a:pt x="7264" y="9013"/>
                </a:cubicBezTo>
                <a:cubicBezTo>
                  <a:pt x="7264" y="8834"/>
                  <a:pt x="7090" y="8669"/>
                  <a:pt x="6806" y="8539"/>
                </a:cubicBezTo>
                <a:lnTo>
                  <a:pt x="6806" y="8137"/>
                </a:lnTo>
                <a:cubicBezTo>
                  <a:pt x="8006" y="8356"/>
                  <a:pt x="8838" y="8805"/>
                  <a:pt x="8838" y="9330"/>
                </a:cubicBezTo>
                <a:close/>
                <a:moveTo>
                  <a:pt x="4079" y="1127"/>
                </a:moveTo>
                <a:cubicBezTo>
                  <a:pt x="4079" y="504"/>
                  <a:pt x="4578" y="0"/>
                  <a:pt x="5193" y="0"/>
                </a:cubicBezTo>
                <a:cubicBezTo>
                  <a:pt x="5807" y="0"/>
                  <a:pt x="6305" y="504"/>
                  <a:pt x="6305" y="1127"/>
                </a:cubicBezTo>
                <a:cubicBezTo>
                  <a:pt x="6305" y="1750"/>
                  <a:pt x="5807" y="2254"/>
                  <a:pt x="5193" y="2254"/>
                </a:cubicBezTo>
                <a:cubicBezTo>
                  <a:pt x="4578" y="2254"/>
                  <a:pt x="4079" y="1750"/>
                  <a:pt x="4079" y="1127"/>
                </a:cubicBezTo>
                <a:close/>
                <a:moveTo>
                  <a:pt x="9353" y="1669"/>
                </a:moveTo>
                <a:cubicBezTo>
                  <a:pt x="8800" y="2578"/>
                  <a:pt x="7557" y="3340"/>
                  <a:pt x="6352" y="3340"/>
                </a:cubicBezTo>
                <a:cubicBezTo>
                  <a:pt x="6274" y="3340"/>
                  <a:pt x="6196" y="3336"/>
                  <a:pt x="6118" y="3330"/>
                </a:cubicBezTo>
                <a:cubicBezTo>
                  <a:pt x="6142" y="3615"/>
                  <a:pt x="6252" y="4928"/>
                  <a:pt x="6282" y="5755"/>
                </a:cubicBezTo>
                <a:cubicBezTo>
                  <a:pt x="6288" y="5783"/>
                  <a:pt x="6294" y="5811"/>
                  <a:pt x="6296" y="5841"/>
                </a:cubicBezTo>
                <a:lnTo>
                  <a:pt x="6568" y="10087"/>
                </a:lnTo>
                <a:cubicBezTo>
                  <a:pt x="6586" y="10373"/>
                  <a:pt x="5564" y="10428"/>
                  <a:pt x="5546" y="10154"/>
                </a:cubicBezTo>
                <a:lnTo>
                  <a:pt x="5318" y="6578"/>
                </a:lnTo>
                <a:cubicBezTo>
                  <a:pt x="5280" y="6574"/>
                  <a:pt x="5244" y="6567"/>
                  <a:pt x="5206" y="6567"/>
                </a:cubicBezTo>
                <a:cubicBezTo>
                  <a:pt x="5174" y="6567"/>
                  <a:pt x="5136" y="6577"/>
                  <a:pt x="5099" y="6587"/>
                </a:cubicBezTo>
                <a:lnTo>
                  <a:pt x="4851" y="10126"/>
                </a:lnTo>
                <a:cubicBezTo>
                  <a:pt x="4832" y="10398"/>
                  <a:pt x="3810" y="10338"/>
                  <a:pt x="3830" y="10052"/>
                </a:cubicBezTo>
                <a:lnTo>
                  <a:pt x="4144" y="5559"/>
                </a:lnTo>
                <a:cubicBezTo>
                  <a:pt x="4146" y="5538"/>
                  <a:pt x="4150" y="5520"/>
                  <a:pt x="4154" y="5500"/>
                </a:cubicBezTo>
                <a:cubicBezTo>
                  <a:pt x="4199" y="4432"/>
                  <a:pt x="4252" y="3400"/>
                  <a:pt x="4257" y="3326"/>
                </a:cubicBezTo>
                <a:cubicBezTo>
                  <a:pt x="4169" y="3334"/>
                  <a:pt x="4081" y="3340"/>
                  <a:pt x="3994" y="3340"/>
                </a:cubicBezTo>
                <a:cubicBezTo>
                  <a:pt x="2788" y="3340"/>
                  <a:pt x="1546" y="2578"/>
                  <a:pt x="993" y="1669"/>
                </a:cubicBezTo>
                <a:cubicBezTo>
                  <a:pt x="879" y="1481"/>
                  <a:pt x="936" y="1235"/>
                  <a:pt x="1122" y="1120"/>
                </a:cubicBezTo>
                <a:cubicBezTo>
                  <a:pt x="1308" y="1003"/>
                  <a:pt x="1551" y="1062"/>
                  <a:pt x="1665" y="1250"/>
                </a:cubicBezTo>
                <a:cubicBezTo>
                  <a:pt x="2166" y="2073"/>
                  <a:pt x="3484" y="2756"/>
                  <a:pt x="4493" y="2470"/>
                </a:cubicBezTo>
                <a:cubicBezTo>
                  <a:pt x="4663" y="2411"/>
                  <a:pt x="4865" y="2374"/>
                  <a:pt x="5089" y="2365"/>
                </a:cubicBezTo>
                <a:lnTo>
                  <a:pt x="4729" y="5423"/>
                </a:lnTo>
                <a:lnTo>
                  <a:pt x="5203" y="5915"/>
                </a:lnTo>
                <a:lnTo>
                  <a:pt x="5617" y="5423"/>
                </a:lnTo>
                <a:lnTo>
                  <a:pt x="5330" y="2373"/>
                </a:lnTo>
                <a:cubicBezTo>
                  <a:pt x="5531" y="2387"/>
                  <a:pt x="5725" y="2423"/>
                  <a:pt x="5890" y="2481"/>
                </a:cubicBezTo>
                <a:cubicBezTo>
                  <a:pt x="6894" y="2741"/>
                  <a:pt x="8187" y="2063"/>
                  <a:pt x="8681" y="1250"/>
                </a:cubicBezTo>
                <a:cubicBezTo>
                  <a:pt x="8795" y="1062"/>
                  <a:pt x="9038" y="1003"/>
                  <a:pt x="9224" y="1119"/>
                </a:cubicBezTo>
                <a:cubicBezTo>
                  <a:pt x="9410" y="1235"/>
                  <a:pt x="9468" y="1481"/>
                  <a:pt x="9353" y="1669"/>
                </a:cubicBezTo>
                <a:close/>
                <a:moveTo>
                  <a:pt x="8844" y="4304"/>
                </a:moveTo>
                <a:cubicBezTo>
                  <a:pt x="8839" y="4303"/>
                  <a:pt x="8833" y="4303"/>
                  <a:pt x="8827" y="4302"/>
                </a:cubicBezTo>
                <a:lnTo>
                  <a:pt x="8900" y="5088"/>
                </a:lnTo>
                <a:lnTo>
                  <a:pt x="8793" y="5217"/>
                </a:lnTo>
                <a:lnTo>
                  <a:pt x="8671" y="5088"/>
                </a:lnTo>
                <a:lnTo>
                  <a:pt x="8763" y="4301"/>
                </a:lnTo>
                <a:cubicBezTo>
                  <a:pt x="8543" y="4286"/>
                  <a:pt x="8343" y="4195"/>
                  <a:pt x="7895" y="3770"/>
                </a:cubicBezTo>
                <a:cubicBezTo>
                  <a:pt x="7846" y="3723"/>
                  <a:pt x="7769" y="3725"/>
                  <a:pt x="7722" y="3776"/>
                </a:cubicBezTo>
                <a:cubicBezTo>
                  <a:pt x="7676" y="3826"/>
                  <a:pt x="7679" y="3906"/>
                  <a:pt x="7729" y="3953"/>
                </a:cubicBezTo>
                <a:cubicBezTo>
                  <a:pt x="8086" y="4293"/>
                  <a:pt x="8319" y="4456"/>
                  <a:pt x="8558" y="4519"/>
                </a:cubicBezTo>
                <a:cubicBezTo>
                  <a:pt x="8558" y="4523"/>
                  <a:pt x="8556" y="4527"/>
                  <a:pt x="8556" y="4530"/>
                </a:cubicBezTo>
                <a:lnTo>
                  <a:pt x="8505" y="5505"/>
                </a:lnTo>
                <a:lnTo>
                  <a:pt x="8378" y="6694"/>
                </a:lnTo>
                <a:cubicBezTo>
                  <a:pt x="8369" y="6780"/>
                  <a:pt x="8430" y="6857"/>
                  <a:pt x="8514" y="6867"/>
                </a:cubicBezTo>
                <a:cubicBezTo>
                  <a:pt x="8520" y="6867"/>
                  <a:pt x="8525" y="6867"/>
                  <a:pt x="8530" y="6867"/>
                </a:cubicBezTo>
                <a:cubicBezTo>
                  <a:pt x="8608" y="6867"/>
                  <a:pt x="8674" y="6808"/>
                  <a:pt x="8683" y="6728"/>
                </a:cubicBezTo>
                <a:lnTo>
                  <a:pt x="8815" y="5498"/>
                </a:lnTo>
                <a:lnTo>
                  <a:pt x="9012" y="6736"/>
                </a:lnTo>
                <a:cubicBezTo>
                  <a:pt x="9025" y="6813"/>
                  <a:pt x="9090" y="6868"/>
                  <a:pt x="9164" y="6868"/>
                </a:cubicBezTo>
                <a:cubicBezTo>
                  <a:pt x="9172" y="6868"/>
                  <a:pt x="9180" y="6867"/>
                  <a:pt x="9188" y="6866"/>
                </a:cubicBezTo>
                <a:cubicBezTo>
                  <a:pt x="9272" y="6852"/>
                  <a:pt x="9328" y="6771"/>
                  <a:pt x="9315" y="6686"/>
                </a:cubicBezTo>
                <a:lnTo>
                  <a:pt x="9119" y="5462"/>
                </a:lnTo>
                <a:cubicBezTo>
                  <a:pt x="9119" y="5461"/>
                  <a:pt x="9120" y="5460"/>
                  <a:pt x="9120" y="5459"/>
                </a:cubicBezTo>
                <a:lnTo>
                  <a:pt x="9046" y="4530"/>
                </a:lnTo>
                <a:cubicBezTo>
                  <a:pt x="9046" y="4526"/>
                  <a:pt x="9046" y="4522"/>
                  <a:pt x="9045" y="4518"/>
                </a:cubicBezTo>
                <a:cubicBezTo>
                  <a:pt x="9279" y="4456"/>
                  <a:pt x="9631" y="4296"/>
                  <a:pt x="9990" y="3953"/>
                </a:cubicBezTo>
                <a:cubicBezTo>
                  <a:pt x="10040" y="3906"/>
                  <a:pt x="10043" y="3826"/>
                  <a:pt x="9997" y="3776"/>
                </a:cubicBezTo>
                <a:cubicBezTo>
                  <a:pt x="9950" y="3725"/>
                  <a:pt x="9873" y="3723"/>
                  <a:pt x="9823" y="3770"/>
                </a:cubicBezTo>
                <a:cubicBezTo>
                  <a:pt x="9407" y="4166"/>
                  <a:pt x="9010" y="4290"/>
                  <a:pt x="8857" y="4300"/>
                </a:cubicBezTo>
                <a:cubicBezTo>
                  <a:pt x="8852" y="4300"/>
                  <a:pt x="8849" y="4303"/>
                  <a:pt x="8844" y="4304"/>
                </a:cubicBezTo>
                <a:close/>
                <a:moveTo>
                  <a:pt x="8790" y="4263"/>
                </a:moveTo>
                <a:cubicBezTo>
                  <a:pt x="8949" y="4263"/>
                  <a:pt x="9078" y="4131"/>
                  <a:pt x="9078" y="3969"/>
                </a:cubicBezTo>
                <a:cubicBezTo>
                  <a:pt x="9078" y="3807"/>
                  <a:pt x="8949" y="3675"/>
                  <a:pt x="8790" y="3675"/>
                </a:cubicBezTo>
                <a:cubicBezTo>
                  <a:pt x="8631" y="3675"/>
                  <a:pt x="8503" y="3807"/>
                  <a:pt x="8503" y="3969"/>
                </a:cubicBezTo>
                <a:cubicBezTo>
                  <a:pt x="8503" y="4131"/>
                  <a:pt x="8631" y="4263"/>
                  <a:pt x="8790" y="4263"/>
                </a:cubicBezTo>
                <a:close/>
                <a:moveTo>
                  <a:pt x="9514" y="6418"/>
                </a:moveTo>
                <a:cubicBezTo>
                  <a:pt x="9649" y="6475"/>
                  <a:pt x="9732" y="6548"/>
                  <a:pt x="9732" y="6629"/>
                </a:cubicBezTo>
                <a:cubicBezTo>
                  <a:pt x="9732" y="6745"/>
                  <a:pt x="9561" y="6846"/>
                  <a:pt x="9306" y="6903"/>
                </a:cubicBezTo>
                <a:cubicBezTo>
                  <a:pt x="9287" y="6910"/>
                  <a:pt x="9267" y="6915"/>
                  <a:pt x="9245" y="6917"/>
                </a:cubicBezTo>
                <a:cubicBezTo>
                  <a:pt x="9240" y="6918"/>
                  <a:pt x="9235" y="6918"/>
                  <a:pt x="9229" y="6918"/>
                </a:cubicBezTo>
                <a:cubicBezTo>
                  <a:pt x="9112" y="6939"/>
                  <a:pt x="8983" y="6952"/>
                  <a:pt x="8845" y="6952"/>
                </a:cubicBezTo>
                <a:cubicBezTo>
                  <a:pt x="8355" y="6952"/>
                  <a:pt x="7957" y="6807"/>
                  <a:pt x="7957" y="6629"/>
                </a:cubicBezTo>
                <a:cubicBezTo>
                  <a:pt x="7957" y="6542"/>
                  <a:pt x="8055" y="6463"/>
                  <a:pt x="8211" y="6405"/>
                </a:cubicBezTo>
                <a:lnTo>
                  <a:pt x="8222" y="6252"/>
                </a:lnTo>
                <a:cubicBezTo>
                  <a:pt x="7685" y="6340"/>
                  <a:pt x="7308" y="6534"/>
                  <a:pt x="7308" y="6762"/>
                </a:cubicBezTo>
                <a:cubicBezTo>
                  <a:pt x="7308" y="7072"/>
                  <a:pt x="8000" y="7324"/>
                  <a:pt x="8854" y="7324"/>
                </a:cubicBezTo>
                <a:cubicBezTo>
                  <a:pt x="9708" y="7324"/>
                  <a:pt x="10400" y="7072"/>
                  <a:pt x="10400" y="6762"/>
                </a:cubicBezTo>
                <a:cubicBezTo>
                  <a:pt x="10400" y="6535"/>
                  <a:pt x="10027" y="6342"/>
                  <a:pt x="9494" y="6253"/>
                </a:cubicBezTo>
                <a:lnTo>
                  <a:pt x="9514" y="6418"/>
                </a:lnTo>
                <a:close/>
                <a:moveTo>
                  <a:pt x="1543" y="4300"/>
                </a:moveTo>
                <a:cubicBezTo>
                  <a:pt x="1391" y="4290"/>
                  <a:pt x="994" y="4166"/>
                  <a:pt x="577" y="3770"/>
                </a:cubicBezTo>
                <a:cubicBezTo>
                  <a:pt x="528" y="3723"/>
                  <a:pt x="450" y="3725"/>
                  <a:pt x="404" y="3776"/>
                </a:cubicBezTo>
                <a:cubicBezTo>
                  <a:pt x="358" y="3826"/>
                  <a:pt x="361" y="3906"/>
                  <a:pt x="411" y="3953"/>
                </a:cubicBezTo>
                <a:cubicBezTo>
                  <a:pt x="770" y="4296"/>
                  <a:pt x="1122" y="4456"/>
                  <a:pt x="1355" y="4518"/>
                </a:cubicBezTo>
                <a:cubicBezTo>
                  <a:pt x="1355" y="4522"/>
                  <a:pt x="1355" y="4526"/>
                  <a:pt x="1355" y="4530"/>
                </a:cubicBezTo>
                <a:lnTo>
                  <a:pt x="1281" y="5459"/>
                </a:lnTo>
                <a:cubicBezTo>
                  <a:pt x="1281" y="5460"/>
                  <a:pt x="1282" y="5461"/>
                  <a:pt x="1282" y="5462"/>
                </a:cubicBezTo>
                <a:lnTo>
                  <a:pt x="1086" y="6686"/>
                </a:lnTo>
                <a:cubicBezTo>
                  <a:pt x="1072" y="6771"/>
                  <a:pt x="1129" y="6852"/>
                  <a:pt x="1212" y="6866"/>
                </a:cubicBezTo>
                <a:cubicBezTo>
                  <a:pt x="1221" y="6867"/>
                  <a:pt x="1229" y="6867"/>
                  <a:pt x="1236" y="6867"/>
                </a:cubicBezTo>
                <a:cubicBezTo>
                  <a:pt x="1311" y="6867"/>
                  <a:pt x="1376" y="6813"/>
                  <a:pt x="1388" y="6736"/>
                </a:cubicBezTo>
                <a:lnTo>
                  <a:pt x="1586" y="5498"/>
                </a:lnTo>
                <a:lnTo>
                  <a:pt x="1718" y="6728"/>
                </a:lnTo>
                <a:cubicBezTo>
                  <a:pt x="1726" y="6808"/>
                  <a:pt x="1792" y="6867"/>
                  <a:pt x="1870" y="6867"/>
                </a:cubicBezTo>
                <a:cubicBezTo>
                  <a:pt x="1875" y="6867"/>
                  <a:pt x="1881" y="6867"/>
                  <a:pt x="1887" y="6867"/>
                </a:cubicBezTo>
                <a:cubicBezTo>
                  <a:pt x="1971" y="6857"/>
                  <a:pt x="2032" y="6780"/>
                  <a:pt x="2022" y="6694"/>
                </a:cubicBezTo>
                <a:lnTo>
                  <a:pt x="1895" y="5505"/>
                </a:lnTo>
                <a:lnTo>
                  <a:pt x="1845" y="4530"/>
                </a:lnTo>
                <a:cubicBezTo>
                  <a:pt x="1845" y="4527"/>
                  <a:pt x="1843" y="4523"/>
                  <a:pt x="1843" y="4519"/>
                </a:cubicBezTo>
                <a:cubicBezTo>
                  <a:pt x="2082" y="4456"/>
                  <a:pt x="2314" y="4293"/>
                  <a:pt x="2672" y="3953"/>
                </a:cubicBezTo>
                <a:cubicBezTo>
                  <a:pt x="2722" y="3906"/>
                  <a:pt x="2725" y="3826"/>
                  <a:pt x="2678" y="3776"/>
                </a:cubicBezTo>
                <a:cubicBezTo>
                  <a:pt x="2632" y="3725"/>
                  <a:pt x="2555" y="3722"/>
                  <a:pt x="2505" y="3770"/>
                </a:cubicBezTo>
                <a:cubicBezTo>
                  <a:pt x="2058" y="4195"/>
                  <a:pt x="1857" y="4286"/>
                  <a:pt x="1637" y="4301"/>
                </a:cubicBezTo>
                <a:lnTo>
                  <a:pt x="1730" y="5088"/>
                </a:lnTo>
                <a:lnTo>
                  <a:pt x="1608" y="5217"/>
                </a:lnTo>
                <a:lnTo>
                  <a:pt x="1501" y="5088"/>
                </a:lnTo>
                <a:lnTo>
                  <a:pt x="1574" y="4302"/>
                </a:lnTo>
                <a:cubicBezTo>
                  <a:pt x="1568" y="4303"/>
                  <a:pt x="1562" y="4303"/>
                  <a:pt x="1557" y="4304"/>
                </a:cubicBezTo>
                <a:cubicBezTo>
                  <a:pt x="1552" y="4303"/>
                  <a:pt x="1548" y="4300"/>
                  <a:pt x="1543" y="4300"/>
                </a:cubicBezTo>
                <a:close/>
                <a:moveTo>
                  <a:pt x="1898" y="3969"/>
                </a:moveTo>
                <a:cubicBezTo>
                  <a:pt x="1898" y="3807"/>
                  <a:pt x="1769" y="3675"/>
                  <a:pt x="1610" y="3675"/>
                </a:cubicBezTo>
                <a:cubicBezTo>
                  <a:pt x="1452" y="3675"/>
                  <a:pt x="1323" y="3807"/>
                  <a:pt x="1323" y="3969"/>
                </a:cubicBezTo>
                <a:cubicBezTo>
                  <a:pt x="1323" y="4131"/>
                  <a:pt x="1452" y="4263"/>
                  <a:pt x="1610" y="4263"/>
                </a:cubicBezTo>
                <a:cubicBezTo>
                  <a:pt x="1769" y="4263"/>
                  <a:pt x="1898" y="4131"/>
                  <a:pt x="1898" y="3969"/>
                </a:cubicBezTo>
                <a:close/>
                <a:moveTo>
                  <a:pt x="906" y="6253"/>
                </a:moveTo>
                <a:cubicBezTo>
                  <a:pt x="373" y="6342"/>
                  <a:pt x="0" y="6535"/>
                  <a:pt x="0" y="6762"/>
                </a:cubicBezTo>
                <a:cubicBezTo>
                  <a:pt x="0" y="7072"/>
                  <a:pt x="693" y="7324"/>
                  <a:pt x="1547" y="7324"/>
                </a:cubicBezTo>
                <a:cubicBezTo>
                  <a:pt x="2401" y="7324"/>
                  <a:pt x="3093" y="7072"/>
                  <a:pt x="3093" y="6762"/>
                </a:cubicBezTo>
                <a:cubicBezTo>
                  <a:pt x="3093" y="6534"/>
                  <a:pt x="2716" y="6340"/>
                  <a:pt x="2178" y="6252"/>
                </a:cubicBezTo>
                <a:lnTo>
                  <a:pt x="2189" y="6405"/>
                </a:lnTo>
                <a:cubicBezTo>
                  <a:pt x="2346" y="6463"/>
                  <a:pt x="2444" y="6542"/>
                  <a:pt x="2444" y="6629"/>
                </a:cubicBezTo>
                <a:cubicBezTo>
                  <a:pt x="2444" y="6807"/>
                  <a:pt x="2046" y="6952"/>
                  <a:pt x="1556" y="6952"/>
                </a:cubicBezTo>
                <a:cubicBezTo>
                  <a:pt x="1418" y="6952"/>
                  <a:pt x="1289" y="6939"/>
                  <a:pt x="1172" y="6918"/>
                </a:cubicBezTo>
                <a:cubicBezTo>
                  <a:pt x="1166" y="6918"/>
                  <a:pt x="1161" y="6918"/>
                  <a:pt x="1155" y="6917"/>
                </a:cubicBezTo>
                <a:cubicBezTo>
                  <a:pt x="1134" y="6915"/>
                  <a:pt x="1114" y="6910"/>
                  <a:pt x="1095" y="6903"/>
                </a:cubicBezTo>
                <a:cubicBezTo>
                  <a:pt x="840" y="6846"/>
                  <a:pt x="669" y="6745"/>
                  <a:pt x="669" y="6629"/>
                </a:cubicBezTo>
                <a:cubicBezTo>
                  <a:pt x="669" y="6548"/>
                  <a:pt x="751" y="6475"/>
                  <a:pt x="887" y="6418"/>
                </a:cubicBezTo>
                <a:lnTo>
                  <a:pt x="906" y="625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22B7FD5A-232D-49F0-A4D4-134BF668E219}"/>
              </a:ext>
            </a:extLst>
          </p:cNvPr>
          <p:cNvSpPr/>
          <p:nvPr/>
        </p:nvSpPr>
        <p:spPr bwMode="auto">
          <a:xfrm>
            <a:off x="7938962" y="3472691"/>
            <a:ext cx="456056" cy="467054"/>
          </a:xfrm>
          <a:custGeom>
            <a:avLst/>
            <a:gdLst>
              <a:gd name="T0" fmla="*/ 1547 w 10400"/>
              <a:gd name="T1" fmla="*/ 9330 h 10667"/>
              <a:gd name="T2" fmla="*/ 3077 w 10400"/>
              <a:gd name="T3" fmla="*/ 9013 h 10667"/>
              <a:gd name="T4" fmla="*/ 6114 w 10400"/>
              <a:gd name="T5" fmla="*/ 9700 h 10667"/>
              <a:gd name="T6" fmla="*/ 6806 w 10400"/>
              <a:gd name="T7" fmla="*/ 8539 h 10667"/>
              <a:gd name="T8" fmla="*/ 4079 w 10400"/>
              <a:gd name="T9" fmla="*/ 1127 h 10667"/>
              <a:gd name="T10" fmla="*/ 5193 w 10400"/>
              <a:gd name="T11" fmla="*/ 2254 h 10667"/>
              <a:gd name="T12" fmla="*/ 6352 w 10400"/>
              <a:gd name="T13" fmla="*/ 3340 h 10667"/>
              <a:gd name="T14" fmla="*/ 6296 w 10400"/>
              <a:gd name="T15" fmla="*/ 5841 h 10667"/>
              <a:gd name="T16" fmla="*/ 5318 w 10400"/>
              <a:gd name="T17" fmla="*/ 6578 h 10667"/>
              <a:gd name="T18" fmla="*/ 4851 w 10400"/>
              <a:gd name="T19" fmla="*/ 10126 h 10667"/>
              <a:gd name="T20" fmla="*/ 4154 w 10400"/>
              <a:gd name="T21" fmla="*/ 5500 h 10667"/>
              <a:gd name="T22" fmla="*/ 993 w 10400"/>
              <a:gd name="T23" fmla="*/ 1669 h 10667"/>
              <a:gd name="T24" fmla="*/ 4493 w 10400"/>
              <a:gd name="T25" fmla="*/ 2470 h 10667"/>
              <a:gd name="T26" fmla="*/ 5203 w 10400"/>
              <a:gd name="T27" fmla="*/ 5915 h 10667"/>
              <a:gd name="T28" fmla="*/ 5890 w 10400"/>
              <a:gd name="T29" fmla="*/ 2481 h 10667"/>
              <a:gd name="T30" fmla="*/ 9353 w 10400"/>
              <a:gd name="T31" fmla="*/ 1669 h 10667"/>
              <a:gd name="T32" fmla="*/ 8900 w 10400"/>
              <a:gd name="T33" fmla="*/ 5088 h 10667"/>
              <a:gd name="T34" fmla="*/ 8763 w 10400"/>
              <a:gd name="T35" fmla="*/ 4301 h 10667"/>
              <a:gd name="T36" fmla="*/ 7729 w 10400"/>
              <a:gd name="T37" fmla="*/ 3953 h 10667"/>
              <a:gd name="T38" fmla="*/ 8505 w 10400"/>
              <a:gd name="T39" fmla="*/ 5505 h 10667"/>
              <a:gd name="T40" fmla="*/ 8530 w 10400"/>
              <a:gd name="T41" fmla="*/ 6867 h 10667"/>
              <a:gd name="T42" fmla="*/ 9012 w 10400"/>
              <a:gd name="T43" fmla="*/ 6736 h 10667"/>
              <a:gd name="T44" fmla="*/ 9315 w 10400"/>
              <a:gd name="T45" fmla="*/ 6686 h 10667"/>
              <a:gd name="T46" fmla="*/ 9046 w 10400"/>
              <a:gd name="T47" fmla="*/ 4530 h 10667"/>
              <a:gd name="T48" fmla="*/ 9997 w 10400"/>
              <a:gd name="T49" fmla="*/ 3776 h 10667"/>
              <a:gd name="T50" fmla="*/ 8844 w 10400"/>
              <a:gd name="T51" fmla="*/ 4304 h 10667"/>
              <a:gd name="T52" fmla="*/ 8790 w 10400"/>
              <a:gd name="T53" fmla="*/ 3675 h 10667"/>
              <a:gd name="T54" fmla="*/ 9514 w 10400"/>
              <a:gd name="T55" fmla="*/ 6418 h 10667"/>
              <a:gd name="T56" fmla="*/ 9245 w 10400"/>
              <a:gd name="T57" fmla="*/ 6917 h 10667"/>
              <a:gd name="T58" fmla="*/ 7957 w 10400"/>
              <a:gd name="T59" fmla="*/ 6629 h 10667"/>
              <a:gd name="T60" fmla="*/ 7308 w 10400"/>
              <a:gd name="T61" fmla="*/ 6762 h 10667"/>
              <a:gd name="T62" fmla="*/ 9494 w 10400"/>
              <a:gd name="T63" fmla="*/ 6253 h 10667"/>
              <a:gd name="T64" fmla="*/ 577 w 10400"/>
              <a:gd name="T65" fmla="*/ 3770 h 10667"/>
              <a:gd name="T66" fmla="*/ 1355 w 10400"/>
              <a:gd name="T67" fmla="*/ 4518 h 10667"/>
              <a:gd name="T68" fmla="*/ 1282 w 10400"/>
              <a:gd name="T69" fmla="*/ 5462 h 10667"/>
              <a:gd name="T70" fmla="*/ 1236 w 10400"/>
              <a:gd name="T71" fmla="*/ 6867 h 10667"/>
              <a:gd name="T72" fmla="*/ 1718 w 10400"/>
              <a:gd name="T73" fmla="*/ 6728 h 10667"/>
              <a:gd name="T74" fmla="*/ 2022 w 10400"/>
              <a:gd name="T75" fmla="*/ 6694 h 10667"/>
              <a:gd name="T76" fmla="*/ 1843 w 10400"/>
              <a:gd name="T77" fmla="*/ 4519 h 10667"/>
              <a:gd name="T78" fmla="*/ 2505 w 10400"/>
              <a:gd name="T79" fmla="*/ 3770 h 10667"/>
              <a:gd name="T80" fmla="*/ 1608 w 10400"/>
              <a:gd name="T81" fmla="*/ 5217 h 10667"/>
              <a:gd name="T82" fmla="*/ 1557 w 10400"/>
              <a:gd name="T83" fmla="*/ 4304 h 10667"/>
              <a:gd name="T84" fmla="*/ 1610 w 10400"/>
              <a:gd name="T85" fmla="*/ 3675 h 10667"/>
              <a:gd name="T86" fmla="*/ 1898 w 10400"/>
              <a:gd name="T87" fmla="*/ 3969 h 10667"/>
              <a:gd name="T88" fmla="*/ 1547 w 10400"/>
              <a:gd name="T89" fmla="*/ 7324 h 10667"/>
              <a:gd name="T90" fmla="*/ 2189 w 10400"/>
              <a:gd name="T91" fmla="*/ 6405 h 10667"/>
              <a:gd name="T92" fmla="*/ 1172 w 10400"/>
              <a:gd name="T93" fmla="*/ 6918 h 10667"/>
              <a:gd name="T94" fmla="*/ 669 w 10400"/>
              <a:gd name="T95" fmla="*/ 6629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400" h="10667">
                <a:moveTo>
                  <a:pt x="8838" y="9330"/>
                </a:moveTo>
                <a:cubicBezTo>
                  <a:pt x="8838" y="10067"/>
                  <a:pt x="7206" y="10667"/>
                  <a:pt x="5192" y="10667"/>
                </a:cubicBezTo>
                <a:cubicBezTo>
                  <a:pt x="3180" y="10667"/>
                  <a:pt x="1547" y="10067"/>
                  <a:pt x="1547" y="9330"/>
                </a:cubicBezTo>
                <a:cubicBezTo>
                  <a:pt x="1547" y="8797"/>
                  <a:pt x="2406" y="8341"/>
                  <a:pt x="3638" y="8128"/>
                </a:cubicBezTo>
                <a:lnTo>
                  <a:pt x="3638" y="8495"/>
                </a:lnTo>
                <a:cubicBezTo>
                  <a:pt x="3293" y="8632"/>
                  <a:pt x="3077" y="8813"/>
                  <a:pt x="3077" y="9013"/>
                </a:cubicBezTo>
                <a:cubicBezTo>
                  <a:pt x="3077" y="9437"/>
                  <a:pt x="4015" y="9781"/>
                  <a:pt x="5171" y="9781"/>
                </a:cubicBezTo>
                <a:cubicBezTo>
                  <a:pt x="5497" y="9781"/>
                  <a:pt x="5802" y="9751"/>
                  <a:pt x="6077" y="9703"/>
                </a:cubicBezTo>
                <a:cubicBezTo>
                  <a:pt x="6090" y="9702"/>
                  <a:pt x="6102" y="9702"/>
                  <a:pt x="6114" y="9700"/>
                </a:cubicBezTo>
                <a:cubicBezTo>
                  <a:pt x="6165" y="9694"/>
                  <a:pt x="6212" y="9682"/>
                  <a:pt x="6259" y="9666"/>
                </a:cubicBezTo>
                <a:cubicBezTo>
                  <a:pt x="6859" y="9531"/>
                  <a:pt x="7264" y="9290"/>
                  <a:pt x="7264" y="9013"/>
                </a:cubicBezTo>
                <a:cubicBezTo>
                  <a:pt x="7264" y="8834"/>
                  <a:pt x="7090" y="8669"/>
                  <a:pt x="6806" y="8539"/>
                </a:cubicBezTo>
                <a:lnTo>
                  <a:pt x="6806" y="8137"/>
                </a:lnTo>
                <a:cubicBezTo>
                  <a:pt x="8006" y="8356"/>
                  <a:pt x="8838" y="8805"/>
                  <a:pt x="8838" y="9330"/>
                </a:cubicBezTo>
                <a:close/>
                <a:moveTo>
                  <a:pt x="4079" y="1127"/>
                </a:moveTo>
                <a:cubicBezTo>
                  <a:pt x="4079" y="504"/>
                  <a:pt x="4578" y="0"/>
                  <a:pt x="5193" y="0"/>
                </a:cubicBezTo>
                <a:cubicBezTo>
                  <a:pt x="5807" y="0"/>
                  <a:pt x="6305" y="504"/>
                  <a:pt x="6305" y="1127"/>
                </a:cubicBezTo>
                <a:cubicBezTo>
                  <a:pt x="6305" y="1750"/>
                  <a:pt x="5807" y="2254"/>
                  <a:pt x="5193" y="2254"/>
                </a:cubicBezTo>
                <a:cubicBezTo>
                  <a:pt x="4578" y="2254"/>
                  <a:pt x="4079" y="1750"/>
                  <a:pt x="4079" y="1127"/>
                </a:cubicBezTo>
                <a:close/>
                <a:moveTo>
                  <a:pt x="9353" y="1669"/>
                </a:moveTo>
                <a:cubicBezTo>
                  <a:pt x="8800" y="2578"/>
                  <a:pt x="7557" y="3340"/>
                  <a:pt x="6352" y="3340"/>
                </a:cubicBezTo>
                <a:cubicBezTo>
                  <a:pt x="6274" y="3340"/>
                  <a:pt x="6196" y="3336"/>
                  <a:pt x="6118" y="3330"/>
                </a:cubicBezTo>
                <a:cubicBezTo>
                  <a:pt x="6142" y="3615"/>
                  <a:pt x="6252" y="4928"/>
                  <a:pt x="6282" y="5755"/>
                </a:cubicBezTo>
                <a:cubicBezTo>
                  <a:pt x="6288" y="5783"/>
                  <a:pt x="6294" y="5811"/>
                  <a:pt x="6296" y="5841"/>
                </a:cubicBezTo>
                <a:lnTo>
                  <a:pt x="6568" y="10087"/>
                </a:lnTo>
                <a:cubicBezTo>
                  <a:pt x="6586" y="10373"/>
                  <a:pt x="5564" y="10428"/>
                  <a:pt x="5546" y="10154"/>
                </a:cubicBezTo>
                <a:lnTo>
                  <a:pt x="5318" y="6578"/>
                </a:lnTo>
                <a:cubicBezTo>
                  <a:pt x="5280" y="6574"/>
                  <a:pt x="5244" y="6567"/>
                  <a:pt x="5206" y="6567"/>
                </a:cubicBezTo>
                <a:cubicBezTo>
                  <a:pt x="5174" y="6567"/>
                  <a:pt x="5136" y="6577"/>
                  <a:pt x="5099" y="6587"/>
                </a:cubicBezTo>
                <a:lnTo>
                  <a:pt x="4851" y="10126"/>
                </a:lnTo>
                <a:cubicBezTo>
                  <a:pt x="4832" y="10398"/>
                  <a:pt x="3810" y="10338"/>
                  <a:pt x="3830" y="10052"/>
                </a:cubicBezTo>
                <a:lnTo>
                  <a:pt x="4144" y="5559"/>
                </a:lnTo>
                <a:cubicBezTo>
                  <a:pt x="4146" y="5538"/>
                  <a:pt x="4150" y="5520"/>
                  <a:pt x="4154" y="5500"/>
                </a:cubicBezTo>
                <a:cubicBezTo>
                  <a:pt x="4199" y="4432"/>
                  <a:pt x="4252" y="3400"/>
                  <a:pt x="4257" y="3326"/>
                </a:cubicBezTo>
                <a:cubicBezTo>
                  <a:pt x="4169" y="3334"/>
                  <a:pt x="4081" y="3340"/>
                  <a:pt x="3994" y="3340"/>
                </a:cubicBezTo>
                <a:cubicBezTo>
                  <a:pt x="2788" y="3340"/>
                  <a:pt x="1546" y="2578"/>
                  <a:pt x="993" y="1669"/>
                </a:cubicBezTo>
                <a:cubicBezTo>
                  <a:pt x="879" y="1481"/>
                  <a:pt x="936" y="1235"/>
                  <a:pt x="1122" y="1120"/>
                </a:cubicBezTo>
                <a:cubicBezTo>
                  <a:pt x="1308" y="1003"/>
                  <a:pt x="1551" y="1062"/>
                  <a:pt x="1665" y="1250"/>
                </a:cubicBezTo>
                <a:cubicBezTo>
                  <a:pt x="2166" y="2073"/>
                  <a:pt x="3484" y="2756"/>
                  <a:pt x="4493" y="2470"/>
                </a:cubicBezTo>
                <a:cubicBezTo>
                  <a:pt x="4663" y="2411"/>
                  <a:pt x="4865" y="2374"/>
                  <a:pt x="5089" y="2365"/>
                </a:cubicBezTo>
                <a:lnTo>
                  <a:pt x="4729" y="5423"/>
                </a:lnTo>
                <a:lnTo>
                  <a:pt x="5203" y="5915"/>
                </a:lnTo>
                <a:lnTo>
                  <a:pt x="5617" y="5423"/>
                </a:lnTo>
                <a:lnTo>
                  <a:pt x="5330" y="2373"/>
                </a:lnTo>
                <a:cubicBezTo>
                  <a:pt x="5531" y="2387"/>
                  <a:pt x="5725" y="2423"/>
                  <a:pt x="5890" y="2481"/>
                </a:cubicBezTo>
                <a:cubicBezTo>
                  <a:pt x="6894" y="2741"/>
                  <a:pt x="8187" y="2063"/>
                  <a:pt x="8681" y="1250"/>
                </a:cubicBezTo>
                <a:cubicBezTo>
                  <a:pt x="8795" y="1062"/>
                  <a:pt x="9038" y="1003"/>
                  <a:pt x="9224" y="1119"/>
                </a:cubicBezTo>
                <a:cubicBezTo>
                  <a:pt x="9410" y="1235"/>
                  <a:pt x="9468" y="1481"/>
                  <a:pt x="9353" y="1669"/>
                </a:cubicBezTo>
                <a:close/>
                <a:moveTo>
                  <a:pt x="8844" y="4304"/>
                </a:moveTo>
                <a:cubicBezTo>
                  <a:pt x="8839" y="4303"/>
                  <a:pt x="8833" y="4303"/>
                  <a:pt x="8827" y="4302"/>
                </a:cubicBezTo>
                <a:lnTo>
                  <a:pt x="8900" y="5088"/>
                </a:lnTo>
                <a:lnTo>
                  <a:pt x="8793" y="5217"/>
                </a:lnTo>
                <a:lnTo>
                  <a:pt x="8671" y="5088"/>
                </a:lnTo>
                <a:lnTo>
                  <a:pt x="8763" y="4301"/>
                </a:lnTo>
                <a:cubicBezTo>
                  <a:pt x="8543" y="4286"/>
                  <a:pt x="8343" y="4195"/>
                  <a:pt x="7895" y="3770"/>
                </a:cubicBezTo>
                <a:cubicBezTo>
                  <a:pt x="7846" y="3723"/>
                  <a:pt x="7769" y="3725"/>
                  <a:pt x="7722" y="3776"/>
                </a:cubicBezTo>
                <a:cubicBezTo>
                  <a:pt x="7676" y="3826"/>
                  <a:pt x="7679" y="3906"/>
                  <a:pt x="7729" y="3953"/>
                </a:cubicBezTo>
                <a:cubicBezTo>
                  <a:pt x="8086" y="4293"/>
                  <a:pt x="8319" y="4456"/>
                  <a:pt x="8558" y="4519"/>
                </a:cubicBezTo>
                <a:cubicBezTo>
                  <a:pt x="8558" y="4523"/>
                  <a:pt x="8556" y="4527"/>
                  <a:pt x="8556" y="4530"/>
                </a:cubicBezTo>
                <a:lnTo>
                  <a:pt x="8505" y="5505"/>
                </a:lnTo>
                <a:lnTo>
                  <a:pt x="8378" y="6694"/>
                </a:lnTo>
                <a:cubicBezTo>
                  <a:pt x="8369" y="6780"/>
                  <a:pt x="8430" y="6857"/>
                  <a:pt x="8514" y="6867"/>
                </a:cubicBezTo>
                <a:cubicBezTo>
                  <a:pt x="8520" y="6867"/>
                  <a:pt x="8525" y="6867"/>
                  <a:pt x="8530" y="6867"/>
                </a:cubicBezTo>
                <a:cubicBezTo>
                  <a:pt x="8608" y="6867"/>
                  <a:pt x="8674" y="6808"/>
                  <a:pt x="8683" y="6728"/>
                </a:cubicBezTo>
                <a:lnTo>
                  <a:pt x="8815" y="5498"/>
                </a:lnTo>
                <a:lnTo>
                  <a:pt x="9012" y="6736"/>
                </a:lnTo>
                <a:cubicBezTo>
                  <a:pt x="9025" y="6813"/>
                  <a:pt x="9090" y="6868"/>
                  <a:pt x="9164" y="6868"/>
                </a:cubicBezTo>
                <a:cubicBezTo>
                  <a:pt x="9172" y="6868"/>
                  <a:pt x="9180" y="6867"/>
                  <a:pt x="9188" y="6866"/>
                </a:cubicBezTo>
                <a:cubicBezTo>
                  <a:pt x="9272" y="6852"/>
                  <a:pt x="9328" y="6771"/>
                  <a:pt x="9315" y="6686"/>
                </a:cubicBezTo>
                <a:lnTo>
                  <a:pt x="9119" y="5462"/>
                </a:lnTo>
                <a:cubicBezTo>
                  <a:pt x="9119" y="5461"/>
                  <a:pt x="9120" y="5460"/>
                  <a:pt x="9120" y="5459"/>
                </a:cubicBezTo>
                <a:lnTo>
                  <a:pt x="9046" y="4530"/>
                </a:lnTo>
                <a:cubicBezTo>
                  <a:pt x="9046" y="4526"/>
                  <a:pt x="9046" y="4522"/>
                  <a:pt x="9045" y="4518"/>
                </a:cubicBezTo>
                <a:cubicBezTo>
                  <a:pt x="9279" y="4456"/>
                  <a:pt x="9631" y="4296"/>
                  <a:pt x="9990" y="3953"/>
                </a:cubicBezTo>
                <a:cubicBezTo>
                  <a:pt x="10040" y="3906"/>
                  <a:pt x="10043" y="3826"/>
                  <a:pt x="9997" y="3776"/>
                </a:cubicBezTo>
                <a:cubicBezTo>
                  <a:pt x="9950" y="3725"/>
                  <a:pt x="9873" y="3723"/>
                  <a:pt x="9823" y="3770"/>
                </a:cubicBezTo>
                <a:cubicBezTo>
                  <a:pt x="9407" y="4166"/>
                  <a:pt x="9010" y="4290"/>
                  <a:pt x="8857" y="4300"/>
                </a:cubicBezTo>
                <a:cubicBezTo>
                  <a:pt x="8852" y="4300"/>
                  <a:pt x="8849" y="4303"/>
                  <a:pt x="8844" y="4304"/>
                </a:cubicBezTo>
                <a:close/>
                <a:moveTo>
                  <a:pt x="8790" y="4263"/>
                </a:moveTo>
                <a:cubicBezTo>
                  <a:pt x="8949" y="4263"/>
                  <a:pt x="9078" y="4131"/>
                  <a:pt x="9078" y="3969"/>
                </a:cubicBezTo>
                <a:cubicBezTo>
                  <a:pt x="9078" y="3807"/>
                  <a:pt x="8949" y="3675"/>
                  <a:pt x="8790" y="3675"/>
                </a:cubicBezTo>
                <a:cubicBezTo>
                  <a:pt x="8631" y="3675"/>
                  <a:pt x="8503" y="3807"/>
                  <a:pt x="8503" y="3969"/>
                </a:cubicBezTo>
                <a:cubicBezTo>
                  <a:pt x="8503" y="4131"/>
                  <a:pt x="8631" y="4263"/>
                  <a:pt x="8790" y="4263"/>
                </a:cubicBezTo>
                <a:close/>
                <a:moveTo>
                  <a:pt x="9514" y="6418"/>
                </a:moveTo>
                <a:cubicBezTo>
                  <a:pt x="9649" y="6475"/>
                  <a:pt x="9732" y="6548"/>
                  <a:pt x="9732" y="6629"/>
                </a:cubicBezTo>
                <a:cubicBezTo>
                  <a:pt x="9732" y="6745"/>
                  <a:pt x="9561" y="6846"/>
                  <a:pt x="9306" y="6903"/>
                </a:cubicBezTo>
                <a:cubicBezTo>
                  <a:pt x="9287" y="6910"/>
                  <a:pt x="9267" y="6915"/>
                  <a:pt x="9245" y="6917"/>
                </a:cubicBezTo>
                <a:cubicBezTo>
                  <a:pt x="9240" y="6918"/>
                  <a:pt x="9235" y="6918"/>
                  <a:pt x="9229" y="6918"/>
                </a:cubicBezTo>
                <a:cubicBezTo>
                  <a:pt x="9112" y="6939"/>
                  <a:pt x="8983" y="6952"/>
                  <a:pt x="8845" y="6952"/>
                </a:cubicBezTo>
                <a:cubicBezTo>
                  <a:pt x="8355" y="6952"/>
                  <a:pt x="7957" y="6807"/>
                  <a:pt x="7957" y="6629"/>
                </a:cubicBezTo>
                <a:cubicBezTo>
                  <a:pt x="7957" y="6542"/>
                  <a:pt x="8055" y="6463"/>
                  <a:pt x="8211" y="6405"/>
                </a:cubicBezTo>
                <a:lnTo>
                  <a:pt x="8222" y="6252"/>
                </a:lnTo>
                <a:cubicBezTo>
                  <a:pt x="7685" y="6340"/>
                  <a:pt x="7308" y="6534"/>
                  <a:pt x="7308" y="6762"/>
                </a:cubicBezTo>
                <a:cubicBezTo>
                  <a:pt x="7308" y="7072"/>
                  <a:pt x="8000" y="7324"/>
                  <a:pt x="8854" y="7324"/>
                </a:cubicBezTo>
                <a:cubicBezTo>
                  <a:pt x="9708" y="7324"/>
                  <a:pt x="10400" y="7072"/>
                  <a:pt x="10400" y="6762"/>
                </a:cubicBezTo>
                <a:cubicBezTo>
                  <a:pt x="10400" y="6535"/>
                  <a:pt x="10027" y="6342"/>
                  <a:pt x="9494" y="6253"/>
                </a:cubicBezTo>
                <a:lnTo>
                  <a:pt x="9514" y="6418"/>
                </a:lnTo>
                <a:close/>
                <a:moveTo>
                  <a:pt x="1543" y="4300"/>
                </a:moveTo>
                <a:cubicBezTo>
                  <a:pt x="1391" y="4290"/>
                  <a:pt x="994" y="4166"/>
                  <a:pt x="577" y="3770"/>
                </a:cubicBezTo>
                <a:cubicBezTo>
                  <a:pt x="528" y="3723"/>
                  <a:pt x="450" y="3725"/>
                  <a:pt x="404" y="3776"/>
                </a:cubicBezTo>
                <a:cubicBezTo>
                  <a:pt x="358" y="3826"/>
                  <a:pt x="361" y="3906"/>
                  <a:pt x="411" y="3953"/>
                </a:cubicBezTo>
                <a:cubicBezTo>
                  <a:pt x="770" y="4296"/>
                  <a:pt x="1122" y="4456"/>
                  <a:pt x="1355" y="4518"/>
                </a:cubicBezTo>
                <a:cubicBezTo>
                  <a:pt x="1355" y="4522"/>
                  <a:pt x="1355" y="4526"/>
                  <a:pt x="1355" y="4530"/>
                </a:cubicBezTo>
                <a:lnTo>
                  <a:pt x="1281" y="5459"/>
                </a:lnTo>
                <a:cubicBezTo>
                  <a:pt x="1281" y="5460"/>
                  <a:pt x="1282" y="5461"/>
                  <a:pt x="1282" y="5462"/>
                </a:cubicBezTo>
                <a:lnTo>
                  <a:pt x="1086" y="6686"/>
                </a:lnTo>
                <a:cubicBezTo>
                  <a:pt x="1072" y="6771"/>
                  <a:pt x="1129" y="6852"/>
                  <a:pt x="1212" y="6866"/>
                </a:cubicBezTo>
                <a:cubicBezTo>
                  <a:pt x="1221" y="6867"/>
                  <a:pt x="1229" y="6867"/>
                  <a:pt x="1236" y="6867"/>
                </a:cubicBezTo>
                <a:cubicBezTo>
                  <a:pt x="1311" y="6867"/>
                  <a:pt x="1376" y="6813"/>
                  <a:pt x="1388" y="6736"/>
                </a:cubicBezTo>
                <a:lnTo>
                  <a:pt x="1586" y="5498"/>
                </a:lnTo>
                <a:lnTo>
                  <a:pt x="1718" y="6728"/>
                </a:lnTo>
                <a:cubicBezTo>
                  <a:pt x="1726" y="6808"/>
                  <a:pt x="1792" y="6867"/>
                  <a:pt x="1870" y="6867"/>
                </a:cubicBezTo>
                <a:cubicBezTo>
                  <a:pt x="1875" y="6867"/>
                  <a:pt x="1881" y="6867"/>
                  <a:pt x="1887" y="6867"/>
                </a:cubicBezTo>
                <a:cubicBezTo>
                  <a:pt x="1971" y="6857"/>
                  <a:pt x="2032" y="6780"/>
                  <a:pt x="2022" y="6694"/>
                </a:cubicBezTo>
                <a:lnTo>
                  <a:pt x="1895" y="5505"/>
                </a:lnTo>
                <a:lnTo>
                  <a:pt x="1845" y="4530"/>
                </a:lnTo>
                <a:cubicBezTo>
                  <a:pt x="1845" y="4527"/>
                  <a:pt x="1843" y="4523"/>
                  <a:pt x="1843" y="4519"/>
                </a:cubicBezTo>
                <a:cubicBezTo>
                  <a:pt x="2082" y="4456"/>
                  <a:pt x="2314" y="4293"/>
                  <a:pt x="2672" y="3953"/>
                </a:cubicBezTo>
                <a:cubicBezTo>
                  <a:pt x="2722" y="3906"/>
                  <a:pt x="2725" y="3826"/>
                  <a:pt x="2678" y="3776"/>
                </a:cubicBezTo>
                <a:cubicBezTo>
                  <a:pt x="2632" y="3725"/>
                  <a:pt x="2555" y="3722"/>
                  <a:pt x="2505" y="3770"/>
                </a:cubicBezTo>
                <a:cubicBezTo>
                  <a:pt x="2058" y="4195"/>
                  <a:pt x="1857" y="4286"/>
                  <a:pt x="1637" y="4301"/>
                </a:cubicBezTo>
                <a:lnTo>
                  <a:pt x="1730" y="5088"/>
                </a:lnTo>
                <a:lnTo>
                  <a:pt x="1608" y="5217"/>
                </a:lnTo>
                <a:lnTo>
                  <a:pt x="1501" y="5088"/>
                </a:lnTo>
                <a:lnTo>
                  <a:pt x="1574" y="4302"/>
                </a:lnTo>
                <a:cubicBezTo>
                  <a:pt x="1568" y="4303"/>
                  <a:pt x="1562" y="4303"/>
                  <a:pt x="1557" y="4304"/>
                </a:cubicBezTo>
                <a:cubicBezTo>
                  <a:pt x="1552" y="4303"/>
                  <a:pt x="1548" y="4300"/>
                  <a:pt x="1543" y="4300"/>
                </a:cubicBezTo>
                <a:close/>
                <a:moveTo>
                  <a:pt x="1898" y="3969"/>
                </a:moveTo>
                <a:cubicBezTo>
                  <a:pt x="1898" y="3807"/>
                  <a:pt x="1769" y="3675"/>
                  <a:pt x="1610" y="3675"/>
                </a:cubicBezTo>
                <a:cubicBezTo>
                  <a:pt x="1452" y="3675"/>
                  <a:pt x="1323" y="3807"/>
                  <a:pt x="1323" y="3969"/>
                </a:cubicBezTo>
                <a:cubicBezTo>
                  <a:pt x="1323" y="4131"/>
                  <a:pt x="1452" y="4263"/>
                  <a:pt x="1610" y="4263"/>
                </a:cubicBezTo>
                <a:cubicBezTo>
                  <a:pt x="1769" y="4263"/>
                  <a:pt x="1898" y="4131"/>
                  <a:pt x="1898" y="3969"/>
                </a:cubicBezTo>
                <a:close/>
                <a:moveTo>
                  <a:pt x="906" y="6253"/>
                </a:moveTo>
                <a:cubicBezTo>
                  <a:pt x="373" y="6342"/>
                  <a:pt x="0" y="6535"/>
                  <a:pt x="0" y="6762"/>
                </a:cubicBezTo>
                <a:cubicBezTo>
                  <a:pt x="0" y="7072"/>
                  <a:pt x="693" y="7324"/>
                  <a:pt x="1547" y="7324"/>
                </a:cubicBezTo>
                <a:cubicBezTo>
                  <a:pt x="2401" y="7324"/>
                  <a:pt x="3093" y="7072"/>
                  <a:pt x="3093" y="6762"/>
                </a:cubicBezTo>
                <a:cubicBezTo>
                  <a:pt x="3093" y="6534"/>
                  <a:pt x="2716" y="6340"/>
                  <a:pt x="2178" y="6252"/>
                </a:cubicBezTo>
                <a:lnTo>
                  <a:pt x="2189" y="6405"/>
                </a:lnTo>
                <a:cubicBezTo>
                  <a:pt x="2346" y="6463"/>
                  <a:pt x="2444" y="6542"/>
                  <a:pt x="2444" y="6629"/>
                </a:cubicBezTo>
                <a:cubicBezTo>
                  <a:pt x="2444" y="6807"/>
                  <a:pt x="2046" y="6952"/>
                  <a:pt x="1556" y="6952"/>
                </a:cubicBezTo>
                <a:cubicBezTo>
                  <a:pt x="1418" y="6952"/>
                  <a:pt x="1289" y="6939"/>
                  <a:pt x="1172" y="6918"/>
                </a:cubicBezTo>
                <a:cubicBezTo>
                  <a:pt x="1166" y="6918"/>
                  <a:pt x="1161" y="6918"/>
                  <a:pt x="1155" y="6917"/>
                </a:cubicBezTo>
                <a:cubicBezTo>
                  <a:pt x="1134" y="6915"/>
                  <a:pt x="1114" y="6910"/>
                  <a:pt x="1095" y="6903"/>
                </a:cubicBezTo>
                <a:cubicBezTo>
                  <a:pt x="840" y="6846"/>
                  <a:pt x="669" y="6745"/>
                  <a:pt x="669" y="6629"/>
                </a:cubicBezTo>
                <a:cubicBezTo>
                  <a:pt x="669" y="6548"/>
                  <a:pt x="751" y="6475"/>
                  <a:pt x="887" y="6418"/>
                </a:cubicBezTo>
                <a:lnTo>
                  <a:pt x="906" y="625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6E4E91D-91CF-4580-8948-2F1265F9713D}"/>
              </a:ext>
            </a:extLst>
          </p:cNvPr>
          <p:cNvSpPr txBox="1"/>
          <p:nvPr/>
        </p:nvSpPr>
        <p:spPr bwMode="auto">
          <a:xfrm>
            <a:off x="669926" y="3520020"/>
            <a:ext cx="197403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1828F26-8B08-41AA-9898-8DD6548B6BAD}"/>
              </a:ext>
            </a:extLst>
          </p:cNvPr>
          <p:cNvSpPr txBox="1"/>
          <p:nvPr/>
        </p:nvSpPr>
        <p:spPr bwMode="auto">
          <a:xfrm>
            <a:off x="9515431" y="2138682"/>
            <a:ext cx="200505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33208832-E73A-49A2-A9EF-E9E46514242F}"/>
              </a:ext>
            </a:extLst>
          </p:cNvPr>
          <p:cNvSpPr txBox="1"/>
          <p:nvPr/>
        </p:nvSpPr>
        <p:spPr bwMode="auto">
          <a:xfrm>
            <a:off x="9515431" y="4817144"/>
            <a:ext cx="200505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/>
              <a:t>Text he</a:t>
            </a:r>
            <a:r>
              <a:rPr lang="en-US" altLang="zh-CN" sz="100" b="1"/>
              <a:t> </a:t>
            </a:r>
            <a:r>
              <a:rPr lang="en-US" altLang="zh-CN" b="1"/>
              <a:t>re</a:t>
            </a:r>
            <a:endParaRPr lang="en-US" altLang="zh-CN" b="1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5AC42E1-DC4B-4097-BE98-E5FA9EB3D3D0}"/>
              </a:ext>
            </a:extLst>
          </p:cNvPr>
          <p:cNvSpPr/>
          <p:nvPr/>
        </p:nvSpPr>
        <p:spPr bwMode="auto">
          <a:xfrm>
            <a:off x="5588736" y="1965465"/>
            <a:ext cx="3262656" cy="76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</a:t>
            </a:r>
            <a:r>
              <a:rPr lang="en-US" altLang="zh-CN" sz="100"/>
              <a:t> </a:t>
            </a:r>
            <a:r>
              <a:rPr lang="en-US" altLang="zh-CN" sz="1100"/>
              <a:t>ext</a:t>
            </a:r>
            <a:r>
              <a:rPr lang="en-US" altLang="zh-CN" sz="1100" dirty="0"/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89B2BB6-5CA7-42C4-A5A5-5899743841D7}"/>
              </a:ext>
            </a:extLst>
          </p:cNvPr>
          <p:cNvSpPr/>
          <p:nvPr/>
        </p:nvSpPr>
        <p:spPr bwMode="auto">
          <a:xfrm>
            <a:off x="5588736" y="4704596"/>
            <a:ext cx="3262656" cy="76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</a:t>
            </a:r>
            <a:r>
              <a:rPr lang="en-US" altLang="zh-CN" sz="100"/>
              <a:t> </a:t>
            </a:r>
            <a:r>
              <a:rPr lang="en-US" altLang="zh-CN" sz="1100"/>
              <a:t>ext</a:t>
            </a:r>
            <a:r>
              <a:rPr lang="en-US" altLang="zh-CN" sz="1100" dirty="0"/>
              <a:t>.</a:t>
            </a:r>
          </a:p>
          <a:p>
            <a:pPr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64F3B1ED-75C7-4873-B76F-0803E1BB8743}"/>
              </a:ext>
            </a:extLst>
          </p:cNvPr>
          <p:cNvSpPr/>
          <p:nvPr/>
        </p:nvSpPr>
        <p:spPr bwMode="auto">
          <a:xfrm>
            <a:off x="3138003" y="3358271"/>
            <a:ext cx="3262656" cy="76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</a:t>
            </a:r>
            <a:r>
              <a:rPr lang="en-US" altLang="zh-CN" sz="1100"/>
              <a:t>retain t</a:t>
            </a:r>
            <a:r>
              <a:rPr lang="en-US" altLang="zh-CN" sz="100"/>
              <a:t> </a:t>
            </a:r>
            <a:r>
              <a:rPr lang="en-US" altLang="zh-CN" sz="1100"/>
              <a:t>ext</a:t>
            </a:r>
            <a:r>
              <a:rPr lang="en-US" altLang="zh-CN" sz="1100" dirty="0"/>
              <a:t>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620565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2be80631-dd6d-4c31-a26f-aaae1e9c3937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92E70"/>
      </a:accent1>
      <a:accent2>
        <a:srgbClr val="1C55D1"/>
      </a:accent2>
      <a:accent3>
        <a:srgbClr val="FCB028"/>
      </a:accent3>
      <a:accent4>
        <a:srgbClr val="F24237"/>
      </a:accent4>
      <a:accent5>
        <a:srgbClr val="5E5CA2"/>
      </a:accent5>
      <a:accent6>
        <a:srgbClr val="9BD84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92E70"/>
    </a:accent1>
    <a:accent2>
      <a:srgbClr val="1C55D1"/>
    </a:accent2>
    <a:accent3>
      <a:srgbClr val="FCB028"/>
    </a:accent3>
    <a:accent4>
      <a:srgbClr val="F24237"/>
    </a:accent4>
    <a:accent5>
      <a:srgbClr val="5E5CA2"/>
    </a:accent5>
    <a:accent6>
      <a:srgbClr val="9BD84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92E70"/>
    </a:accent1>
    <a:accent2>
      <a:srgbClr val="1C55D1"/>
    </a:accent2>
    <a:accent3>
      <a:srgbClr val="FCB028"/>
    </a:accent3>
    <a:accent4>
      <a:srgbClr val="F24237"/>
    </a:accent4>
    <a:accent5>
      <a:srgbClr val="5E5CA2"/>
    </a:accent5>
    <a:accent6>
      <a:srgbClr val="9BD84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92E70"/>
    </a:accent1>
    <a:accent2>
      <a:srgbClr val="1C55D1"/>
    </a:accent2>
    <a:accent3>
      <a:srgbClr val="FCB028"/>
    </a:accent3>
    <a:accent4>
      <a:srgbClr val="F24237"/>
    </a:accent4>
    <a:accent5>
      <a:srgbClr val="5E5CA2"/>
    </a:accent5>
    <a:accent6>
      <a:srgbClr val="9BD84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2</TotalTime>
  <Words>866</Words>
  <Application>Microsoft Office PowerPoint</Application>
  <PresentationFormat>宽屏</PresentationFormat>
  <Paragraphs>192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22" baseType="lpstr">
      <vt:lpstr>等线</vt:lpstr>
      <vt:lpstr>Arial</vt:lpstr>
      <vt:lpstr>Calibri</vt:lpstr>
      <vt:lpstr>Impact</vt:lpstr>
      <vt:lpstr>主题5</vt:lpstr>
      <vt:lpstr>think-cell Slide</vt:lpstr>
      <vt:lpstr>做好自我防护 预防“新型冠状病毒”</vt:lpstr>
      <vt:lpstr>PowerPoint 演示文稿</vt:lpstr>
      <vt:lpstr>了解新型冠状病毒</vt:lpstr>
      <vt:lpstr>了解新型冠状病毒</vt:lpstr>
      <vt:lpstr>了解新型冠状病毒</vt:lpstr>
      <vt:lpstr>如何预防</vt:lpstr>
      <vt:lpstr>如何预防</vt:lpstr>
      <vt:lpstr>如何预防</vt:lpstr>
      <vt:lpstr>如何预防</vt:lpstr>
      <vt:lpstr>正确佩带口罩</vt:lpstr>
      <vt:lpstr>正确佩带口罩</vt:lpstr>
      <vt:lpstr>正确佩带口罩</vt:lpstr>
      <vt:lpstr>正确佩带口罩</vt:lpstr>
      <vt:lpstr>食品安全五大要点</vt:lpstr>
      <vt:lpstr>食品安全五大要点</vt:lpstr>
      <vt:lpstr>Thanks！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20-02-12T16:00:00Z</cp:lastPrinted>
  <dcterms:created xsi:type="dcterms:W3CDTF">2020-02-12T16:00:00Z</dcterms:created>
  <dcterms:modified xsi:type="dcterms:W3CDTF">2022-09-08T09:1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